
<file path=[Content_Types].xml><?xml version="1.0" encoding="utf-8"?>
<Types xmlns="http://schemas.openxmlformats.org/package/2006/content-types">
  <Default Extension="png" ContentType="image/png"/>
  <Default Extension="svg" ContentType="image/svg+xml"/>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4"/>
  </p:notesMasterIdLst>
  <p:handoutMasterIdLst>
    <p:handoutMasterId r:id="rId25"/>
  </p:handoutMasterIdLst>
  <p:sldIdLst>
    <p:sldId id="256" r:id="rId2"/>
    <p:sldId id="270" r:id="rId3"/>
    <p:sldId id="310" r:id="rId4"/>
    <p:sldId id="312" r:id="rId5"/>
    <p:sldId id="292" r:id="rId6"/>
    <p:sldId id="293" r:id="rId7"/>
    <p:sldId id="260" r:id="rId8"/>
    <p:sldId id="269" r:id="rId9"/>
    <p:sldId id="268" r:id="rId10"/>
    <p:sldId id="302" r:id="rId11"/>
    <p:sldId id="307" r:id="rId12"/>
    <p:sldId id="301" r:id="rId13"/>
    <p:sldId id="286" r:id="rId14"/>
    <p:sldId id="297" r:id="rId15"/>
    <p:sldId id="264" r:id="rId16"/>
    <p:sldId id="309" r:id="rId17"/>
    <p:sldId id="291" r:id="rId18"/>
    <p:sldId id="267" r:id="rId19"/>
    <p:sldId id="279" r:id="rId20"/>
    <p:sldId id="306" r:id="rId21"/>
    <p:sldId id="263" r:id="rId22"/>
    <p:sldId id="305" r:id="rId23"/>
  </p:sldIdLst>
  <p:sldSz cx="12192000" cy="6858000"/>
  <p:notesSz cx="6858000" cy="9144000"/>
  <p:custDataLst>
    <p:tags r:id="rId26"/>
  </p:custDataLst>
  <p:defaultTextStyle>
    <a:defPPr>
      <a:defRPr lang="en-US"/>
    </a:defPPr>
    <a:lvl1pPr marL="0" algn="l" defTabSz="892432" rtl="0" eaLnBrk="1" latinLnBrk="0" hangingPunct="1">
      <a:defRPr sz="1757" kern="1200">
        <a:solidFill>
          <a:schemeClr val="tx1"/>
        </a:solidFill>
        <a:latin typeface="+mn-lt"/>
        <a:ea typeface="+mn-ea"/>
        <a:cs typeface="+mn-cs"/>
      </a:defRPr>
    </a:lvl1pPr>
    <a:lvl2pPr marL="446216" algn="l" defTabSz="892432" rtl="0" eaLnBrk="1" latinLnBrk="0" hangingPunct="1">
      <a:defRPr sz="1757" kern="1200">
        <a:solidFill>
          <a:schemeClr val="tx1"/>
        </a:solidFill>
        <a:latin typeface="+mn-lt"/>
        <a:ea typeface="+mn-ea"/>
        <a:cs typeface="+mn-cs"/>
      </a:defRPr>
    </a:lvl2pPr>
    <a:lvl3pPr marL="892432" algn="l" defTabSz="892432" rtl="0" eaLnBrk="1" latinLnBrk="0" hangingPunct="1">
      <a:defRPr sz="1757" kern="1200">
        <a:solidFill>
          <a:schemeClr val="tx1"/>
        </a:solidFill>
        <a:latin typeface="+mn-lt"/>
        <a:ea typeface="+mn-ea"/>
        <a:cs typeface="+mn-cs"/>
      </a:defRPr>
    </a:lvl3pPr>
    <a:lvl4pPr marL="1338648" algn="l" defTabSz="892432" rtl="0" eaLnBrk="1" latinLnBrk="0" hangingPunct="1">
      <a:defRPr sz="1757" kern="1200">
        <a:solidFill>
          <a:schemeClr val="tx1"/>
        </a:solidFill>
        <a:latin typeface="+mn-lt"/>
        <a:ea typeface="+mn-ea"/>
        <a:cs typeface="+mn-cs"/>
      </a:defRPr>
    </a:lvl4pPr>
    <a:lvl5pPr marL="1784865" algn="l" defTabSz="892432" rtl="0" eaLnBrk="1" latinLnBrk="0" hangingPunct="1">
      <a:defRPr sz="1757" kern="1200">
        <a:solidFill>
          <a:schemeClr val="tx1"/>
        </a:solidFill>
        <a:latin typeface="+mn-lt"/>
        <a:ea typeface="+mn-ea"/>
        <a:cs typeface="+mn-cs"/>
      </a:defRPr>
    </a:lvl5pPr>
    <a:lvl6pPr marL="2231080" algn="l" defTabSz="892432" rtl="0" eaLnBrk="1" latinLnBrk="0" hangingPunct="1">
      <a:defRPr sz="1757" kern="1200">
        <a:solidFill>
          <a:schemeClr val="tx1"/>
        </a:solidFill>
        <a:latin typeface="+mn-lt"/>
        <a:ea typeface="+mn-ea"/>
        <a:cs typeface="+mn-cs"/>
      </a:defRPr>
    </a:lvl6pPr>
    <a:lvl7pPr marL="2677296" algn="l" defTabSz="892432" rtl="0" eaLnBrk="1" latinLnBrk="0" hangingPunct="1">
      <a:defRPr sz="1757" kern="1200">
        <a:solidFill>
          <a:schemeClr val="tx1"/>
        </a:solidFill>
        <a:latin typeface="+mn-lt"/>
        <a:ea typeface="+mn-ea"/>
        <a:cs typeface="+mn-cs"/>
      </a:defRPr>
    </a:lvl7pPr>
    <a:lvl8pPr marL="3123513" algn="l" defTabSz="892432" rtl="0" eaLnBrk="1" latinLnBrk="0" hangingPunct="1">
      <a:defRPr sz="1757" kern="1200">
        <a:solidFill>
          <a:schemeClr val="tx1"/>
        </a:solidFill>
        <a:latin typeface="+mn-lt"/>
        <a:ea typeface="+mn-ea"/>
        <a:cs typeface="+mn-cs"/>
      </a:defRPr>
    </a:lvl8pPr>
    <a:lvl9pPr marL="3569728" algn="l" defTabSz="892432" rtl="0" eaLnBrk="1" latinLnBrk="0" hangingPunct="1">
      <a:defRPr sz="1757"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71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08" autoAdjust="0"/>
    <p:restoredTop sz="95332" autoAdjust="0"/>
  </p:normalViewPr>
  <p:slideViewPr>
    <p:cSldViewPr snapToGrid="0" snapToObjects="1" showGuides="1">
      <p:cViewPr varScale="1">
        <p:scale>
          <a:sx n="108" d="100"/>
          <a:sy n="108" d="100"/>
        </p:scale>
        <p:origin x="461" y="82"/>
      </p:cViewPr>
      <p:guideLst>
        <p:guide orient="horz" pos="2160"/>
        <p:guide pos="3840"/>
      </p:guideLst>
    </p:cSldViewPr>
  </p:slideViewPr>
  <p:notesTextViewPr>
    <p:cViewPr>
      <p:scale>
        <a:sx n="1" d="1"/>
        <a:sy n="1" d="1"/>
      </p:scale>
      <p:origin x="0" y="0"/>
    </p:cViewPr>
  </p:notesTextViewPr>
  <p:sorterViewPr>
    <p:cViewPr>
      <p:scale>
        <a:sx n="87" d="100"/>
        <a:sy n="87" d="100"/>
      </p:scale>
      <p:origin x="0" y="0"/>
    </p:cViewPr>
  </p:sorterViewPr>
  <p:notesViewPr>
    <p:cSldViewPr snapToGrid="0" snapToObjects="1" showGuides="1">
      <p:cViewPr varScale="1">
        <p:scale>
          <a:sx n="86" d="100"/>
          <a:sy n="86" d="100"/>
        </p:scale>
        <p:origin x="378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2</c:f>
              <c:strCache>
                <c:ptCount val="1"/>
                <c:pt idx="0">
                  <c:v>Frequency</c:v>
                </c:pt>
              </c:strCache>
            </c:strRef>
          </c:tx>
          <c:spPr>
            <a:solidFill>
              <a:schemeClr val="accent1"/>
            </a:solidFill>
            <a:ln>
              <a:noFill/>
            </a:ln>
            <a:effectLst/>
          </c:spPr>
          <c:invertIfNegative val="0"/>
          <c:cat>
            <c:numRef>
              <c:f>Sheet1!$A$3:$A$34</c:f>
              <c:numCache>
                <c:formatCode>General</c:formatCode>
                <c:ptCount val="32"/>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numCache>
            </c:numRef>
          </c:cat>
          <c:val>
            <c:numRef>
              <c:f>Sheet1!$B$3:$B$34</c:f>
              <c:numCache>
                <c:formatCode>#,##0</c:formatCode>
                <c:ptCount val="32"/>
                <c:pt idx="0">
                  <c:v>12896</c:v>
                </c:pt>
                <c:pt idx="1">
                  <c:v>14132</c:v>
                </c:pt>
                <c:pt idx="2">
                  <c:v>14001</c:v>
                </c:pt>
                <c:pt idx="3">
                  <c:v>14493</c:v>
                </c:pt>
                <c:pt idx="4">
                  <c:v>13453</c:v>
                </c:pt>
                <c:pt idx="5">
                  <c:v>13893</c:v>
                </c:pt>
                <c:pt idx="6">
                  <c:v>13723</c:v>
                </c:pt>
                <c:pt idx="7">
                  <c:v>13152</c:v>
                </c:pt>
                <c:pt idx="8">
                  <c:v>14058</c:v>
                </c:pt>
                <c:pt idx="9">
                  <c:v>14516</c:v>
                </c:pt>
                <c:pt idx="10">
                  <c:v>15596</c:v>
                </c:pt>
                <c:pt idx="11">
                  <c:v>14372</c:v>
                </c:pt>
                <c:pt idx="12">
                  <c:v>14205</c:v>
                </c:pt>
                <c:pt idx="13">
                  <c:v>13498</c:v>
                </c:pt>
                <c:pt idx="14">
                  <c:v>13034</c:v>
                </c:pt>
                <c:pt idx="15">
                  <c:v>11707</c:v>
                </c:pt>
                <c:pt idx="16">
                  <c:v>10752</c:v>
                </c:pt>
                <c:pt idx="17">
                  <c:v>10374</c:v>
                </c:pt>
                <c:pt idx="18">
                  <c:v>10149</c:v>
                </c:pt>
                <c:pt idx="19">
                  <c:v>9510</c:v>
                </c:pt>
                <c:pt idx="20">
                  <c:v>9316</c:v>
                </c:pt>
                <c:pt idx="21">
                  <c:v>8901</c:v>
                </c:pt>
                <c:pt idx="22">
                  <c:v>8999</c:v>
                </c:pt>
                <c:pt idx="23">
                  <c:v>8813</c:v>
                </c:pt>
                <c:pt idx="24">
                  <c:v>8562</c:v>
                </c:pt>
                <c:pt idx="25">
                  <c:v>8001</c:v>
                </c:pt>
                <c:pt idx="26">
                  <c:v>8345</c:v>
                </c:pt>
                <c:pt idx="27">
                  <c:v>8112</c:v>
                </c:pt>
                <c:pt idx="28">
                  <c:v>8047</c:v>
                </c:pt>
                <c:pt idx="29">
                  <c:v>6820</c:v>
                </c:pt>
                <c:pt idx="30">
                  <c:v>6094</c:v>
                </c:pt>
                <c:pt idx="31">
                  <c:v>7509</c:v>
                </c:pt>
              </c:numCache>
            </c:numRef>
          </c:val>
          <c:extLst>
            <c:ext xmlns:c16="http://schemas.microsoft.com/office/drawing/2014/chart" uri="{C3380CC4-5D6E-409C-BE32-E72D297353CC}">
              <c16:uniqueId val="{00000000-7793-4031-B574-34DD266BD6BA}"/>
            </c:ext>
          </c:extLst>
        </c:ser>
        <c:dLbls>
          <c:showLegendKey val="0"/>
          <c:showVal val="0"/>
          <c:showCatName val="0"/>
          <c:showSerName val="0"/>
          <c:showPercent val="0"/>
          <c:showBubbleSize val="0"/>
        </c:dLbls>
        <c:gapWidth val="25"/>
        <c:axId val="453713248"/>
        <c:axId val="453718240"/>
        <c:extLst/>
      </c:barChart>
      <c:lineChart>
        <c:grouping val="standard"/>
        <c:varyColors val="0"/>
        <c:ser>
          <c:idx val="1"/>
          <c:order val="1"/>
          <c:tx>
            <c:strRef>
              <c:f>Sheet1!$C$2</c:f>
              <c:strCache>
                <c:ptCount val="1"/>
                <c:pt idx="0">
                  <c:v>Severity</c:v>
                </c:pt>
              </c:strCache>
            </c:strRef>
          </c:tx>
          <c:spPr>
            <a:ln w="28575" cap="rnd">
              <a:solidFill>
                <a:schemeClr val="accent5"/>
              </a:solidFill>
              <a:round/>
            </a:ln>
            <a:effectLst/>
          </c:spPr>
          <c:marker>
            <c:symbol val="none"/>
          </c:marker>
          <c:cat>
            <c:numRef>
              <c:f>Sheet1!$A$3:$A$34</c:f>
              <c:numCache>
                <c:formatCode>General</c:formatCode>
                <c:ptCount val="32"/>
                <c:pt idx="0">
                  <c:v>1991</c:v>
                </c:pt>
                <c:pt idx="1">
                  <c:v>1992</c:v>
                </c:pt>
                <c:pt idx="2">
                  <c:v>1993</c:v>
                </c:pt>
                <c:pt idx="3">
                  <c:v>1994</c:v>
                </c:pt>
                <c:pt idx="4">
                  <c:v>1995</c:v>
                </c:pt>
                <c:pt idx="5">
                  <c:v>1996</c:v>
                </c:pt>
                <c:pt idx="6">
                  <c:v>1997</c:v>
                </c:pt>
                <c:pt idx="7">
                  <c:v>1998</c:v>
                </c:pt>
                <c:pt idx="8">
                  <c:v>1999</c:v>
                </c:pt>
                <c:pt idx="9">
                  <c:v>2000</c:v>
                </c:pt>
                <c:pt idx="10">
                  <c:v>2001</c:v>
                </c:pt>
                <c:pt idx="11">
                  <c:v>2002</c:v>
                </c:pt>
                <c:pt idx="12">
                  <c:v>2003</c:v>
                </c:pt>
                <c:pt idx="13">
                  <c:v>2004</c:v>
                </c:pt>
                <c:pt idx="14">
                  <c:v>2005</c:v>
                </c:pt>
                <c:pt idx="15">
                  <c:v>2006</c:v>
                </c:pt>
                <c:pt idx="16">
                  <c:v>2007</c:v>
                </c:pt>
                <c:pt idx="17">
                  <c:v>2008</c:v>
                </c:pt>
                <c:pt idx="18">
                  <c:v>2009</c:v>
                </c:pt>
                <c:pt idx="19">
                  <c:v>2010</c:v>
                </c:pt>
                <c:pt idx="20">
                  <c:v>2011</c:v>
                </c:pt>
                <c:pt idx="21">
                  <c:v>2012</c:v>
                </c:pt>
                <c:pt idx="22">
                  <c:v>2013</c:v>
                </c:pt>
                <c:pt idx="23">
                  <c:v>2014</c:v>
                </c:pt>
                <c:pt idx="24">
                  <c:v>2015</c:v>
                </c:pt>
                <c:pt idx="25">
                  <c:v>2016</c:v>
                </c:pt>
                <c:pt idx="26">
                  <c:v>2017</c:v>
                </c:pt>
                <c:pt idx="27">
                  <c:v>2018</c:v>
                </c:pt>
                <c:pt idx="28">
                  <c:v>2019</c:v>
                </c:pt>
                <c:pt idx="29">
                  <c:v>2020</c:v>
                </c:pt>
                <c:pt idx="30">
                  <c:v>2021</c:v>
                </c:pt>
                <c:pt idx="31">
                  <c:v>2022</c:v>
                </c:pt>
              </c:numCache>
            </c:numRef>
          </c:cat>
          <c:val>
            <c:numRef>
              <c:f>Sheet1!$C$3:$C$34</c:f>
              <c:numCache>
                <c:formatCode>"$"#,##0</c:formatCode>
                <c:ptCount val="32"/>
                <c:pt idx="0">
                  <c:v>150443.14903846153</c:v>
                </c:pt>
                <c:pt idx="1">
                  <c:v>166009.14590999152</c:v>
                </c:pt>
                <c:pt idx="2">
                  <c:v>171488.86508106563</c:v>
                </c:pt>
                <c:pt idx="3">
                  <c:v>177499.52390809357</c:v>
                </c:pt>
                <c:pt idx="4">
                  <c:v>184506.60075819519</c:v>
                </c:pt>
                <c:pt idx="5">
                  <c:v>192638.38983660837</c:v>
                </c:pt>
                <c:pt idx="6">
                  <c:v>200282.37994607593</c:v>
                </c:pt>
                <c:pt idx="7">
                  <c:v>209913.97886253041</c:v>
                </c:pt>
                <c:pt idx="8">
                  <c:v>214868.67619860577</c:v>
                </c:pt>
                <c:pt idx="9">
                  <c:v>237381.36194543951</c:v>
                </c:pt>
                <c:pt idx="10">
                  <c:v>253997.35829699924</c:v>
                </c:pt>
                <c:pt idx="11">
                  <c:v>262189.06902310048</c:v>
                </c:pt>
                <c:pt idx="12">
                  <c:v>278799.46849700809</c:v>
                </c:pt>
                <c:pt idx="13">
                  <c:v>286819.22877463326</c:v>
                </c:pt>
                <c:pt idx="14">
                  <c:v>282364.32023937395</c:v>
                </c:pt>
                <c:pt idx="15">
                  <c:v>301207.70906295377</c:v>
                </c:pt>
                <c:pt idx="16">
                  <c:v>317713.71372767858</c:v>
                </c:pt>
                <c:pt idx="17">
                  <c:v>321049.21438210912</c:v>
                </c:pt>
                <c:pt idx="18">
                  <c:v>316376.98788057937</c:v>
                </c:pt>
                <c:pt idx="19">
                  <c:v>320570.84647739225</c:v>
                </c:pt>
                <c:pt idx="20">
                  <c:v>325816.17647058825</c:v>
                </c:pt>
                <c:pt idx="21">
                  <c:v>332204.70171890798</c:v>
                </c:pt>
                <c:pt idx="22">
                  <c:v>325290.03222580289</c:v>
                </c:pt>
                <c:pt idx="23">
                  <c:v>353155.41813230456</c:v>
                </c:pt>
                <c:pt idx="24">
                  <c:v>377620.8654519972</c:v>
                </c:pt>
                <c:pt idx="25">
                  <c:v>387896.95663042122</c:v>
                </c:pt>
                <c:pt idx="26">
                  <c:v>379842.07908927504</c:v>
                </c:pt>
                <c:pt idx="27">
                  <c:v>401923.77958579879</c:v>
                </c:pt>
                <c:pt idx="28">
                  <c:v>416712.73766621103</c:v>
                </c:pt>
                <c:pt idx="29">
                  <c:v>405599.30351906159</c:v>
                </c:pt>
                <c:pt idx="30">
                  <c:v>398430.94847390876</c:v>
                </c:pt>
                <c:pt idx="31">
                  <c:v>430313.8433879345</c:v>
                </c:pt>
              </c:numCache>
            </c:numRef>
          </c:val>
          <c:smooth val="0"/>
          <c:extLst>
            <c:ext xmlns:c16="http://schemas.microsoft.com/office/drawing/2014/chart" uri="{C3380CC4-5D6E-409C-BE32-E72D297353CC}">
              <c16:uniqueId val="{00000001-7793-4031-B574-34DD266BD6BA}"/>
            </c:ext>
          </c:extLst>
        </c:ser>
        <c:dLbls>
          <c:showLegendKey val="0"/>
          <c:showVal val="0"/>
          <c:showCatName val="0"/>
          <c:showSerName val="0"/>
          <c:showPercent val="0"/>
          <c:showBubbleSize val="0"/>
        </c:dLbls>
        <c:marker val="1"/>
        <c:smooth val="0"/>
        <c:axId val="412184736"/>
        <c:axId val="412170176"/>
      </c:lineChart>
      <c:catAx>
        <c:axId val="453713248"/>
        <c:scaling>
          <c:orientation val="minMax"/>
        </c:scaling>
        <c:delete val="0"/>
        <c:axPos val="b"/>
        <c:title>
          <c:tx>
            <c:rich>
              <a:bodyPr rot="0" spcFirstLastPara="1" vertOverflow="ellipsis" vert="horz" wrap="square" anchor="ctr" anchorCtr="1"/>
              <a:lstStyle/>
              <a:p>
                <a:pPr>
                  <a:defRPr sz="1330" b="0" i="0" u="none" strike="noStrike" kern="1200" baseline="0">
                    <a:solidFill>
                      <a:srgbClr val="5C718F"/>
                    </a:solidFill>
                    <a:latin typeface="+mn-lt"/>
                    <a:ea typeface="+mn-ea"/>
                    <a:cs typeface="+mn-cs"/>
                  </a:defRPr>
                </a:pPr>
                <a:r>
                  <a:rPr lang="en-US" dirty="0">
                    <a:solidFill>
                      <a:srgbClr val="5C718F"/>
                    </a:solidFill>
                  </a:rPr>
                  <a:t>Close Year</a:t>
                </a:r>
              </a:p>
            </c:rich>
          </c:tx>
          <c:layout/>
          <c:overlay val="0"/>
          <c:spPr>
            <a:noFill/>
            <a:ln>
              <a:noFill/>
            </a:ln>
            <a:effectLst/>
          </c:spPr>
          <c:txPr>
            <a:bodyPr rot="0" spcFirstLastPara="1" vertOverflow="ellipsis" vert="horz" wrap="square" anchor="ctr" anchorCtr="1"/>
            <a:lstStyle/>
            <a:p>
              <a:pPr>
                <a:defRPr sz="1330" b="0" i="0" u="none" strike="noStrike" kern="1200" baseline="0">
                  <a:solidFill>
                    <a:srgbClr val="5C718F"/>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rgbClr val="5C718F"/>
                </a:solidFill>
                <a:latin typeface="+mn-lt"/>
                <a:ea typeface="+mn-ea"/>
                <a:cs typeface="+mn-cs"/>
              </a:defRPr>
            </a:pPr>
            <a:endParaRPr lang="en-US"/>
          </a:p>
        </c:txPr>
        <c:crossAx val="453718240"/>
        <c:crosses val="autoZero"/>
        <c:auto val="1"/>
        <c:lblAlgn val="ctr"/>
        <c:lblOffset val="100"/>
        <c:noMultiLvlLbl val="0"/>
      </c:catAx>
      <c:valAx>
        <c:axId val="45371824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2"/>
                    </a:solidFill>
                    <a:latin typeface="+mn-lt"/>
                    <a:ea typeface="+mn-ea"/>
                    <a:cs typeface="+mn-cs"/>
                  </a:defRPr>
                </a:pPr>
                <a:r>
                  <a:rPr lang="en-US" b="1" dirty="0"/>
                  <a:t>Frequency</a:t>
                </a:r>
              </a:p>
              <a:p>
                <a:pPr>
                  <a:defRPr/>
                </a:pPr>
                <a:r>
                  <a:rPr lang="en-US" dirty="0" smtClean="0"/>
                  <a:t>paid claim</a:t>
                </a:r>
                <a:r>
                  <a:rPr lang="en-US" baseline="0" dirty="0" smtClean="0"/>
                  <a:t> count</a:t>
                </a:r>
                <a:endParaRPr lang="en-US" dirty="0"/>
              </a:p>
            </c:rich>
          </c:tx>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2"/>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53713248"/>
        <c:crosses val="autoZero"/>
        <c:crossBetween val="between"/>
      </c:valAx>
      <c:valAx>
        <c:axId val="412170176"/>
        <c:scaling>
          <c:orientation val="minMax"/>
          <c:max val="450000"/>
        </c:scaling>
        <c:delete val="0"/>
        <c:axPos val="r"/>
        <c:title>
          <c:tx>
            <c:rich>
              <a:bodyPr rot="5400000" spcFirstLastPara="1" vertOverflow="ellipsis" wrap="square" anchor="ctr" anchorCtr="1"/>
              <a:lstStyle/>
              <a:p>
                <a:pPr>
                  <a:defRPr sz="1330" b="0" i="0" u="none" strike="noStrike" kern="1200" baseline="0">
                    <a:solidFill>
                      <a:schemeClr val="accent5"/>
                    </a:solidFill>
                    <a:latin typeface="+mn-lt"/>
                    <a:ea typeface="+mn-ea"/>
                    <a:cs typeface="+mn-cs"/>
                  </a:defRPr>
                </a:pPr>
                <a:r>
                  <a:rPr lang="en-US" b="1" dirty="0">
                    <a:solidFill>
                      <a:schemeClr val="accent5"/>
                    </a:solidFill>
                  </a:rPr>
                  <a:t>Severity</a:t>
                </a:r>
              </a:p>
              <a:p>
                <a:pPr>
                  <a:defRPr>
                    <a:solidFill>
                      <a:schemeClr val="accent5"/>
                    </a:solidFill>
                  </a:defRPr>
                </a:pPr>
                <a:r>
                  <a:rPr lang="en-US" dirty="0">
                    <a:solidFill>
                      <a:schemeClr val="accent5"/>
                    </a:solidFill>
                  </a:rPr>
                  <a:t>paid loss per defendant</a:t>
                </a:r>
              </a:p>
            </c:rich>
          </c:tx>
          <c:layout/>
          <c:overlay val="0"/>
          <c:spPr>
            <a:noFill/>
            <a:ln>
              <a:noFill/>
            </a:ln>
            <a:effectLst/>
          </c:spPr>
          <c:txPr>
            <a:bodyPr rot="5400000" spcFirstLastPara="1" vertOverflow="ellipsis" wrap="square" anchor="ctr" anchorCtr="1"/>
            <a:lstStyle/>
            <a:p>
              <a:pPr>
                <a:defRPr sz="1330" b="0" i="0" u="none" strike="noStrike" kern="1200" baseline="0">
                  <a:solidFill>
                    <a:schemeClr val="accent5"/>
                  </a:solidFill>
                  <a:latin typeface="+mn-lt"/>
                  <a:ea typeface="+mn-ea"/>
                  <a:cs typeface="+mn-cs"/>
                </a:defRPr>
              </a:pPr>
              <a:endParaRPr lang="en-US"/>
            </a:p>
          </c:txPr>
        </c:title>
        <c:numFmt formatCode="&quot;$&quot;#,##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accent5"/>
                </a:solidFill>
                <a:latin typeface="+mn-lt"/>
                <a:ea typeface="+mn-ea"/>
                <a:cs typeface="+mn-cs"/>
              </a:defRPr>
            </a:pPr>
            <a:endParaRPr lang="en-US"/>
          </a:p>
        </c:txPr>
        <c:crossAx val="412184736"/>
        <c:crosses val="max"/>
        <c:crossBetween val="between"/>
      </c:valAx>
      <c:catAx>
        <c:axId val="412184736"/>
        <c:scaling>
          <c:orientation val="minMax"/>
        </c:scaling>
        <c:delete val="1"/>
        <c:axPos val="b"/>
        <c:numFmt formatCode="General" sourceLinked="1"/>
        <c:majorTickMark val="out"/>
        <c:minorTickMark val="none"/>
        <c:tickLblPos val="nextTo"/>
        <c:crossAx val="41217017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solidFill>
            <a:schemeClr val="tx2"/>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2"/>
          <c:order val="1"/>
          <c:tx>
            <c:strRef>
              <c:f>Sheet1!$C$2</c:f>
              <c:strCache>
                <c:ptCount val="1"/>
                <c:pt idx="0">
                  <c:v>Blank</c:v>
                </c:pt>
              </c:strCache>
            </c:strRef>
          </c:tx>
          <c:spPr>
            <a:noFill/>
            <a:ln>
              <a:noFill/>
            </a:ln>
            <a:effectLst/>
          </c:spPr>
          <c:invertIfNegative val="0"/>
          <c:cat>
            <c:strRef>
              <c:f>Sheet1!$A$3:$A$49</c:f>
              <c:strCache>
                <c:ptCount val="47"/>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e</c:v>
                </c:pt>
              </c:strCache>
            </c:strRef>
          </c:cat>
          <c:val>
            <c:numRef>
              <c:f>Sheet1!$C$3:$C$49</c:f>
              <c:numCache>
                <c:formatCode>0%</c:formatCode>
                <c:ptCount val="47"/>
                <c:pt idx="0">
                  <c:v>1</c:v>
                </c:pt>
                <c:pt idx="1">
                  <c:v>0.98699999999999999</c:v>
                </c:pt>
                <c:pt idx="2">
                  <c:v>1</c:v>
                </c:pt>
                <c:pt idx="3">
                  <c:v>1</c:v>
                </c:pt>
                <c:pt idx="4">
                  <c:v>1</c:v>
                </c:pt>
                <c:pt idx="5">
                  <c:v>1</c:v>
                </c:pt>
                <c:pt idx="6">
                  <c:v>1</c:v>
                </c:pt>
                <c:pt idx="7">
                  <c:v>1</c:v>
                </c:pt>
                <c:pt idx="8">
                  <c:v>1</c:v>
                </c:pt>
                <c:pt idx="9">
                  <c:v>1</c:v>
                </c:pt>
                <c:pt idx="10">
                  <c:v>1</c:v>
                </c:pt>
                <c:pt idx="11">
                  <c:v>1</c:v>
                </c:pt>
                <c:pt idx="12">
                  <c:v>1</c:v>
                </c:pt>
                <c:pt idx="13">
                  <c:v>0.89</c:v>
                </c:pt>
                <c:pt idx="14">
                  <c:v>1</c:v>
                </c:pt>
                <c:pt idx="15">
                  <c:v>1</c:v>
                </c:pt>
                <c:pt idx="16">
                  <c:v>1</c:v>
                </c:pt>
                <c:pt idx="17">
                  <c:v>1</c:v>
                </c:pt>
                <c:pt idx="18">
                  <c:v>0.96399999999999997</c:v>
                </c:pt>
                <c:pt idx="19">
                  <c:v>0.998</c:v>
                </c:pt>
                <c:pt idx="20">
                  <c:v>1</c:v>
                </c:pt>
                <c:pt idx="21">
                  <c:v>1</c:v>
                </c:pt>
                <c:pt idx="22">
                  <c:v>1</c:v>
                </c:pt>
                <c:pt idx="23">
                  <c:v>1</c:v>
                </c:pt>
                <c:pt idx="24">
                  <c:v>1</c:v>
                </c:pt>
                <c:pt idx="25">
                  <c:v>1</c:v>
                </c:pt>
                <c:pt idx="26">
                  <c:v>1</c:v>
                </c:pt>
                <c:pt idx="27">
                  <c:v>1</c:v>
                </c:pt>
                <c:pt idx="28">
                  <c:v>1</c:v>
                </c:pt>
                <c:pt idx="29">
                  <c:v>1</c:v>
                </c:pt>
                <c:pt idx="30">
                  <c:v>0.9123</c:v>
                </c:pt>
                <c:pt idx="31">
                  <c:v>0.84899999999999998</c:v>
                </c:pt>
                <c:pt idx="32">
                  <c:v>0.79</c:v>
                </c:pt>
                <c:pt idx="33">
                  <c:v>0.85399999999999998</c:v>
                </c:pt>
                <c:pt idx="34">
                  <c:v>0.88880000000000003</c:v>
                </c:pt>
                <c:pt idx="35">
                  <c:v>0.87919999999999998</c:v>
                </c:pt>
                <c:pt idx="36">
                  <c:v>0.92879999999999996</c:v>
                </c:pt>
                <c:pt idx="37">
                  <c:v>0.89139999999999997</c:v>
                </c:pt>
                <c:pt idx="38">
                  <c:v>1</c:v>
                </c:pt>
                <c:pt idx="39">
                  <c:v>1</c:v>
                </c:pt>
                <c:pt idx="40">
                  <c:v>1</c:v>
                </c:pt>
                <c:pt idx="41">
                  <c:v>1</c:v>
                </c:pt>
                <c:pt idx="42">
                  <c:v>1</c:v>
                </c:pt>
                <c:pt idx="43">
                  <c:v>1</c:v>
                </c:pt>
                <c:pt idx="44">
                  <c:v>1</c:v>
                </c:pt>
                <c:pt idx="45">
                  <c:v>1</c:v>
                </c:pt>
                <c:pt idx="46">
                  <c:v>1</c:v>
                </c:pt>
              </c:numCache>
            </c:numRef>
          </c:val>
          <c:extLst>
            <c:ext xmlns:c16="http://schemas.microsoft.com/office/drawing/2014/chart" uri="{C3380CC4-5D6E-409C-BE32-E72D297353CC}">
              <c16:uniqueId val="{00000002-6C10-4C14-B1AC-89439FD88245}"/>
            </c:ext>
          </c:extLst>
        </c:ser>
        <c:ser>
          <c:idx val="3"/>
          <c:order val="2"/>
          <c:tx>
            <c:strRef>
              <c:f>Sheet1!$D$2</c:f>
              <c:strCache>
                <c:ptCount val="1"/>
                <c:pt idx="0">
                  <c:v>Underwriting Profit</c:v>
                </c:pt>
              </c:strCache>
            </c:strRef>
          </c:tx>
          <c:spPr>
            <a:solidFill>
              <a:schemeClr val="accent5"/>
            </a:solidFill>
            <a:ln>
              <a:noFill/>
            </a:ln>
            <a:effectLst/>
          </c:spPr>
          <c:invertIfNegative val="0"/>
          <c:cat>
            <c:strRef>
              <c:f>Sheet1!$A$3:$A$49</c:f>
              <c:strCache>
                <c:ptCount val="47"/>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e</c:v>
                </c:pt>
              </c:strCache>
            </c:strRef>
          </c:cat>
          <c:val>
            <c:numRef>
              <c:f>Sheet1!$D$3:$D$49</c:f>
              <c:numCache>
                <c:formatCode>0%</c:formatCode>
                <c:ptCount val="47"/>
                <c:pt idx="0">
                  <c:v>0.10699999999999998</c:v>
                </c:pt>
                <c:pt idx="1">
                  <c:v>0</c:v>
                </c:pt>
                <c:pt idx="2">
                  <c:v>4.8999999999999932E-2</c:v>
                </c:pt>
                <c:pt idx="3">
                  <c:v>0.1379999999999999</c:v>
                </c:pt>
                <c:pt idx="4">
                  <c:v>0.29200000000000004</c:v>
                </c:pt>
                <c:pt idx="5">
                  <c:v>0.375</c:v>
                </c:pt>
                <c:pt idx="6">
                  <c:v>0.50800000000000001</c:v>
                </c:pt>
                <c:pt idx="7">
                  <c:v>0.5109999999999999</c:v>
                </c:pt>
                <c:pt idx="8">
                  <c:v>0.623</c:v>
                </c:pt>
                <c:pt idx="9">
                  <c:v>0.66999999999999993</c:v>
                </c:pt>
                <c:pt idx="10">
                  <c:v>0.39500000000000002</c:v>
                </c:pt>
                <c:pt idx="11">
                  <c:v>0.22500000000000009</c:v>
                </c:pt>
                <c:pt idx="12">
                  <c:v>0.19799999999999995</c:v>
                </c:pt>
                <c:pt idx="13">
                  <c:v>0</c:v>
                </c:pt>
                <c:pt idx="14">
                  <c:v>5.8000000000000052E-2</c:v>
                </c:pt>
                <c:pt idx="15">
                  <c:v>3.8000000000000034E-2</c:v>
                </c:pt>
                <c:pt idx="16">
                  <c:v>0.27800000000000002</c:v>
                </c:pt>
                <c:pt idx="17">
                  <c:v>8.0000000000000071E-2</c:v>
                </c:pt>
                <c:pt idx="18">
                  <c:v>0</c:v>
                </c:pt>
                <c:pt idx="19">
                  <c:v>0</c:v>
                </c:pt>
                <c:pt idx="20">
                  <c:v>0.10030000000000006</c:v>
                </c:pt>
                <c:pt idx="21">
                  <c:v>0.12490000000000001</c:v>
                </c:pt>
                <c:pt idx="22">
                  <c:v>0.1774</c:v>
                </c:pt>
                <c:pt idx="23">
                  <c:v>0.28269999999999995</c:v>
                </c:pt>
                <c:pt idx="24">
                  <c:v>0.3277000000000001</c:v>
                </c:pt>
                <c:pt idx="25">
                  <c:v>0.55079999999999996</c:v>
                </c:pt>
                <c:pt idx="26">
                  <c:v>0.43039999999999989</c:v>
                </c:pt>
                <c:pt idx="27">
                  <c:v>0.39620000000000011</c:v>
                </c:pt>
                <c:pt idx="28">
                  <c:v>0.10470000000000002</c:v>
                </c:pt>
                <c:pt idx="29">
                  <c:v>1.0000000000000009E-2</c:v>
                </c:pt>
                <c:pt idx="30">
                  <c:v>0</c:v>
                </c:pt>
                <c:pt idx="31">
                  <c:v>0</c:v>
                </c:pt>
                <c:pt idx="32">
                  <c:v>0</c:v>
                </c:pt>
                <c:pt idx="33">
                  <c:v>0</c:v>
                </c:pt>
                <c:pt idx="34">
                  <c:v>0</c:v>
                </c:pt>
                <c:pt idx="35">
                  <c:v>0</c:v>
                </c:pt>
                <c:pt idx="36">
                  <c:v>0</c:v>
                </c:pt>
                <c:pt idx="37">
                  <c:v>0</c:v>
                </c:pt>
                <c:pt idx="38">
                  <c:v>4.6499999999999986E-2</c:v>
                </c:pt>
                <c:pt idx="39">
                  <c:v>1.7400000000000082E-2</c:v>
                </c:pt>
                <c:pt idx="40">
                  <c:v>6.4999999999999947E-2</c:v>
                </c:pt>
                <c:pt idx="41">
                  <c:v>1.8699999999999939E-2</c:v>
                </c:pt>
                <c:pt idx="42">
                  <c:v>3.9700000000000069E-2</c:v>
                </c:pt>
                <c:pt idx="43">
                  <c:v>0.12519999999999998</c:v>
                </c:pt>
                <c:pt idx="44">
                  <c:v>0.13959999999999995</c:v>
                </c:pt>
                <c:pt idx="45">
                  <c:v>8.660000000000001E-2</c:v>
                </c:pt>
                <c:pt idx="46">
                  <c:v>0.10000000000000009</c:v>
                </c:pt>
              </c:numCache>
            </c:numRef>
          </c:val>
          <c:extLst>
            <c:ext xmlns:c16="http://schemas.microsoft.com/office/drawing/2014/chart" uri="{C3380CC4-5D6E-409C-BE32-E72D297353CC}">
              <c16:uniqueId val="{00000004-6C10-4C14-B1AC-89439FD88245}"/>
            </c:ext>
          </c:extLst>
        </c:ser>
        <c:ser>
          <c:idx val="4"/>
          <c:order val="3"/>
          <c:tx>
            <c:strRef>
              <c:f>Sheet1!$E$2</c:f>
              <c:strCache>
                <c:ptCount val="1"/>
                <c:pt idx="0">
                  <c:v>Underwriting Loss</c:v>
                </c:pt>
              </c:strCache>
            </c:strRef>
          </c:tx>
          <c:spPr>
            <a:solidFill>
              <a:srgbClr val="92D050"/>
            </a:solidFill>
            <a:ln>
              <a:noFill/>
            </a:ln>
            <a:effectLst/>
          </c:spPr>
          <c:invertIfNegative val="0"/>
          <c:cat>
            <c:strRef>
              <c:f>Sheet1!$A$3:$A$49</c:f>
              <c:strCache>
                <c:ptCount val="47"/>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e</c:v>
                </c:pt>
              </c:strCache>
            </c:strRef>
          </c:cat>
          <c:val>
            <c:numRef>
              <c:f>Sheet1!$E$3:$E$49</c:f>
              <c:numCache>
                <c:formatCode>0%</c:formatCode>
                <c:ptCount val="47"/>
                <c:pt idx="0">
                  <c:v>0</c:v>
                </c:pt>
                <c:pt idx="1">
                  <c:v>1.3000000000000012E-2</c:v>
                </c:pt>
                <c:pt idx="2">
                  <c:v>0</c:v>
                </c:pt>
                <c:pt idx="3">
                  <c:v>0</c:v>
                </c:pt>
                <c:pt idx="4">
                  <c:v>0</c:v>
                </c:pt>
                <c:pt idx="5">
                  <c:v>0</c:v>
                </c:pt>
                <c:pt idx="6">
                  <c:v>0</c:v>
                </c:pt>
                <c:pt idx="7">
                  <c:v>0</c:v>
                </c:pt>
                <c:pt idx="8">
                  <c:v>0</c:v>
                </c:pt>
                <c:pt idx="9">
                  <c:v>0</c:v>
                </c:pt>
                <c:pt idx="10">
                  <c:v>0</c:v>
                </c:pt>
                <c:pt idx="11">
                  <c:v>0</c:v>
                </c:pt>
                <c:pt idx="12">
                  <c:v>0</c:v>
                </c:pt>
                <c:pt idx="13">
                  <c:v>0.10999999999999999</c:v>
                </c:pt>
                <c:pt idx="14">
                  <c:v>0</c:v>
                </c:pt>
                <c:pt idx="15">
                  <c:v>0</c:v>
                </c:pt>
                <c:pt idx="16">
                  <c:v>0</c:v>
                </c:pt>
                <c:pt idx="17">
                  <c:v>0</c:v>
                </c:pt>
                <c:pt idx="18">
                  <c:v>3.6000000000000032E-2</c:v>
                </c:pt>
                <c:pt idx="19">
                  <c:v>2.0000000000000018E-3</c:v>
                </c:pt>
                <c:pt idx="20">
                  <c:v>0</c:v>
                </c:pt>
                <c:pt idx="21">
                  <c:v>0</c:v>
                </c:pt>
                <c:pt idx="22">
                  <c:v>0</c:v>
                </c:pt>
                <c:pt idx="23">
                  <c:v>0</c:v>
                </c:pt>
                <c:pt idx="24">
                  <c:v>0</c:v>
                </c:pt>
                <c:pt idx="25">
                  <c:v>0</c:v>
                </c:pt>
                <c:pt idx="26">
                  <c:v>0</c:v>
                </c:pt>
                <c:pt idx="27">
                  <c:v>0</c:v>
                </c:pt>
                <c:pt idx="28">
                  <c:v>0</c:v>
                </c:pt>
                <c:pt idx="29">
                  <c:v>0</c:v>
                </c:pt>
                <c:pt idx="30">
                  <c:v>8.77E-2</c:v>
                </c:pt>
                <c:pt idx="31">
                  <c:v>0.15100000000000002</c:v>
                </c:pt>
                <c:pt idx="32">
                  <c:v>0.20999999999999996</c:v>
                </c:pt>
                <c:pt idx="33">
                  <c:v>0.14600000000000002</c:v>
                </c:pt>
                <c:pt idx="34">
                  <c:v>0.11119999999999997</c:v>
                </c:pt>
                <c:pt idx="35">
                  <c:v>0.12080000000000002</c:v>
                </c:pt>
                <c:pt idx="36">
                  <c:v>7.1200000000000041E-2</c:v>
                </c:pt>
                <c:pt idx="37">
                  <c:v>0.10860000000000003</c:v>
                </c:pt>
                <c:pt idx="38">
                  <c:v>0</c:v>
                </c:pt>
                <c:pt idx="39">
                  <c:v>0</c:v>
                </c:pt>
                <c:pt idx="40">
                  <c:v>0</c:v>
                </c:pt>
                <c:pt idx="41">
                  <c:v>0</c:v>
                </c:pt>
                <c:pt idx="42">
                  <c:v>0</c:v>
                </c:pt>
                <c:pt idx="43">
                  <c:v>0</c:v>
                </c:pt>
                <c:pt idx="44">
                  <c:v>0</c:v>
                </c:pt>
                <c:pt idx="45">
                  <c:v>0</c:v>
                </c:pt>
                <c:pt idx="46">
                  <c:v>0</c:v>
                </c:pt>
              </c:numCache>
            </c:numRef>
          </c:val>
          <c:extLst xmlns:c15="http://schemas.microsoft.com/office/drawing/2012/chart">
            <c:ext xmlns:c16="http://schemas.microsoft.com/office/drawing/2014/chart" uri="{C3380CC4-5D6E-409C-BE32-E72D297353CC}">
              <c16:uniqueId val="{00000005-6C10-4C14-B1AC-89439FD88245}"/>
            </c:ext>
          </c:extLst>
        </c:ser>
        <c:dLbls>
          <c:showLegendKey val="0"/>
          <c:showVal val="0"/>
          <c:showCatName val="0"/>
          <c:showSerName val="0"/>
          <c:showPercent val="0"/>
          <c:showBubbleSize val="0"/>
        </c:dLbls>
        <c:gapWidth val="25"/>
        <c:overlap val="100"/>
        <c:axId val="1902913791"/>
        <c:axId val="1902924607"/>
        <c:extLst>
          <c:ext xmlns:c15="http://schemas.microsoft.com/office/drawing/2012/chart" uri="{02D57815-91ED-43cb-92C2-25804820EDAC}">
            <c15:filteredBarSeries>
              <c15:ser>
                <c:idx val="1"/>
                <c:order val="0"/>
                <c:tx>
                  <c:strRef>
                    <c:extLst>
                      <c:ext uri="{02D57815-91ED-43cb-92C2-25804820EDAC}">
                        <c15:formulaRef>
                          <c15:sqref>Sheet1!$B$2</c15:sqref>
                        </c15:formulaRef>
                      </c:ext>
                    </c:extLst>
                    <c:strCache>
                      <c:ptCount val="1"/>
                      <c:pt idx="0">
                        <c:v>Combined Ratio</c:v>
                      </c:pt>
                    </c:strCache>
                  </c:strRef>
                </c:tx>
                <c:spPr>
                  <a:solidFill>
                    <a:schemeClr val="accent2"/>
                  </a:solidFill>
                  <a:ln>
                    <a:noFill/>
                  </a:ln>
                  <a:effectLst/>
                </c:spPr>
                <c:invertIfNegative val="0"/>
                <c:cat>
                  <c:strRef>
                    <c:extLst>
                      <c:ext uri="{02D57815-91ED-43cb-92C2-25804820EDAC}">
                        <c15:formulaRef>
                          <c15:sqref>Sheet1!$A$3:$A$49</c15:sqref>
                        </c15:formulaRef>
                      </c:ext>
                    </c:extLst>
                    <c:strCache>
                      <c:ptCount val="47"/>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e</c:v>
                      </c:pt>
                    </c:strCache>
                  </c:strRef>
                </c:cat>
                <c:val>
                  <c:numRef>
                    <c:extLst>
                      <c:ext uri="{02D57815-91ED-43cb-92C2-25804820EDAC}">
                        <c15:formulaRef>
                          <c15:sqref>Sheet1!$B$3:$B$49</c15:sqref>
                        </c15:formulaRef>
                      </c:ext>
                    </c:extLst>
                    <c:numCache>
                      <c:formatCode>0%</c:formatCode>
                      <c:ptCount val="47"/>
                      <c:pt idx="0">
                        <c:v>1.107</c:v>
                      </c:pt>
                      <c:pt idx="1">
                        <c:v>0.98699999999999999</c:v>
                      </c:pt>
                      <c:pt idx="2">
                        <c:v>1.0489999999999999</c:v>
                      </c:pt>
                      <c:pt idx="3">
                        <c:v>1.1379999999999999</c:v>
                      </c:pt>
                      <c:pt idx="4">
                        <c:v>1.292</c:v>
                      </c:pt>
                      <c:pt idx="5">
                        <c:v>1.375</c:v>
                      </c:pt>
                      <c:pt idx="6">
                        <c:v>1.508</c:v>
                      </c:pt>
                      <c:pt idx="7">
                        <c:v>1.5109999999999999</c:v>
                      </c:pt>
                      <c:pt idx="8">
                        <c:v>1.623</c:v>
                      </c:pt>
                      <c:pt idx="9">
                        <c:v>1.67</c:v>
                      </c:pt>
                      <c:pt idx="10">
                        <c:v>1.395</c:v>
                      </c:pt>
                      <c:pt idx="11">
                        <c:v>1.2250000000000001</c:v>
                      </c:pt>
                      <c:pt idx="12">
                        <c:v>1.198</c:v>
                      </c:pt>
                      <c:pt idx="13">
                        <c:v>0.89</c:v>
                      </c:pt>
                      <c:pt idx="14">
                        <c:v>1.0580000000000001</c:v>
                      </c:pt>
                      <c:pt idx="15">
                        <c:v>1.038</c:v>
                      </c:pt>
                      <c:pt idx="16">
                        <c:v>1.278</c:v>
                      </c:pt>
                      <c:pt idx="17">
                        <c:v>1.08</c:v>
                      </c:pt>
                      <c:pt idx="18">
                        <c:v>0.96399999999999997</c:v>
                      </c:pt>
                      <c:pt idx="19">
                        <c:v>0.998</c:v>
                      </c:pt>
                      <c:pt idx="20">
                        <c:v>1.1003000000000001</c:v>
                      </c:pt>
                      <c:pt idx="21">
                        <c:v>1.1249</c:v>
                      </c:pt>
                      <c:pt idx="22">
                        <c:v>1.1774</c:v>
                      </c:pt>
                      <c:pt idx="23">
                        <c:v>1.2827</c:v>
                      </c:pt>
                      <c:pt idx="24">
                        <c:v>1.3277000000000001</c:v>
                      </c:pt>
                      <c:pt idx="25">
                        <c:v>1.5508</c:v>
                      </c:pt>
                      <c:pt idx="26">
                        <c:v>1.4303999999999999</c:v>
                      </c:pt>
                      <c:pt idx="27">
                        <c:v>1.3962000000000001</c:v>
                      </c:pt>
                      <c:pt idx="28">
                        <c:v>1.1047</c:v>
                      </c:pt>
                      <c:pt idx="29">
                        <c:v>1.01</c:v>
                      </c:pt>
                      <c:pt idx="30">
                        <c:v>0.9123</c:v>
                      </c:pt>
                      <c:pt idx="31">
                        <c:v>0.84899999999999998</c:v>
                      </c:pt>
                      <c:pt idx="32">
                        <c:v>0.79</c:v>
                      </c:pt>
                      <c:pt idx="33">
                        <c:v>0.85399999999999998</c:v>
                      </c:pt>
                      <c:pt idx="34">
                        <c:v>0.88880000000000003</c:v>
                      </c:pt>
                      <c:pt idx="35">
                        <c:v>0.87919999999999998</c:v>
                      </c:pt>
                      <c:pt idx="36">
                        <c:v>0.92879999999999996</c:v>
                      </c:pt>
                      <c:pt idx="37">
                        <c:v>0.89139999999999997</c:v>
                      </c:pt>
                      <c:pt idx="38">
                        <c:v>1.0465</c:v>
                      </c:pt>
                      <c:pt idx="39">
                        <c:v>1.0174000000000001</c:v>
                      </c:pt>
                      <c:pt idx="40">
                        <c:v>1.0649999999999999</c:v>
                      </c:pt>
                      <c:pt idx="41">
                        <c:v>1.0186999999999999</c:v>
                      </c:pt>
                      <c:pt idx="42">
                        <c:v>1.0397000000000001</c:v>
                      </c:pt>
                      <c:pt idx="43">
                        <c:v>1.1252</c:v>
                      </c:pt>
                      <c:pt idx="44">
                        <c:v>1.1395999999999999</c:v>
                      </c:pt>
                      <c:pt idx="45">
                        <c:v>1.0866</c:v>
                      </c:pt>
                      <c:pt idx="46">
                        <c:v>1.1000000000000001</c:v>
                      </c:pt>
                    </c:numCache>
                  </c:numRef>
                </c:val>
                <c:extLst>
                  <c:ext xmlns:c16="http://schemas.microsoft.com/office/drawing/2014/chart" uri="{C3380CC4-5D6E-409C-BE32-E72D297353CC}">
                    <c16:uniqueId val="{00000001-6C10-4C14-B1AC-89439FD88245}"/>
                  </c:ext>
                </c:extLst>
              </c15:ser>
            </c15:filteredBarSeries>
          </c:ext>
        </c:extLst>
      </c:barChart>
      <c:barChart>
        <c:barDir val="col"/>
        <c:grouping val="clustered"/>
        <c:varyColors val="0"/>
        <c:ser>
          <c:idx val="6"/>
          <c:order val="6"/>
          <c:tx>
            <c:strRef>
              <c:f>Sheet1!$G$2</c:f>
              <c:strCache>
                <c:ptCount val="1"/>
                <c:pt idx="0">
                  <c:v>Premium Growth &gt; Loss Trend</c:v>
                </c:pt>
              </c:strCache>
            </c:strRef>
          </c:tx>
          <c:spPr>
            <a:solidFill>
              <a:schemeClr val="accent6">
                <a:alpha val="15000"/>
              </a:schemeClr>
            </a:solidFill>
            <a:ln>
              <a:noFill/>
            </a:ln>
            <a:effectLst/>
          </c:spPr>
          <c:invertIfNegative val="0"/>
          <c:cat>
            <c:strRef>
              <c:f>Sheet1!$A$3:$A$49</c:f>
              <c:strCache>
                <c:ptCount val="47"/>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e</c:v>
                </c:pt>
              </c:strCache>
            </c:strRef>
          </c:cat>
          <c:val>
            <c:numRef>
              <c:f>Sheet1!$G$3:$G$49</c:f>
              <c:numCache>
                <c:formatCode>"$"#,##0</c:formatCode>
                <c:ptCount val="47"/>
                <c:pt idx="1">
                  <c:v>15000000000</c:v>
                </c:pt>
                <c:pt idx="2">
                  <c:v>0</c:v>
                </c:pt>
                <c:pt idx="3">
                  <c:v>0</c:v>
                </c:pt>
                <c:pt idx="4">
                  <c:v>15000000000</c:v>
                </c:pt>
                <c:pt idx="5">
                  <c:v>15000000000</c:v>
                </c:pt>
                <c:pt idx="6">
                  <c:v>15000000000</c:v>
                </c:pt>
                <c:pt idx="7">
                  <c:v>15000000000</c:v>
                </c:pt>
                <c:pt idx="8">
                  <c:v>15000000000</c:v>
                </c:pt>
                <c:pt idx="9">
                  <c:v>15000000000</c:v>
                </c:pt>
                <c:pt idx="10">
                  <c:v>15000000000</c:v>
                </c:pt>
                <c:pt idx="11">
                  <c:v>15000000000</c:v>
                </c:pt>
                <c:pt idx="12">
                  <c:v>15000000000</c:v>
                </c:pt>
                <c:pt idx="13">
                  <c:v>15000000000</c:v>
                </c:pt>
                <c:pt idx="14">
                  <c:v>0</c:v>
                </c:pt>
                <c:pt idx="15">
                  <c:v>0</c:v>
                </c:pt>
                <c:pt idx="16">
                  <c:v>0</c:v>
                </c:pt>
                <c:pt idx="17">
                  <c:v>15000000000</c:v>
                </c:pt>
                <c:pt idx="18">
                  <c:v>15000000000</c:v>
                </c:pt>
                <c:pt idx="19">
                  <c:v>0</c:v>
                </c:pt>
                <c:pt idx="20">
                  <c:v>0</c:v>
                </c:pt>
                <c:pt idx="21">
                  <c:v>0</c:v>
                </c:pt>
                <c:pt idx="22">
                  <c:v>15000000000</c:v>
                </c:pt>
                <c:pt idx="23">
                  <c:v>0</c:v>
                </c:pt>
                <c:pt idx="24">
                  <c:v>15000000000</c:v>
                </c:pt>
                <c:pt idx="25">
                  <c:v>15000000000</c:v>
                </c:pt>
                <c:pt idx="26">
                  <c:v>15000000000</c:v>
                </c:pt>
                <c:pt idx="27">
                  <c:v>15000000000</c:v>
                </c:pt>
                <c:pt idx="28">
                  <c:v>15000000000</c:v>
                </c:pt>
                <c:pt idx="29">
                  <c:v>1500000000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15000000000</c:v>
                </c:pt>
                <c:pt idx="44">
                  <c:v>0</c:v>
                </c:pt>
                <c:pt idx="45">
                  <c:v>15000000000</c:v>
                </c:pt>
                <c:pt idx="46">
                  <c:v>15000000000</c:v>
                </c:pt>
              </c:numCache>
            </c:numRef>
          </c:val>
          <c:extLst>
            <c:ext xmlns:c16="http://schemas.microsoft.com/office/drawing/2014/chart" uri="{C3380CC4-5D6E-409C-BE32-E72D297353CC}">
              <c16:uniqueId val="{00000003-10A6-43E0-9DD9-4D268187D3E0}"/>
            </c:ext>
          </c:extLst>
        </c:ser>
        <c:dLbls>
          <c:showLegendKey val="0"/>
          <c:showVal val="0"/>
          <c:showCatName val="0"/>
          <c:showSerName val="0"/>
          <c:showPercent val="0"/>
          <c:showBubbleSize val="0"/>
        </c:dLbls>
        <c:gapWidth val="0"/>
        <c:axId val="887445743"/>
        <c:axId val="887442831"/>
        <c:extLst>
          <c:ext xmlns:c15="http://schemas.microsoft.com/office/drawing/2012/chart" uri="{02D57815-91ED-43cb-92C2-25804820EDAC}">
            <c15:filteredBarSeries>
              <c15:ser>
                <c:idx val="0"/>
                <c:order val="4"/>
                <c:tx>
                  <c:strRef>
                    <c:extLst>
                      <c:ext uri="{02D57815-91ED-43cb-92C2-25804820EDAC}">
                        <c15:formulaRef>
                          <c15:sqref>Sheet1!$B$2</c15:sqref>
                        </c15:formulaRef>
                      </c:ext>
                    </c:extLst>
                    <c:strCache>
                      <c:ptCount val="1"/>
                      <c:pt idx="0">
                        <c:v>Combined Ratio</c:v>
                      </c:pt>
                    </c:strCache>
                  </c:strRef>
                </c:tx>
                <c:spPr>
                  <a:solidFill>
                    <a:schemeClr val="accent1"/>
                  </a:solidFill>
                  <a:ln>
                    <a:noFill/>
                  </a:ln>
                  <a:effectLst/>
                </c:spPr>
                <c:invertIfNegative val="0"/>
                <c:cat>
                  <c:strRef>
                    <c:extLst>
                      <c:ext uri="{02D57815-91ED-43cb-92C2-25804820EDAC}">
                        <c15:formulaRef>
                          <c15:sqref>Sheet1!$A$3:$A$49</c15:sqref>
                        </c15:formulaRef>
                      </c:ext>
                    </c:extLst>
                    <c:strCache>
                      <c:ptCount val="47"/>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e</c:v>
                      </c:pt>
                    </c:strCache>
                  </c:strRef>
                </c:cat>
                <c:val>
                  <c:numRef>
                    <c:extLst>
                      <c:ext uri="{02D57815-91ED-43cb-92C2-25804820EDAC}">
                        <c15:formulaRef>
                          <c15:sqref>Sheet1!$B$3:$B$49</c15:sqref>
                        </c15:formulaRef>
                      </c:ext>
                    </c:extLst>
                    <c:numCache>
                      <c:formatCode>0%</c:formatCode>
                      <c:ptCount val="47"/>
                      <c:pt idx="0">
                        <c:v>1.107</c:v>
                      </c:pt>
                      <c:pt idx="1">
                        <c:v>0.98699999999999999</c:v>
                      </c:pt>
                      <c:pt idx="2">
                        <c:v>1.0489999999999999</c:v>
                      </c:pt>
                      <c:pt idx="3">
                        <c:v>1.1379999999999999</c:v>
                      </c:pt>
                      <c:pt idx="4">
                        <c:v>1.292</c:v>
                      </c:pt>
                      <c:pt idx="5">
                        <c:v>1.375</c:v>
                      </c:pt>
                      <c:pt idx="6">
                        <c:v>1.508</c:v>
                      </c:pt>
                      <c:pt idx="7">
                        <c:v>1.5109999999999999</c:v>
                      </c:pt>
                      <c:pt idx="8">
                        <c:v>1.623</c:v>
                      </c:pt>
                      <c:pt idx="9">
                        <c:v>1.67</c:v>
                      </c:pt>
                      <c:pt idx="10">
                        <c:v>1.395</c:v>
                      </c:pt>
                      <c:pt idx="11">
                        <c:v>1.2250000000000001</c:v>
                      </c:pt>
                      <c:pt idx="12">
                        <c:v>1.198</c:v>
                      </c:pt>
                      <c:pt idx="13">
                        <c:v>0.89</c:v>
                      </c:pt>
                      <c:pt idx="14">
                        <c:v>1.0580000000000001</c:v>
                      </c:pt>
                      <c:pt idx="15">
                        <c:v>1.038</c:v>
                      </c:pt>
                      <c:pt idx="16">
                        <c:v>1.278</c:v>
                      </c:pt>
                      <c:pt idx="17">
                        <c:v>1.08</c:v>
                      </c:pt>
                      <c:pt idx="18">
                        <c:v>0.96399999999999997</c:v>
                      </c:pt>
                      <c:pt idx="19">
                        <c:v>0.998</c:v>
                      </c:pt>
                      <c:pt idx="20">
                        <c:v>1.1003000000000001</c:v>
                      </c:pt>
                      <c:pt idx="21">
                        <c:v>1.1249</c:v>
                      </c:pt>
                      <c:pt idx="22">
                        <c:v>1.1774</c:v>
                      </c:pt>
                      <c:pt idx="23">
                        <c:v>1.2827</c:v>
                      </c:pt>
                      <c:pt idx="24">
                        <c:v>1.3277000000000001</c:v>
                      </c:pt>
                      <c:pt idx="25">
                        <c:v>1.5508</c:v>
                      </c:pt>
                      <c:pt idx="26">
                        <c:v>1.4303999999999999</c:v>
                      </c:pt>
                      <c:pt idx="27">
                        <c:v>1.3962000000000001</c:v>
                      </c:pt>
                      <c:pt idx="28">
                        <c:v>1.1047</c:v>
                      </c:pt>
                      <c:pt idx="29">
                        <c:v>1.01</c:v>
                      </c:pt>
                      <c:pt idx="30">
                        <c:v>0.9123</c:v>
                      </c:pt>
                      <c:pt idx="31">
                        <c:v>0.84899999999999998</c:v>
                      </c:pt>
                      <c:pt idx="32">
                        <c:v>0.79</c:v>
                      </c:pt>
                      <c:pt idx="33">
                        <c:v>0.85399999999999998</c:v>
                      </c:pt>
                      <c:pt idx="34">
                        <c:v>0.88880000000000003</c:v>
                      </c:pt>
                      <c:pt idx="35">
                        <c:v>0.87919999999999998</c:v>
                      </c:pt>
                      <c:pt idx="36">
                        <c:v>0.92879999999999996</c:v>
                      </c:pt>
                      <c:pt idx="37">
                        <c:v>0.89139999999999997</c:v>
                      </c:pt>
                      <c:pt idx="38">
                        <c:v>1.0465</c:v>
                      </c:pt>
                      <c:pt idx="39">
                        <c:v>1.0174000000000001</c:v>
                      </c:pt>
                      <c:pt idx="40">
                        <c:v>1.0649999999999999</c:v>
                      </c:pt>
                      <c:pt idx="41">
                        <c:v>1.0186999999999999</c:v>
                      </c:pt>
                      <c:pt idx="42">
                        <c:v>1.0397000000000001</c:v>
                      </c:pt>
                      <c:pt idx="43">
                        <c:v>1.1252</c:v>
                      </c:pt>
                      <c:pt idx="44">
                        <c:v>1.1395999999999999</c:v>
                      </c:pt>
                      <c:pt idx="45">
                        <c:v>1.0866</c:v>
                      </c:pt>
                      <c:pt idx="46">
                        <c:v>1.1000000000000001</c:v>
                      </c:pt>
                    </c:numCache>
                  </c:numRef>
                </c:val>
                <c:extLst>
                  <c:ext xmlns:c16="http://schemas.microsoft.com/office/drawing/2014/chart" uri="{C3380CC4-5D6E-409C-BE32-E72D297353CC}">
                    <c16:uniqueId val="{00000001-3816-460B-8010-9B8140F42035}"/>
                  </c:ext>
                </c:extLst>
              </c15:ser>
            </c15:filteredBarSeries>
          </c:ext>
        </c:extLst>
      </c:barChart>
      <c:lineChart>
        <c:grouping val="standard"/>
        <c:varyColors val="0"/>
        <c:ser>
          <c:idx val="5"/>
          <c:order val="5"/>
          <c:tx>
            <c:strRef>
              <c:f>Sheet1!$F$2</c:f>
              <c:strCache>
                <c:ptCount val="1"/>
                <c:pt idx="0">
                  <c:v>DWP</c:v>
                </c:pt>
              </c:strCache>
            </c:strRef>
          </c:tx>
          <c:spPr>
            <a:ln w="28575" cap="rnd">
              <a:solidFill>
                <a:schemeClr val="accent6"/>
              </a:solidFill>
              <a:round/>
            </a:ln>
            <a:effectLst/>
          </c:spPr>
          <c:marker>
            <c:symbol val="none"/>
          </c:marker>
          <c:cat>
            <c:strRef>
              <c:f>Sheet1!$A$3:$A$49</c:f>
              <c:strCache>
                <c:ptCount val="47"/>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e</c:v>
                </c:pt>
              </c:strCache>
            </c:strRef>
          </c:cat>
          <c:val>
            <c:numRef>
              <c:f>Sheet1!$F$3:$F$49</c:f>
              <c:numCache>
                <c:formatCode>"$"#,##0</c:formatCode>
                <c:ptCount val="47"/>
                <c:pt idx="0">
                  <c:v>1342823250.2965598</c:v>
                </c:pt>
                <c:pt idx="1">
                  <c:v>1479240806.642942</c:v>
                </c:pt>
                <c:pt idx="2">
                  <c:v>1441281138.7900357</c:v>
                </c:pt>
                <c:pt idx="3">
                  <c:v>1428232502.9655991</c:v>
                </c:pt>
                <c:pt idx="4">
                  <c:v>1512455516.0142348</c:v>
                </c:pt>
                <c:pt idx="5">
                  <c:v>1587188612.0996442</c:v>
                </c:pt>
                <c:pt idx="6">
                  <c:v>1767497034.400949</c:v>
                </c:pt>
                <c:pt idx="7">
                  <c:v>1961154000</c:v>
                </c:pt>
                <c:pt idx="8">
                  <c:v>2255893000</c:v>
                </c:pt>
                <c:pt idx="9">
                  <c:v>3285594000</c:v>
                </c:pt>
                <c:pt idx="10">
                  <c:v>4135092000</c:v>
                </c:pt>
                <c:pt idx="11">
                  <c:v>4761311000</c:v>
                </c:pt>
                <c:pt idx="12">
                  <c:v>5060709000</c:v>
                </c:pt>
                <c:pt idx="13">
                  <c:v>5257155000</c:v>
                </c:pt>
                <c:pt idx="14">
                  <c:v>5184294000</c:v>
                </c:pt>
                <c:pt idx="15">
                  <c:v>5064203000</c:v>
                </c:pt>
                <c:pt idx="16">
                  <c:v>5209846000</c:v>
                </c:pt>
                <c:pt idx="17">
                  <c:v>5431408000</c:v>
                </c:pt>
                <c:pt idx="18">
                  <c:v>5844871000</c:v>
                </c:pt>
                <c:pt idx="19">
                  <c:v>5992131000</c:v>
                </c:pt>
                <c:pt idx="20">
                  <c:v>6028272380</c:v>
                </c:pt>
                <c:pt idx="21">
                  <c:v>5901812894</c:v>
                </c:pt>
                <c:pt idx="22">
                  <c:v>6172805013</c:v>
                </c:pt>
                <c:pt idx="23">
                  <c:v>6141952098</c:v>
                </c:pt>
                <c:pt idx="24">
                  <c:v>6423686084</c:v>
                </c:pt>
                <c:pt idx="25">
                  <c:v>7591200049.000001</c:v>
                </c:pt>
                <c:pt idx="26">
                  <c:v>9550820249</c:v>
                </c:pt>
                <c:pt idx="27">
                  <c:v>11103128724</c:v>
                </c:pt>
                <c:pt idx="28">
                  <c:v>11927831155</c:v>
                </c:pt>
                <c:pt idx="29">
                  <c:v>12727521099.999994</c:v>
                </c:pt>
                <c:pt idx="30">
                  <c:v>12853645100.00001</c:v>
                </c:pt>
                <c:pt idx="31">
                  <c:v>12158256100</c:v>
                </c:pt>
                <c:pt idx="32">
                  <c:v>11664891399.999989</c:v>
                </c:pt>
                <c:pt idx="33">
                  <c:v>11138136100.000029</c:v>
                </c:pt>
                <c:pt idx="34">
                  <c:v>10962306100.000004</c:v>
                </c:pt>
                <c:pt idx="35">
                  <c:v>10659906499.999973</c:v>
                </c:pt>
                <c:pt idx="36">
                  <c:v>10340329700.000008</c:v>
                </c:pt>
                <c:pt idx="37">
                  <c:v>10131106400</c:v>
                </c:pt>
                <c:pt idx="38">
                  <c:v>10061764800</c:v>
                </c:pt>
                <c:pt idx="39">
                  <c:v>9765591499.9999771</c:v>
                </c:pt>
                <c:pt idx="40">
                  <c:v>9789510800.0000114</c:v>
                </c:pt>
                <c:pt idx="41">
                  <c:v>9615041199.9999714</c:v>
                </c:pt>
                <c:pt idx="42">
                  <c:v>9793558200.0000057</c:v>
                </c:pt>
                <c:pt idx="43">
                  <c:v>10335715700.000061</c:v>
                </c:pt>
                <c:pt idx="44">
                  <c:v>10603025800.000038</c:v>
                </c:pt>
                <c:pt idx="45">
                  <c:v>11714083443</c:v>
                </c:pt>
                <c:pt idx="46">
                  <c:v>12312029705</c:v>
                </c:pt>
              </c:numCache>
            </c:numRef>
          </c:val>
          <c:smooth val="0"/>
          <c:extLst>
            <c:ext xmlns:c16="http://schemas.microsoft.com/office/drawing/2014/chart" uri="{C3380CC4-5D6E-409C-BE32-E72D297353CC}">
              <c16:uniqueId val="{00000000-10A6-43E0-9DD9-4D268187D3E0}"/>
            </c:ext>
          </c:extLst>
        </c:ser>
        <c:dLbls>
          <c:showLegendKey val="0"/>
          <c:showVal val="0"/>
          <c:showCatName val="0"/>
          <c:showSerName val="0"/>
          <c:showPercent val="0"/>
          <c:showBubbleSize val="0"/>
        </c:dLbls>
        <c:marker val="1"/>
        <c:smooth val="0"/>
        <c:axId val="887445743"/>
        <c:axId val="887442831"/>
      </c:lineChart>
      <c:catAx>
        <c:axId val="1902913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crossAx val="1902924607"/>
        <c:crosses val="autoZero"/>
        <c:auto val="1"/>
        <c:lblAlgn val="ctr"/>
        <c:lblOffset val="100"/>
        <c:noMultiLvlLbl val="0"/>
      </c:catAx>
      <c:valAx>
        <c:axId val="1902924607"/>
        <c:scaling>
          <c:orientation val="minMax"/>
          <c:max val="1.7500000000000002"/>
          <c:min val="0.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rgbClr val="5C718F"/>
                    </a:solidFill>
                    <a:latin typeface="+mn-lt"/>
                    <a:ea typeface="+mn-ea"/>
                    <a:cs typeface="+mn-cs"/>
                  </a:defRPr>
                </a:pPr>
                <a:r>
                  <a:rPr lang="en-US" dirty="0"/>
                  <a:t>Combined Ratio</a:t>
                </a:r>
              </a:p>
            </c:rich>
          </c:tx>
          <c:layout/>
          <c:overlay val="0"/>
          <c:spPr>
            <a:noFill/>
            <a:ln>
              <a:noFill/>
            </a:ln>
            <a:effectLst/>
          </c:spPr>
          <c:txPr>
            <a:bodyPr rot="-5400000" spcFirstLastPara="1" vertOverflow="ellipsis" vert="horz" wrap="square" anchor="ctr" anchorCtr="1"/>
            <a:lstStyle/>
            <a:p>
              <a:pPr>
                <a:defRPr sz="1330" b="0" i="0" u="none" strike="noStrike" kern="1200" baseline="0">
                  <a:solidFill>
                    <a:srgbClr val="5C718F"/>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crossAx val="1902913791"/>
        <c:crosses val="autoZero"/>
        <c:crossBetween val="between"/>
        <c:majorUnit val="0.25"/>
      </c:valAx>
      <c:valAx>
        <c:axId val="887442831"/>
        <c:scaling>
          <c:orientation val="minMax"/>
          <c:max val="15000000000"/>
        </c:scaling>
        <c:delete val="0"/>
        <c:axPos val="r"/>
        <c:title>
          <c:tx>
            <c:rich>
              <a:bodyPr rot="-5400000" spcFirstLastPara="1" vertOverflow="ellipsis" vert="horz" wrap="square" anchor="ctr" anchorCtr="1"/>
              <a:lstStyle/>
              <a:p>
                <a:pPr>
                  <a:defRPr sz="1330" b="0" i="0" u="none" strike="noStrike" kern="1200" baseline="0">
                    <a:solidFill>
                      <a:schemeClr val="accent6"/>
                    </a:solidFill>
                    <a:latin typeface="+mn-lt"/>
                    <a:ea typeface="+mn-ea"/>
                    <a:cs typeface="+mn-cs"/>
                  </a:defRPr>
                </a:pPr>
                <a:r>
                  <a:rPr lang="en-US" dirty="0">
                    <a:solidFill>
                      <a:schemeClr val="accent6"/>
                    </a:solidFill>
                  </a:rPr>
                  <a:t>Direct Written Premium</a:t>
                </a:r>
              </a:p>
            </c:rich>
          </c:tx>
          <c:layout/>
          <c:overlay val="0"/>
          <c:spPr>
            <a:noFill/>
            <a:ln>
              <a:noFill/>
            </a:ln>
            <a:effectLst/>
          </c:spPr>
          <c:txPr>
            <a:bodyPr rot="-5400000" spcFirstLastPara="1" vertOverflow="ellipsis" vert="horz" wrap="square" anchor="ctr" anchorCtr="1"/>
            <a:lstStyle/>
            <a:p>
              <a:pPr>
                <a:defRPr sz="1330" b="0" i="0" u="none" strike="noStrike" kern="1200" baseline="0">
                  <a:solidFill>
                    <a:schemeClr val="accent6"/>
                  </a:solidFill>
                  <a:latin typeface="+mn-lt"/>
                  <a:ea typeface="+mn-ea"/>
                  <a:cs typeface="+mn-cs"/>
                </a:defRPr>
              </a:pPr>
              <a:endParaRPr lang="en-US"/>
            </a:p>
          </c:txPr>
        </c:title>
        <c:numFmt formatCode="&quot;$&quot;#,##0"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887445743"/>
        <c:crosses val="max"/>
        <c:crossBetween val="between"/>
        <c:majorUnit val="3000000000"/>
        <c:dispUnits>
          <c:builtInUnit val="billions"/>
          <c:dispUnitsLbl>
            <c:layout/>
            <c:spPr>
              <a:noFill/>
              <a:ln>
                <a:noFill/>
              </a:ln>
              <a:effectLst/>
            </c:spPr>
            <c:txPr>
              <a:bodyPr rot="-5400000" spcFirstLastPara="1" vertOverflow="ellipsis" vert="horz" wrap="square" anchor="ctr" anchorCtr="1"/>
              <a:lstStyle/>
              <a:p>
                <a:pPr>
                  <a:defRPr sz="1330" b="0" i="0" u="none" strike="noStrike" kern="1200" baseline="0">
                    <a:solidFill>
                      <a:schemeClr val="accent6"/>
                    </a:solidFill>
                    <a:latin typeface="+mn-lt"/>
                    <a:ea typeface="+mn-ea"/>
                    <a:cs typeface="+mn-cs"/>
                  </a:defRPr>
                </a:pPr>
                <a:endParaRPr lang="en-US"/>
              </a:p>
            </c:txPr>
          </c:dispUnitsLbl>
        </c:dispUnits>
      </c:valAx>
      <c:catAx>
        <c:axId val="887445743"/>
        <c:scaling>
          <c:orientation val="minMax"/>
        </c:scaling>
        <c:delete val="1"/>
        <c:axPos val="b"/>
        <c:numFmt formatCode="General" sourceLinked="1"/>
        <c:majorTickMark val="out"/>
        <c:minorTickMark val="none"/>
        <c:tickLblPos val="nextTo"/>
        <c:crossAx val="887442831"/>
        <c:crosses val="autoZero"/>
        <c:auto val="1"/>
        <c:lblAlgn val="ctr"/>
        <c:lblOffset val="100"/>
        <c:noMultiLvlLbl val="0"/>
      </c:catAx>
      <c:spPr>
        <a:noFill/>
        <a:ln>
          <a:noFill/>
        </a:ln>
        <a:effectLst/>
      </c:spPr>
    </c:plotArea>
    <c:legend>
      <c:legendPos val="b"/>
      <c:legendEntry>
        <c:idx val="0"/>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rgbClr val="5C718F"/>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Total Payments From Ground Up</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Primary (Self) Insurer</c:v>
                </c:pt>
              </c:strCache>
            </c:strRef>
          </c:tx>
          <c:spPr>
            <a:solidFill>
              <a:schemeClr val="accent1">
                <a:lumMod val="20000"/>
                <a:lumOff val="80000"/>
              </a:schemeClr>
            </a:solidFill>
            <a:ln>
              <a:noFill/>
            </a:ln>
            <a:effectLst/>
          </c:spPr>
          <c:invertIfNegative val="0"/>
          <c:cat>
            <c:numRef>
              <c:f>Sheet1!$A$2:$A$15</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1!$B$2:$B$15</c:f>
              <c:numCache>
                <c:formatCode>"$"#,##0</c:formatCode>
                <c:ptCount val="14"/>
                <c:pt idx="0">
                  <c:v>8000000</c:v>
                </c:pt>
                <c:pt idx="1">
                  <c:v>8400000</c:v>
                </c:pt>
                <c:pt idx="2">
                  <c:v>8820000</c:v>
                </c:pt>
                <c:pt idx="3">
                  <c:v>9261000</c:v>
                </c:pt>
                <c:pt idx="4">
                  <c:v>9724050</c:v>
                </c:pt>
                <c:pt idx="5">
                  <c:v>10000000</c:v>
                </c:pt>
                <c:pt idx="6">
                  <c:v>10000000</c:v>
                </c:pt>
                <c:pt idx="7">
                  <c:v>10000000</c:v>
                </c:pt>
                <c:pt idx="8">
                  <c:v>10000000</c:v>
                </c:pt>
                <c:pt idx="9">
                  <c:v>10000000</c:v>
                </c:pt>
                <c:pt idx="10">
                  <c:v>10000000</c:v>
                </c:pt>
                <c:pt idx="11">
                  <c:v>10000000</c:v>
                </c:pt>
                <c:pt idx="12">
                  <c:v>10000000</c:v>
                </c:pt>
                <c:pt idx="13">
                  <c:v>10000000</c:v>
                </c:pt>
              </c:numCache>
            </c:numRef>
          </c:val>
          <c:extLst>
            <c:ext xmlns:c16="http://schemas.microsoft.com/office/drawing/2014/chart" uri="{C3380CC4-5D6E-409C-BE32-E72D297353CC}">
              <c16:uniqueId val="{00000000-E9B9-4B54-A86A-152D0AC32B38}"/>
            </c:ext>
          </c:extLst>
        </c:ser>
        <c:ser>
          <c:idx val="1"/>
          <c:order val="1"/>
          <c:tx>
            <c:strRef>
              <c:f>Sheet1!$C$1</c:f>
              <c:strCache>
                <c:ptCount val="1"/>
                <c:pt idx="0">
                  <c:v>Excess (Re)Insurer</c:v>
                </c:pt>
              </c:strCache>
            </c:strRef>
          </c:tx>
          <c:spPr>
            <a:solidFill>
              <a:schemeClr val="accent1"/>
            </a:solidFill>
            <a:ln>
              <a:noFill/>
            </a:ln>
            <a:effectLst/>
          </c:spPr>
          <c:invertIfNegative val="0"/>
          <c:cat>
            <c:numRef>
              <c:f>Sheet1!$A$2:$A$15</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1!$C$2:$C$15</c:f>
              <c:numCache>
                <c:formatCode>"$"#,##0</c:formatCode>
                <c:ptCount val="14"/>
                <c:pt idx="0">
                  <c:v>0</c:v>
                </c:pt>
                <c:pt idx="1">
                  <c:v>0</c:v>
                </c:pt>
                <c:pt idx="2">
                  <c:v>0</c:v>
                </c:pt>
                <c:pt idx="3">
                  <c:v>0</c:v>
                </c:pt>
                <c:pt idx="4">
                  <c:v>0</c:v>
                </c:pt>
                <c:pt idx="5">
                  <c:v>210252.5</c:v>
                </c:pt>
                <c:pt idx="6">
                  <c:v>720765.125</c:v>
                </c:pt>
                <c:pt idx="7">
                  <c:v>1256803.3812499996</c:v>
                </c:pt>
                <c:pt idx="8">
                  <c:v>1819643.5503125004</c:v>
                </c:pt>
                <c:pt idx="9">
                  <c:v>2410625.7278281264</c:v>
                </c:pt>
                <c:pt idx="10">
                  <c:v>3031157.0142195337</c:v>
                </c:pt>
                <c:pt idx="11">
                  <c:v>3682714.8649305105</c:v>
                </c:pt>
                <c:pt idx="12">
                  <c:v>4366850.608177036</c:v>
                </c:pt>
                <c:pt idx="13">
                  <c:v>5085193.1385858878</c:v>
                </c:pt>
              </c:numCache>
            </c:numRef>
          </c:val>
          <c:extLst>
            <c:ext xmlns:c16="http://schemas.microsoft.com/office/drawing/2014/chart" uri="{C3380CC4-5D6E-409C-BE32-E72D297353CC}">
              <c16:uniqueId val="{00000001-E9B9-4B54-A86A-152D0AC32B38}"/>
            </c:ext>
          </c:extLst>
        </c:ser>
        <c:dLbls>
          <c:showLegendKey val="0"/>
          <c:showVal val="0"/>
          <c:showCatName val="0"/>
          <c:showSerName val="0"/>
          <c:showPercent val="0"/>
          <c:showBubbleSize val="0"/>
        </c:dLbls>
        <c:gapWidth val="100"/>
        <c:overlap val="100"/>
        <c:axId val="1533645552"/>
        <c:axId val="1533646384"/>
      </c:barChart>
      <c:catAx>
        <c:axId val="1533645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33646384"/>
        <c:crosses val="autoZero"/>
        <c:auto val="1"/>
        <c:lblAlgn val="ctr"/>
        <c:lblOffset val="100"/>
        <c:noMultiLvlLbl val="0"/>
      </c:catAx>
      <c:valAx>
        <c:axId val="153364638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33645552"/>
        <c:crosses val="autoZero"/>
        <c:crossBetween val="between"/>
        <c:dispUnits>
          <c:builtInUnit val="millions"/>
          <c:dispUnitsLbl>
            <c:layout/>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Excess (Re)Insurer Payments </a:t>
            </a:r>
            <a:r>
              <a:rPr lang="en-US" dirty="0" err="1" smtClean="0"/>
              <a:t>xs</a:t>
            </a:r>
            <a:r>
              <a:rPr lang="en-US" dirty="0" smtClean="0"/>
              <a:t> $10M</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Excess (Re)Insurer</c:v>
                </c:pt>
              </c:strCache>
            </c:strRef>
          </c:tx>
          <c:spPr>
            <a:solidFill>
              <a:schemeClr val="accent1"/>
            </a:solidFill>
            <a:ln>
              <a:noFill/>
            </a:ln>
            <a:effectLst/>
          </c:spPr>
          <c:invertIfNegative val="0"/>
          <c:cat>
            <c:numRef>
              <c:f>Sheet1!$A$2:$A$15</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1!$B$2:$B$15</c:f>
              <c:numCache>
                <c:formatCode>General</c:formatCode>
                <c:ptCount val="14"/>
                <c:pt idx="5" formatCode="&quot;$&quot;#,##0">
                  <c:v>210252.5</c:v>
                </c:pt>
                <c:pt idx="6" formatCode="&quot;$&quot;#,##0">
                  <c:v>720765.125</c:v>
                </c:pt>
                <c:pt idx="7" formatCode="&quot;$&quot;#,##0">
                  <c:v>1256803.3812499996</c:v>
                </c:pt>
                <c:pt idx="8" formatCode="&quot;$&quot;#,##0">
                  <c:v>1819643.5503125004</c:v>
                </c:pt>
                <c:pt idx="9" formatCode="&quot;$&quot;#,##0">
                  <c:v>2410625.7278281264</c:v>
                </c:pt>
                <c:pt idx="10" formatCode="&quot;$&quot;#,##0">
                  <c:v>3031157.0142195337</c:v>
                </c:pt>
                <c:pt idx="11" formatCode="&quot;$&quot;#,##0">
                  <c:v>3682714.8649305105</c:v>
                </c:pt>
                <c:pt idx="12" formatCode="&quot;$&quot;#,##0">
                  <c:v>4366850.608177036</c:v>
                </c:pt>
                <c:pt idx="13" formatCode="&quot;$&quot;#,##0">
                  <c:v>5085193.1385858878</c:v>
                </c:pt>
              </c:numCache>
            </c:numRef>
          </c:val>
          <c:extLst xmlns:c15="http://schemas.microsoft.com/office/drawing/2012/chart">
            <c:ext xmlns:c16="http://schemas.microsoft.com/office/drawing/2014/chart" uri="{C3380CC4-5D6E-409C-BE32-E72D297353CC}">
              <c16:uniqueId val="{00000000-C7B9-480F-A66E-CE834848A4CD}"/>
            </c:ext>
          </c:extLst>
        </c:ser>
        <c:dLbls>
          <c:showLegendKey val="0"/>
          <c:showVal val="0"/>
          <c:showCatName val="0"/>
          <c:showSerName val="0"/>
          <c:showPercent val="0"/>
          <c:showBubbleSize val="0"/>
        </c:dLbls>
        <c:gapWidth val="100"/>
        <c:axId val="1726734384"/>
        <c:axId val="1726734800"/>
        <c:extLst/>
      </c:barChart>
      <c:lineChart>
        <c:grouping val="standard"/>
        <c:varyColors val="0"/>
        <c:ser>
          <c:idx val="1"/>
          <c:order val="1"/>
          <c:tx>
            <c:strRef>
              <c:f>Sheet1!$C$1</c:f>
              <c:strCache>
                <c:ptCount val="1"/>
                <c:pt idx="0">
                  <c:v>YOY Change</c:v>
                </c:pt>
              </c:strCache>
            </c:strRef>
          </c:tx>
          <c:spPr>
            <a:ln w="28575" cap="rnd">
              <a:noFill/>
              <a:round/>
            </a:ln>
            <a:effectLst/>
          </c:spPr>
          <c:marker>
            <c:symbol val="circle"/>
            <c:size val="5"/>
            <c:spPr>
              <a:solidFill>
                <a:schemeClr val="accent4"/>
              </a:solidFill>
              <a:ln w="9525">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4"/>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15</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cat>
          <c:val>
            <c:numRef>
              <c:f>Sheet1!$C$2:$C$15</c:f>
              <c:numCache>
                <c:formatCode>General</c:formatCode>
                <c:ptCount val="14"/>
                <c:pt idx="6" formatCode="0%">
                  <c:v>2.4280930072175142</c:v>
                </c:pt>
                <c:pt idx="7" formatCode="0%">
                  <c:v>0.74370726004535737</c:v>
                </c:pt>
                <c:pt idx="8" formatCode="0%">
                  <c:v>0.44783470307241391</c:v>
                </c:pt>
                <c:pt idx="9" formatCode="0%">
                  <c:v>0.32477909061592469</c:v>
                </c:pt>
                <c:pt idx="10" formatCode="0%">
                  <c:v>0.25741502682396078</c:v>
                </c:pt>
                <c:pt idx="11" formatCode="0%">
                  <c:v>0.21495351367627435</c:v>
                </c:pt>
                <c:pt idx="12" formatCode="0%">
                  <c:v>0.18576940337178161</c:v>
                </c:pt>
                <c:pt idx="13" formatCode="0%">
                  <c:v>0.16449899363713949</c:v>
                </c:pt>
              </c:numCache>
            </c:numRef>
          </c:val>
          <c:smooth val="0"/>
          <c:extLst>
            <c:ext xmlns:c16="http://schemas.microsoft.com/office/drawing/2014/chart" uri="{C3380CC4-5D6E-409C-BE32-E72D297353CC}">
              <c16:uniqueId val="{00000000-D7A7-4B48-AA0D-BB95ED5DEE9D}"/>
            </c:ext>
          </c:extLst>
        </c:ser>
        <c:dLbls>
          <c:showLegendKey val="0"/>
          <c:showVal val="0"/>
          <c:showCatName val="0"/>
          <c:showSerName val="0"/>
          <c:showPercent val="0"/>
          <c:showBubbleSize val="0"/>
        </c:dLbls>
        <c:marker val="1"/>
        <c:smooth val="0"/>
        <c:axId val="1551273855"/>
        <c:axId val="1551270111"/>
      </c:lineChart>
      <c:catAx>
        <c:axId val="1726734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6734800"/>
        <c:crosses val="autoZero"/>
        <c:auto val="1"/>
        <c:lblAlgn val="ctr"/>
        <c:lblOffset val="100"/>
        <c:noMultiLvlLbl val="0"/>
      </c:catAx>
      <c:valAx>
        <c:axId val="1726734800"/>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26734384"/>
        <c:crosses val="autoZero"/>
        <c:crossBetween val="between"/>
        <c:dispUnits>
          <c:builtInUnit val="millions"/>
          <c:dispUnitsLbl>
            <c:layout/>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dispUnitsLbl>
        </c:dispUnits>
      </c:valAx>
      <c:valAx>
        <c:axId val="1551270111"/>
        <c:scaling>
          <c:orientation val="minMax"/>
        </c:scaling>
        <c:delete val="0"/>
        <c:axPos val="r"/>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51273855"/>
        <c:crosses val="max"/>
        <c:crossBetween val="between"/>
      </c:valAx>
      <c:catAx>
        <c:axId val="1551273855"/>
        <c:scaling>
          <c:orientation val="minMax"/>
        </c:scaling>
        <c:delete val="1"/>
        <c:axPos val="b"/>
        <c:numFmt formatCode="General" sourceLinked="1"/>
        <c:majorTickMark val="out"/>
        <c:minorTickMark val="none"/>
        <c:tickLblPos val="nextTo"/>
        <c:crossAx val="1551270111"/>
        <c:crosses val="autoZero"/>
        <c:auto val="1"/>
        <c:lblAlgn val="ctr"/>
        <c:lblOffset val="100"/>
        <c:noMultiLvlLbl val="0"/>
      </c:catAx>
      <c:spPr>
        <a:noFill/>
        <a:ln>
          <a:noFill/>
        </a:ln>
        <a:effectLst/>
      </c:spPr>
    </c:plotArea>
    <c:legend>
      <c:legendPos val="b"/>
      <c:legendEntry>
        <c:idx val="1"/>
        <c:txPr>
          <a:bodyPr rot="0" spcFirstLastPara="1" vertOverflow="ellipsis" vert="horz" wrap="square" anchor="ctr" anchorCtr="1"/>
          <a:lstStyle/>
          <a:p>
            <a:pPr>
              <a:defRPr sz="1197" b="0" i="0" u="none" strike="noStrike" kern="1200" baseline="0">
                <a:solidFill>
                  <a:schemeClr val="accent4"/>
                </a:solidFill>
                <a:latin typeface="+mn-lt"/>
                <a:ea typeface="+mn-ea"/>
                <a:cs typeface="+mn-cs"/>
              </a:defRPr>
            </a:pPr>
            <a:endParaRPr lang="en-US"/>
          </a:p>
        </c:txPr>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1"/>
          <c:order val="1"/>
          <c:tx>
            <c:strRef>
              <c:f>Sheet1!$C$2</c:f>
              <c:strCache>
                <c:ptCount val="1"/>
                <c:pt idx="0">
                  <c:v>1996-02 = 10.0%</c:v>
                </c:pt>
              </c:strCache>
            </c:strRef>
          </c:tx>
          <c:spPr>
            <a:solidFill>
              <a:srgbClr val="FF0000"/>
            </a:solidFill>
            <a:ln>
              <a:noFill/>
            </a:ln>
            <a:effectLst/>
          </c:spPr>
          <c:cat>
            <c:numRef>
              <c:f>Sheet1!$A$3:$A$29</c:f>
              <c:numCache>
                <c:formatCode>General</c:formatCode>
                <c:ptCount val="26"/>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numCache>
            </c:numRef>
          </c:cat>
          <c:val>
            <c:numRef>
              <c:f>Sheet1!$C$3:$C$29</c:f>
              <c:numCache>
                <c:formatCode>"$"#,##0</c:formatCode>
                <c:ptCount val="26"/>
                <c:pt idx="0">
                  <c:v>4839794890.999999</c:v>
                </c:pt>
                <c:pt idx="1">
                  <c:v>4893749532.000001</c:v>
                </c:pt>
                <c:pt idx="2">
                  <c:v>5491503816</c:v>
                </c:pt>
                <c:pt idx="3">
                  <c:v>6087488857</c:v>
                </c:pt>
                <c:pt idx="4">
                  <c:v>6862464164</c:v>
                </c:pt>
                <c:pt idx="5">
                  <c:v>7567518896</c:v>
                </c:pt>
                <c:pt idx="6">
                  <c:v>8182244510</c:v>
                </c:pt>
              </c:numCache>
            </c:numRef>
          </c:val>
          <c:extLst xmlns:c15="http://schemas.microsoft.com/office/drawing/2012/chart">
            <c:ext xmlns:c16="http://schemas.microsoft.com/office/drawing/2014/chart" uri="{C3380CC4-5D6E-409C-BE32-E72D297353CC}">
              <c16:uniqueId val="{00000001-7E42-4145-91B2-85A94CE2BCC0}"/>
            </c:ext>
          </c:extLst>
        </c:ser>
        <c:ser>
          <c:idx val="2"/>
          <c:order val="2"/>
          <c:tx>
            <c:strRef>
              <c:f>Sheet1!$D$2</c:f>
              <c:strCache>
                <c:ptCount val="1"/>
                <c:pt idx="0">
                  <c:v>2002-10 = -3.3%</c:v>
                </c:pt>
              </c:strCache>
            </c:strRef>
          </c:tx>
          <c:spPr>
            <a:solidFill>
              <a:srgbClr val="92D050"/>
            </a:solidFill>
            <a:ln>
              <a:noFill/>
            </a:ln>
            <a:effectLst/>
          </c:spPr>
          <c:cat>
            <c:numRef>
              <c:f>Sheet1!$A$3:$A$29</c:f>
              <c:numCache>
                <c:formatCode>General</c:formatCode>
                <c:ptCount val="26"/>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numCache>
            </c:numRef>
          </c:cat>
          <c:val>
            <c:numRef>
              <c:f>Sheet1!$D$3:$D$29</c:f>
              <c:numCache>
                <c:formatCode>General</c:formatCode>
                <c:ptCount val="26"/>
                <c:pt idx="6" formatCode="&quot;$&quot;#,##0">
                  <c:v>8182244510</c:v>
                </c:pt>
                <c:pt idx="7" formatCode="&quot;$&quot;#,##0">
                  <c:v>8171934387</c:v>
                </c:pt>
                <c:pt idx="8" formatCode="&quot;$&quot;#,##0">
                  <c:v>7686534216.0000038</c:v>
                </c:pt>
                <c:pt idx="9" formatCode="&quot;$&quot;#,##0">
                  <c:v>7131075500</c:v>
                </c:pt>
                <c:pt idx="10" formatCode="&quot;$&quot;#,##0">
                  <c:v>7091240443.9999981</c:v>
                </c:pt>
                <c:pt idx="11" formatCode="&quot;$&quot;#,##0">
                  <c:v>6945401365</c:v>
                </c:pt>
                <c:pt idx="12" formatCode="&quot;$&quot;#,##0">
                  <c:v>6936223097.999999</c:v>
                </c:pt>
                <c:pt idx="13" formatCode="&quot;$&quot;#,##0">
                  <c:v>6705160634</c:v>
                </c:pt>
                <c:pt idx="14" formatCode="&quot;$&quot;#,##0">
                  <c:v>6041391722.000001</c:v>
                </c:pt>
              </c:numCache>
            </c:numRef>
          </c:val>
          <c:extLst>
            <c:ext xmlns:c16="http://schemas.microsoft.com/office/drawing/2014/chart" uri="{C3380CC4-5D6E-409C-BE32-E72D297353CC}">
              <c16:uniqueId val="{00000000-F94B-461F-808B-094A5C15C7FF}"/>
            </c:ext>
          </c:extLst>
        </c:ser>
        <c:ser>
          <c:idx val="4"/>
          <c:order val="3"/>
          <c:tx>
            <c:strRef>
              <c:f>Sheet1!$E$2</c:f>
              <c:strCache>
                <c:ptCount val="1"/>
                <c:pt idx="0">
                  <c:v>2010-17 = 1.4%</c:v>
                </c:pt>
              </c:strCache>
            </c:strRef>
          </c:tx>
          <c:spPr>
            <a:solidFill>
              <a:srgbClr val="FFFF00"/>
            </a:solidFill>
            <a:ln>
              <a:noFill/>
            </a:ln>
            <a:effectLst/>
          </c:spPr>
          <c:cat>
            <c:numRef>
              <c:f>Sheet1!$A$3:$A$29</c:f>
              <c:numCache>
                <c:formatCode>General</c:formatCode>
                <c:ptCount val="26"/>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numCache>
            </c:numRef>
          </c:cat>
          <c:val>
            <c:numRef>
              <c:f>Sheet1!$E$3:$E$29</c:f>
              <c:numCache>
                <c:formatCode>General</c:formatCode>
                <c:ptCount val="26"/>
                <c:pt idx="14" formatCode="&quot;$&quot;#,##0">
                  <c:v>6041391722.000001</c:v>
                </c:pt>
                <c:pt idx="15" formatCode="&quot;$&quot;#,##0">
                  <c:v>6212420614.999999</c:v>
                </c:pt>
                <c:pt idx="16" formatCode="&quot;$&quot;#,##0">
                  <c:v>6380663064.999999</c:v>
                </c:pt>
                <c:pt idx="17" formatCode="&quot;$&quot;#,##0">
                  <c:v>6448578294.9999981</c:v>
                </c:pt>
                <c:pt idx="18" formatCode="&quot;$&quot;#,##0">
                  <c:v>6627222979</c:v>
                </c:pt>
                <c:pt idx="19" formatCode="&quot;$&quot;#,##0">
                  <c:v>6754643015.000001</c:v>
                </c:pt>
                <c:pt idx="20" formatCode="&quot;$&quot;#,##0">
                  <c:v>6639600483.999999</c:v>
                </c:pt>
                <c:pt idx="21" formatCode="&quot;$&quot;#,##0">
                  <c:v>6639292784.999999</c:v>
                </c:pt>
              </c:numCache>
            </c:numRef>
          </c:val>
          <c:extLst>
            <c:ext xmlns:c16="http://schemas.microsoft.com/office/drawing/2014/chart" uri="{C3380CC4-5D6E-409C-BE32-E72D297353CC}">
              <c16:uniqueId val="{00000002-F94B-461F-808B-094A5C15C7FF}"/>
            </c:ext>
          </c:extLst>
        </c:ser>
        <c:ser>
          <c:idx val="5"/>
          <c:order val="4"/>
          <c:tx>
            <c:strRef>
              <c:f>Sheet1!$F$2</c:f>
              <c:strCache>
                <c:ptCount val="1"/>
                <c:pt idx="0">
                  <c:v>2017-19 = 4.2%</c:v>
                </c:pt>
              </c:strCache>
            </c:strRef>
          </c:tx>
          <c:spPr>
            <a:solidFill>
              <a:srgbClr val="FFC000"/>
            </a:solidFill>
            <a:ln>
              <a:noFill/>
            </a:ln>
            <a:effectLst/>
          </c:spPr>
          <c:cat>
            <c:numRef>
              <c:f>Sheet1!$A$3:$A$29</c:f>
              <c:numCache>
                <c:formatCode>General</c:formatCode>
                <c:ptCount val="26"/>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numCache>
            </c:numRef>
          </c:cat>
          <c:val>
            <c:numRef>
              <c:f>Sheet1!$F$3:$F$29</c:f>
              <c:numCache>
                <c:formatCode>General</c:formatCode>
                <c:ptCount val="26"/>
                <c:pt idx="21" formatCode="&quot;$&quot;#,##0">
                  <c:v>6639292784.999999</c:v>
                </c:pt>
                <c:pt idx="22" formatCode="&quot;$&quot;#,##0">
                  <c:v>7065123387.0000019</c:v>
                </c:pt>
                <c:pt idx="23" formatCode="&quot;$&quot;#,##0">
                  <c:v>7207134607.0000029</c:v>
                </c:pt>
              </c:numCache>
            </c:numRef>
          </c:val>
          <c:extLst>
            <c:ext xmlns:c16="http://schemas.microsoft.com/office/drawing/2014/chart" uri="{C3380CC4-5D6E-409C-BE32-E72D297353CC}">
              <c16:uniqueId val="{00000003-F94B-461F-808B-094A5C15C7FF}"/>
            </c:ext>
          </c:extLst>
        </c:ser>
        <c:ser>
          <c:idx val="3"/>
          <c:order val="5"/>
          <c:tx>
            <c:strRef>
              <c:f>Sheet1!$G$2</c:f>
              <c:strCache>
                <c:ptCount val="1"/>
                <c:pt idx="0">
                  <c:v>COVID-19</c:v>
                </c:pt>
              </c:strCache>
            </c:strRef>
          </c:tx>
          <c:spPr>
            <a:solidFill>
              <a:schemeClr val="bg1">
                <a:lumMod val="75000"/>
              </a:schemeClr>
            </a:solidFill>
            <a:ln>
              <a:noFill/>
            </a:ln>
            <a:effectLst/>
          </c:spPr>
          <c:cat>
            <c:numRef>
              <c:f>Sheet1!$A$3:$A$29</c:f>
              <c:numCache>
                <c:formatCode>General</c:formatCode>
                <c:ptCount val="26"/>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numCache>
            </c:numRef>
          </c:cat>
          <c:val>
            <c:numRef>
              <c:f>Sheet1!$G$3:$G$29</c:f>
              <c:numCache>
                <c:formatCode>General</c:formatCode>
                <c:ptCount val="26"/>
                <c:pt idx="23" formatCode="&quot;$&quot;#,##0">
                  <c:v>7207134607.0000029</c:v>
                </c:pt>
                <c:pt idx="24" formatCode="&quot;$&quot;#,##0">
                  <c:v>6237003807</c:v>
                </c:pt>
                <c:pt idx="25" formatCode="&quot;$&quot;#,##0">
                  <c:v>5894801967.999999</c:v>
                </c:pt>
              </c:numCache>
            </c:numRef>
          </c:val>
          <c:extLst xmlns:c15="http://schemas.microsoft.com/office/drawing/2012/chart">
            <c:ext xmlns:c16="http://schemas.microsoft.com/office/drawing/2014/chart" uri="{C3380CC4-5D6E-409C-BE32-E72D297353CC}">
              <c16:uniqueId val="{00000001-F94B-461F-808B-094A5C15C7FF}"/>
            </c:ext>
          </c:extLst>
        </c:ser>
        <c:dLbls>
          <c:showLegendKey val="0"/>
          <c:showVal val="0"/>
          <c:showCatName val="0"/>
          <c:showSerName val="0"/>
          <c:showPercent val="0"/>
          <c:showBubbleSize val="0"/>
        </c:dLbls>
        <c:axId val="1265150992"/>
        <c:axId val="1265167216"/>
      </c:areaChart>
      <c:lineChart>
        <c:grouping val="standard"/>
        <c:varyColors val="0"/>
        <c:ser>
          <c:idx val="0"/>
          <c:order val="0"/>
          <c:tx>
            <c:strRef>
              <c:f>Sheet1!$B$2</c:f>
              <c:strCache>
                <c:ptCount val="1"/>
                <c:pt idx="0">
                  <c:v>Paid LALE</c:v>
                </c:pt>
              </c:strCache>
            </c:strRef>
          </c:tx>
          <c:spPr>
            <a:ln w="28575" cap="rnd">
              <a:solidFill>
                <a:schemeClr val="accent1"/>
              </a:solidFill>
              <a:round/>
            </a:ln>
            <a:effectLst/>
          </c:spPr>
          <c:marker>
            <c:symbol val="none"/>
          </c:marker>
          <c:cat>
            <c:numRef>
              <c:f>Sheet1!$A$3:$A$29</c:f>
              <c:numCache>
                <c:formatCode>General</c:formatCode>
                <c:ptCount val="26"/>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numCache>
            </c:numRef>
          </c:cat>
          <c:val>
            <c:numRef>
              <c:f>Sheet1!$B$3:$B$29</c:f>
              <c:numCache>
                <c:formatCode>"$"#,##0</c:formatCode>
                <c:ptCount val="26"/>
                <c:pt idx="0">
                  <c:v>4839794890.999999</c:v>
                </c:pt>
                <c:pt idx="1">
                  <c:v>4893749532.000001</c:v>
                </c:pt>
                <c:pt idx="2">
                  <c:v>5491503816</c:v>
                </c:pt>
                <c:pt idx="3">
                  <c:v>6087488857</c:v>
                </c:pt>
                <c:pt idx="4">
                  <c:v>6862464164</c:v>
                </c:pt>
                <c:pt idx="5">
                  <c:v>7567518896</c:v>
                </c:pt>
                <c:pt idx="6">
                  <c:v>8182244510</c:v>
                </c:pt>
                <c:pt idx="7">
                  <c:v>8171934387</c:v>
                </c:pt>
                <c:pt idx="8">
                  <c:v>7686534216.0000038</c:v>
                </c:pt>
                <c:pt idx="9">
                  <c:v>7131075500</c:v>
                </c:pt>
                <c:pt idx="10">
                  <c:v>7091240443.9999981</c:v>
                </c:pt>
                <c:pt idx="11">
                  <c:v>6945401365</c:v>
                </c:pt>
                <c:pt idx="12">
                  <c:v>6936223097.999999</c:v>
                </c:pt>
                <c:pt idx="13">
                  <c:v>6705160634</c:v>
                </c:pt>
                <c:pt idx="14">
                  <c:v>6041391722.000001</c:v>
                </c:pt>
                <c:pt idx="15">
                  <c:v>6212420614.999999</c:v>
                </c:pt>
                <c:pt idx="16">
                  <c:v>6380663064.999999</c:v>
                </c:pt>
                <c:pt idx="17">
                  <c:v>6448578294.9999981</c:v>
                </c:pt>
                <c:pt idx="18">
                  <c:v>6627222979</c:v>
                </c:pt>
                <c:pt idx="19">
                  <c:v>6754643015.000001</c:v>
                </c:pt>
                <c:pt idx="20">
                  <c:v>6639600483.999999</c:v>
                </c:pt>
                <c:pt idx="21">
                  <c:v>6639292784.999999</c:v>
                </c:pt>
                <c:pt idx="22">
                  <c:v>7065123387.0000019</c:v>
                </c:pt>
                <c:pt idx="23">
                  <c:v>7207134607.0000029</c:v>
                </c:pt>
                <c:pt idx="24">
                  <c:v>6237003807</c:v>
                </c:pt>
                <c:pt idx="25">
                  <c:v>5894801967.999999</c:v>
                </c:pt>
              </c:numCache>
            </c:numRef>
          </c:val>
          <c:smooth val="0"/>
          <c:extLst xmlns:c15="http://schemas.microsoft.com/office/drawing/2012/chart">
            <c:ext xmlns:c16="http://schemas.microsoft.com/office/drawing/2014/chart" uri="{C3380CC4-5D6E-409C-BE32-E72D297353CC}">
              <c16:uniqueId val="{00000000-7E42-4145-91B2-85A94CE2BCC0}"/>
            </c:ext>
          </c:extLst>
        </c:ser>
        <c:dLbls>
          <c:showLegendKey val="0"/>
          <c:showVal val="0"/>
          <c:showCatName val="0"/>
          <c:showSerName val="0"/>
          <c:showPercent val="0"/>
          <c:showBubbleSize val="0"/>
        </c:dLbls>
        <c:marker val="1"/>
        <c:smooth val="0"/>
        <c:axId val="1265150992"/>
        <c:axId val="1265167216"/>
        <c:extLst/>
      </c:lineChart>
      <c:catAx>
        <c:axId val="126515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rgbClr val="5C718F"/>
                </a:solidFill>
                <a:latin typeface="+mn-lt"/>
                <a:ea typeface="+mn-ea"/>
                <a:cs typeface="+mn-cs"/>
              </a:defRPr>
            </a:pPr>
            <a:endParaRPr lang="en-US"/>
          </a:p>
        </c:txPr>
        <c:crossAx val="1265167216"/>
        <c:crosses val="autoZero"/>
        <c:auto val="1"/>
        <c:lblAlgn val="ctr"/>
        <c:lblOffset val="100"/>
        <c:noMultiLvlLbl val="0"/>
      </c:catAx>
      <c:valAx>
        <c:axId val="126516721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crossAx val="1265150992"/>
        <c:crosses val="autoZero"/>
        <c:crossBetween val="between"/>
        <c:dispUnits>
          <c:builtInUnit val="billions"/>
          <c:dispUnitsLbl>
            <c:layout/>
            <c:spPr>
              <a:noFill/>
              <a:ln>
                <a:noFill/>
              </a:ln>
              <a:effectLst/>
            </c:spPr>
            <c:txPr>
              <a:bodyPr rot="-5400000" spcFirstLastPara="1" vertOverflow="ellipsis" vert="horz" wrap="square" anchor="ctr" anchorCtr="1"/>
              <a:lstStyle/>
              <a:p>
                <a:pPr>
                  <a:defRPr sz="1330" b="0" i="0" u="none" strike="noStrike" kern="1200" baseline="0">
                    <a:solidFill>
                      <a:srgbClr val="5C718F"/>
                    </a:solidFill>
                    <a:latin typeface="+mn-lt"/>
                    <a:ea typeface="+mn-ea"/>
                    <a:cs typeface="+mn-cs"/>
                  </a:defRPr>
                </a:pPr>
                <a:endParaRPr lang="en-US"/>
              </a:p>
            </c:txPr>
          </c:dispUnitsLbl>
        </c:dispUnits>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rgbClr val="5C718F"/>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Physicians &amp; Surgeons</c:v>
                </c:pt>
              </c:strCache>
            </c:strRef>
          </c:tx>
          <c:spPr>
            <a:solidFill>
              <a:schemeClr val="accent1"/>
            </a:solidFill>
            <a:ln>
              <a:noFill/>
            </a:ln>
            <a:effectLst/>
          </c:spPr>
          <c:invertIfNegative val="0"/>
          <c:cat>
            <c:numRef>
              <c:f>Sheet1!$A$2:$A$23</c:f>
              <c:numCache>
                <c:formatCode>General</c:formatCode>
                <c:ptCount val="21"/>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numCache>
            </c:numRef>
          </c:cat>
          <c:val>
            <c:numRef>
              <c:f>Sheet1!$B$2:$B$23</c:f>
              <c:numCache>
                <c:formatCode>"$"#,##0</c:formatCode>
                <c:ptCount val="21"/>
                <c:pt idx="0">
                  <c:v>2123127708</c:v>
                </c:pt>
                <c:pt idx="1">
                  <c:v>2471341849</c:v>
                </c:pt>
                <c:pt idx="2">
                  <c:v>2628349557</c:v>
                </c:pt>
                <c:pt idx="3">
                  <c:v>2641330475</c:v>
                </c:pt>
                <c:pt idx="4">
                  <c:v>2582631619</c:v>
                </c:pt>
                <c:pt idx="5">
                  <c:v>2494621115</c:v>
                </c:pt>
                <c:pt idx="6">
                  <c:v>2674334564</c:v>
                </c:pt>
                <c:pt idx="7">
                  <c:v>2630065102</c:v>
                </c:pt>
                <c:pt idx="8">
                  <c:v>2489697435</c:v>
                </c:pt>
                <c:pt idx="9">
                  <c:v>2303737054</c:v>
                </c:pt>
                <c:pt idx="10">
                  <c:v>2347278788</c:v>
                </c:pt>
                <c:pt idx="11">
                  <c:v>2404150168</c:v>
                </c:pt>
                <c:pt idx="12">
                  <c:v>2374066359</c:v>
                </c:pt>
                <c:pt idx="13">
                  <c:v>2430288325</c:v>
                </c:pt>
                <c:pt idx="14">
                  <c:v>2479699925</c:v>
                </c:pt>
                <c:pt idx="15">
                  <c:v>2313616047</c:v>
                </c:pt>
                <c:pt idx="16">
                  <c:v>2508629598</c:v>
                </c:pt>
                <c:pt idx="17">
                  <c:v>2609565469</c:v>
                </c:pt>
                <c:pt idx="18">
                  <c:v>2510638289</c:v>
                </c:pt>
                <c:pt idx="19">
                  <c:v>2051442276</c:v>
                </c:pt>
                <c:pt idx="20">
                  <c:v>1895181289</c:v>
                </c:pt>
              </c:numCache>
            </c:numRef>
          </c:val>
          <c:extLst>
            <c:ext xmlns:c16="http://schemas.microsoft.com/office/drawing/2014/chart" uri="{C3380CC4-5D6E-409C-BE32-E72D297353CC}">
              <c16:uniqueId val="{00000000-7E42-4145-91B2-85A94CE2BCC0}"/>
            </c:ext>
          </c:extLst>
        </c:ser>
        <c:ser>
          <c:idx val="1"/>
          <c:order val="1"/>
          <c:tx>
            <c:strRef>
              <c:f>Sheet1!$C$1</c:f>
              <c:strCache>
                <c:ptCount val="1"/>
                <c:pt idx="0">
                  <c:v>HC Professionals</c:v>
                </c:pt>
              </c:strCache>
            </c:strRef>
          </c:tx>
          <c:spPr>
            <a:solidFill>
              <a:schemeClr val="accent1">
                <a:lumMod val="40000"/>
                <a:lumOff val="60000"/>
              </a:schemeClr>
            </a:solidFill>
            <a:ln>
              <a:noFill/>
            </a:ln>
            <a:effectLst/>
          </c:spPr>
          <c:invertIfNegative val="0"/>
          <c:cat>
            <c:numRef>
              <c:f>Sheet1!$A$2:$A$23</c:f>
              <c:numCache>
                <c:formatCode>General</c:formatCode>
                <c:ptCount val="21"/>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numCache>
            </c:numRef>
          </c:cat>
          <c:val>
            <c:numRef>
              <c:f>Sheet1!$C$2:$C$23</c:f>
              <c:numCache>
                <c:formatCode>"$"#,##0</c:formatCode>
                <c:ptCount val="21"/>
                <c:pt idx="0">
                  <c:v>184042154</c:v>
                </c:pt>
                <c:pt idx="1">
                  <c:v>194966753</c:v>
                </c:pt>
                <c:pt idx="2">
                  <c:v>163834962</c:v>
                </c:pt>
                <c:pt idx="3">
                  <c:v>173945271</c:v>
                </c:pt>
                <c:pt idx="4">
                  <c:v>175207953</c:v>
                </c:pt>
                <c:pt idx="5">
                  <c:v>229669340</c:v>
                </c:pt>
                <c:pt idx="6">
                  <c:v>217936429</c:v>
                </c:pt>
                <c:pt idx="7">
                  <c:v>240696884</c:v>
                </c:pt>
                <c:pt idx="8">
                  <c:v>280627867</c:v>
                </c:pt>
                <c:pt idx="9">
                  <c:v>288160842</c:v>
                </c:pt>
                <c:pt idx="10">
                  <c:v>292201399</c:v>
                </c:pt>
                <c:pt idx="11">
                  <c:v>294921159</c:v>
                </c:pt>
                <c:pt idx="12">
                  <c:v>354564658</c:v>
                </c:pt>
                <c:pt idx="13">
                  <c:v>398145978</c:v>
                </c:pt>
                <c:pt idx="14">
                  <c:v>352476937</c:v>
                </c:pt>
                <c:pt idx="15">
                  <c:v>403934059</c:v>
                </c:pt>
                <c:pt idx="16">
                  <c:v>343529470</c:v>
                </c:pt>
                <c:pt idx="17">
                  <c:v>408091526</c:v>
                </c:pt>
                <c:pt idx="18">
                  <c:v>428276212</c:v>
                </c:pt>
                <c:pt idx="19">
                  <c:v>331161271</c:v>
                </c:pt>
                <c:pt idx="20">
                  <c:v>326885965</c:v>
                </c:pt>
              </c:numCache>
            </c:numRef>
          </c:val>
          <c:extLst>
            <c:ext xmlns:c16="http://schemas.microsoft.com/office/drawing/2014/chart" uri="{C3380CC4-5D6E-409C-BE32-E72D297353CC}">
              <c16:uniqueId val="{00000001-7E42-4145-91B2-85A94CE2BCC0}"/>
            </c:ext>
          </c:extLst>
        </c:ser>
        <c:ser>
          <c:idx val="2"/>
          <c:order val="2"/>
          <c:tx>
            <c:strRef>
              <c:f>Sheet1!$D$1</c:f>
              <c:strCache>
                <c:ptCount val="1"/>
                <c:pt idx="0">
                  <c:v>HC Facilities</c:v>
                </c:pt>
              </c:strCache>
            </c:strRef>
          </c:tx>
          <c:spPr>
            <a:solidFill>
              <a:schemeClr val="accent4">
                <a:lumMod val="60000"/>
                <a:lumOff val="40000"/>
              </a:schemeClr>
            </a:solidFill>
            <a:ln>
              <a:noFill/>
            </a:ln>
            <a:effectLst/>
          </c:spPr>
          <c:invertIfNegative val="0"/>
          <c:cat>
            <c:numRef>
              <c:f>Sheet1!$A$2:$A$23</c:f>
              <c:numCache>
                <c:formatCode>General</c:formatCode>
                <c:ptCount val="21"/>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numCache>
            </c:numRef>
          </c:cat>
          <c:val>
            <c:numRef>
              <c:f>Sheet1!$D$2:$D$23</c:f>
              <c:numCache>
                <c:formatCode>"$"#,##0</c:formatCode>
                <c:ptCount val="21"/>
                <c:pt idx="0">
                  <c:v>227039201</c:v>
                </c:pt>
                <c:pt idx="1">
                  <c:v>234400938</c:v>
                </c:pt>
                <c:pt idx="2">
                  <c:v>136660472</c:v>
                </c:pt>
                <c:pt idx="3">
                  <c:v>162101037</c:v>
                </c:pt>
                <c:pt idx="4">
                  <c:v>97408788</c:v>
                </c:pt>
                <c:pt idx="5">
                  <c:v>109710872</c:v>
                </c:pt>
                <c:pt idx="6">
                  <c:v>121796235</c:v>
                </c:pt>
                <c:pt idx="7">
                  <c:v>136436821</c:v>
                </c:pt>
                <c:pt idx="8">
                  <c:v>140899603</c:v>
                </c:pt>
                <c:pt idx="9">
                  <c:v>93227817</c:v>
                </c:pt>
                <c:pt idx="10">
                  <c:v>130546695</c:v>
                </c:pt>
                <c:pt idx="11">
                  <c:v>189872013</c:v>
                </c:pt>
                <c:pt idx="12">
                  <c:v>226272172</c:v>
                </c:pt>
                <c:pt idx="13">
                  <c:v>233257549</c:v>
                </c:pt>
                <c:pt idx="14">
                  <c:v>273093693</c:v>
                </c:pt>
                <c:pt idx="15">
                  <c:v>331113455</c:v>
                </c:pt>
                <c:pt idx="16">
                  <c:v>364653784</c:v>
                </c:pt>
                <c:pt idx="17">
                  <c:v>455639784</c:v>
                </c:pt>
                <c:pt idx="18">
                  <c:v>593806327</c:v>
                </c:pt>
                <c:pt idx="19">
                  <c:v>515274404</c:v>
                </c:pt>
                <c:pt idx="20">
                  <c:v>590794449</c:v>
                </c:pt>
              </c:numCache>
            </c:numRef>
          </c:val>
          <c:extLst>
            <c:ext xmlns:c16="http://schemas.microsoft.com/office/drawing/2014/chart" uri="{C3380CC4-5D6E-409C-BE32-E72D297353CC}">
              <c16:uniqueId val="{00000002-7E42-4145-91B2-85A94CE2BCC0}"/>
            </c:ext>
          </c:extLst>
        </c:ser>
        <c:ser>
          <c:idx val="3"/>
          <c:order val="3"/>
          <c:tx>
            <c:strRef>
              <c:f>Sheet1!$E$1</c:f>
              <c:strCache>
                <c:ptCount val="1"/>
                <c:pt idx="0">
                  <c:v>Hospitals</c:v>
                </c:pt>
              </c:strCache>
            </c:strRef>
          </c:tx>
          <c:spPr>
            <a:solidFill>
              <a:schemeClr val="accent4"/>
            </a:solidFill>
            <a:ln>
              <a:noFill/>
            </a:ln>
            <a:effectLst/>
          </c:spPr>
          <c:invertIfNegative val="0"/>
          <c:cat>
            <c:numRef>
              <c:f>Sheet1!$A$2:$A$23</c:f>
              <c:numCache>
                <c:formatCode>General</c:formatCode>
                <c:ptCount val="21"/>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numCache>
            </c:numRef>
          </c:cat>
          <c:val>
            <c:numRef>
              <c:f>Sheet1!$E$2:$E$23</c:f>
              <c:numCache>
                <c:formatCode>"$"#,##0</c:formatCode>
                <c:ptCount val="21"/>
                <c:pt idx="0">
                  <c:v>800380091</c:v>
                </c:pt>
                <c:pt idx="1">
                  <c:v>826838166</c:v>
                </c:pt>
                <c:pt idx="2">
                  <c:v>879066222</c:v>
                </c:pt>
                <c:pt idx="3">
                  <c:v>949129376</c:v>
                </c:pt>
                <c:pt idx="4">
                  <c:v>918864443</c:v>
                </c:pt>
                <c:pt idx="5">
                  <c:v>1113605236</c:v>
                </c:pt>
                <c:pt idx="6">
                  <c:v>1038124579</c:v>
                </c:pt>
                <c:pt idx="7">
                  <c:v>1196857315</c:v>
                </c:pt>
                <c:pt idx="8">
                  <c:v>1068842473</c:v>
                </c:pt>
                <c:pt idx="9">
                  <c:v>887525527</c:v>
                </c:pt>
                <c:pt idx="10">
                  <c:v>928366802</c:v>
                </c:pt>
                <c:pt idx="11">
                  <c:v>1016811950</c:v>
                </c:pt>
                <c:pt idx="12">
                  <c:v>982941256</c:v>
                </c:pt>
                <c:pt idx="13">
                  <c:v>1070900677</c:v>
                </c:pt>
                <c:pt idx="14">
                  <c:v>1217183971</c:v>
                </c:pt>
                <c:pt idx="15">
                  <c:v>1091473747</c:v>
                </c:pt>
                <c:pt idx="16">
                  <c:v>1071980261</c:v>
                </c:pt>
                <c:pt idx="17">
                  <c:v>1186058713</c:v>
                </c:pt>
                <c:pt idx="18">
                  <c:v>1287851041</c:v>
                </c:pt>
                <c:pt idx="19">
                  <c:v>1197950109</c:v>
                </c:pt>
                <c:pt idx="20">
                  <c:v>1015486509</c:v>
                </c:pt>
              </c:numCache>
            </c:numRef>
          </c:val>
          <c:extLst>
            <c:ext xmlns:c16="http://schemas.microsoft.com/office/drawing/2014/chart" uri="{C3380CC4-5D6E-409C-BE32-E72D297353CC}">
              <c16:uniqueId val="{00000003-7E42-4145-91B2-85A94CE2BCC0}"/>
            </c:ext>
          </c:extLst>
        </c:ser>
        <c:dLbls>
          <c:showLegendKey val="0"/>
          <c:showVal val="0"/>
          <c:showCatName val="0"/>
          <c:showSerName val="0"/>
          <c:showPercent val="0"/>
          <c:showBubbleSize val="0"/>
        </c:dLbls>
        <c:gapWidth val="25"/>
        <c:overlap val="100"/>
        <c:axId val="1265150992"/>
        <c:axId val="1265167216"/>
      </c:barChart>
      <c:catAx>
        <c:axId val="126515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rgbClr val="5C718F"/>
                </a:solidFill>
                <a:latin typeface="+mn-lt"/>
                <a:ea typeface="+mn-ea"/>
                <a:cs typeface="+mn-cs"/>
              </a:defRPr>
            </a:pPr>
            <a:endParaRPr lang="en-US"/>
          </a:p>
        </c:txPr>
        <c:crossAx val="1265167216"/>
        <c:crosses val="autoZero"/>
        <c:auto val="1"/>
        <c:lblAlgn val="ctr"/>
        <c:lblOffset val="100"/>
        <c:noMultiLvlLbl val="0"/>
      </c:catAx>
      <c:valAx>
        <c:axId val="12651672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rgbClr val="5C718F"/>
                    </a:solidFill>
                    <a:latin typeface="+mn-lt"/>
                    <a:ea typeface="+mn-ea"/>
                    <a:cs typeface="+mn-cs"/>
                  </a:defRPr>
                </a:pPr>
                <a:r>
                  <a:rPr lang="en-US" dirty="0"/>
                  <a:t>Share of Paid Losses</a:t>
                </a:r>
              </a:p>
            </c:rich>
          </c:tx>
          <c:layout/>
          <c:overlay val="0"/>
          <c:spPr>
            <a:noFill/>
            <a:ln>
              <a:noFill/>
            </a:ln>
            <a:effectLst/>
          </c:spPr>
          <c:txPr>
            <a:bodyPr rot="-5400000" spcFirstLastPara="1" vertOverflow="ellipsis" vert="horz" wrap="square" anchor="ctr" anchorCtr="1"/>
            <a:lstStyle/>
            <a:p>
              <a:pPr>
                <a:defRPr sz="1330" b="0" i="0" u="none" strike="noStrike" kern="1200" baseline="0">
                  <a:solidFill>
                    <a:srgbClr val="5C718F"/>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crossAx val="1265150992"/>
        <c:crosses val="autoZero"/>
        <c:crossBetween val="between"/>
        <c:dispUnits>
          <c:builtInUnit val="billions"/>
          <c:dispUnitsLbl>
            <c:spPr>
              <a:noFill/>
              <a:ln>
                <a:noFill/>
              </a:ln>
              <a:effectLst/>
            </c:spPr>
            <c:txPr>
              <a:bodyPr rot="-5400000" spcFirstLastPara="1" vertOverflow="ellipsis" vert="horz" wrap="square" anchor="ctr" anchorCtr="1"/>
              <a:lstStyle/>
              <a:p>
                <a:pPr>
                  <a:defRPr sz="1330" b="0" i="0" u="none" strike="noStrike" kern="1200" baseline="0">
                    <a:solidFill>
                      <a:srgbClr val="5C718F"/>
                    </a:solidFill>
                    <a:latin typeface="+mn-lt"/>
                    <a:ea typeface="+mn-ea"/>
                    <a:cs typeface="+mn-cs"/>
                  </a:defRPr>
                </a:pPr>
                <a:endParaRPr lang="en-US"/>
              </a:p>
            </c:txPr>
          </c:dispUnitsLbl>
        </c:dispUnits>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rgbClr val="5C718F"/>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Verdicts $10M+</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tailEnd type="none"/>
              </a:ln>
              <a:effectLst/>
            </c:spPr>
            <c:trendlineType val="linear"/>
            <c:dispRSqr val="0"/>
            <c:dispEq val="0"/>
          </c:trendline>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formatCode="m/d/yy;@">
                  <c:v>45028</c:v>
                </c:pt>
              </c:numCache>
            </c:numRef>
          </c:cat>
          <c:val>
            <c:numRef>
              <c:f>Sheet1!$B$2:$B$11</c:f>
              <c:numCache>
                <c:formatCode>General</c:formatCode>
                <c:ptCount val="10"/>
                <c:pt idx="0">
                  <c:v>19</c:v>
                </c:pt>
                <c:pt idx="1">
                  <c:v>26</c:v>
                </c:pt>
                <c:pt idx="2">
                  <c:v>33</c:v>
                </c:pt>
                <c:pt idx="3">
                  <c:v>46</c:v>
                </c:pt>
                <c:pt idx="4">
                  <c:v>46</c:v>
                </c:pt>
                <c:pt idx="5">
                  <c:v>52</c:v>
                </c:pt>
                <c:pt idx="8">
                  <c:v>54</c:v>
                </c:pt>
              </c:numCache>
            </c:numRef>
          </c:val>
          <c:extLst>
            <c:ext xmlns:c16="http://schemas.microsoft.com/office/drawing/2014/chart" uri="{C3380CC4-5D6E-409C-BE32-E72D297353CC}">
              <c16:uniqueId val="{00000000-F3EB-4B22-956A-9B18573E6800}"/>
            </c:ext>
          </c:extLst>
        </c:ser>
        <c:ser>
          <c:idx val="1"/>
          <c:order val="1"/>
          <c:tx>
            <c:strRef>
              <c:f>Sheet1!$C$1</c:f>
              <c:strCache>
                <c:ptCount val="1"/>
                <c:pt idx="0">
                  <c:v>Partial Yrs</c:v>
                </c:pt>
              </c:strCache>
            </c:strRef>
          </c:tx>
          <c:spPr>
            <a:solidFill>
              <a:schemeClr val="accent1">
                <a:lumMod val="20000"/>
                <a:lumOff val="80000"/>
              </a:schemeClr>
            </a:solidFill>
            <a:ln w="25400">
              <a:noFill/>
            </a:ln>
            <a:effectLst/>
          </c:spPr>
          <c:invertIfNegative val="0"/>
          <c:dPt>
            <c:idx val="9"/>
            <c:invertIfNegative val="0"/>
            <c:bubble3D val="0"/>
            <c:spPr>
              <a:pattFill prst="dkHorz">
                <a:fgClr>
                  <a:schemeClr val="accent1"/>
                </a:fgClr>
                <a:bgClr>
                  <a:schemeClr val="bg1"/>
                </a:bgClr>
              </a:pattFill>
              <a:ln w="25400">
                <a:noFill/>
              </a:ln>
              <a:effectLst/>
            </c:spPr>
            <c:extLst>
              <c:ext xmlns:c16="http://schemas.microsoft.com/office/drawing/2014/chart" uri="{C3380CC4-5D6E-409C-BE32-E72D297353CC}">
                <c16:uniqueId val="{00000001-D723-417C-B800-70E1694F5F48}"/>
              </c:ext>
            </c:extLst>
          </c:dPt>
          <c:dLbls>
            <c:spPr>
              <a:noFill/>
              <a:ln>
                <a:noFill/>
              </a:ln>
              <a:effectLst/>
            </c:spPr>
            <c:txPr>
              <a:bodyPr rot="0" spcFirstLastPara="1" vertOverflow="ellipsis" vert="horz" wrap="square" anchor="ctr" anchorCtr="1"/>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14</c:v>
                </c:pt>
                <c:pt idx="1">
                  <c:v>2015</c:v>
                </c:pt>
                <c:pt idx="2">
                  <c:v>2016</c:v>
                </c:pt>
                <c:pt idx="3">
                  <c:v>2017</c:v>
                </c:pt>
                <c:pt idx="4">
                  <c:v>2018</c:v>
                </c:pt>
                <c:pt idx="5">
                  <c:v>2019</c:v>
                </c:pt>
                <c:pt idx="6">
                  <c:v>2020</c:v>
                </c:pt>
                <c:pt idx="7">
                  <c:v>2021</c:v>
                </c:pt>
                <c:pt idx="8">
                  <c:v>2022</c:v>
                </c:pt>
                <c:pt idx="9" formatCode="m/d/yy;@">
                  <c:v>45028</c:v>
                </c:pt>
              </c:numCache>
            </c:numRef>
          </c:cat>
          <c:val>
            <c:numRef>
              <c:f>Sheet1!$C$2:$C$11</c:f>
              <c:numCache>
                <c:formatCode>General</c:formatCode>
                <c:ptCount val="10"/>
                <c:pt idx="6">
                  <c:v>6</c:v>
                </c:pt>
                <c:pt idx="7">
                  <c:v>17</c:v>
                </c:pt>
                <c:pt idx="9">
                  <c:v>18</c:v>
                </c:pt>
              </c:numCache>
            </c:numRef>
          </c:val>
          <c:extLst>
            <c:ext xmlns:c16="http://schemas.microsoft.com/office/drawing/2014/chart" uri="{C3380CC4-5D6E-409C-BE32-E72D297353CC}">
              <c16:uniqueId val="{00000001-F3EB-4B22-956A-9B18573E6800}"/>
            </c:ext>
          </c:extLst>
        </c:ser>
        <c:dLbls>
          <c:showLegendKey val="0"/>
          <c:showVal val="0"/>
          <c:showCatName val="0"/>
          <c:showSerName val="0"/>
          <c:showPercent val="0"/>
          <c:showBubbleSize val="0"/>
        </c:dLbls>
        <c:gapWidth val="25"/>
        <c:overlap val="100"/>
        <c:axId val="1721978688"/>
        <c:axId val="1721962464"/>
      </c:barChart>
      <c:catAx>
        <c:axId val="1721978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crossAx val="1721962464"/>
        <c:crosses val="autoZero"/>
        <c:auto val="1"/>
        <c:lblAlgn val="ctr"/>
        <c:lblOffset val="100"/>
        <c:noMultiLvlLbl val="0"/>
      </c:catAx>
      <c:valAx>
        <c:axId val="1721962464"/>
        <c:scaling>
          <c:orientation val="minMax"/>
        </c:scaling>
        <c:delete val="1"/>
        <c:axPos val="l"/>
        <c:numFmt formatCode="General" sourceLinked="1"/>
        <c:majorTickMark val="out"/>
        <c:minorTickMark val="none"/>
        <c:tickLblPos val="nextTo"/>
        <c:crossAx val="17219786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5C718F"/>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Verdicts $25M+</c:v>
                </c:pt>
              </c:strCache>
            </c:strRef>
          </c:tx>
          <c:spPr>
            <a:solidFill>
              <a:schemeClr val="accent1"/>
            </a:solidFill>
            <a:ln>
              <a:noFill/>
            </a:ln>
            <a:effectLst/>
          </c:spPr>
          <c:invertIfNegative val="0"/>
          <c:dPt>
            <c:idx val="19"/>
            <c:invertIfNegative val="0"/>
            <c:bubble3D val="0"/>
            <c:spPr>
              <a:solidFill>
                <a:schemeClr val="tx2">
                  <a:lumMod val="20000"/>
                  <a:lumOff val="80000"/>
                </a:schemeClr>
              </a:solidFill>
              <a:ln>
                <a:noFill/>
              </a:ln>
              <a:effectLst/>
            </c:spPr>
            <c:extLst>
              <c:ext xmlns:c16="http://schemas.microsoft.com/office/drawing/2014/chart" uri="{C3380CC4-5D6E-409C-BE32-E72D297353CC}">
                <c16:uniqueId val="{00000005-63D8-4EB3-B036-BA630A1B873A}"/>
              </c:ext>
            </c:extLst>
          </c:dPt>
          <c:dPt>
            <c:idx val="20"/>
            <c:invertIfNegative val="0"/>
            <c:bubble3D val="0"/>
            <c:spPr>
              <a:solidFill>
                <a:schemeClr val="tx2">
                  <a:lumMod val="20000"/>
                  <a:lumOff val="80000"/>
                </a:schemeClr>
              </a:solidFill>
              <a:ln>
                <a:noFill/>
              </a:ln>
              <a:effectLst/>
            </c:spPr>
            <c:extLst>
              <c:ext xmlns:c16="http://schemas.microsoft.com/office/drawing/2014/chart" uri="{C3380CC4-5D6E-409C-BE32-E72D297353CC}">
                <c16:uniqueId val="{00000006-63D8-4EB3-B036-BA630A1B873A}"/>
              </c:ext>
            </c:extLst>
          </c:dPt>
          <c:dLbls>
            <c:spPr>
              <a:noFill/>
              <a:ln>
                <a:noFill/>
              </a:ln>
              <a:effectLst/>
            </c:spPr>
            <c:txPr>
              <a:bodyPr rot="0" spcFirstLastPara="1" vertOverflow="ellipsis" vert="horz" wrap="square" anchor="ctr" anchorCtr="1"/>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trendline>
            <c:spPr>
              <a:ln w="28575" cap="rnd">
                <a:solidFill>
                  <a:schemeClr val="accent1"/>
                </a:solidFill>
                <a:prstDash val="sysDot"/>
                <a:tailEnd type="none" w="med" len="med"/>
              </a:ln>
              <a:effectLst/>
            </c:spPr>
            <c:trendlineType val="linear"/>
            <c:dispRSqr val="0"/>
            <c:dispEq val="0"/>
          </c:trendline>
          <c:cat>
            <c:numRef>
              <c:f>Sheet1!$A$2:$A$24</c:f>
              <c:numCache>
                <c:formatCode>General</c:formatCode>
                <c:ptCount val="23"/>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formatCode="m/d/yy;@">
                  <c:v>45028</c:v>
                </c:pt>
              </c:numCache>
            </c:numRef>
          </c:cat>
          <c:val>
            <c:numRef>
              <c:f>Sheet1!$B$2:$B$24</c:f>
              <c:numCache>
                <c:formatCode>General</c:formatCode>
                <c:ptCount val="23"/>
                <c:pt idx="0">
                  <c:v>11</c:v>
                </c:pt>
                <c:pt idx="1">
                  <c:v>9</c:v>
                </c:pt>
                <c:pt idx="2">
                  <c:v>8</c:v>
                </c:pt>
                <c:pt idx="3">
                  <c:v>11</c:v>
                </c:pt>
                <c:pt idx="4">
                  <c:v>5</c:v>
                </c:pt>
                <c:pt idx="5">
                  <c:v>8</c:v>
                </c:pt>
                <c:pt idx="6">
                  <c:v>13</c:v>
                </c:pt>
                <c:pt idx="7">
                  <c:v>8</c:v>
                </c:pt>
                <c:pt idx="8">
                  <c:v>7</c:v>
                </c:pt>
                <c:pt idx="9">
                  <c:v>3</c:v>
                </c:pt>
                <c:pt idx="10">
                  <c:v>6</c:v>
                </c:pt>
                <c:pt idx="11">
                  <c:v>9</c:v>
                </c:pt>
                <c:pt idx="12">
                  <c:v>11</c:v>
                </c:pt>
                <c:pt idx="13">
                  <c:v>5</c:v>
                </c:pt>
                <c:pt idx="14">
                  <c:v>7</c:v>
                </c:pt>
                <c:pt idx="15">
                  <c:v>9</c:v>
                </c:pt>
                <c:pt idx="16">
                  <c:v>15</c:v>
                </c:pt>
                <c:pt idx="17">
                  <c:v>21</c:v>
                </c:pt>
                <c:pt idx="18">
                  <c:v>15</c:v>
                </c:pt>
                <c:pt idx="21">
                  <c:v>23</c:v>
                </c:pt>
              </c:numCache>
            </c:numRef>
          </c:val>
          <c:extLst>
            <c:ext xmlns:c16="http://schemas.microsoft.com/office/drawing/2014/chart" uri="{C3380CC4-5D6E-409C-BE32-E72D297353CC}">
              <c16:uniqueId val="{00000000-63D8-4EB3-B036-BA630A1B873A}"/>
            </c:ext>
          </c:extLst>
        </c:ser>
        <c:ser>
          <c:idx val="1"/>
          <c:order val="1"/>
          <c:tx>
            <c:strRef>
              <c:f>Sheet1!$C$1</c:f>
              <c:strCache>
                <c:ptCount val="1"/>
                <c:pt idx="0">
                  <c:v>Partial Yrs</c:v>
                </c:pt>
              </c:strCache>
            </c:strRef>
          </c:tx>
          <c:spPr>
            <a:solidFill>
              <a:schemeClr val="accent3"/>
            </a:solidFill>
            <a:ln>
              <a:noFill/>
            </a:ln>
            <a:effectLst/>
          </c:spPr>
          <c:invertIfNegative val="0"/>
          <c:dPt>
            <c:idx val="19"/>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7-907E-4DF5-821C-04508B22A43C}"/>
              </c:ext>
            </c:extLst>
          </c:dPt>
          <c:dPt>
            <c:idx val="20"/>
            <c:invertIfNegative val="0"/>
            <c:bubble3D val="0"/>
            <c:spPr>
              <a:solidFill>
                <a:schemeClr val="accent1">
                  <a:lumMod val="20000"/>
                  <a:lumOff val="80000"/>
                </a:schemeClr>
              </a:solidFill>
              <a:ln>
                <a:noFill/>
              </a:ln>
              <a:effectLst/>
            </c:spPr>
            <c:extLst>
              <c:ext xmlns:c16="http://schemas.microsoft.com/office/drawing/2014/chart" uri="{C3380CC4-5D6E-409C-BE32-E72D297353CC}">
                <c16:uniqueId val="{00000006-907E-4DF5-821C-04508B22A43C}"/>
              </c:ext>
            </c:extLst>
          </c:dPt>
          <c:dPt>
            <c:idx val="22"/>
            <c:invertIfNegative val="0"/>
            <c:bubble3D val="0"/>
            <c:spPr>
              <a:pattFill prst="dkHorz">
                <a:fgClr>
                  <a:schemeClr val="accent1"/>
                </a:fgClr>
                <a:bgClr>
                  <a:schemeClr val="bg1"/>
                </a:bgClr>
              </a:pattFill>
              <a:ln>
                <a:noFill/>
              </a:ln>
              <a:effectLst/>
            </c:spPr>
            <c:extLst>
              <c:ext xmlns:c16="http://schemas.microsoft.com/office/drawing/2014/chart" uri="{C3380CC4-5D6E-409C-BE32-E72D297353CC}">
                <c16:uniqueId val="{00000008-353E-46FA-975E-FD3C53788885}"/>
              </c:ext>
            </c:extLst>
          </c:dPt>
          <c:dLbls>
            <c:spPr>
              <a:noFill/>
              <a:ln>
                <a:noFill/>
              </a:ln>
              <a:effectLst/>
            </c:spPr>
            <c:txPr>
              <a:bodyPr rot="0" spcFirstLastPara="1" vertOverflow="ellipsis" vert="horz" wrap="square" anchor="ctr" anchorCtr="1"/>
              <a:lstStyle/>
              <a:p>
                <a:pPr>
                  <a:defRPr sz="1197"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24</c:f>
              <c:numCache>
                <c:formatCode>General</c:formatCode>
                <c:ptCount val="23"/>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pt idx="17">
                  <c:v>2018</c:v>
                </c:pt>
                <c:pt idx="18">
                  <c:v>2019</c:v>
                </c:pt>
                <c:pt idx="19">
                  <c:v>2020</c:v>
                </c:pt>
                <c:pt idx="20">
                  <c:v>2021</c:v>
                </c:pt>
                <c:pt idx="21">
                  <c:v>2022</c:v>
                </c:pt>
                <c:pt idx="22" formatCode="m/d/yy;@">
                  <c:v>45028</c:v>
                </c:pt>
              </c:numCache>
            </c:numRef>
          </c:cat>
          <c:val>
            <c:numRef>
              <c:f>Sheet1!$C$2:$C$24</c:f>
              <c:numCache>
                <c:formatCode>General</c:formatCode>
                <c:ptCount val="23"/>
                <c:pt idx="19">
                  <c:v>1</c:v>
                </c:pt>
                <c:pt idx="20">
                  <c:v>6</c:v>
                </c:pt>
                <c:pt idx="22">
                  <c:v>7</c:v>
                </c:pt>
              </c:numCache>
            </c:numRef>
          </c:val>
          <c:extLst>
            <c:ext xmlns:c16="http://schemas.microsoft.com/office/drawing/2014/chart" uri="{C3380CC4-5D6E-409C-BE32-E72D297353CC}">
              <c16:uniqueId val="{00000006-353E-46FA-975E-FD3C53788885}"/>
            </c:ext>
          </c:extLst>
        </c:ser>
        <c:dLbls>
          <c:showLegendKey val="0"/>
          <c:showVal val="0"/>
          <c:showCatName val="0"/>
          <c:showSerName val="0"/>
          <c:showPercent val="0"/>
          <c:showBubbleSize val="0"/>
        </c:dLbls>
        <c:gapWidth val="25"/>
        <c:overlap val="100"/>
        <c:axId val="123391151"/>
        <c:axId val="123410287"/>
      </c:barChart>
      <c:catAx>
        <c:axId val="1233911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crossAx val="123410287"/>
        <c:crosses val="autoZero"/>
        <c:auto val="1"/>
        <c:lblAlgn val="ctr"/>
        <c:lblOffset val="100"/>
        <c:noMultiLvlLbl val="0"/>
      </c:catAx>
      <c:valAx>
        <c:axId val="123410287"/>
        <c:scaling>
          <c:orientation val="minMax"/>
        </c:scaling>
        <c:delete val="0"/>
        <c:axPos val="l"/>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crossAx val="123391151"/>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5C718F"/>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Hospitals/OB</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6</c:v>
                </c:pt>
                <c:pt idx="1">
                  <c:v>2017</c:v>
                </c:pt>
                <c:pt idx="2">
                  <c:v>2018</c:v>
                </c:pt>
                <c:pt idx="3">
                  <c:v>2019</c:v>
                </c:pt>
                <c:pt idx="4">
                  <c:v>2020</c:v>
                </c:pt>
                <c:pt idx="5">
                  <c:v>2021</c:v>
                </c:pt>
                <c:pt idx="6">
                  <c:v>2022</c:v>
                </c:pt>
                <c:pt idx="7">
                  <c:v>2023 YTD</c:v>
                </c:pt>
              </c:strCache>
            </c:strRef>
          </c:cat>
          <c:val>
            <c:numRef>
              <c:f>Sheet1!$B$2:$B$9</c:f>
              <c:numCache>
                <c:formatCode>General</c:formatCode>
                <c:ptCount val="8"/>
                <c:pt idx="0">
                  <c:v>27</c:v>
                </c:pt>
                <c:pt idx="1">
                  <c:v>21</c:v>
                </c:pt>
                <c:pt idx="2">
                  <c:v>28</c:v>
                </c:pt>
                <c:pt idx="3">
                  <c:v>24</c:v>
                </c:pt>
                <c:pt idx="4">
                  <c:v>2</c:v>
                </c:pt>
                <c:pt idx="5">
                  <c:v>8</c:v>
                </c:pt>
                <c:pt idx="6">
                  <c:v>15</c:v>
                </c:pt>
                <c:pt idx="7">
                  <c:v>5</c:v>
                </c:pt>
              </c:numCache>
            </c:numRef>
          </c:val>
          <c:extLst>
            <c:ext xmlns:c16="http://schemas.microsoft.com/office/drawing/2014/chart" uri="{C3380CC4-5D6E-409C-BE32-E72D297353CC}">
              <c16:uniqueId val="{00000000-553E-4C8F-B1C0-8D8D6FE5A4FE}"/>
            </c:ext>
          </c:extLst>
        </c:ser>
        <c:ser>
          <c:idx val="1"/>
          <c:order val="1"/>
          <c:tx>
            <c:strRef>
              <c:f>Sheet1!$C$1</c:f>
              <c:strCache>
                <c:ptCount val="1"/>
                <c:pt idx="0">
                  <c:v>Other Specialti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6</c:v>
                </c:pt>
                <c:pt idx="1">
                  <c:v>2017</c:v>
                </c:pt>
                <c:pt idx="2">
                  <c:v>2018</c:v>
                </c:pt>
                <c:pt idx="3">
                  <c:v>2019</c:v>
                </c:pt>
                <c:pt idx="4">
                  <c:v>2020</c:v>
                </c:pt>
                <c:pt idx="5">
                  <c:v>2021</c:v>
                </c:pt>
                <c:pt idx="6">
                  <c:v>2022</c:v>
                </c:pt>
                <c:pt idx="7">
                  <c:v>2023 YTD</c:v>
                </c:pt>
              </c:strCache>
            </c:strRef>
          </c:cat>
          <c:val>
            <c:numRef>
              <c:f>Sheet1!$C$2:$C$9</c:f>
              <c:numCache>
                <c:formatCode>General</c:formatCode>
                <c:ptCount val="8"/>
                <c:pt idx="0">
                  <c:v>5</c:v>
                </c:pt>
                <c:pt idx="1">
                  <c:v>23</c:v>
                </c:pt>
                <c:pt idx="2">
                  <c:v>18</c:v>
                </c:pt>
                <c:pt idx="3">
                  <c:v>26</c:v>
                </c:pt>
                <c:pt idx="4">
                  <c:v>3</c:v>
                </c:pt>
                <c:pt idx="5">
                  <c:v>8</c:v>
                </c:pt>
                <c:pt idx="6">
                  <c:v>35</c:v>
                </c:pt>
                <c:pt idx="7">
                  <c:v>9</c:v>
                </c:pt>
              </c:numCache>
            </c:numRef>
          </c:val>
          <c:extLst>
            <c:ext xmlns:c16="http://schemas.microsoft.com/office/drawing/2014/chart" uri="{C3380CC4-5D6E-409C-BE32-E72D297353CC}">
              <c16:uniqueId val="{00000001-553E-4C8F-B1C0-8D8D6FE5A4FE}"/>
            </c:ext>
          </c:extLst>
        </c:ser>
        <c:ser>
          <c:idx val="2"/>
          <c:order val="2"/>
          <c:tx>
            <c:strRef>
              <c:f>Sheet1!$D$1</c:f>
              <c:strCache>
                <c:ptCount val="1"/>
                <c:pt idx="0">
                  <c:v>Senior Car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6</c:v>
                </c:pt>
                <c:pt idx="1">
                  <c:v>2017</c:v>
                </c:pt>
                <c:pt idx="2">
                  <c:v>2018</c:v>
                </c:pt>
                <c:pt idx="3">
                  <c:v>2019</c:v>
                </c:pt>
                <c:pt idx="4">
                  <c:v>2020</c:v>
                </c:pt>
                <c:pt idx="5">
                  <c:v>2021</c:v>
                </c:pt>
                <c:pt idx="6">
                  <c:v>2022</c:v>
                </c:pt>
                <c:pt idx="7">
                  <c:v>2023 YTD</c:v>
                </c:pt>
              </c:strCache>
            </c:strRef>
          </c:cat>
          <c:val>
            <c:numRef>
              <c:f>Sheet1!$D$2:$D$9</c:f>
              <c:numCache>
                <c:formatCode>General</c:formatCode>
                <c:ptCount val="8"/>
                <c:pt idx="0">
                  <c:v>1</c:v>
                </c:pt>
                <c:pt idx="1">
                  <c:v>2</c:v>
                </c:pt>
                <c:pt idx="3">
                  <c:v>2</c:v>
                </c:pt>
                <c:pt idx="4">
                  <c:v>1</c:v>
                </c:pt>
                <c:pt idx="5">
                  <c:v>1</c:v>
                </c:pt>
                <c:pt idx="6">
                  <c:v>4</c:v>
                </c:pt>
                <c:pt idx="7">
                  <c:v>4</c:v>
                </c:pt>
              </c:numCache>
            </c:numRef>
          </c:val>
          <c:extLst>
            <c:ext xmlns:c16="http://schemas.microsoft.com/office/drawing/2014/chart" uri="{C3380CC4-5D6E-409C-BE32-E72D297353CC}">
              <c16:uniqueId val="{00000002-553E-4C8F-B1C0-8D8D6FE5A4FE}"/>
            </c:ext>
          </c:extLst>
        </c:ser>
        <c:dLbls>
          <c:showLegendKey val="0"/>
          <c:showVal val="0"/>
          <c:showCatName val="0"/>
          <c:showSerName val="0"/>
          <c:showPercent val="0"/>
          <c:showBubbleSize val="0"/>
        </c:dLbls>
        <c:gapWidth val="100"/>
        <c:overlap val="100"/>
        <c:axId val="68035648"/>
        <c:axId val="68033568"/>
      </c:barChart>
      <c:catAx>
        <c:axId val="68035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8033568"/>
        <c:crosses val="autoZero"/>
        <c:auto val="1"/>
        <c:lblAlgn val="ctr"/>
        <c:lblOffset val="100"/>
        <c:noMultiLvlLbl val="0"/>
      </c:catAx>
      <c:valAx>
        <c:axId val="680335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803564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3"/>
          <c:order val="3"/>
          <c:tx>
            <c:strRef>
              <c:f>Monthly!$F$1</c:f>
              <c:strCache>
                <c:ptCount val="1"/>
                <c:pt idx="0">
                  <c:v>CPI STDEV-</c:v>
                </c:pt>
              </c:strCache>
            </c:strRef>
          </c:tx>
          <c:spPr>
            <a:noFill/>
            <a:ln>
              <a:noFill/>
            </a:ln>
            <a:effectLst/>
          </c:spPr>
          <c:invertIfNegative val="0"/>
          <c:cat>
            <c:numRef>
              <c:f>Monthly!$B$2:$B$581</c:f>
              <c:numCache>
                <c:formatCode>yyyy</c:formatCode>
                <c:ptCount val="387"/>
                <c:pt idx="0">
                  <c:v>33269</c:v>
                </c:pt>
                <c:pt idx="1">
                  <c:v>33297</c:v>
                </c:pt>
                <c:pt idx="2">
                  <c:v>33328</c:v>
                </c:pt>
                <c:pt idx="3">
                  <c:v>33358</c:v>
                </c:pt>
                <c:pt idx="4">
                  <c:v>33389</c:v>
                </c:pt>
                <c:pt idx="5">
                  <c:v>33419</c:v>
                </c:pt>
                <c:pt idx="6">
                  <c:v>33450</c:v>
                </c:pt>
                <c:pt idx="7">
                  <c:v>33481</c:v>
                </c:pt>
                <c:pt idx="8">
                  <c:v>33511</c:v>
                </c:pt>
                <c:pt idx="9">
                  <c:v>33542</c:v>
                </c:pt>
                <c:pt idx="10">
                  <c:v>33572</c:v>
                </c:pt>
                <c:pt idx="11">
                  <c:v>33603</c:v>
                </c:pt>
                <c:pt idx="12">
                  <c:v>33634</c:v>
                </c:pt>
                <c:pt idx="13">
                  <c:v>33663</c:v>
                </c:pt>
                <c:pt idx="14">
                  <c:v>33694</c:v>
                </c:pt>
                <c:pt idx="15">
                  <c:v>33724</c:v>
                </c:pt>
                <c:pt idx="16">
                  <c:v>33755</c:v>
                </c:pt>
                <c:pt idx="17">
                  <c:v>33785</c:v>
                </c:pt>
                <c:pt idx="18">
                  <c:v>33816</c:v>
                </c:pt>
                <c:pt idx="19">
                  <c:v>33847</c:v>
                </c:pt>
                <c:pt idx="20">
                  <c:v>33877</c:v>
                </c:pt>
                <c:pt idx="21">
                  <c:v>33908</c:v>
                </c:pt>
                <c:pt idx="22">
                  <c:v>33938</c:v>
                </c:pt>
                <c:pt idx="23">
                  <c:v>33969</c:v>
                </c:pt>
                <c:pt idx="24">
                  <c:v>34000</c:v>
                </c:pt>
                <c:pt idx="25">
                  <c:v>34028</c:v>
                </c:pt>
                <c:pt idx="26">
                  <c:v>34059</c:v>
                </c:pt>
                <c:pt idx="27">
                  <c:v>34089</c:v>
                </c:pt>
                <c:pt idx="28">
                  <c:v>34120</c:v>
                </c:pt>
                <c:pt idx="29">
                  <c:v>34150</c:v>
                </c:pt>
                <c:pt idx="30">
                  <c:v>34181</c:v>
                </c:pt>
                <c:pt idx="31">
                  <c:v>34212</c:v>
                </c:pt>
                <c:pt idx="32">
                  <c:v>34242</c:v>
                </c:pt>
                <c:pt idx="33">
                  <c:v>34273</c:v>
                </c:pt>
                <c:pt idx="34">
                  <c:v>34303</c:v>
                </c:pt>
                <c:pt idx="35">
                  <c:v>34334</c:v>
                </c:pt>
                <c:pt idx="36">
                  <c:v>34365</c:v>
                </c:pt>
                <c:pt idx="37">
                  <c:v>34393</c:v>
                </c:pt>
                <c:pt idx="38">
                  <c:v>34424</c:v>
                </c:pt>
                <c:pt idx="39">
                  <c:v>34454</c:v>
                </c:pt>
                <c:pt idx="40">
                  <c:v>34485</c:v>
                </c:pt>
                <c:pt idx="41">
                  <c:v>34515</c:v>
                </c:pt>
                <c:pt idx="42">
                  <c:v>34546</c:v>
                </c:pt>
                <c:pt idx="43">
                  <c:v>34577</c:v>
                </c:pt>
                <c:pt idx="44">
                  <c:v>34607</c:v>
                </c:pt>
                <c:pt idx="45">
                  <c:v>34638</c:v>
                </c:pt>
                <c:pt idx="46">
                  <c:v>34668</c:v>
                </c:pt>
                <c:pt idx="47">
                  <c:v>34699</c:v>
                </c:pt>
                <c:pt idx="48">
                  <c:v>34730</c:v>
                </c:pt>
                <c:pt idx="49">
                  <c:v>34758</c:v>
                </c:pt>
                <c:pt idx="50">
                  <c:v>34789</c:v>
                </c:pt>
                <c:pt idx="51">
                  <c:v>34819</c:v>
                </c:pt>
                <c:pt idx="52">
                  <c:v>34850</c:v>
                </c:pt>
                <c:pt idx="53">
                  <c:v>34880</c:v>
                </c:pt>
                <c:pt idx="54">
                  <c:v>34911</c:v>
                </c:pt>
                <c:pt idx="55">
                  <c:v>34942</c:v>
                </c:pt>
                <c:pt idx="56">
                  <c:v>34972</c:v>
                </c:pt>
                <c:pt idx="57">
                  <c:v>35003</c:v>
                </c:pt>
                <c:pt idx="58">
                  <c:v>35033</c:v>
                </c:pt>
                <c:pt idx="59">
                  <c:v>35064</c:v>
                </c:pt>
                <c:pt idx="60">
                  <c:v>35095</c:v>
                </c:pt>
                <c:pt idx="61">
                  <c:v>35124</c:v>
                </c:pt>
                <c:pt idx="62">
                  <c:v>35155</c:v>
                </c:pt>
                <c:pt idx="63">
                  <c:v>35185</c:v>
                </c:pt>
                <c:pt idx="64">
                  <c:v>35216</c:v>
                </c:pt>
                <c:pt idx="65">
                  <c:v>35246</c:v>
                </c:pt>
                <c:pt idx="66">
                  <c:v>35277</c:v>
                </c:pt>
                <c:pt idx="67">
                  <c:v>35308</c:v>
                </c:pt>
                <c:pt idx="68">
                  <c:v>35338</c:v>
                </c:pt>
                <c:pt idx="69">
                  <c:v>35369</c:v>
                </c:pt>
                <c:pt idx="70">
                  <c:v>35399</c:v>
                </c:pt>
                <c:pt idx="71">
                  <c:v>35430</c:v>
                </c:pt>
                <c:pt idx="72">
                  <c:v>35461</c:v>
                </c:pt>
                <c:pt idx="73">
                  <c:v>35489</c:v>
                </c:pt>
                <c:pt idx="74">
                  <c:v>35520</c:v>
                </c:pt>
                <c:pt idx="75">
                  <c:v>35550</c:v>
                </c:pt>
                <c:pt idx="76">
                  <c:v>35581</c:v>
                </c:pt>
                <c:pt idx="77">
                  <c:v>35611</c:v>
                </c:pt>
                <c:pt idx="78">
                  <c:v>35642</c:v>
                </c:pt>
                <c:pt idx="79">
                  <c:v>35673</c:v>
                </c:pt>
                <c:pt idx="80">
                  <c:v>35703</c:v>
                </c:pt>
                <c:pt idx="81">
                  <c:v>35734</c:v>
                </c:pt>
                <c:pt idx="82">
                  <c:v>35764</c:v>
                </c:pt>
                <c:pt idx="83">
                  <c:v>35795</c:v>
                </c:pt>
                <c:pt idx="84">
                  <c:v>35826</c:v>
                </c:pt>
                <c:pt idx="85">
                  <c:v>35854</c:v>
                </c:pt>
                <c:pt idx="86">
                  <c:v>35885</c:v>
                </c:pt>
                <c:pt idx="87">
                  <c:v>35915</c:v>
                </c:pt>
                <c:pt idx="88">
                  <c:v>35946</c:v>
                </c:pt>
                <c:pt idx="89">
                  <c:v>35976</c:v>
                </c:pt>
                <c:pt idx="90">
                  <c:v>36007</c:v>
                </c:pt>
                <c:pt idx="91">
                  <c:v>36038</c:v>
                </c:pt>
                <c:pt idx="92">
                  <c:v>36068</c:v>
                </c:pt>
                <c:pt idx="93">
                  <c:v>36099</c:v>
                </c:pt>
                <c:pt idx="94">
                  <c:v>36129</c:v>
                </c:pt>
                <c:pt idx="95">
                  <c:v>36160</c:v>
                </c:pt>
                <c:pt idx="96">
                  <c:v>36191</c:v>
                </c:pt>
                <c:pt idx="97">
                  <c:v>36219</c:v>
                </c:pt>
                <c:pt idx="98">
                  <c:v>36250</c:v>
                </c:pt>
                <c:pt idx="99">
                  <c:v>36280</c:v>
                </c:pt>
                <c:pt idx="100">
                  <c:v>36311</c:v>
                </c:pt>
                <c:pt idx="101">
                  <c:v>36341</c:v>
                </c:pt>
                <c:pt idx="102">
                  <c:v>36372</c:v>
                </c:pt>
                <c:pt idx="103">
                  <c:v>36403</c:v>
                </c:pt>
                <c:pt idx="104">
                  <c:v>36433</c:v>
                </c:pt>
                <c:pt idx="105">
                  <c:v>36464</c:v>
                </c:pt>
                <c:pt idx="106">
                  <c:v>36494</c:v>
                </c:pt>
                <c:pt idx="107">
                  <c:v>36525</c:v>
                </c:pt>
                <c:pt idx="108">
                  <c:v>36556</c:v>
                </c:pt>
                <c:pt idx="109">
                  <c:v>36585</c:v>
                </c:pt>
                <c:pt idx="110">
                  <c:v>36616</c:v>
                </c:pt>
                <c:pt idx="111">
                  <c:v>36646</c:v>
                </c:pt>
                <c:pt idx="112">
                  <c:v>36677</c:v>
                </c:pt>
                <c:pt idx="113">
                  <c:v>36707</c:v>
                </c:pt>
                <c:pt idx="114">
                  <c:v>36738</c:v>
                </c:pt>
                <c:pt idx="115">
                  <c:v>36769</c:v>
                </c:pt>
                <c:pt idx="116">
                  <c:v>36799</c:v>
                </c:pt>
                <c:pt idx="117">
                  <c:v>36830</c:v>
                </c:pt>
                <c:pt idx="118">
                  <c:v>36860</c:v>
                </c:pt>
                <c:pt idx="119">
                  <c:v>36891</c:v>
                </c:pt>
                <c:pt idx="120">
                  <c:v>36922</c:v>
                </c:pt>
                <c:pt idx="121">
                  <c:v>36950</c:v>
                </c:pt>
                <c:pt idx="122">
                  <c:v>36981</c:v>
                </c:pt>
                <c:pt idx="123">
                  <c:v>37011</c:v>
                </c:pt>
                <c:pt idx="124">
                  <c:v>37042</c:v>
                </c:pt>
                <c:pt idx="125">
                  <c:v>37072</c:v>
                </c:pt>
                <c:pt idx="126">
                  <c:v>37103</c:v>
                </c:pt>
                <c:pt idx="127">
                  <c:v>37134</c:v>
                </c:pt>
                <c:pt idx="128">
                  <c:v>37164</c:v>
                </c:pt>
                <c:pt idx="129">
                  <c:v>37195</c:v>
                </c:pt>
                <c:pt idx="130">
                  <c:v>37225</c:v>
                </c:pt>
                <c:pt idx="131">
                  <c:v>37256</c:v>
                </c:pt>
                <c:pt idx="132">
                  <c:v>37287</c:v>
                </c:pt>
                <c:pt idx="133">
                  <c:v>37315</c:v>
                </c:pt>
                <c:pt idx="134">
                  <c:v>37346</c:v>
                </c:pt>
                <c:pt idx="135">
                  <c:v>37376</c:v>
                </c:pt>
                <c:pt idx="136">
                  <c:v>37407</c:v>
                </c:pt>
                <c:pt idx="137">
                  <c:v>37437</c:v>
                </c:pt>
                <c:pt idx="138">
                  <c:v>37468</c:v>
                </c:pt>
                <c:pt idx="139">
                  <c:v>37499</c:v>
                </c:pt>
                <c:pt idx="140">
                  <c:v>37529</c:v>
                </c:pt>
                <c:pt idx="141">
                  <c:v>37560</c:v>
                </c:pt>
                <c:pt idx="142">
                  <c:v>37590</c:v>
                </c:pt>
                <c:pt idx="143">
                  <c:v>37621</c:v>
                </c:pt>
                <c:pt idx="144">
                  <c:v>37652</c:v>
                </c:pt>
                <c:pt idx="145">
                  <c:v>37680</c:v>
                </c:pt>
                <c:pt idx="146">
                  <c:v>37711</c:v>
                </c:pt>
                <c:pt idx="147">
                  <c:v>37741</c:v>
                </c:pt>
                <c:pt idx="148">
                  <c:v>37772</c:v>
                </c:pt>
                <c:pt idx="149">
                  <c:v>37802</c:v>
                </c:pt>
                <c:pt idx="150">
                  <c:v>37833</c:v>
                </c:pt>
                <c:pt idx="151">
                  <c:v>37864</c:v>
                </c:pt>
                <c:pt idx="152">
                  <c:v>37894</c:v>
                </c:pt>
                <c:pt idx="153">
                  <c:v>37925</c:v>
                </c:pt>
                <c:pt idx="154">
                  <c:v>37955</c:v>
                </c:pt>
                <c:pt idx="155">
                  <c:v>37986</c:v>
                </c:pt>
                <c:pt idx="156">
                  <c:v>38017</c:v>
                </c:pt>
                <c:pt idx="157">
                  <c:v>38046</c:v>
                </c:pt>
                <c:pt idx="158">
                  <c:v>38077</c:v>
                </c:pt>
                <c:pt idx="159">
                  <c:v>38107</c:v>
                </c:pt>
                <c:pt idx="160">
                  <c:v>38138</c:v>
                </c:pt>
                <c:pt idx="161">
                  <c:v>38168</c:v>
                </c:pt>
                <c:pt idx="162">
                  <c:v>38199</c:v>
                </c:pt>
                <c:pt idx="163">
                  <c:v>38230</c:v>
                </c:pt>
                <c:pt idx="164">
                  <c:v>38260</c:v>
                </c:pt>
                <c:pt idx="165">
                  <c:v>38291</c:v>
                </c:pt>
                <c:pt idx="166">
                  <c:v>38321</c:v>
                </c:pt>
                <c:pt idx="167">
                  <c:v>38352</c:v>
                </c:pt>
                <c:pt idx="168">
                  <c:v>38383</c:v>
                </c:pt>
                <c:pt idx="169">
                  <c:v>38411</c:v>
                </c:pt>
                <c:pt idx="170">
                  <c:v>38442</c:v>
                </c:pt>
                <c:pt idx="171">
                  <c:v>38472</c:v>
                </c:pt>
                <c:pt idx="172">
                  <c:v>38503</c:v>
                </c:pt>
                <c:pt idx="173">
                  <c:v>38533</c:v>
                </c:pt>
                <c:pt idx="174">
                  <c:v>38564</c:v>
                </c:pt>
                <c:pt idx="175">
                  <c:v>38595</c:v>
                </c:pt>
                <c:pt idx="176">
                  <c:v>38625</c:v>
                </c:pt>
                <c:pt idx="177">
                  <c:v>38656</c:v>
                </c:pt>
                <c:pt idx="178">
                  <c:v>38686</c:v>
                </c:pt>
                <c:pt idx="179">
                  <c:v>38717</c:v>
                </c:pt>
                <c:pt idx="180">
                  <c:v>38748</c:v>
                </c:pt>
                <c:pt idx="181">
                  <c:v>38776</c:v>
                </c:pt>
                <c:pt idx="182">
                  <c:v>38807</c:v>
                </c:pt>
                <c:pt idx="183">
                  <c:v>38837</c:v>
                </c:pt>
                <c:pt idx="184">
                  <c:v>38868</c:v>
                </c:pt>
                <c:pt idx="185">
                  <c:v>38898</c:v>
                </c:pt>
                <c:pt idx="186">
                  <c:v>38929</c:v>
                </c:pt>
                <c:pt idx="187">
                  <c:v>38960</c:v>
                </c:pt>
                <c:pt idx="188">
                  <c:v>38990</c:v>
                </c:pt>
                <c:pt idx="189">
                  <c:v>39021</c:v>
                </c:pt>
                <c:pt idx="190">
                  <c:v>39051</c:v>
                </c:pt>
                <c:pt idx="191">
                  <c:v>39082</c:v>
                </c:pt>
                <c:pt idx="192">
                  <c:v>39113</c:v>
                </c:pt>
                <c:pt idx="193">
                  <c:v>39141</c:v>
                </c:pt>
                <c:pt idx="194">
                  <c:v>39172</c:v>
                </c:pt>
                <c:pt idx="195">
                  <c:v>39202</c:v>
                </c:pt>
                <c:pt idx="196">
                  <c:v>39233</c:v>
                </c:pt>
                <c:pt idx="197">
                  <c:v>39263</c:v>
                </c:pt>
                <c:pt idx="198">
                  <c:v>39294</c:v>
                </c:pt>
                <c:pt idx="199">
                  <c:v>39325</c:v>
                </c:pt>
                <c:pt idx="200">
                  <c:v>39355</c:v>
                </c:pt>
                <c:pt idx="201">
                  <c:v>39386</c:v>
                </c:pt>
                <c:pt idx="202">
                  <c:v>39416</c:v>
                </c:pt>
                <c:pt idx="203">
                  <c:v>39447</c:v>
                </c:pt>
                <c:pt idx="204">
                  <c:v>39478</c:v>
                </c:pt>
                <c:pt idx="205">
                  <c:v>39507</c:v>
                </c:pt>
                <c:pt idx="206">
                  <c:v>39538</c:v>
                </c:pt>
                <c:pt idx="207">
                  <c:v>39568</c:v>
                </c:pt>
                <c:pt idx="208">
                  <c:v>39599</c:v>
                </c:pt>
                <c:pt idx="209">
                  <c:v>39629</c:v>
                </c:pt>
                <c:pt idx="210">
                  <c:v>39660</c:v>
                </c:pt>
                <c:pt idx="211">
                  <c:v>39691</c:v>
                </c:pt>
                <c:pt idx="212">
                  <c:v>39721</c:v>
                </c:pt>
                <c:pt idx="213">
                  <c:v>39752</c:v>
                </c:pt>
                <c:pt idx="214">
                  <c:v>39782</c:v>
                </c:pt>
                <c:pt idx="215">
                  <c:v>39813</c:v>
                </c:pt>
                <c:pt idx="216">
                  <c:v>39844</c:v>
                </c:pt>
                <c:pt idx="217">
                  <c:v>39872</c:v>
                </c:pt>
                <c:pt idx="218">
                  <c:v>39903</c:v>
                </c:pt>
                <c:pt idx="219">
                  <c:v>39933</c:v>
                </c:pt>
                <c:pt idx="220">
                  <c:v>39964</c:v>
                </c:pt>
                <c:pt idx="221">
                  <c:v>39994</c:v>
                </c:pt>
                <c:pt idx="222">
                  <c:v>40025</c:v>
                </c:pt>
                <c:pt idx="223">
                  <c:v>40056</c:v>
                </c:pt>
                <c:pt idx="224">
                  <c:v>40086</c:v>
                </c:pt>
                <c:pt idx="225">
                  <c:v>40117</c:v>
                </c:pt>
                <c:pt idx="226">
                  <c:v>40147</c:v>
                </c:pt>
                <c:pt idx="227">
                  <c:v>40178</c:v>
                </c:pt>
                <c:pt idx="228">
                  <c:v>40209</c:v>
                </c:pt>
                <c:pt idx="229">
                  <c:v>40237</c:v>
                </c:pt>
                <c:pt idx="230">
                  <c:v>40268</c:v>
                </c:pt>
                <c:pt idx="231">
                  <c:v>40298</c:v>
                </c:pt>
                <c:pt idx="232">
                  <c:v>40329</c:v>
                </c:pt>
                <c:pt idx="233">
                  <c:v>40359</c:v>
                </c:pt>
                <c:pt idx="234">
                  <c:v>40390</c:v>
                </c:pt>
                <c:pt idx="235">
                  <c:v>40421</c:v>
                </c:pt>
                <c:pt idx="236">
                  <c:v>40451</c:v>
                </c:pt>
                <c:pt idx="237">
                  <c:v>40482</c:v>
                </c:pt>
                <c:pt idx="238">
                  <c:v>40512</c:v>
                </c:pt>
                <c:pt idx="239">
                  <c:v>40543</c:v>
                </c:pt>
                <c:pt idx="240">
                  <c:v>40574</c:v>
                </c:pt>
                <c:pt idx="241">
                  <c:v>40602</c:v>
                </c:pt>
                <c:pt idx="242">
                  <c:v>40633</c:v>
                </c:pt>
                <c:pt idx="243">
                  <c:v>40663</c:v>
                </c:pt>
                <c:pt idx="244">
                  <c:v>40694</c:v>
                </c:pt>
                <c:pt idx="245">
                  <c:v>40724</c:v>
                </c:pt>
                <c:pt idx="246">
                  <c:v>40755</c:v>
                </c:pt>
                <c:pt idx="247">
                  <c:v>40786</c:v>
                </c:pt>
                <c:pt idx="248">
                  <c:v>40816</c:v>
                </c:pt>
                <c:pt idx="249">
                  <c:v>40847</c:v>
                </c:pt>
                <c:pt idx="250">
                  <c:v>40877</c:v>
                </c:pt>
                <c:pt idx="251">
                  <c:v>40908</c:v>
                </c:pt>
                <c:pt idx="252">
                  <c:v>40939</c:v>
                </c:pt>
                <c:pt idx="253">
                  <c:v>40968</c:v>
                </c:pt>
                <c:pt idx="254">
                  <c:v>40999</c:v>
                </c:pt>
                <c:pt idx="255">
                  <c:v>41029</c:v>
                </c:pt>
                <c:pt idx="256">
                  <c:v>41060</c:v>
                </c:pt>
                <c:pt idx="257">
                  <c:v>41090</c:v>
                </c:pt>
                <c:pt idx="258">
                  <c:v>41121</c:v>
                </c:pt>
                <c:pt idx="259">
                  <c:v>41152</c:v>
                </c:pt>
                <c:pt idx="260">
                  <c:v>41182</c:v>
                </c:pt>
                <c:pt idx="261">
                  <c:v>41213</c:v>
                </c:pt>
                <c:pt idx="262">
                  <c:v>41243</c:v>
                </c:pt>
                <c:pt idx="263">
                  <c:v>41274</c:v>
                </c:pt>
                <c:pt idx="264">
                  <c:v>41305</c:v>
                </c:pt>
                <c:pt idx="265">
                  <c:v>41333</c:v>
                </c:pt>
                <c:pt idx="266">
                  <c:v>41364</c:v>
                </c:pt>
                <c:pt idx="267">
                  <c:v>41394</c:v>
                </c:pt>
                <c:pt idx="268">
                  <c:v>41425</c:v>
                </c:pt>
                <c:pt idx="269">
                  <c:v>41455</c:v>
                </c:pt>
                <c:pt idx="270">
                  <c:v>41486</c:v>
                </c:pt>
                <c:pt idx="271">
                  <c:v>41517</c:v>
                </c:pt>
                <c:pt idx="272">
                  <c:v>41547</c:v>
                </c:pt>
                <c:pt idx="273">
                  <c:v>41578</c:v>
                </c:pt>
                <c:pt idx="274">
                  <c:v>41608</c:v>
                </c:pt>
                <c:pt idx="275">
                  <c:v>41639</c:v>
                </c:pt>
                <c:pt idx="276">
                  <c:v>41670</c:v>
                </c:pt>
                <c:pt idx="277">
                  <c:v>41698</c:v>
                </c:pt>
                <c:pt idx="278">
                  <c:v>41729</c:v>
                </c:pt>
                <c:pt idx="279">
                  <c:v>41759</c:v>
                </c:pt>
                <c:pt idx="280">
                  <c:v>41790</c:v>
                </c:pt>
                <c:pt idx="281">
                  <c:v>41820</c:v>
                </c:pt>
                <c:pt idx="282">
                  <c:v>41851</c:v>
                </c:pt>
                <c:pt idx="283">
                  <c:v>41882</c:v>
                </c:pt>
                <c:pt idx="284">
                  <c:v>41912</c:v>
                </c:pt>
                <c:pt idx="285">
                  <c:v>41943</c:v>
                </c:pt>
                <c:pt idx="286">
                  <c:v>41973</c:v>
                </c:pt>
                <c:pt idx="287">
                  <c:v>42004</c:v>
                </c:pt>
                <c:pt idx="288">
                  <c:v>42035</c:v>
                </c:pt>
                <c:pt idx="289">
                  <c:v>42063</c:v>
                </c:pt>
                <c:pt idx="290">
                  <c:v>42094</c:v>
                </c:pt>
                <c:pt idx="291">
                  <c:v>42124</c:v>
                </c:pt>
                <c:pt idx="292">
                  <c:v>42155</c:v>
                </c:pt>
                <c:pt idx="293">
                  <c:v>42185</c:v>
                </c:pt>
                <c:pt idx="294">
                  <c:v>42216</c:v>
                </c:pt>
                <c:pt idx="295">
                  <c:v>42247</c:v>
                </c:pt>
                <c:pt idx="296">
                  <c:v>42277</c:v>
                </c:pt>
                <c:pt idx="297">
                  <c:v>42308</c:v>
                </c:pt>
                <c:pt idx="298">
                  <c:v>42338</c:v>
                </c:pt>
                <c:pt idx="299">
                  <c:v>42369</c:v>
                </c:pt>
                <c:pt idx="300">
                  <c:v>42400</c:v>
                </c:pt>
                <c:pt idx="301">
                  <c:v>42429</c:v>
                </c:pt>
                <c:pt idx="302">
                  <c:v>42460</c:v>
                </c:pt>
                <c:pt idx="303">
                  <c:v>42490</c:v>
                </c:pt>
                <c:pt idx="304">
                  <c:v>42521</c:v>
                </c:pt>
                <c:pt idx="305">
                  <c:v>42551</c:v>
                </c:pt>
                <c:pt idx="306">
                  <c:v>42582</c:v>
                </c:pt>
                <c:pt idx="307">
                  <c:v>42613</c:v>
                </c:pt>
                <c:pt idx="308">
                  <c:v>42643</c:v>
                </c:pt>
                <c:pt idx="309">
                  <c:v>42674</c:v>
                </c:pt>
                <c:pt idx="310">
                  <c:v>42704</c:v>
                </c:pt>
                <c:pt idx="311">
                  <c:v>42735</c:v>
                </c:pt>
                <c:pt idx="312">
                  <c:v>42766</c:v>
                </c:pt>
                <c:pt idx="313">
                  <c:v>42794</c:v>
                </c:pt>
                <c:pt idx="314">
                  <c:v>42825</c:v>
                </c:pt>
                <c:pt idx="315">
                  <c:v>42855</c:v>
                </c:pt>
                <c:pt idx="316">
                  <c:v>42886</c:v>
                </c:pt>
                <c:pt idx="317">
                  <c:v>42916</c:v>
                </c:pt>
                <c:pt idx="318">
                  <c:v>42947</c:v>
                </c:pt>
                <c:pt idx="319">
                  <c:v>42978</c:v>
                </c:pt>
                <c:pt idx="320">
                  <c:v>43008</c:v>
                </c:pt>
                <c:pt idx="321">
                  <c:v>43039</c:v>
                </c:pt>
                <c:pt idx="322">
                  <c:v>43069</c:v>
                </c:pt>
                <c:pt idx="323">
                  <c:v>43100</c:v>
                </c:pt>
                <c:pt idx="324">
                  <c:v>43131</c:v>
                </c:pt>
                <c:pt idx="325">
                  <c:v>43159</c:v>
                </c:pt>
                <c:pt idx="326">
                  <c:v>43190</c:v>
                </c:pt>
                <c:pt idx="327">
                  <c:v>43220</c:v>
                </c:pt>
                <c:pt idx="328">
                  <c:v>43251</c:v>
                </c:pt>
                <c:pt idx="329">
                  <c:v>43281</c:v>
                </c:pt>
                <c:pt idx="330">
                  <c:v>43312</c:v>
                </c:pt>
                <c:pt idx="331">
                  <c:v>43343</c:v>
                </c:pt>
                <c:pt idx="332">
                  <c:v>43373</c:v>
                </c:pt>
                <c:pt idx="333">
                  <c:v>43404</c:v>
                </c:pt>
                <c:pt idx="334">
                  <c:v>43434</c:v>
                </c:pt>
                <c:pt idx="335">
                  <c:v>43465</c:v>
                </c:pt>
                <c:pt idx="336">
                  <c:v>43496</c:v>
                </c:pt>
                <c:pt idx="337">
                  <c:v>43524</c:v>
                </c:pt>
                <c:pt idx="338">
                  <c:v>43555</c:v>
                </c:pt>
                <c:pt idx="339">
                  <c:v>43585</c:v>
                </c:pt>
                <c:pt idx="340">
                  <c:v>43616</c:v>
                </c:pt>
                <c:pt idx="341">
                  <c:v>43646</c:v>
                </c:pt>
                <c:pt idx="342">
                  <c:v>43677</c:v>
                </c:pt>
                <c:pt idx="343">
                  <c:v>43708</c:v>
                </c:pt>
                <c:pt idx="344">
                  <c:v>43738</c:v>
                </c:pt>
                <c:pt idx="345">
                  <c:v>43769</c:v>
                </c:pt>
                <c:pt idx="346">
                  <c:v>43799</c:v>
                </c:pt>
                <c:pt idx="347">
                  <c:v>43830</c:v>
                </c:pt>
                <c:pt idx="348">
                  <c:v>43861</c:v>
                </c:pt>
                <c:pt idx="349">
                  <c:v>43890</c:v>
                </c:pt>
                <c:pt idx="350">
                  <c:v>43921</c:v>
                </c:pt>
                <c:pt idx="351">
                  <c:v>43951</c:v>
                </c:pt>
                <c:pt idx="352">
                  <c:v>43982</c:v>
                </c:pt>
                <c:pt idx="353">
                  <c:v>44012</c:v>
                </c:pt>
                <c:pt idx="354">
                  <c:v>44043</c:v>
                </c:pt>
                <c:pt idx="355">
                  <c:v>44074</c:v>
                </c:pt>
                <c:pt idx="356">
                  <c:v>44104</c:v>
                </c:pt>
                <c:pt idx="357">
                  <c:v>44135</c:v>
                </c:pt>
                <c:pt idx="358">
                  <c:v>44165</c:v>
                </c:pt>
                <c:pt idx="359">
                  <c:v>44196</c:v>
                </c:pt>
                <c:pt idx="360">
                  <c:v>44227</c:v>
                </c:pt>
                <c:pt idx="361">
                  <c:v>44255</c:v>
                </c:pt>
                <c:pt idx="362">
                  <c:v>44286</c:v>
                </c:pt>
                <c:pt idx="363">
                  <c:v>44316</c:v>
                </c:pt>
                <c:pt idx="364">
                  <c:v>44347</c:v>
                </c:pt>
                <c:pt idx="365">
                  <c:v>44377</c:v>
                </c:pt>
                <c:pt idx="366">
                  <c:v>44408</c:v>
                </c:pt>
                <c:pt idx="367">
                  <c:v>44439</c:v>
                </c:pt>
                <c:pt idx="368">
                  <c:v>44469</c:v>
                </c:pt>
                <c:pt idx="369">
                  <c:v>44500</c:v>
                </c:pt>
                <c:pt idx="370">
                  <c:v>44530</c:v>
                </c:pt>
                <c:pt idx="371">
                  <c:v>44561</c:v>
                </c:pt>
                <c:pt idx="372">
                  <c:v>44592</c:v>
                </c:pt>
                <c:pt idx="373">
                  <c:v>44620</c:v>
                </c:pt>
                <c:pt idx="374">
                  <c:v>44651</c:v>
                </c:pt>
                <c:pt idx="375">
                  <c:v>44681</c:v>
                </c:pt>
                <c:pt idx="376">
                  <c:v>44712</c:v>
                </c:pt>
                <c:pt idx="377">
                  <c:v>44742</c:v>
                </c:pt>
                <c:pt idx="378">
                  <c:v>44773</c:v>
                </c:pt>
                <c:pt idx="379">
                  <c:v>44804</c:v>
                </c:pt>
                <c:pt idx="380">
                  <c:v>44834</c:v>
                </c:pt>
                <c:pt idx="381">
                  <c:v>44865</c:v>
                </c:pt>
                <c:pt idx="382">
                  <c:v>44895</c:v>
                </c:pt>
                <c:pt idx="383">
                  <c:v>44926</c:v>
                </c:pt>
                <c:pt idx="384">
                  <c:v>44957</c:v>
                </c:pt>
                <c:pt idx="385">
                  <c:v>44985</c:v>
                </c:pt>
                <c:pt idx="386">
                  <c:v>45015</c:v>
                </c:pt>
              </c:numCache>
            </c:numRef>
          </c:cat>
          <c:val>
            <c:numRef>
              <c:f>Monthly!$F$2:$F$581</c:f>
              <c:numCache>
                <c:formatCode>0%</c:formatCode>
                <c:ptCount val="387"/>
                <c:pt idx="0">
                  <c:v>1.1498872547741458E-2</c:v>
                </c:pt>
                <c:pt idx="1">
                  <c:v>1.1498872547741458E-2</c:v>
                </c:pt>
                <c:pt idx="2">
                  <c:v>1.1498872547741458E-2</c:v>
                </c:pt>
                <c:pt idx="3">
                  <c:v>1.1498872547741458E-2</c:v>
                </c:pt>
                <c:pt idx="4">
                  <c:v>1.1498872547741458E-2</c:v>
                </c:pt>
                <c:pt idx="5">
                  <c:v>1.1498872547741458E-2</c:v>
                </c:pt>
                <c:pt idx="6">
                  <c:v>1.1498872547741458E-2</c:v>
                </c:pt>
                <c:pt idx="7">
                  <c:v>1.1498872547741458E-2</c:v>
                </c:pt>
                <c:pt idx="8">
                  <c:v>1.1498872547741458E-2</c:v>
                </c:pt>
                <c:pt idx="9">
                  <c:v>1.1498872547741458E-2</c:v>
                </c:pt>
                <c:pt idx="10">
                  <c:v>1.1498872547741458E-2</c:v>
                </c:pt>
                <c:pt idx="11">
                  <c:v>1.1498872547741458E-2</c:v>
                </c:pt>
                <c:pt idx="12">
                  <c:v>1.1498872547741458E-2</c:v>
                </c:pt>
                <c:pt idx="13">
                  <c:v>1.1498872547741458E-2</c:v>
                </c:pt>
                <c:pt idx="14">
                  <c:v>1.1498872547741458E-2</c:v>
                </c:pt>
                <c:pt idx="15">
                  <c:v>1.1498872547741458E-2</c:v>
                </c:pt>
                <c:pt idx="16">
                  <c:v>1.1498872547741458E-2</c:v>
                </c:pt>
                <c:pt idx="17">
                  <c:v>1.1498872547741458E-2</c:v>
                </c:pt>
                <c:pt idx="18">
                  <c:v>1.1498872547741458E-2</c:v>
                </c:pt>
                <c:pt idx="19">
                  <c:v>1.1498872547741458E-2</c:v>
                </c:pt>
                <c:pt idx="20">
                  <c:v>1.1498872547741458E-2</c:v>
                </c:pt>
                <c:pt idx="21">
                  <c:v>1.1498872547741458E-2</c:v>
                </c:pt>
                <c:pt idx="22">
                  <c:v>1.1498872547741458E-2</c:v>
                </c:pt>
                <c:pt idx="23">
                  <c:v>1.1498872547741458E-2</c:v>
                </c:pt>
                <c:pt idx="24">
                  <c:v>1.1498872547741458E-2</c:v>
                </c:pt>
                <c:pt idx="25">
                  <c:v>1.1498872547741458E-2</c:v>
                </c:pt>
                <c:pt idx="26">
                  <c:v>1.1498872547741458E-2</c:v>
                </c:pt>
                <c:pt idx="27">
                  <c:v>1.1498872547741458E-2</c:v>
                </c:pt>
                <c:pt idx="28">
                  <c:v>1.1498872547741458E-2</c:v>
                </c:pt>
                <c:pt idx="29">
                  <c:v>1.1498872547741458E-2</c:v>
                </c:pt>
                <c:pt idx="30">
                  <c:v>1.1498872547741458E-2</c:v>
                </c:pt>
                <c:pt idx="31">
                  <c:v>1.1498872547741458E-2</c:v>
                </c:pt>
                <c:pt idx="32">
                  <c:v>1.1498872547741458E-2</c:v>
                </c:pt>
                <c:pt idx="33">
                  <c:v>1.1498872547741458E-2</c:v>
                </c:pt>
                <c:pt idx="34">
                  <c:v>1.1498872547741458E-2</c:v>
                </c:pt>
                <c:pt idx="35">
                  <c:v>1.1498872547741458E-2</c:v>
                </c:pt>
                <c:pt idx="36">
                  <c:v>1.1498872547741458E-2</c:v>
                </c:pt>
                <c:pt idx="37">
                  <c:v>1.1498872547741458E-2</c:v>
                </c:pt>
                <c:pt idx="38">
                  <c:v>1.1498872547741458E-2</c:v>
                </c:pt>
                <c:pt idx="39">
                  <c:v>1.1498872547741458E-2</c:v>
                </c:pt>
                <c:pt idx="40">
                  <c:v>1.1498872547741458E-2</c:v>
                </c:pt>
                <c:pt idx="41">
                  <c:v>1.1498872547741458E-2</c:v>
                </c:pt>
                <c:pt idx="42">
                  <c:v>1.1498872547741458E-2</c:v>
                </c:pt>
                <c:pt idx="43">
                  <c:v>1.1498872547741458E-2</c:v>
                </c:pt>
                <c:pt idx="44">
                  <c:v>1.1498872547741458E-2</c:v>
                </c:pt>
                <c:pt idx="45">
                  <c:v>1.1498872547741458E-2</c:v>
                </c:pt>
                <c:pt idx="46">
                  <c:v>1.1498872547741458E-2</c:v>
                </c:pt>
                <c:pt idx="47">
                  <c:v>1.1498872547741458E-2</c:v>
                </c:pt>
                <c:pt idx="48">
                  <c:v>1.1498872547741458E-2</c:v>
                </c:pt>
                <c:pt idx="49">
                  <c:v>1.1498872547741458E-2</c:v>
                </c:pt>
                <c:pt idx="50">
                  <c:v>1.1498872547741458E-2</c:v>
                </c:pt>
                <c:pt idx="51">
                  <c:v>1.1498872547741458E-2</c:v>
                </c:pt>
                <c:pt idx="52">
                  <c:v>1.1498872547741458E-2</c:v>
                </c:pt>
                <c:pt idx="53">
                  <c:v>1.1498872547741458E-2</c:v>
                </c:pt>
                <c:pt idx="54">
                  <c:v>1.1498872547741458E-2</c:v>
                </c:pt>
                <c:pt idx="55">
                  <c:v>1.1498872547741458E-2</c:v>
                </c:pt>
                <c:pt idx="56">
                  <c:v>1.1498872547741458E-2</c:v>
                </c:pt>
                <c:pt idx="57">
                  <c:v>1.1498872547741458E-2</c:v>
                </c:pt>
                <c:pt idx="58">
                  <c:v>1.1498872547741458E-2</c:v>
                </c:pt>
                <c:pt idx="59">
                  <c:v>1.1498872547741458E-2</c:v>
                </c:pt>
                <c:pt idx="60">
                  <c:v>1.1498872547741458E-2</c:v>
                </c:pt>
                <c:pt idx="61">
                  <c:v>1.1498872547741458E-2</c:v>
                </c:pt>
                <c:pt idx="62">
                  <c:v>1.1498872547741458E-2</c:v>
                </c:pt>
                <c:pt idx="63">
                  <c:v>1.1498872547741458E-2</c:v>
                </c:pt>
                <c:pt idx="64">
                  <c:v>1.1498872547741458E-2</c:v>
                </c:pt>
                <c:pt idx="65">
                  <c:v>1.1498872547741458E-2</c:v>
                </c:pt>
                <c:pt idx="66">
                  <c:v>1.1498872547741458E-2</c:v>
                </c:pt>
                <c:pt idx="67">
                  <c:v>1.1498872547741458E-2</c:v>
                </c:pt>
                <c:pt idx="68">
                  <c:v>1.1498872547741458E-2</c:v>
                </c:pt>
                <c:pt idx="69">
                  <c:v>1.1498872547741458E-2</c:v>
                </c:pt>
                <c:pt idx="70">
                  <c:v>1.1498872547741458E-2</c:v>
                </c:pt>
                <c:pt idx="71">
                  <c:v>1.1498872547741458E-2</c:v>
                </c:pt>
                <c:pt idx="72">
                  <c:v>1.1498872547741458E-2</c:v>
                </c:pt>
                <c:pt idx="73">
                  <c:v>1.1498872547741458E-2</c:v>
                </c:pt>
                <c:pt idx="74">
                  <c:v>1.1498872547741458E-2</c:v>
                </c:pt>
                <c:pt idx="75">
                  <c:v>1.1498872547741458E-2</c:v>
                </c:pt>
                <c:pt idx="76">
                  <c:v>1.1498872547741458E-2</c:v>
                </c:pt>
                <c:pt idx="77">
                  <c:v>1.1498872547741458E-2</c:v>
                </c:pt>
                <c:pt idx="78">
                  <c:v>1.1498872547741458E-2</c:v>
                </c:pt>
                <c:pt idx="79">
                  <c:v>1.1498872547741458E-2</c:v>
                </c:pt>
                <c:pt idx="80">
                  <c:v>1.1498872547741458E-2</c:v>
                </c:pt>
                <c:pt idx="81">
                  <c:v>1.1498872547741458E-2</c:v>
                </c:pt>
                <c:pt idx="82">
                  <c:v>1.1498872547741458E-2</c:v>
                </c:pt>
                <c:pt idx="83">
                  <c:v>1.1498872547741458E-2</c:v>
                </c:pt>
                <c:pt idx="84">
                  <c:v>1.1498872547741458E-2</c:v>
                </c:pt>
                <c:pt idx="85">
                  <c:v>1.1498872547741458E-2</c:v>
                </c:pt>
                <c:pt idx="86">
                  <c:v>1.1498872547741458E-2</c:v>
                </c:pt>
                <c:pt idx="87">
                  <c:v>1.1498872547741458E-2</c:v>
                </c:pt>
                <c:pt idx="88">
                  <c:v>1.1498872547741458E-2</c:v>
                </c:pt>
                <c:pt idx="89">
                  <c:v>1.1498872547741458E-2</c:v>
                </c:pt>
                <c:pt idx="90">
                  <c:v>1.1498872547741458E-2</c:v>
                </c:pt>
                <c:pt idx="91">
                  <c:v>1.1498872547741458E-2</c:v>
                </c:pt>
                <c:pt idx="92">
                  <c:v>1.1498872547741458E-2</c:v>
                </c:pt>
                <c:pt idx="93">
                  <c:v>1.1498872547741458E-2</c:v>
                </c:pt>
                <c:pt idx="94">
                  <c:v>1.1498872547741458E-2</c:v>
                </c:pt>
                <c:pt idx="95">
                  <c:v>1.1498872547741458E-2</c:v>
                </c:pt>
                <c:pt idx="96">
                  <c:v>1.1498872547741458E-2</c:v>
                </c:pt>
                <c:pt idx="97">
                  <c:v>1.1498872547741458E-2</c:v>
                </c:pt>
                <c:pt idx="98">
                  <c:v>1.1498872547741458E-2</c:v>
                </c:pt>
                <c:pt idx="99">
                  <c:v>1.1498872547741458E-2</c:v>
                </c:pt>
                <c:pt idx="100">
                  <c:v>1.1498872547741458E-2</c:v>
                </c:pt>
                <c:pt idx="101">
                  <c:v>1.1498872547741458E-2</c:v>
                </c:pt>
                <c:pt idx="102">
                  <c:v>1.1498872547741458E-2</c:v>
                </c:pt>
                <c:pt idx="103">
                  <c:v>1.1498872547741458E-2</c:v>
                </c:pt>
                <c:pt idx="104">
                  <c:v>1.1498872547741458E-2</c:v>
                </c:pt>
                <c:pt idx="105">
                  <c:v>1.1498872547741458E-2</c:v>
                </c:pt>
                <c:pt idx="106">
                  <c:v>1.1498872547741458E-2</c:v>
                </c:pt>
                <c:pt idx="107">
                  <c:v>1.1498872547741458E-2</c:v>
                </c:pt>
                <c:pt idx="108">
                  <c:v>1.1498872547741458E-2</c:v>
                </c:pt>
                <c:pt idx="109">
                  <c:v>1.1498872547741458E-2</c:v>
                </c:pt>
                <c:pt idx="110">
                  <c:v>1.1498872547741458E-2</c:v>
                </c:pt>
                <c:pt idx="111">
                  <c:v>1.1498872547741458E-2</c:v>
                </c:pt>
                <c:pt idx="112">
                  <c:v>1.1498872547741458E-2</c:v>
                </c:pt>
                <c:pt idx="113">
                  <c:v>1.1498872547741458E-2</c:v>
                </c:pt>
                <c:pt idx="114">
                  <c:v>1.1498872547741458E-2</c:v>
                </c:pt>
                <c:pt idx="115">
                  <c:v>1.1498872547741458E-2</c:v>
                </c:pt>
                <c:pt idx="116">
                  <c:v>1.1498872547741458E-2</c:v>
                </c:pt>
                <c:pt idx="117">
                  <c:v>1.1498872547741458E-2</c:v>
                </c:pt>
                <c:pt idx="118">
                  <c:v>1.1498872547741458E-2</c:v>
                </c:pt>
                <c:pt idx="119">
                  <c:v>1.1498872547741458E-2</c:v>
                </c:pt>
                <c:pt idx="120">
                  <c:v>1.1498872547741458E-2</c:v>
                </c:pt>
                <c:pt idx="121">
                  <c:v>1.1498872547741458E-2</c:v>
                </c:pt>
                <c:pt idx="122">
                  <c:v>1.1498872547741458E-2</c:v>
                </c:pt>
                <c:pt idx="123">
                  <c:v>1.1498872547741458E-2</c:v>
                </c:pt>
                <c:pt idx="124">
                  <c:v>1.1498872547741458E-2</c:v>
                </c:pt>
                <c:pt idx="125">
                  <c:v>1.1498872547741458E-2</c:v>
                </c:pt>
                <c:pt idx="126">
                  <c:v>1.1498872547741458E-2</c:v>
                </c:pt>
                <c:pt idx="127">
                  <c:v>1.1498872547741458E-2</c:v>
                </c:pt>
                <c:pt idx="128">
                  <c:v>1.1498872547741458E-2</c:v>
                </c:pt>
                <c:pt idx="129">
                  <c:v>1.1498872547741458E-2</c:v>
                </c:pt>
                <c:pt idx="130">
                  <c:v>1.1498872547741458E-2</c:v>
                </c:pt>
                <c:pt idx="131">
                  <c:v>1.1498872547741458E-2</c:v>
                </c:pt>
                <c:pt idx="132">
                  <c:v>1.1498872547741458E-2</c:v>
                </c:pt>
                <c:pt idx="133">
                  <c:v>1.1498872547741458E-2</c:v>
                </c:pt>
                <c:pt idx="134">
                  <c:v>1.1498872547741458E-2</c:v>
                </c:pt>
                <c:pt idx="135">
                  <c:v>1.1498872547741458E-2</c:v>
                </c:pt>
                <c:pt idx="136">
                  <c:v>1.1498872547741458E-2</c:v>
                </c:pt>
                <c:pt idx="137">
                  <c:v>1.1498872547741458E-2</c:v>
                </c:pt>
                <c:pt idx="138">
                  <c:v>1.1498872547741458E-2</c:v>
                </c:pt>
                <c:pt idx="139">
                  <c:v>1.1498872547741458E-2</c:v>
                </c:pt>
                <c:pt idx="140">
                  <c:v>1.1498872547741458E-2</c:v>
                </c:pt>
                <c:pt idx="141">
                  <c:v>1.1498872547741458E-2</c:v>
                </c:pt>
                <c:pt idx="142">
                  <c:v>1.1498872547741458E-2</c:v>
                </c:pt>
                <c:pt idx="143">
                  <c:v>1.1498872547741458E-2</c:v>
                </c:pt>
                <c:pt idx="144">
                  <c:v>1.1498872547741458E-2</c:v>
                </c:pt>
                <c:pt idx="145">
                  <c:v>1.1498872547741458E-2</c:v>
                </c:pt>
                <c:pt idx="146">
                  <c:v>1.1498872547741458E-2</c:v>
                </c:pt>
                <c:pt idx="147">
                  <c:v>1.1498872547741458E-2</c:v>
                </c:pt>
                <c:pt idx="148">
                  <c:v>1.1498872547741458E-2</c:v>
                </c:pt>
                <c:pt idx="149">
                  <c:v>1.1498872547741458E-2</c:v>
                </c:pt>
                <c:pt idx="150">
                  <c:v>1.1498872547741458E-2</c:v>
                </c:pt>
                <c:pt idx="151">
                  <c:v>1.1498872547741458E-2</c:v>
                </c:pt>
                <c:pt idx="152">
                  <c:v>1.1498872547741458E-2</c:v>
                </c:pt>
                <c:pt idx="153">
                  <c:v>1.1498872547741458E-2</c:v>
                </c:pt>
                <c:pt idx="154">
                  <c:v>1.1498872547741458E-2</c:v>
                </c:pt>
                <c:pt idx="155">
                  <c:v>1.1498872547741458E-2</c:v>
                </c:pt>
                <c:pt idx="156">
                  <c:v>1.1498872547741458E-2</c:v>
                </c:pt>
                <c:pt idx="157">
                  <c:v>1.1498872547741458E-2</c:v>
                </c:pt>
                <c:pt idx="158">
                  <c:v>1.1498872547741458E-2</c:v>
                </c:pt>
                <c:pt idx="159">
                  <c:v>1.1498872547741458E-2</c:v>
                </c:pt>
                <c:pt idx="160">
                  <c:v>1.1498872547741458E-2</c:v>
                </c:pt>
                <c:pt idx="161">
                  <c:v>1.1498872547741458E-2</c:v>
                </c:pt>
                <c:pt idx="162">
                  <c:v>1.1498872547741458E-2</c:v>
                </c:pt>
                <c:pt idx="163">
                  <c:v>1.1498872547741458E-2</c:v>
                </c:pt>
                <c:pt idx="164">
                  <c:v>1.1498872547741458E-2</c:v>
                </c:pt>
                <c:pt idx="165">
                  <c:v>1.1498872547741458E-2</c:v>
                </c:pt>
                <c:pt idx="166">
                  <c:v>1.1498872547741458E-2</c:v>
                </c:pt>
                <c:pt idx="167">
                  <c:v>1.1498872547741458E-2</c:v>
                </c:pt>
                <c:pt idx="168">
                  <c:v>1.1498872547741458E-2</c:v>
                </c:pt>
                <c:pt idx="169">
                  <c:v>1.1498872547741458E-2</c:v>
                </c:pt>
                <c:pt idx="170">
                  <c:v>1.1498872547741458E-2</c:v>
                </c:pt>
                <c:pt idx="171">
                  <c:v>1.1498872547741458E-2</c:v>
                </c:pt>
                <c:pt idx="172">
                  <c:v>1.1498872547741458E-2</c:v>
                </c:pt>
                <c:pt idx="173">
                  <c:v>1.1498872547741458E-2</c:v>
                </c:pt>
                <c:pt idx="174">
                  <c:v>1.1498872547741458E-2</c:v>
                </c:pt>
                <c:pt idx="175">
                  <c:v>1.1498872547741458E-2</c:v>
                </c:pt>
                <c:pt idx="176">
                  <c:v>1.1498872547741458E-2</c:v>
                </c:pt>
                <c:pt idx="177">
                  <c:v>1.1498872547741458E-2</c:v>
                </c:pt>
                <c:pt idx="178">
                  <c:v>1.1498872547741458E-2</c:v>
                </c:pt>
                <c:pt idx="179">
                  <c:v>1.1498872547741458E-2</c:v>
                </c:pt>
                <c:pt idx="180">
                  <c:v>1.1498872547741458E-2</c:v>
                </c:pt>
                <c:pt idx="181">
                  <c:v>1.1498872547741458E-2</c:v>
                </c:pt>
                <c:pt idx="182">
                  <c:v>1.1498872547741458E-2</c:v>
                </c:pt>
                <c:pt idx="183">
                  <c:v>1.1498872547741458E-2</c:v>
                </c:pt>
                <c:pt idx="184">
                  <c:v>1.1498872547741458E-2</c:v>
                </c:pt>
                <c:pt idx="185">
                  <c:v>1.1498872547741458E-2</c:v>
                </c:pt>
                <c:pt idx="186">
                  <c:v>1.1498872547741458E-2</c:v>
                </c:pt>
                <c:pt idx="187">
                  <c:v>1.1498872547741458E-2</c:v>
                </c:pt>
                <c:pt idx="188">
                  <c:v>1.1498872547741458E-2</c:v>
                </c:pt>
                <c:pt idx="189">
                  <c:v>1.1498872547741458E-2</c:v>
                </c:pt>
                <c:pt idx="190">
                  <c:v>1.1498872547741458E-2</c:v>
                </c:pt>
                <c:pt idx="191">
                  <c:v>1.1498872547741458E-2</c:v>
                </c:pt>
                <c:pt idx="192">
                  <c:v>1.1498872547741458E-2</c:v>
                </c:pt>
                <c:pt idx="193">
                  <c:v>1.1498872547741458E-2</c:v>
                </c:pt>
                <c:pt idx="194">
                  <c:v>1.1498872547741458E-2</c:v>
                </c:pt>
                <c:pt idx="195">
                  <c:v>1.1498872547741458E-2</c:v>
                </c:pt>
                <c:pt idx="196">
                  <c:v>1.1498872547741458E-2</c:v>
                </c:pt>
                <c:pt idx="197">
                  <c:v>1.1498872547741458E-2</c:v>
                </c:pt>
                <c:pt idx="198">
                  <c:v>1.1498872547741458E-2</c:v>
                </c:pt>
                <c:pt idx="199">
                  <c:v>1.1498872547741458E-2</c:v>
                </c:pt>
                <c:pt idx="200">
                  <c:v>1.1498872547741458E-2</c:v>
                </c:pt>
                <c:pt idx="201">
                  <c:v>1.1498872547741458E-2</c:v>
                </c:pt>
                <c:pt idx="202">
                  <c:v>1.1498872547741458E-2</c:v>
                </c:pt>
                <c:pt idx="203">
                  <c:v>1.1498872547741458E-2</c:v>
                </c:pt>
                <c:pt idx="204">
                  <c:v>1.1498872547741458E-2</c:v>
                </c:pt>
                <c:pt idx="205">
                  <c:v>1.1498872547741458E-2</c:v>
                </c:pt>
                <c:pt idx="206">
                  <c:v>1.1498872547741458E-2</c:v>
                </c:pt>
                <c:pt idx="207">
                  <c:v>1.1498872547741458E-2</c:v>
                </c:pt>
                <c:pt idx="208">
                  <c:v>1.1498872547741458E-2</c:v>
                </c:pt>
                <c:pt idx="209">
                  <c:v>1.1498872547741458E-2</c:v>
                </c:pt>
                <c:pt idx="210">
                  <c:v>1.1498872547741458E-2</c:v>
                </c:pt>
                <c:pt idx="211">
                  <c:v>1.1498872547741458E-2</c:v>
                </c:pt>
                <c:pt idx="212">
                  <c:v>1.1498872547741458E-2</c:v>
                </c:pt>
                <c:pt idx="213">
                  <c:v>1.1498872547741458E-2</c:v>
                </c:pt>
                <c:pt idx="214">
                  <c:v>1.1498872547741458E-2</c:v>
                </c:pt>
                <c:pt idx="215">
                  <c:v>1.1498872547741458E-2</c:v>
                </c:pt>
                <c:pt idx="216">
                  <c:v>1.1498872547741458E-2</c:v>
                </c:pt>
                <c:pt idx="217">
                  <c:v>1.1498872547741458E-2</c:v>
                </c:pt>
                <c:pt idx="218">
                  <c:v>1.1498872547741458E-2</c:v>
                </c:pt>
                <c:pt idx="219">
                  <c:v>1.1498872547741458E-2</c:v>
                </c:pt>
                <c:pt idx="220">
                  <c:v>1.1498872547741458E-2</c:v>
                </c:pt>
                <c:pt idx="221">
                  <c:v>1.1498872547741458E-2</c:v>
                </c:pt>
                <c:pt idx="222">
                  <c:v>1.1498872547741458E-2</c:v>
                </c:pt>
                <c:pt idx="223">
                  <c:v>1.1498872547741458E-2</c:v>
                </c:pt>
                <c:pt idx="224">
                  <c:v>1.1498872547741458E-2</c:v>
                </c:pt>
                <c:pt idx="225">
                  <c:v>1.1498872547741458E-2</c:v>
                </c:pt>
                <c:pt idx="226">
                  <c:v>1.1498872547741458E-2</c:v>
                </c:pt>
                <c:pt idx="227">
                  <c:v>1.1498872547741458E-2</c:v>
                </c:pt>
                <c:pt idx="228">
                  <c:v>1.1498872547741458E-2</c:v>
                </c:pt>
                <c:pt idx="229">
                  <c:v>1.1498872547741458E-2</c:v>
                </c:pt>
                <c:pt idx="230">
                  <c:v>1.1498872547741458E-2</c:v>
                </c:pt>
                <c:pt idx="231">
                  <c:v>1.1498872547741458E-2</c:v>
                </c:pt>
                <c:pt idx="232">
                  <c:v>1.1498872547741458E-2</c:v>
                </c:pt>
                <c:pt idx="233">
                  <c:v>1.1498872547741458E-2</c:v>
                </c:pt>
                <c:pt idx="234">
                  <c:v>1.1498872547741458E-2</c:v>
                </c:pt>
                <c:pt idx="235">
                  <c:v>1.1498872547741458E-2</c:v>
                </c:pt>
                <c:pt idx="236">
                  <c:v>1.1498872547741458E-2</c:v>
                </c:pt>
                <c:pt idx="237">
                  <c:v>1.1498872547741458E-2</c:v>
                </c:pt>
                <c:pt idx="238">
                  <c:v>1.1498872547741458E-2</c:v>
                </c:pt>
                <c:pt idx="239">
                  <c:v>1.1498872547741458E-2</c:v>
                </c:pt>
                <c:pt idx="240">
                  <c:v>1.1498872547741458E-2</c:v>
                </c:pt>
                <c:pt idx="241">
                  <c:v>1.1498872547741458E-2</c:v>
                </c:pt>
                <c:pt idx="242">
                  <c:v>1.1498872547741458E-2</c:v>
                </c:pt>
                <c:pt idx="243">
                  <c:v>1.1498872547741458E-2</c:v>
                </c:pt>
                <c:pt idx="244">
                  <c:v>1.1498872547741458E-2</c:v>
                </c:pt>
                <c:pt idx="245">
                  <c:v>1.1498872547741458E-2</c:v>
                </c:pt>
                <c:pt idx="246">
                  <c:v>1.1498872547741458E-2</c:v>
                </c:pt>
                <c:pt idx="247">
                  <c:v>1.1498872547741458E-2</c:v>
                </c:pt>
                <c:pt idx="248">
                  <c:v>1.1498872547741458E-2</c:v>
                </c:pt>
                <c:pt idx="249">
                  <c:v>1.1498872547741458E-2</c:v>
                </c:pt>
                <c:pt idx="250">
                  <c:v>1.1498872547741458E-2</c:v>
                </c:pt>
                <c:pt idx="251">
                  <c:v>1.1498872547741458E-2</c:v>
                </c:pt>
                <c:pt idx="252">
                  <c:v>1.1498872547741458E-2</c:v>
                </c:pt>
                <c:pt idx="253">
                  <c:v>1.1498872547741458E-2</c:v>
                </c:pt>
                <c:pt idx="254">
                  <c:v>1.1498872547741458E-2</c:v>
                </c:pt>
                <c:pt idx="255">
                  <c:v>1.1498872547741458E-2</c:v>
                </c:pt>
                <c:pt idx="256">
                  <c:v>1.1498872547741458E-2</c:v>
                </c:pt>
                <c:pt idx="257">
                  <c:v>1.1498872547741458E-2</c:v>
                </c:pt>
                <c:pt idx="258">
                  <c:v>1.1498872547741458E-2</c:v>
                </c:pt>
                <c:pt idx="259">
                  <c:v>1.1498872547741458E-2</c:v>
                </c:pt>
                <c:pt idx="260">
                  <c:v>1.1498872547741458E-2</c:v>
                </c:pt>
                <c:pt idx="261">
                  <c:v>1.1498872547741458E-2</c:v>
                </c:pt>
                <c:pt idx="262">
                  <c:v>1.1498872547741458E-2</c:v>
                </c:pt>
                <c:pt idx="263">
                  <c:v>1.1498872547741458E-2</c:v>
                </c:pt>
                <c:pt idx="264">
                  <c:v>1.1498872547741458E-2</c:v>
                </c:pt>
                <c:pt idx="265">
                  <c:v>1.1498872547741458E-2</c:v>
                </c:pt>
                <c:pt idx="266">
                  <c:v>1.1498872547741458E-2</c:v>
                </c:pt>
                <c:pt idx="267">
                  <c:v>1.1498872547741458E-2</c:v>
                </c:pt>
                <c:pt idx="268">
                  <c:v>1.1498872547741458E-2</c:v>
                </c:pt>
                <c:pt idx="269">
                  <c:v>1.1498872547741458E-2</c:v>
                </c:pt>
                <c:pt idx="270">
                  <c:v>1.1498872547741458E-2</c:v>
                </c:pt>
                <c:pt idx="271">
                  <c:v>1.1498872547741458E-2</c:v>
                </c:pt>
                <c:pt idx="272">
                  <c:v>1.1498872547741458E-2</c:v>
                </c:pt>
                <c:pt idx="273">
                  <c:v>1.1498872547741458E-2</c:v>
                </c:pt>
                <c:pt idx="274">
                  <c:v>1.1498872547741458E-2</c:v>
                </c:pt>
                <c:pt idx="275">
                  <c:v>1.1498872547741458E-2</c:v>
                </c:pt>
                <c:pt idx="276">
                  <c:v>1.1498872547741458E-2</c:v>
                </c:pt>
                <c:pt idx="277">
                  <c:v>1.1498872547741458E-2</c:v>
                </c:pt>
                <c:pt idx="278">
                  <c:v>1.1498872547741458E-2</c:v>
                </c:pt>
                <c:pt idx="279">
                  <c:v>1.1498872547741458E-2</c:v>
                </c:pt>
                <c:pt idx="280">
                  <c:v>1.1498872547741458E-2</c:v>
                </c:pt>
                <c:pt idx="281">
                  <c:v>1.1498872547741458E-2</c:v>
                </c:pt>
                <c:pt idx="282">
                  <c:v>1.1498872547741458E-2</c:v>
                </c:pt>
                <c:pt idx="283">
                  <c:v>1.1498872547741458E-2</c:v>
                </c:pt>
                <c:pt idx="284">
                  <c:v>1.1498872547741458E-2</c:v>
                </c:pt>
                <c:pt idx="285">
                  <c:v>1.1498872547741458E-2</c:v>
                </c:pt>
                <c:pt idx="286">
                  <c:v>1.1498872547741458E-2</c:v>
                </c:pt>
                <c:pt idx="287">
                  <c:v>1.1498872547741458E-2</c:v>
                </c:pt>
                <c:pt idx="288">
                  <c:v>1.1498872547741458E-2</c:v>
                </c:pt>
                <c:pt idx="289">
                  <c:v>1.1498872547741458E-2</c:v>
                </c:pt>
                <c:pt idx="290">
                  <c:v>1.1498872547741458E-2</c:v>
                </c:pt>
                <c:pt idx="291">
                  <c:v>1.1498872547741458E-2</c:v>
                </c:pt>
                <c:pt idx="292">
                  <c:v>1.1498872547741458E-2</c:v>
                </c:pt>
                <c:pt idx="293">
                  <c:v>1.1498872547741458E-2</c:v>
                </c:pt>
                <c:pt idx="294">
                  <c:v>1.1498872547741458E-2</c:v>
                </c:pt>
                <c:pt idx="295">
                  <c:v>1.1498872547741458E-2</c:v>
                </c:pt>
                <c:pt idx="296">
                  <c:v>1.1498872547741458E-2</c:v>
                </c:pt>
                <c:pt idx="297">
                  <c:v>1.1498872547741458E-2</c:v>
                </c:pt>
                <c:pt idx="298">
                  <c:v>1.1498872547741458E-2</c:v>
                </c:pt>
                <c:pt idx="299">
                  <c:v>1.1498872547741458E-2</c:v>
                </c:pt>
                <c:pt idx="300">
                  <c:v>1.1498872547741458E-2</c:v>
                </c:pt>
                <c:pt idx="301">
                  <c:v>1.1498872547741458E-2</c:v>
                </c:pt>
                <c:pt idx="302">
                  <c:v>1.1498872547741458E-2</c:v>
                </c:pt>
                <c:pt idx="303">
                  <c:v>1.1498872547741458E-2</c:v>
                </c:pt>
                <c:pt idx="304">
                  <c:v>1.1498872547741458E-2</c:v>
                </c:pt>
                <c:pt idx="305">
                  <c:v>1.1498872547741458E-2</c:v>
                </c:pt>
                <c:pt idx="306">
                  <c:v>1.1498872547741458E-2</c:v>
                </c:pt>
                <c:pt idx="307">
                  <c:v>1.1498872547741458E-2</c:v>
                </c:pt>
                <c:pt idx="308">
                  <c:v>1.1498872547741458E-2</c:v>
                </c:pt>
                <c:pt idx="309">
                  <c:v>1.1498872547741458E-2</c:v>
                </c:pt>
                <c:pt idx="310">
                  <c:v>1.1498872547741458E-2</c:v>
                </c:pt>
                <c:pt idx="311">
                  <c:v>1.1498872547741458E-2</c:v>
                </c:pt>
                <c:pt idx="312">
                  <c:v>1.1498872547741458E-2</c:v>
                </c:pt>
                <c:pt idx="313">
                  <c:v>1.1498872547741458E-2</c:v>
                </c:pt>
                <c:pt idx="314">
                  <c:v>1.1498872547741458E-2</c:v>
                </c:pt>
                <c:pt idx="315">
                  <c:v>1.1498872547741458E-2</c:v>
                </c:pt>
                <c:pt idx="316">
                  <c:v>1.1498872547741458E-2</c:v>
                </c:pt>
                <c:pt idx="317">
                  <c:v>1.1498872547741458E-2</c:v>
                </c:pt>
                <c:pt idx="318">
                  <c:v>1.1498872547741458E-2</c:v>
                </c:pt>
                <c:pt idx="319">
                  <c:v>1.1498872547741458E-2</c:v>
                </c:pt>
                <c:pt idx="320">
                  <c:v>1.1498872547741458E-2</c:v>
                </c:pt>
                <c:pt idx="321">
                  <c:v>1.1498872547741458E-2</c:v>
                </c:pt>
                <c:pt idx="322">
                  <c:v>1.1498872547741458E-2</c:v>
                </c:pt>
                <c:pt idx="323">
                  <c:v>1.1498872547741458E-2</c:v>
                </c:pt>
                <c:pt idx="324">
                  <c:v>1.1498872547741458E-2</c:v>
                </c:pt>
                <c:pt idx="325">
                  <c:v>1.1498872547741458E-2</c:v>
                </c:pt>
                <c:pt idx="326">
                  <c:v>1.1498872547741458E-2</c:v>
                </c:pt>
                <c:pt idx="327">
                  <c:v>1.1498872547741458E-2</c:v>
                </c:pt>
                <c:pt idx="328">
                  <c:v>1.1498872547741458E-2</c:v>
                </c:pt>
                <c:pt idx="329">
                  <c:v>1.1498872547741458E-2</c:v>
                </c:pt>
                <c:pt idx="330">
                  <c:v>1.1498872547741458E-2</c:v>
                </c:pt>
                <c:pt idx="331">
                  <c:v>1.1498872547741458E-2</c:v>
                </c:pt>
                <c:pt idx="332">
                  <c:v>1.1498872547741458E-2</c:v>
                </c:pt>
                <c:pt idx="333">
                  <c:v>1.1498872547741458E-2</c:v>
                </c:pt>
                <c:pt idx="334">
                  <c:v>1.1498872547741458E-2</c:v>
                </c:pt>
                <c:pt idx="335">
                  <c:v>1.1498872547741458E-2</c:v>
                </c:pt>
                <c:pt idx="336">
                  <c:v>1.1498872547741458E-2</c:v>
                </c:pt>
                <c:pt idx="337">
                  <c:v>1.1498872547741458E-2</c:v>
                </c:pt>
                <c:pt idx="338">
                  <c:v>1.1498872547741458E-2</c:v>
                </c:pt>
                <c:pt idx="339">
                  <c:v>1.1498872547741458E-2</c:v>
                </c:pt>
                <c:pt idx="340">
                  <c:v>1.1498872547741458E-2</c:v>
                </c:pt>
                <c:pt idx="341">
                  <c:v>1.1498872547741458E-2</c:v>
                </c:pt>
                <c:pt idx="342">
                  <c:v>1.1498872547741458E-2</c:v>
                </c:pt>
                <c:pt idx="343">
                  <c:v>1.1498872547741458E-2</c:v>
                </c:pt>
                <c:pt idx="344">
                  <c:v>1.1498872547741458E-2</c:v>
                </c:pt>
                <c:pt idx="345">
                  <c:v>1.1498872547741458E-2</c:v>
                </c:pt>
                <c:pt idx="346">
                  <c:v>1.1498872547741458E-2</c:v>
                </c:pt>
                <c:pt idx="347">
                  <c:v>1.1498872547741458E-2</c:v>
                </c:pt>
                <c:pt idx="348">
                  <c:v>1.1498872547741458E-2</c:v>
                </c:pt>
                <c:pt idx="349">
                  <c:v>1.1498872547741458E-2</c:v>
                </c:pt>
                <c:pt idx="350">
                  <c:v>1.1498872547741458E-2</c:v>
                </c:pt>
                <c:pt idx="351">
                  <c:v>1.1498872547741458E-2</c:v>
                </c:pt>
                <c:pt idx="352">
                  <c:v>1.1498872547741458E-2</c:v>
                </c:pt>
                <c:pt idx="353">
                  <c:v>1.1498872547741458E-2</c:v>
                </c:pt>
                <c:pt idx="354">
                  <c:v>1.1498872547741458E-2</c:v>
                </c:pt>
                <c:pt idx="355">
                  <c:v>1.1498872547741458E-2</c:v>
                </c:pt>
                <c:pt idx="356">
                  <c:v>1.1498872547741458E-2</c:v>
                </c:pt>
                <c:pt idx="357">
                  <c:v>1.1498872547741458E-2</c:v>
                </c:pt>
                <c:pt idx="358">
                  <c:v>1.1498872547741458E-2</c:v>
                </c:pt>
                <c:pt idx="359">
                  <c:v>1.1498872547741458E-2</c:v>
                </c:pt>
                <c:pt idx="360">
                  <c:v>1.1498872547741458E-2</c:v>
                </c:pt>
                <c:pt idx="361">
                  <c:v>1.1498872547741458E-2</c:v>
                </c:pt>
                <c:pt idx="362">
                  <c:v>1.1498872547741458E-2</c:v>
                </c:pt>
                <c:pt idx="363">
                  <c:v>1.1498872547741458E-2</c:v>
                </c:pt>
                <c:pt idx="364">
                  <c:v>1.1498872547741458E-2</c:v>
                </c:pt>
                <c:pt idx="365">
                  <c:v>1.1498872547741458E-2</c:v>
                </c:pt>
                <c:pt idx="366">
                  <c:v>1.1498872547741458E-2</c:v>
                </c:pt>
                <c:pt idx="367">
                  <c:v>1.1498872547741458E-2</c:v>
                </c:pt>
                <c:pt idx="368">
                  <c:v>1.1498872547741458E-2</c:v>
                </c:pt>
                <c:pt idx="369">
                  <c:v>1.1498872547741458E-2</c:v>
                </c:pt>
                <c:pt idx="370">
                  <c:v>1.1498872547741458E-2</c:v>
                </c:pt>
                <c:pt idx="371">
                  <c:v>1.1498872547741458E-2</c:v>
                </c:pt>
                <c:pt idx="372">
                  <c:v>1.1498872547741458E-2</c:v>
                </c:pt>
                <c:pt idx="373">
                  <c:v>1.1498872547741458E-2</c:v>
                </c:pt>
                <c:pt idx="374">
                  <c:v>1.1498872547741458E-2</c:v>
                </c:pt>
                <c:pt idx="375">
                  <c:v>1.1498872547741458E-2</c:v>
                </c:pt>
                <c:pt idx="376">
                  <c:v>1.1498872547741458E-2</c:v>
                </c:pt>
                <c:pt idx="377">
                  <c:v>1.1498872547741458E-2</c:v>
                </c:pt>
                <c:pt idx="378">
                  <c:v>1.1498872547741458E-2</c:v>
                </c:pt>
                <c:pt idx="379">
                  <c:v>1.1498872547741458E-2</c:v>
                </c:pt>
                <c:pt idx="380">
                  <c:v>1.1498872547741458E-2</c:v>
                </c:pt>
                <c:pt idx="381">
                  <c:v>1.1498872547741458E-2</c:v>
                </c:pt>
                <c:pt idx="382">
                  <c:v>1.1498872547741458E-2</c:v>
                </c:pt>
                <c:pt idx="383">
                  <c:v>1.1498872547741458E-2</c:v>
                </c:pt>
                <c:pt idx="384">
                  <c:v>1.1498872547741458E-2</c:v>
                </c:pt>
                <c:pt idx="385">
                  <c:v>1.1498872547741458E-2</c:v>
                </c:pt>
                <c:pt idx="386">
                  <c:v>1.1498872547741458E-2</c:v>
                </c:pt>
              </c:numCache>
            </c:numRef>
          </c:val>
          <c:extLst>
            <c:ext xmlns:c16="http://schemas.microsoft.com/office/drawing/2014/chart" uri="{C3380CC4-5D6E-409C-BE32-E72D297353CC}">
              <c16:uniqueId val="{00000000-15F2-4C6D-B028-0A7DE9E5A23E}"/>
            </c:ext>
          </c:extLst>
        </c:ser>
        <c:ser>
          <c:idx val="6"/>
          <c:order val="6"/>
          <c:tx>
            <c:strRef>
              <c:f>Monthly!$I$1</c:f>
              <c:strCache>
                <c:ptCount val="1"/>
                <c:pt idx="0">
                  <c:v>30-yr CPI Range
(1991-2020)</c:v>
                </c:pt>
              </c:strCache>
            </c:strRef>
          </c:tx>
          <c:spPr>
            <a:solidFill>
              <a:schemeClr val="tx2">
                <a:lumMod val="20000"/>
                <a:lumOff val="80000"/>
                <a:alpha val="50000"/>
              </a:schemeClr>
            </a:solidFill>
            <a:ln>
              <a:noFill/>
            </a:ln>
            <a:effectLst/>
          </c:spPr>
          <c:invertIfNegative val="0"/>
          <c:cat>
            <c:numRef>
              <c:f>Monthly!$B$2:$B$581</c:f>
              <c:numCache>
                <c:formatCode>yyyy</c:formatCode>
                <c:ptCount val="387"/>
                <c:pt idx="0">
                  <c:v>33269</c:v>
                </c:pt>
                <c:pt idx="1">
                  <c:v>33297</c:v>
                </c:pt>
                <c:pt idx="2">
                  <c:v>33328</c:v>
                </c:pt>
                <c:pt idx="3">
                  <c:v>33358</c:v>
                </c:pt>
                <c:pt idx="4">
                  <c:v>33389</c:v>
                </c:pt>
                <c:pt idx="5">
                  <c:v>33419</c:v>
                </c:pt>
                <c:pt idx="6">
                  <c:v>33450</c:v>
                </c:pt>
                <c:pt idx="7">
                  <c:v>33481</c:v>
                </c:pt>
                <c:pt idx="8">
                  <c:v>33511</c:v>
                </c:pt>
                <c:pt idx="9">
                  <c:v>33542</c:v>
                </c:pt>
                <c:pt idx="10">
                  <c:v>33572</c:v>
                </c:pt>
                <c:pt idx="11">
                  <c:v>33603</c:v>
                </c:pt>
                <c:pt idx="12">
                  <c:v>33634</c:v>
                </c:pt>
                <c:pt idx="13">
                  <c:v>33663</c:v>
                </c:pt>
                <c:pt idx="14">
                  <c:v>33694</c:v>
                </c:pt>
                <c:pt idx="15">
                  <c:v>33724</c:v>
                </c:pt>
                <c:pt idx="16">
                  <c:v>33755</c:v>
                </c:pt>
                <c:pt idx="17">
                  <c:v>33785</c:v>
                </c:pt>
                <c:pt idx="18">
                  <c:v>33816</c:v>
                </c:pt>
                <c:pt idx="19">
                  <c:v>33847</c:v>
                </c:pt>
                <c:pt idx="20">
                  <c:v>33877</c:v>
                </c:pt>
                <c:pt idx="21">
                  <c:v>33908</c:v>
                </c:pt>
                <c:pt idx="22">
                  <c:v>33938</c:v>
                </c:pt>
                <c:pt idx="23">
                  <c:v>33969</c:v>
                </c:pt>
                <c:pt idx="24">
                  <c:v>34000</c:v>
                </c:pt>
                <c:pt idx="25">
                  <c:v>34028</c:v>
                </c:pt>
                <c:pt idx="26">
                  <c:v>34059</c:v>
                </c:pt>
                <c:pt idx="27">
                  <c:v>34089</c:v>
                </c:pt>
                <c:pt idx="28">
                  <c:v>34120</c:v>
                </c:pt>
                <c:pt idx="29">
                  <c:v>34150</c:v>
                </c:pt>
                <c:pt idx="30">
                  <c:v>34181</c:v>
                </c:pt>
                <c:pt idx="31">
                  <c:v>34212</c:v>
                </c:pt>
                <c:pt idx="32">
                  <c:v>34242</c:v>
                </c:pt>
                <c:pt idx="33">
                  <c:v>34273</c:v>
                </c:pt>
                <c:pt idx="34">
                  <c:v>34303</c:v>
                </c:pt>
                <c:pt idx="35">
                  <c:v>34334</c:v>
                </c:pt>
                <c:pt idx="36">
                  <c:v>34365</c:v>
                </c:pt>
                <c:pt idx="37">
                  <c:v>34393</c:v>
                </c:pt>
                <c:pt idx="38">
                  <c:v>34424</c:v>
                </c:pt>
                <c:pt idx="39">
                  <c:v>34454</c:v>
                </c:pt>
                <c:pt idx="40">
                  <c:v>34485</c:v>
                </c:pt>
                <c:pt idx="41">
                  <c:v>34515</c:v>
                </c:pt>
                <c:pt idx="42">
                  <c:v>34546</c:v>
                </c:pt>
                <c:pt idx="43">
                  <c:v>34577</c:v>
                </c:pt>
                <c:pt idx="44">
                  <c:v>34607</c:v>
                </c:pt>
                <c:pt idx="45">
                  <c:v>34638</c:v>
                </c:pt>
                <c:pt idx="46">
                  <c:v>34668</c:v>
                </c:pt>
                <c:pt idx="47">
                  <c:v>34699</c:v>
                </c:pt>
                <c:pt idx="48">
                  <c:v>34730</c:v>
                </c:pt>
                <c:pt idx="49">
                  <c:v>34758</c:v>
                </c:pt>
                <c:pt idx="50">
                  <c:v>34789</c:v>
                </c:pt>
                <c:pt idx="51">
                  <c:v>34819</c:v>
                </c:pt>
                <c:pt idx="52">
                  <c:v>34850</c:v>
                </c:pt>
                <c:pt idx="53">
                  <c:v>34880</c:v>
                </c:pt>
                <c:pt idx="54">
                  <c:v>34911</c:v>
                </c:pt>
                <c:pt idx="55">
                  <c:v>34942</c:v>
                </c:pt>
                <c:pt idx="56">
                  <c:v>34972</c:v>
                </c:pt>
                <c:pt idx="57">
                  <c:v>35003</c:v>
                </c:pt>
                <c:pt idx="58">
                  <c:v>35033</c:v>
                </c:pt>
                <c:pt idx="59">
                  <c:v>35064</c:v>
                </c:pt>
                <c:pt idx="60">
                  <c:v>35095</c:v>
                </c:pt>
                <c:pt idx="61">
                  <c:v>35124</c:v>
                </c:pt>
                <c:pt idx="62">
                  <c:v>35155</c:v>
                </c:pt>
                <c:pt idx="63">
                  <c:v>35185</c:v>
                </c:pt>
                <c:pt idx="64">
                  <c:v>35216</c:v>
                </c:pt>
                <c:pt idx="65">
                  <c:v>35246</c:v>
                </c:pt>
                <c:pt idx="66">
                  <c:v>35277</c:v>
                </c:pt>
                <c:pt idx="67">
                  <c:v>35308</c:v>
                </c:pt>
                <c:pt idx="68">
                  <c:v>35338</c:v>
                </c:pt>
                <c:pt idx="69">
                  <c:v>35369</c:v>
                </c:pt>
                <c:pt idx="70">
                  <c:v>35399</c:v>
                </c:pt>
                <c:pt idx="71">
                  <c:v>35430</c:v>
                </c:pt>
                <c:pt idx="72">
                  <c:v>35461</c:v>
                </c:pt>
                <c:pt idx="73">
                  <c:v>35489</c:v>
                </c:pt>
                <c:pt idx="74">
                  <c:v>35520</c:v>
                </c:pt>
                <c:pt idx="75">
                  <c:v>35550</c:v>
                </c:pt>
                <c:pt idx="76">
                  <c:v>35581</c:v>
                </c:pt>
                <c:pt idx="77">
                  <c:v>35611</c:v>
                </c:pt>
                <c:pt idx="78">
                  <c:v>35642</c:v>
                </c:pt>
                <c:pt idx="79">
                  <c:v>35673</c:v>
                </c:pt>
                <c:pt idx="80">
                  <c:v>35703</c:v>
                </c:pt>
                <c:pt idx="81">
                  <c:v>35734</c:v>
                </c:pt>
                <c:pt idx="82">
                  <c:v>35764</c:v>
                </c:pt>
                <c:pt idx="83">
                  <c:v>35795</c:v>
                </c:pt>
                <c:pt idx="84">
                  <c:v>35826</c:v>
                </c:pt>
                <c:pt idx="85">
                  <c:v>35854</c:v>
                </c:pt>
                <c:pt idx="86">
                  <c:v>35885</c:v>
                </c:pt>
                <c:pt idx="87">
                  <c:v>35915</c:v>
                </c:pt>
                <c:pt idx="88">
                  <c:v>35946</c:v>
                </c:pt>
                <c:pt idx="89">
                  <c:v>35976</c:v>
                </c:pt>
                <c:pt idx="90">
                  <c:v>36007</c:v>
                </c:pt>
                <c:pt idx="91">
                  <c:v>36038</c:v>
                </c:pt>
                <c:pt idx="92">
                  <c:v>36068</c:v>
                </c:pt>
                <c:pt idx="93">
                  <c:v>36099</c:v>
                </c:pt>
                <c:pt idx="94">
                  <c:v>36129</c:v>
                </c:pt>
                <c:pt idx="95">
                  <c:v>36160</c:v>
                </c:pt>
                <c:pt idx="96">
                  <c:v>36191</c:v>
                </c:pt>
                <c:pt idx="97">
                  <c:v>36219</c:v>
                </c:pt>
                <c:pt idx="98">
                  <c:v>36250</c:v>
                </c:pt>
                <c:pt idx="99">
                  <c:v>36280</c:v>
                </c:pt>
                <c:pt idx="100">
                  <c:v>36311</c:v>
                </c:pt>
                <c:pt idx="101">
                  <c:v>36341</c:v>
                </c:pt>
                <c:pt idx="102">
                  <c:v>36372</c:v>
                </c:pt>
                <c:pt idx="103">
                  <c:v>36403</c:v>
                </c:pt>
                <c:pt idx="104">
                  <c:v>36433</c:v>
                </c:pt>
                <c:pt idx="105">
                  <c:v>36464</c:v>
                </c:pt>
                <c:pt idx="106">
                  <c:v>36494</c:v>
                </c:pt>
                <c:pt idx="107">
                  <c:v>36525</c:v>
                </c:pt>
                <c:pt idx="108">
                  <c:v>36556</c:v>
                </c:pt>
                <c:pt idx="109">
                  <c:v>36585</c:v>
                </c:pt>
                <c:pt idx="110">
                  <c:v>36616</c:v>
                </c:pt>
                <c:pt idx="111">
                  <c:v>36646</c:v>
                </c:pt>
                <c:pt idx="112">
                  <c:v>36677</c:v>
                </c:pt>
                <c:pt idx="113">
                  <c:v>36707</c:v>
                </c:pt>
                <c:pt idx="114">
                  <c:v>36738</c:v>
                </c:pt>
                <c:pt idx="115">
                  <c:v>36769</c:v>
                </c:pt>
                <c:pt idx="116">
                  <c:v>36799</c:v>
                </c:pt>
                <c:pt idx="117">
                  <c:v>36830</c:v>
                </c:pt>
                <c:pt idx="118">
                  <c:v>36860</c:v>
                </c:pt>
                <c:pt idx="119">
                  <c:v>36891</c:v>
                </c:pt>
                <c:pt idx="120">
                  <c:v>36922</c:v>
                </c:pt>
                <c:pt idx="121">
                  <c:v>36950</c:v>
                </c:pt>
                <c:pt idx="122">
                  <c:v>36981</c:v>
                </c:pt>
                <c:pt idx="123">
                  <c:v>37011</c:v>
                </c:pt>
                <c:pt idx="124">
                  <c:v>37042</c:v>
                </c:pt>
                <c:pt idx="125">
                  <c:v>37072</c:v>
                </c:pt>
                <c:pt idx="126">
                  <c:v>37103</c:v>
                </c:pt>
                <c:pt idx="127">
                  <c:v>37134</c:v>
                </c:pt>
                <c:pt idx="128">
                  <c:v>37164</c:v>
                </c:pt>
                <c:pt idx="129">
                  <c:v>37195</c:v>
                </c:pt>
                <c:pt idx="130">
                  <c:v>37225</c:v>
                </c:pt>
                <c:pt idx="131">
                  <c:v>37256</c:v>
                </c:pt>
                <c:pt idx="132">
                  <c:v>37287</c:v>
                </c:pt>
                <c:pt idx="133">
                  <c:v>37315</c:v>
                </c:pt>
                <c:pt idx="134">
                  <c:v>37346</c:v>
                </c:pt>
                <c:pt idx="135">
                  <c:v>37376</c:v>
                </c:pt>
                <c:pt idx="136">
                  <c:v>37407</c:v>
                </c:pt>
                <c:pt idx="137">
                  <c:v>37437</c:v>
                </c:pt>
                <c:pt idx="138">
                  <c:v>37468</c:v>
                </c:pt>
                <c:pt idx="139">
                  <c:v>37499</c:v>
                </c:pt>
                <c:pt idx="140">
                  <c:v>37529</c:v>
                </c:pt>
                <c:pt idx="141">
                  <c:v>37560</c:v>
                </c:pt>
                <c:pt idx="142">
                  <c:v>37590</c:v>
                </c:pt>
                <c:pt idx="143">
                  <c:v>37621</c:v>
                </c:pt>
                <c:pt idx="144">
                  <c:v>37652</c:v>
                </c:pt>
                <c:pt idx="145">
                  <c:v>37680</c:v>
                </c:pt>
                <c:pt idx="146">
                  <c:v>37711</c:v>
                </c:pt>
                <c:pt idx="147">
                  <c:v>37741</c:v>
                </c:pt>
                <c:pt idx="148">
                  <c:v>37772</c:v>
                </c:pt>
                <c:pt idx="149">
                  <c:v>37802</c:v>
                </c:pt>
                <c:pt idx="150">
                  <c:v>37833</c:v>
                </c:pt>
                <c:pt idx="151">
                  <c:v>37864</c:v>
                </c:pt>
                <c:pt idx="152">
                  <c:v>37894</c:v>
                </c:pt>
                <c:pt idx="153">
                  <c:v>37925</c:v>
                </c:pt>
                <c:pt idx="154">
                  <c:v>37955</c:v>
                </c:pt>
                <c:pt idx="155">
                  <c:v>37986</c:v>
                </c:pt>
                <c:pt idx="156">
                  <c:v>38017</c:v>
                </c:pt>
                <c:pt idx="157">
                  <c:v>38046</c:v>
                </c:pt>
                <c:pt idx="158">
                  <c:v>38077</c:v>
                </c:pt>
                <c:pt idx="159">
                  <c:v>38107</c:v>
                </c:pt>
                <c:pt idx="160">
                  <c:v>38138</c:v>
                </c:pt>
                <c:pt idx="161">
                  <c:v>38168</c:v>
                </c:pt>
                <c:pt idx="162">
                  <c:v>38199</c:v>
                </c:pt>
                <c:pt idx="163">
                  <c:v>38230</c:v>
                </c:pt>
                <c:pt idx="164">
                  <c:v>38260</c:v>
                </c:pt>
                <c:pt idx="165">
                  <c:v>38291</c:v>
                </c:pt>
                <c:pt idx="166">
                  <c:v>38321</c:v>
                </c:pt>
                <c:pt idx="167">
                  <c:v>38352</c:v>
                </c:pt>
                <c:pt idx="168">
                  <c:v>38383</c:v>
                </c:pt>
                <c:pt idx="169">
                  <c:v>38411</c:v>
                </c:pt>
                <c:pt idx="170">
                  <c:v>38442</c:v>
                </c:pt>
                <c:pt idx="171">
                  <c:v>38472</c:v>
                </c:pt>
                <c:pt idx="172">
                  <c:v>38503</c:v>
                </c:pt>
                <c:pt idx="173">
                  <c:v>38533</c:v>
                </c:pt>
                <c:pt idx="174">
                  <c:v>38564</c:v>
                </c:pt>
                <c:pt idx="175">
                  <c:v>38595</c:v>
                </c:pt>
                <c:pt idx="176">
                  <c:v>38625</c:v>
                </c:pt>
                <c:pt idx="177">
                  <c:v>38656</c:v>
                </c:pt>
                <c:pt idx="178">
                  <c:v>38686</c:v>
                </c:pt>
                <c:pt idx="179">
                  <c:v>38717</c:v>
                </c:pt>
                <c:pt idx="180">
                  <c:v>38748</c:v>
                </c:pt>
                <c:pt idx="181">
                  <c:v>38776</c:v>
                </c:pt>
                <c:pt idx="182">
                  <c:v>38807</c:v>
                </c:pt>
                <c:pt idx="183">
                  <c:v>38837</c:v>
                </c:pt>
                <c:pt idx="184">
                  <c:v>38868</c:v>
                </c:pt>
                <c:pt idx="185">
                  <c:v>38898</c:v>
                </c:pt>
                <c:pt idx="186">
                  <c:v>38929</c:v>
                </c:pt>
                <c:pt idx="187">
                  <c:v>38960</c:v>
                </c:pt>
                <c:pt idx="188">
                  <c:v>38990</c:v>
                </c:pt>
                <c:pt idx="189">
                  <c:v>39021</c:v>
                </c:pt>
                <c:pt idx="190">
                  <c:v>39051</c:v>
                </c:pt>
                <c:pt idx="191">
                  <c:v>39082</c:v>
                </c:pt>
                <c:pt idx="192">
                  <c:v>39113</c:v>
                </c:pt>
                <c:pt idx="193">
                  <c:v>39141</c:v>
                </c:pt>
                <c:pt idx="194">
                  <c:v>39172</c:v>
                </c:pt>
                <c:pt idx="195">
                  <c:v>39202</c:v>
                </c:pt>
                <c:pt idx="196">
                  <c:v>39233</c:v>
                </c:pt>
                <c:pt idx="197">
                  <c:v>39263</c:v>
                </c:pt>
                <c:pt idx="198">
                  <c:v>39294</c:v>
                </c:pt>
                <c:pt idx="199">
                  <c:v>39325</c:v>
                </c:pt>
                <c:pt idx="200">
                  <c:v>39355</c:v>
                </c:pt>
                <c:pt idx="201">
                  <c:v>39386</c:v>
                </c:pt>
                <c:pt idx="202">
                  <c:v>39416</c:v>
                </c:pt>
                <c:pt idx="203">
                  <c:v>39447</c:v>
                </c:pt>
                <c:pt idx="204">
                  <c:v>39478</c:v>
                </c:pt>
                <c:pt idx="205">
                  <c:v>39507</c:v>
                </c:pt>
                <c:pt idx="206">
                  <c:v>39538</c:v>
                </c:pt>
                <c:pt idx="207">
                  <c:v>39568</c:v>
                </c:pt>
                <c:pt idx="208">
                  <c:v>39599</c:v>
                </c:pt>
                <c:pt idx="209">
                  <c:v>39629</c:v>
                </c:pt>
                <c:pt idx="210">
                  <c:v>39660</c:v>
                </c:pt>
                <c:pt idx="211">
                  <c:v>39691</c:v>
                </c:pt>
                <c:pt idx="212">
                  <c:v>39721</c:v>
                </c:pt>
                <c:pt idx="213">
                  <c:v>39752</c:v>
                </c:pt>
                <c:pt idx="214">
                  <c:v>39782</c:v>
                </c:pt>
                <c:pt idx="215">
                  <c:v>39813</c:v>
                </c:pt>
                <c:pt idx="216">
                  <c:v>39844</c:v>
                </c:pt>
                <c:pt idx="217">
                  <c:v>39872</c:v>
                </c:pt>
                <c:pt idx="218">
                  <c:v>39903</c:v>
                </c:pt>
                <c:pt idx="219">
                  <c:v>39933</c:v>
                </c:pt>
                <c:pt idx="220">
                  <c:v>39964</c:v>
                </c:pt>
                <c:pt idx="221">
                  <c:v>39994</c:v>
                </c:pt>
                <c:pt idx="222">
                  <c:v>40025</c:v>
                </c:pt>
                <c:pt idx="223">
                  <c:v>40056</c:v>
                </c:pt>
                <c:pt idx="224">
                  <c:v>40086</c:v>
                </c:pt>
                <c:pt idx="225">
                  <c:v>40117</c:v>
                </c:pt>
                <c:pt idx="226">
                  <c:v>40147</c:v>
                </c:pt>
                <c:pt idx="227">
                  <c:v>40178</c:v>
                </c:pt>
                <c:pt idx="228">
                  <c:v>40209</c:v>
                </c:pt>
                <c:pt idx="229">
                  <c:v>40237</c:v>
                </c:pt>
                <c:pt idx="230">
                  <c:v>40268</c:v>
                </c:pt>
                <c:pt idx="231">
                  <c:v>40298</c:v>
                </c:pt>
                <c:pt idx="232">
                  <c:v>40329</c:v>
                </c:pt>
                <c:pt idx="233">
                  <c:v>40359</c:v>
                </c:pt>
                <c:pt idx="234">
                  <c:v>40390</c:v>
                </c:pt>
                <c:pt idx="235">
                  <c:v>40421</c:v>
                </c:pt>
                <c:pt idx="236">
                  <c:v>40451</c:v>
                </c:pt>
                <c:pt idx="237">
                  <c:v>40482</c:v>
                </c:pt>
                <c:pt idx="238">
                  <c:v>40512</c:v>
                </c:pt>
                <c:pt idx="239">
                  <c:v>40543</c:v>
                </c:pt>
                <c:pt idx="240">
                  <c:v>40574</c:v>
                </c:pt>
                <c:pt idx="241">
                  <c:v>40602</c:v>
                </c:pt>
                <c:pt idx="242">
                  <c:v>40633</c:v>
                </c:pt>
                <c:pt idx="243">
                  <c:v>40663</c:v>
                </c:pt>
                <c:pt idx="244">
                  <c:v>40694</c:v>
                </c:pt>
                <c:pt idx="245">
                  <c:v>40724</c:v>
                </c:pt>
                <c:pt idx="246">
                  <c:v>40755</c:v>
                </c:pt>
                <c:pt idx="247">
                  <c:v>40786</c:v>
                </c:pt>
                <c:pt idx="248">
                  <c:v>40816</c:v>
                </c:pt>
                <c:pt idx="249">
                  <c:v>40847</c:v>
                </c:pt>
                <c:pt idx="250">
                  <c:v>40877</c:v>
                </c:pt>
                <c:pt idx="251">
                  <c:v>40908</c:v>
                </c:pt>
                <c:pt idx="252">
                  <c:v>40939</c:v>
                </c:pt>
                <c:pt idx="253">
                  <c:v>40968</c:v>
                </c:pt>
                <c:pt idx="254">
                  <c:v>40999</c:v>
                </c:pt>
                <c:pt idx="255">
                  <c:v>41029</c:v>
                </c:pt>
                <c:pt idx="256">
                  <c:v>41060</c:v>
                </c:pt>
                <c:pt idx="257">
                  <c:v>41090</c:v>
                </c:pt>
                <c:pt idx="258">
                  <c:v>41121</c:v>
                </c:pt>
                <c:pt idx="259">
                  <c:v>41152</c:v>
                </c:pt>
                <c:pt idx="260">
                  <c:v>41182</c:v>
                </c:pt>
                <c:pt idx="261">
                  <c:v>41213</c:v>
                </c:pt>
                <c:pt idx="262">
                  <c:v>41243</c:v>
                </c:pt>
                <c:pt idx="263">
                  <c:v>41274</c:v>
                </c:pt>
                <c:pt idx="264">
                  <c:v>41305</c:v>
                </c:pt>
                <c:pt idx="265">
                  <c:v>41333</c:v>
                </c:pt>
                <c:pt idx="266">
                  <c:v>41364</c:v>
                </c:pt>
                <c:pt idx="267">
                  <c:v>41394</c:v>
                </c:pt>
                <c:pt idx="268">
                  <c:v>41425</c:v>
                </c:pt>
                <c:pt idx="269">
                  <c:v>41455</c:v>
                </c:pt>
                <c:pt idx="270">
                  <c:v>41486</c:v>
                </c:pt>
                <c:pt idx="271">
                  <c:v>41517</c:v>
                </c:pt>
                <c:pt idx="272">
                  <c:v>41547</c:v>
                </c:pt>
                <c:pt idx="273">
                  <c:v>41578</c:v>
                </c:pt>
                <c:pt idx="274">
                  <c:v>41608</c:v>
                </c:pt>
                <c:pt idx="275">
                  <c:v>41639</c:v>
                </c:pt>
                <c:pt idx="276">
                  <c:v>41670</c:v>
                </c:pt>
                <c:pt idx="277">
                  <c:v>41698</c:v>
                </c:pt>
                <c:pt idx="278">
                  <c:v>41729</c:v>
                </c:pt>
                <c:pt idx="279">
                  <c:v>41759</c:v>
                </c:pt>
                <c:pt idx="280">
                  <c:v>41790</c:v>
                </c:pt>
                <c:pt idx="281">
                  <c:v>41820</c:v>
                </c:pt>
                <c:pt idx="282">
                  <c:v>41851</c:v>
                </c:pt>
                <c:pt idx="283">
                  <c:v>41882</c:v>
                </c:pt>
                <c:pt idx="284">
                  <c:v>41912</c:v>
                </c:pt>
                <c:pt idx="285">
                  <c:v>41943</c:v>
                </c:pt>
                <c:pt idx="286">
                  <c:v>41973</c:v>
                </c:pt>
                <c:pt idx="287">
                  <c:v>42004</c:v>
                </c:pt>
                <c:pt idx="288">
                  <c:v>42035</c:v>
                </c:pt>
                <c:pt idx="289">
                  <c:v>42063</c:v>
                </c:pt>
                <c:pt idx="290">
                  <c:v>42094</c:v>
                </c:pt>
                <c:pt idx="291">
                  <c:v>42124</c:v>
                </c:pt>
                <c:pt idx="292">
                  <c:v>42155</c:v>
                </c:pt>
                <c:pt idx="293">
                  <c:v>42185</c:v>
                </c:pt>
                <c:pt idx="294">
                  <c:v>42216</c:v>
                </c:pt>
                <c:pt idx="295">
                  <c:v>42247</c:v>
                </c:pt>
                <c:pt idx="296">
                  <c:v>42277</c:v>
                </c:pt>
                <c:pt idx="297">
                  <c:v>42308</c:v>
                </c:pt>
                <c:pt idx="298">
                  <c:v>42338</c:v>
                </c:pt>
                <c:pt idx="299">
                  <c:v>42369</c:v>
                </c:pt>
                <c:pt idx="300">
                  <c:v>42400</c:v>
                </c:pt>
                <c:pt idx="301">
                  <c:v>42429</c:v>
                </c:pt>
                <c:pt idx="302">
                  <c:v>42460</c:v>
                </c:pt>
                <c:pt idx="303">
                  <c:v>42490</c:v>
                </c:pt>
                <c:pt idx="304">
                  <c:v>42521</c:v>
                </c:pt>
                <c:pt idx="305">
                  <c:v>42551</c:v>
                </c:pt>
                <c:pt idx="306">
                  <c:v>42582</c:v>
                </c:pt>
                <c:pt idx="307">
                  <c:v>42613</c:v>
                </c:pt>
                <c:pt idx="308">
                  <c:v>42643</c:v>
                </c:pt>
                <c:pt idx="309">
                  <c:v>42674</c:v>
                </c:pt>
                <c:pt idx="310">
                  <c:v>42704</c:v>
                </c:pt>
                <c:pt idx="311">
                  <c:v>42735</c:v>
                </c:pt>
                <c:pt idx="312">
                  <c:v>42766</c:v>
                </c:pt>
                <c:pt idx="313">
                  <c:v>42794</c:v>
                </c:pt>
                <c:pt idx="314">
                  <c:v>42825</c:v>
                </c:pt>
                <c:pt idx="315">
                  <c:v>42855</c:v>
                </c:pt>
                <c:pt idx="316">
                  <c:v>42886</c:v>
                </c:pt>
                <c:pt idx="317">
                  <c:v>42916</c:v>
                </c:pt>
                <c:pt idx="318">
                  <c:v>42947</c:v>
                </c:pt>
                <c:pt idx="319">
                  <c:v>42978</c:v>
                </c:pt>
                <c:pt idx="320">
                  <c:v>43008</c:v>
                </c:pt>
                <c:pt idx="321">
                  <c:v>43039</c:v>
                </c:pt>
                <c:pt idx="322">
                  <c:v>43069</c:v>
                </c:pt>
                <c:pt idx="323">
                  <c:v>43100</c:v>
                </c:pt>
                <c:pt idx="324">
                  <c:v>43131</c:v>
                </c:pt>
                <c:pt idx="325">
                  <c:v>43159</c:v>
                </c:pt>
                <c:pt idx="326">
                  <c:v>43190</c:v>
                </c:pt>
                <c:pt idx="327">
                  <c:v>43220</c:v>
                </c:pt>
                <c:pt idx="328">
                  <c:v>43251</c:v>
                </c:pt>
                <c:pt idx="329">
                  <c:v>43281</c:v>
                </c:pt>
                <c:pt idx="330">
                  <c:v>43312</c:v>
                </c:pt>
                <c:pt idx="331">
                  <c:v>43343</c:v>
                </c:pt>
                <c:pt idx="332">
                  <c:v>43373</c:v>
                </c:pt>
                <c:pt idx="333">
                  <c:v>43404</c:v>
                </c:pt>
                <c:pt idx="334">
                  <c:v>43434</c:v>
                </c:pt>
                <c:pt idx="335">
                  <c:v>43465</c:v>
                </c:pt>
                <c:pt idx="336">
                  <c:v>43496</c:v>
                </c:pt>
                <c:pt idx="337">
                  <c:v>43524</c:v>
                </c:pt>
                <c:pt idx="338">
                  <c:v>43555</c:v>
                </c:pt>
                <c:pt idx="339">
                  <c:v>43585</c:v>
                </c:pt>
                <c:pt idx="340">
                  <c:v>43616</c:v>
                </c:pt>
                <c:pt idx="341">
                  <c:v>43646</c:v>
                </c:pt>
                <c:pt idx="342">
                  <c:v>43677</c:v>
                </c:pt>
                <c:pt idx="343">
                  <c:v>43708</c:v>
                </c:pt>
                <c:pt idx="344">
                  <c:v>43738</c:v>
                </c:pt>
                <c:pt idx="345">
                  <c:v>43769</c:v>
                </c:pt>
                <c:pt idx="346">
                  <c:v>43799</c:v>
                </c:pt>
                <c:pt idx="347">
                  <c:v>43830</c:v>
                </c:pt>
                <c:pt idx="348">
                  <c:v>43861</c:v>
                </c:pt>
                <c:pt idx="349">
                  <c:v>43890</c:v>
                </c:pt>
                <c:pt idx="350">
                  <c:v>43921</c:v>
                </c:pt>
                <c:pt idx="351">
                  <c:v>43951</c:v>
                </c:pt>
                <c:pt idx="352">
                  <c:v>43982</c:v>
                </c:pt>
                <c:pt idx="353">
                  <c:v>44012</c:v>
                </c:pt>
                <c:pt idx="354">
                  <c:v>44043</c:v>
                </c:pt>
                <c:pt idx="355">
                  <c:v>44074</c:v>
                </c:pt>
                <c:pt idx="356">
                  <c:v>44104</c:v>
                </c:pt>
                <c:pt idx="357">
                  <c:v>44135</c:v>
                </c:pt>
                <c:pt idx="358">
                  <c:v>44165</c:v>
                </c:pt>
                <c:pt idx="359">
                  <c:v>44196</c:v>
                </c:pt>
                <c:pt idx="360">
                  <c:v>44227</c:v>
                </c:pt>
                <c:pt idx="361">
                  <c:v>44255</c:v>
                </c:pt>
                <c:pt idx="362">
                  <c:v>44286</c:v>
                </c:pt>
                <c:pt idx="363">
                  <c:v>44316</c:v>
                </c:pt>
                <c:pt idx="364">
                  <c:v>44347</c:v>
                </c:pt>
                <c:pt idx="365">
                  <c:v>44377</c:v>
                </c:pt>
                <c:pt idx="366">
                  <c:v>44408</c:v>
                </c:pt>
                <c:pt idx="367">
                  <c:v>44439</c:v>
                </c:pt>
                <c:pt idx="368">
                  <c:v>44469</c:v>
                </c:pt>
                <c:pt idx="369">
                  <c:v>44500</c:v>
                </c:pt>
                <c:pt idx="370">
                  <c:v>44530</c:v>
                </c:pt>
                <c:pt idx="371">
                  <c:v>44561</c:v>
                </c:pt>
                <c:pt idx="372">
                  <c:v>44592</c:v>
                </c:pt>
                <c:pt idx="373">
                  <c:v>44620</c:v>
                </c:pt>
                <c:pt idx="374">
                  <c:v>44651</c:v>
                </c:pt>
                <c:pt idx="375">
                  <c:v>44681</c:v>
                </c:pt>
                <c:pt idx="376">
                  <c:v>44712</c:v>
                </c:pt>
                <c:pt idx="377">
                  <c:v>44742</c:v>
                </c:pt>
                <c:pt idx="378">
                  <c:v>44773</c:v>
                </c:pt>
                <c:pt idx="379">
                  <c:v>44804</c:v>
                </c:pt>
                <c:pt idx="380">
                  <c:v>44834</c:v>
                </c:pt>
                <c:pt idx="381">
                  <c:v>44865</c:v>
                </c:pt>
                <c:pt idx="382">
                  <c:v>44895</c:v>
                </c:pt>
                <c:pt idx="383">
                  <c:v>44926</c:v>
                </c:pt>
                <c:pt idx="384">
                  <c:v>44957</c:v>
                </c:pt>
                <c:pt idx="385">
                  <c:v>44985</c:v>
                </c:pt>
                <c:pt idx="386">
                  <c:v>45015</c:v>
                </c:pt>
              </c:numCache>
            </c:numRef>
          </c:cat>
          <c:val>
            <c:numRef>
              <c:f>Monthly!$I$2:$I$581</c:f>
              <c:numCache>
                <c:formatCode>0%</c:formatCode>
                <c:ptCount val="387"/>
                <c:pt idx="0">
                  <c:v>2.3233714161979321E-2</c:v>
                </c:pt>
                <c:pt idx="1">
                  <c:v>2.3233714161979321E-2</c:v>
                </c:pt>
                <c:pt idx="2">
                  <c:v>2.3233714161979321E-2</c:v>
                </c:pt>
                <c:pt idx="3">
                  <c:v>2.3233714161979321E-2</c:v>
                </c:pt>
                <c:pt idx="4">
                  <c:v>2.3233714161979321E-2</c:v>
                </c:pt>
                <c:pt idx="5">
                  <c:v>2.3233714161979321E-2</c:v>
                </c:pt>
                <c:pt idx="6">
                  <c:v>2.3233714161979321E-2</c:v>
                </c:pt>
                <c:pt idx="7">
                  <c:v>2.3233714161979321E-2</c:v>
                </c:pt>
                <c:pt idx="8">
                  <c:v>2.3233714161979321E-2</c:v>
                </c:pt>
                <c:pt idx="9">
                  <c:v>2.3233714161979321E-2</c:v>
                </c:pt>
                <c:pt idx="10">
                  <c:v>2.3233714161979321E-2</c:v>
                </c:pt>
                <c:pt idx="11">
                  <c:v>2.3233714161979321E-2</c:v>
                </c:pt>
                <c:pt idx="12">
                  <c:v>2.3233714161979321E-2</c:v>
                </c:pt>
                <c:pt idx="13">
                  <c:v>2.3233714161979321E-2</c:v>
                </c:pt>
                <c:pt idx="14">
                  <c:v>2.3233714161979321E-2</c:v>
                </c:pt>
                <c:pt idx="15">
                  <c:v>2.3233714161979321E-2</c:v>
                </c:pt>
                <c:pt idx="16">
                  <c:v>2.3233714161979321E-2</c:v>
                </c:pt>
                <c:pt idx="17">
                  <c:v>2.3233714161979321E-2</c:v>
                </c:pt>
                <c:pt idx="18">
                  <c:v>2.3233714161979321E-2</c:v>
                </c:pt>
                <c:pt idx="19">
                  <c:v>2.3233714161979321E-2</c:v>
                </c:pt>
                <c:pt idx="20">
                  <c:v>2.3233714161979321E-2</c:v>
                </c:pt>
                <c:pt idx="21">
                  <c:v>2.3233714161979321E-2</c:v>
                </c:pt>
                <c:pt idx="22">
                  <c:v>2.3233714161979321E-2</c:v>
                </c:pt>
                <c:pt idx="23">
                  <c:v>2.3233714161979321E-2</c:v>
                </c:pt>
                <c:pt idx="24">
                  <c:v>2.3233714161979321E-2</c:v>
                </c:pt>
                <c:pt idx="25">
                  <c:v>2.3233714161979321E-2</c:v>
                </c:pt>
                <c:pt idx="26">
                  <c:v>2.3233714161979321E-2</c:v>
                </c:pt>
                <c:pt idx="27">
                  <c:v>2.3233714161979321E-2</c:v>
                </c:pt>
                <c:pt idx="28">
                  <c:v>2.3233714161979321E-2</c:v>
                </c:pt>
                <c:pt idx="29">
                  <c:v>2.3233714161979321E-2</c:v>
                </c:pt>
                <c:pt idx="30">
                  <c:v>2.3233714161979321E-2</c:v>
                </c:pt>
                <c:pt idx="31">
                  <c:v>2.3233714161979321E-2</c:v>
                </c:pt>
                <c:pt idx="32">
                  <c:v>2.3233714161979321E-2</c:v>
                </c:pt>
                <c:pt idx="33">
                  <c:v>2.3233714161979321E-2</c:v>
                </c:pt>
                <c:pt idx="34">
                  <c:v>2.3233714161979321E-2</c:v>
                </c:pt>
                <c:pt idx="35">
                  <c:v>2.3233714161979321E-2</c:v>
                </c:pt>
                <c:pt idx="36">
                  <c:v>2.3233714161979321E-2</c:v>
                </c:pt>
                <c:pt idx="37">
                  <c:v>2.3233714161979321E-2</c:v>
                </c:pt>
                <c:pt idx="38">
                  <c:v>2.3233714161979321E-2</c:v>
                </c:pt>
                <c:pt idx="39">
                  <c:v>2.3233714161979321E-2</c:v>
                </c:pt>
                <c:pt idx="40">
                  <c:v>2.3233714161979321E-2</c:v>
                </c:pt>
                <c:pt idx="41">
                  <c:v>2.3233714161979321E-2</c:v>
                </c:pt>
                <c:pt idx="42">
                  <c:v>2.3233714161979321E-2</c:v>
                </c:pt>
                <c:pt idx="43">
                  <c:v>2.3233714161979321E-2</c:v>
                </c:pt>
                <c:pt idx="44">
                  <c:v>2.3233714161979321E-2</c:v>
                </c:pt>
                <c:pt idx="45">
                  <c:v>2.3233714161979321E-2</c:v>
                </c:pt>
                <c:pt idx="46">
                  <c:v>2.3233714161979321E-2</c:v>
                </c:pt>
                <c:pt idx="47">
                  <c:v>2.3233714161979321E-2</c:v>
                </c:pt>
                <c:pt idx="48">
                  <c:v>2.3233714161979321E-2</c:v>
                </c:pt>
                <c:pt idx="49">
                  <c:v>2.3233714161979321E-2</c:v>
                </c:pt>
                <c:pt idx="50">
                  <c:v>2.3233714161979321E-2</c:v>
                </c:pt>
                <c:pt idx="51">
                  <c:v>2.3233714161979321E-2</c:v>
                </c:pt>
                <c:pt idx="52">
                  <c:v>2.3233714161979321E-2</c:v>
                </c:pt>
                <c:pt idx="53">
                  <c:v>2.3233714161979321E-2</c:v>
                </c:pt>
                <c:pt idx="54">
                  <c:v>2.3233714161979321E-2</c:v>
                </c:pt>
                <c:pt idx="55">
                  <c:v>2.3233714161979321E-2</c:v>
                </c:pt>
                <c:pt idx="56">
                  <c:v>2.3233714161979321E-2</c:v>
                </c:pt>
                <c:pt idx="57">
                  <c:v>2.3233714161979321E-2</c:v>
                </c:pt>
                <c:pt idx="58">
                  <c:v>2.3233714161979321E-2</c:v>
                </c:pt>
                <c:pt idx="59">
                  <c:v>2.3233714161979321E-2</c:v>
                </c:pt>
                <c:pt idx="60">
                  <c:v>2.3233714161979321E-2</c:v>
                </c:pt>
                <c:pt idx="61">
                  <c:v>2.3233714161979321E-2</c:v>
                </c:pt>
                <c:pt idx="62">
                  <c:v>2.3233714161979321E-2</c:v>
                </c:pt>
                <c:pt idx="63">
                  <c:v>2.3233714161979321E-2</c:v>
                </c:pt>
                <c:pt idx="64">
                  <c:v>2.3233714161979321E-2</c:v>
                </c:pt>
                <c:pt idx="65">
                  <c:v>2.3233714161979321E-2</c:v>
                </c:pt>
                <c:pt idx="66">
                  <c:v>2.3233714161979321E-2</c:v>
                </c:pt>
                <c:pt idx="67">
                  <c:v>2.3233714161979321E-2</c:v>
                </c:pt>
                <c:pt idx="68">
                  <c:v>2.3233714161979321E-2</c:v>
                </c:pt>
                <c:pt idx="69">
                  <c:v>2.3233714161979321E-2</c:v>
                </c:pt>
                <c:pt idx="70">
                  <c:v>2.3233714161979321E-2</c:v>
                </c:pt>
                <c:pt idx="71">
                  <c:v>2.3233714161979321E-2</c:v>
                </c:pt>
                <c:pt idx="72">
                  <c:v>2.3233714161979321E-2</c:v>
                </c:pt>
                <c:pt idx="73">
                  <c:v>2.3233714161979321E-2</c:v>
                </c:pt>
                <c:pt idx="74">
                  <c:v>2.3233714161979321E-2</c:v>
                </c:pt>
                <c:pt idx="75">
                  <c:v>2.3233714161979321E-2</c:v>
                </c:pt>
                <c:pt idx="76">
                  <c:v>2.3233714161979321E-2</c:v>
                </c:pt>
                <c:pt idx="77">
                  <c:v>2.3233714161979321E-2</c:v>
                </c:pt>
                <c:pt idx="78">
                  <c:v>2.3233714161979321E-2</c:v>
                </c:pt>
                <c:pt idx="79">
                  <c:v>2.3233714161979321E-2</c:v>
                </c:pt>
                <c:pt idx="80">
                  <c:v>2.3233714161979321E-2</c:v>
                </c:pt>
                <c:pt idx="81">
                  <c:v>2.3233714161979321E-2</c:v>
                </c:pt>
                <c:pt idx="82">
                  <c:v>2.3233714161979321E-2</c:v>
                </c:pt>
                <c:pt idx="83">
                  <c:v>2.3233714161979321E-2</c:v>
                </c:pt>
                <c:pt idx="84">
                  <c:v>2.3233714161979321E-2</c:v>
                </c:pt>
                <c:pt idx="85">
                  <c:v>2.3233714161979321E-2</c:v>
                </c:pt>
                <c:pt idx="86">
                  <c:v>2.3233714161979321E-2</c:v>
                </c:pt>
                <c:pt idx="87">
                  <c:v>2.3233714161979321E-2</c:v>
                </c:pt>
                <c:pt idx="88">
                  <c:v>2.3233714161979321E-2</c:v>
                </c:pt>
                <c:pt idx="89">
                  <c:v>2.3233714161979321E-2</c:v>
                </c:pt>
                <c:pt idx="90">
                  <c:v>2.3233714161979321E-2</c:v>
                </c:pt>
                <c:pt idx="91">
                  <c:v>2.3233714161979321E-2</c:v>
                </c:pt>
                <c:pt idx="92">
                  <c:v>2.3233714161979321E-2</c:v>
                </c:pt>
                <c:pt idx="93">
                  <c:v>2.3233714161979321E-2</c:v>
                </c:pt>
                <c:pt idx="94">
                  <c:v>2.3233714161979321E-2</c:v>
                </c:pt>
                <c:pt idx="95">
                  <c:v>2.3233714161979321E-2</c:v>
                </c:pt>
                <c:pt idx="96">
                  <c:v>2.3233714161979321E-2</c:v>
                </c:pt>
                <c:pt idx="97">
                  <c:v>2.3233714161979321E-2</c:v>
                </c:pt>
                <c:pt idx="98">
                  <c:v>2.3233714161979321E-2</c:v>
                </c:pt>
                <c:pt idx="99">
                  <c:v>2.3233714161979321E-2</c:v>
                </c:pt>
                <c:pt idx="100">
                  <c:v>2.3233714161979321E-2</c:v>
                </c:pt>
                <c:pt idx="101">
                  <c:v>2.3233714161979321E-2</c:v>
                </c:pt>
                <c:pt idx="102">
                  <c:v>2.3233714161979321E-2</c:v>
                </c:pt>
                <c:pt idx="103">
                  <c:v>2.3233714161979321E-2</c:v>
                </c:pt>
                <c:pt idx="104">
                  <c:v>2.3233714161979321E-2</c:v>
                </c:pt>
                <c:pt idx="105">
                  <c:v>2.3233714161979321E-2</c:v>
                </c:pt>
                <c:pt idx="106">
                  <c:v>2.3233714161979321E-2</c:v>
                </c:pt>
                <c:pt idx="107">
                  <c:v>2.3233714161979321E-2</c:v>
                </c:pt>
                <c:pt idx="108">
                  <c:v>2.3233714161979321E-2</c:v>
                </c:pt>
                <c:pt idx="109">
                  <c:v>2.3233714161979321E-2</c:v>
                </c:pt>
                <c:pt idx="110">
                  <c:v>2.3233714161979321E-2</c:v>
                </c:pt>
                <c:pt idx="111">
                  <c:v>2.3233714161979321E-2</c:v>
                </c:pt>
                <c:pt idx="112">
                  <c:v>2.3233714161979321E-2</c:v>
                </c:pt>
                <c:pt idx="113">
                  <c:v>2.3233714161979321E-2</c:v>
                </c:pt>
                <c:pt idx="114">
                  <c:v>2.3233714161979321E-2</c:v>
                </c:pt>
                <c:pt idx="115">
                  <c:v>2.3233714161979321E-2</c:v>
                </c:pt>
                <c:pt idx="116">
                  <c:v>2.3233714161979321E-2</c:v>
                </c:pt>
                <c:pt idx="117">
                  <c:v>2.3233714161979321E-2</c:v>
                </c:pt>
                <c:pt idx="118">
                  <c:v>2.3233714161979321E-2</c:v>
                </c:pt>
                <c:pt idx="119">
                  <c:v>2.3233714161979321E-2</c:v>
                </c:pt>
                <c:pt idx="120">
                  <c:v>2.3233714161979321E-2</c:v>
                </c:pt>
                <c:pt idx="121">
                  <c:v>2.3233714161979321E-2</c:v>
                </c:pt>
                <c:pt idx="122">
                  <c:v>2.3233714161979321E-2</c:v>
                </c:pt>
                <c:pt idx="123">
                  <c:v>2.3233714161979321E-2</c:v>
                </c:pt>
                <c:pt idx="124">
                  <c:v>2.3233714161979321E-2</c:v>
                </c:pt>
                <c:pt idx="125">
                  <c:v>2.3233714161979321E-2</c:v>
                </c:pt>
                <c:pt idx="126">
                  <c:v>2.3233714161979321E-2</c:v>
                </c:pt>
                <c:pt idx="127">
                  <c:v>2.3233714161979321E-2</c:v>
                </c:pt>
                <c:pt idx="128">
                  <c:v>2.3233714161979321E-2</c:v>
                </c:pt>
                <c:pt idx="129">
                  <c:v>2.3233714161979321E-2</c:v>
                </c:pt>
                <c:pt idx="130">
                  <c:v>2.3233714161979321E-2</c:v>
                </c:pt>
                <c:pt idx="131">
                  <c:v>2.3233714161979321E-2</c:v>
                </c:pt>
                <c:pt idx="132">
                  <c:v>2.3233714161979321E-2</c:v>
                </c:pt>
                <c:pt idx="133">
                  <c:v>2.3233714161979321E-2</c:v>
                </c:pt>
                <c:pt idx="134">
                  <c:v>2.3233714161979321E-2</c:v>
                </c:pt>
                <c:pt idx="135">
                  <c:v>2.3233714161979321E-2</c:v>
                </c:pt>
                <c:pt idx="136">
                  <c:v>2.3233714161979321E-2</c:v>
                </c:pt>
                <c:pt idx="137">
                  <c:v>2.3233714161979321E-2</c:v>
                </c:pt>
                <c:pt idx="138">
                  <c:v>2.3233714161979321E-2</c:v>
                </c:pt>
                <c:pt idx="139">
                  <c:v>2.3233714161979321E-2</c:v>
                </c:pt>
                <c:pt idx="140">
                  <c:v>2.3233714161979321E-2</c:v>
                </c:pt>
                <c:pt idx="141">
                  <c:v>2.3233714161979321E-2</c:v>
                </c:pt>
                <c:pt idx="142">
                  <c:v>2.3233714161979321E-2</c:v>
                </c:pt>
                <c:pt idx="143">
                  <c:v>2.3233714161979321E-2</c:v>
                </c:pt>
                <c:pt idx="144">
                  <c:v>2.3233714161979321E-2</c:v>
                </c:pt>
                <c:pt idx="145">
                  <c:v>2.3233714161979321E-2</c:v>
                </c:pt>
                <c:pt idx="146">
                  <c:v>2.3233714161979321E-2</c:v>
                </c:pt>
                <c:pt idx="147">
                  <c:v>2.3233714161979321E-2</c:v>
                </c:pt>
                <c:pt idx="148">
                  <c:v>2.3233714161979321E-2</c:v>
                </c:pt>
                <c:pt idx="149">
                  <c:v>2.3233714161979321E-2</c:v>
                </c:pt>
                <c:pt idx="150">
                  <c:v>2.3233714161979321E-2</c:v>
                </c:pt>
                <c:pt idx="151">
                  <c:v>2.3233714161979321E-2</c:v>
                </c:pt>
                <c:pt idx="152">
                  <c:v>2.3233714161979321E-2</c:v>
                </c:pt>
                <c:pt idx="153">
                  <c:v>2.3233714161979321E-2</c:v>
                </c:pt>
                <c:pt idx="154">
                  <c:v>2.3233714161979321E-2</c:v>
                </c:pt>
                <c:pt idx="155">
                  <c:v>2.3233714161979321E-2</c:v>
                </c:pt>
                <c:pt idx="156">
                  <c:v>2.3233714161979321E-2</c:v>
                </c:pt>
                <c:pt idx="157">
                  <c:v>2.3233714161979321E-2</c:v>
                </c:pt>
                <c:pt idx="158">
                  <c:v>2.3233714161979321E-2</c:v>
                </c:pt>
                <c:pt idx="159">
                  <c:v>2.3233714161979321E-2</c:v>
                </c:pt>
                <c:pt idx="160">
                  <c:v>2.3233714161979321E-2</c:v>
                </c:pt>
                <c:pt idx="161">
                  <c:v>2.3233714161979321E-2</c:v>
                </c:pt>
                <c:pt idx="162">
                  <c:v>2.3233714161979321E-2</c:v>
                </c:pt>
                <c:pt idx="163">
                  <c:v>2.3233714161979321E-2</c:v>
                </c:pt>
                <c:pt idx="164">
                  <c:v>2.3233714161979321E-2</c:v>
                </c:pt>
                <c:pt idx="165">
                  <c:v>2.3233714161979321E-2</c:v>
                </c:pt>
                <c:pt idx="166">
                  <c:v>2.3233714161979321E-2</c:v>
                </c:pt>
                <c:pt idx="167">
                  <c:v>2.3233714161979321E-2</c:v>
                </c:pt>
                <c:pt idx="168">
                  <c:v>2.3233714161979321E-2</c:v>
                </c:pt>
                <c:pt idx="169">
                  <c:v>2.3233714161979321E-2</c:v>
                </c:pt>
                <c:pt idx="170">
                  <c:v>2.3233714161979321E-2</c:v>
                </c:pt>
                <c:pt idx="171">
                  <c:v>2.3233714161979321E-2</c:v>
                </c:pt>
                <c:pt idx="172">
                  <c:v>2.3233714161979321E-2</c:v>
                </c:pt>
                <c:pt idx="173">
                  <c:v>2.3233714161979321E-2</c:v>
                </c:pt>
                <c:pt idx="174">
                  <c:v>2.3233714161979321E-2</c:v>
                </c:pt>
                <c:pt idx="175">
                  <c:v>2.3233714161979321E-2</c:v>
                </c:pt>
                <c:pt idx="176">
                  <c:v>2.3233714161979321E-2</c:v>
                </c:pt>
                <c:pt idx="177">
                  <c:v>2.3233714161979321E-2</c:v>
                </c:pt>
                <c:pt idx="178">
                  <c:v>2.3233714161979321E-2</c:v>
                </c:pt>
                <c:pt idx="179">
                  <c:v>2.3233714161979321E-2</c:v>
                </c:pt>
                <c:pt idx="180">
                  <c:v>2.3233714161979321E-2</c:v>
                </c:pt>
                <c:pt idx="181">
                  <c:v>2.3233714161979321E-2</c:v>
                </c:pt>
                <c:pt idx="182">
                  <c:v>2.3233714161979321E-2</c:v>
                </c:pt>
                <c:pt idx="183">
                  <c:v>2.3233714161979321E-2</c:v>
                </c:pt>
                <c:pt idx="184">
                  <c:v>2.3233714161979321E-2</c:v>
                </c:pt>
                <c:pt idx="185">
                  <c:v>2.3233714161979321E-2</c:v>
                </c:pt>
                <c:pt idx="186">
                  <c:v>2.3233714161979321E-2</c:v>
                </c:pt>
                <c:pt idx="187">
                  <c:v>2.3233714161979321E-2</c:v>
                </c:pt>
                <c:pt idx="188">
                  <c:v>2.3233714161979321E-2</c:v>
                </c:pt>
                <c:pt idx="189">
                  <c:v>2.3233714161979321E-2</c:v>
                </c:pt>
                <c:pt idx="190">
                  <c:v>2.3233714161979321E-2</c:v>
                </c:pt>
                <c:pt idx="191">
                  <c:v>2.3233714161979321E-2</c:v>
                </c:pt>
                <c:pt idx="192">
                  <c:v>2.3233714161979321E-2</c:v>
                </c:pt>
                <c:pt idx="193">
                  <c:v>2.3233714161979321E-2</c:v>
                </c:pt>
                <c:pt idx="194">
                  <c:v>2.3233714161979321E-2</c:v>
                </c:pt>
                <c:pt idx="195">
                  <c:v>2.3233714161979321E-2</c:v>
                </c:pt>
                <c:pt idx="196">
                  <c:v>2.3233714161979321E-2</c:v>
                </c:pt>
                <c:pt idx="197">
                  <c:v>2.3233714161979321E-2</c:v>
                </c:pt>
                <c:pt idx="198">
                  <c:v>2.3233714161979321E-2</c:v>
                </c:pt>
                <c:pt idx="199">
                  <c:v>2.3233714161979321E-2</c:v>
                </c:pt>
                <c:pt idx="200">
                  <c:v>2.3233714161979321E-2</c:v>
                </c:pt>
                <c:pt idx="201">
                  <c:v>2.3233714161979321E-2</c:v>
                </c:pt>
                <c:pt idx="202">
                  <c:v>2.3233714161979321E-2</c:v>
                </c:pt>
                <c:pt idx="203">
                  <c:v>2.3233714161979321E-2</c:v>
                </c:pt>
                <c:pt idx="204">
                  <c:v>2.3233714161979321E-2</c:v>
                </c:pt>
                <c:pt idx="205">
                  <c:v>2.3233714161979321E-2</c:v>
                </c:pt>
                <c:pt idx="206">
                  <c:v>2.3233714161979321E-2</c:v>
                </c:pt>
                <c:pt idx="207">
                  <c:v>2.3233714161979321E-2</c:v>
                </c:pt>
                <c:pt idx="208">
                  <c:v>2.3233714161979321E-2</c:v>
                </c:pt>
                <c:pt idx="209">
                  <c:v>2.3233714161979321E-2</c:v>
                </c:pt>
                <c:pt idx="210">
                  <c:v>2.3233714161979321E-2</c:v>
                </c:pt>
                <c:pt idx="211">
                  <c:v>2.3233714161979321E-2</c:v>
                </c:pt>
                <c:pt idx="212">
                  <c:v>2.3233714161979321E-2</c:v>
                </c:pt>
                <c:pt idx="213">
                  <c:v>2.3233714161979321E-2</c:v>
                </c:pt>
                <c:pt idx="214">
                  <c:v>2.3233714161979321E-2</c:v>
                </c:pt>
                <c:pt idx="215">
                  <c:v>2.3233714161979321E-2</c:v>
                </c:pt>
                <c:pt idx="216">
                  <c:v>2.3233714161979321E-2</c:v>
                </c:pt>
                <c:pt idx="217">
                  <c:v>2.3233714161979321E-2</c:v>
                </c:pt>
                <c:pt idx="218">
                  <c:v>2.3233714161979321E-2</c:v>
                </c:pt>
                <c:pt idx="219">
                  <c:v>2.3233714161979321E-2</c:v>
                </c:pt>
                <c:pt idx="220">
                  <c:v>2.3233714161979321E-2</c:v>
                </c:pt>
                <c:pt idx="221">
                  <c:v>2.3233714161979321E-2</c:v>
                </c:pt>
                <c:pt idx="222">
                  <c:v>2.3233714161979321E-2</c:v>
                </c:pt>
                <c:pt idx="223">
                  <c:v>2.3233714161979321E-2</c:v>
                </c:pt>
                <c:pt idx="224">
                  <c:v>2.3233714161979321E-2</c:v>
                </c:pt>
                <c:pt idx="225">
                  <c:v>2.3233714161979321E-2</c:v>
                </c:pt>
                <c:pt idx="226">
                  <c:v>2.3233714161979321E-2</c:v>
                </c:pt>
                <c:pt idx="227">
                  <c:v>2.3233714161979321E-2</c:v>
                </c:pt>
                <c:pt idx="228">
                  <c:v>2.3233714161979321E-2</c:v>
                </c:pt>
                <c:pt idx="229">
                  <c:v>2.3233714161979321E-2</c:v>
                </c:pt>
                <c:pt idx="230">
                  <c:v>2.3233714161979321E-2</c:v>
                </c:pt>
                <c:pt idx="231">
                  <c:v>2.3233714161979321E-2</c:v>
                </c:pt>
                <c:pt idx="232">
                  <c:v>2.3233714161979321E-2</c:v>
                </c:pt>
                <c:pt idx="233">
                  <c:v>2.3233714161979321E-2</c:v>
                </c:pt>
                <c:pt idx="234">
                  <c:v>2.3233714161979321E-2</c:v>
                </c:pt>
                <c:pt idx="235">
                  <c:v>2.3233714161979321E-2</c:v>
                </c:pt>
                <c:pt idx="236">
                  <c:v>2.3233714161979321E-2</c:v>
                </c:pt>
                <c:pt idx="237">
                  <c:v>2.3233714161979321E-2</c:v>
                </c:pt>
                <c:pt idx="238">
                  <c:v>2.3233714161979321E-2</c:v>
                </c:pt>
                <c:pt idx="239">
                  <c:v>2.3233714161979321E-2</c:v>
                </c:pt>
                <c:pt idx="240">
                  <c:v>2.3233714161979321E-2</c:v>
                </c:pt>
                <c:pt idx="241">
                  <c:v>2.3233714161979321E-2</c:v>
                </c:pt>
                <c:pt idx="242">
                  <c:v>2.3233714161979321E-2</c:v>
                </c:pt>
                <c:pt idx="243">
                  <c:v>2.3233714161979321E-2</c:v>
                </c:pt>
                <c:pt idx="244">
                  <c:v>2.3233714161979321E-2</c:v>
                </c:pt>
                <c:pt idx="245">
                  <c:v>2.3233714161979321E-2</c:v>
                </c:pt>
                <c:pt idx="246">
                  <c:v>2.3233714161979321E-2</c:v>
                </c:pt>
                <c:pt idx="247">
                  <c:v>2.3233714161979321E-2</c:v>
                </c:pt>
                <c:pt idx="248">
                  <c:v>2.3233714161979321E-2</c:v>
                </c:pt>
                <c:pt idx="249">
                  <c:v>2.3233714161979321E-2</c:v>
                </c:pt>
                <c:pt idx="250">
                  <c:v>2.3233714161979321E-2</c:v>
                </c:pt>
                <c:pt idx="251">
                  <c:v>2.3233714161979321E-2</c:v>
                </c:pt>
                <c:pt idx="252">
                  <c:v>2.3233714161979321E-2</c:v>
                </c:pt>
                <c:pt idx="253">
                  <c:v>2.3233714161979321E-2</c:v>
                </c:pt>
                <c:pt idx="254">
                  <c:v>2.3233714161979321E-2</c:v>
                </c:pt>
                <c:pt idx="255">
                  <c:v>2.3233714161979321E-2</c:v>
                </c:pt>
                <c:pt idx="256">
                  <c:v>2.3233714161979321E-2</c:v>
                </c:pt>
                <c:pt idx="257">
                  <c:v>2.3233714161979321E-2</c:v>
                </c:pt>
                <c:pt idx="258">
                  <c:v>2.3233714161979321E-2</c:v>
                </c:pt>
                <c:pt idx="259">
                  <c:v>2.3233714161979321E-2</c:v>
                </c:pt>
                <c:pt idx="260">
                  <c:v>2.3233714161979321E-2</c:v>
                </c:pt>
                <c:pt idx="261">
                  <c:v>2.3233714161979321E-2</c:v>
                </c:pt>
                <c:pt idx="262">
                  <c:v>2.3233714161979321E-2</c:v>
                </c:pt>
                <c:pt idx="263">
                  <c:v>2.3233714161979321E-2</c:v>
                </c:pt>
                <c:pt idx="264">
                  <c:v>2.3233714161979321E-2</c:v>
                </c:pt>
                <c:pt idx="265">
                  <c:v>2.3233714161979321E-2</c:v>
                </c:pt>
                <c:pt idx="266">
                  <c:v>2.3233714161979321E-2</c:v>
                </c:pt>
                <c:pt idx="267">
                  <c:v>2.3233714161979321E-2</c:v>
                </c:pt>
                <c:pt idx="268">
                  <c:v>2.3233714161979321E-2</c:v>
                </c:pt>
                <c:pt idx="269">
                  <c:v>2.3233714161979321E-2</c:v>
                </c:pt>
                <c:pt idx="270">
                  <c:v>2.3233714161979321E-2</c:v>
                </c:pt>
                <c:pt idx="271">
                  <c:v>2.3233714161979321E-2</c:v>
                </c:pt>
                <c:pt idx="272">
                  <c:v>2.3233714161979321E-2</c:v>
                </c:pt>
                <c:pt idx="273">
                  <c:v>2.3233714161979321E-2</c:v>
                </c:pt>
                <c:pt idx="274">
                  <c:v>2.3233714161979321E-2</c:v>
                </c:pt>
                <c:pt idx="275">
                  <c:v>2.3233714161979321E-2</c:v>
                </c:pt>
                <c:pt idx="276">
                  <c:v>2.3233714161979321E-2</c:v>
                </c:pt>
                <c:pt idx="277">
                  <c:v>2.3233714161979321E-2</c:v>
                </c:pt>
                <c:pt idx="278">
                  <c:v>2.3233714161979321E-2</c:v>
                </c:pt>
                <c:pt idx="279">
                  <c:v>2.3233714161979321E-2</c:v>
                </c:pt>
                <c:pt idx="280">
                  <c:v>2.3233714161979321E-2</c:v>
                </c:pt>
                <c:pt idx="281">
                  <c:v>2.3233714161979321E-2</c:v>
                </c:pt>
                <c:pt idx="282">
                  <c:v>2.3233714161979321E-2</c:v>
                </c:pt>
                <c:pt idx="283">
                  <c:v>2.3233714161979321E-2</c:v>
                </c:pt>
                <c:pt idx="284">
                  <c:v>2.3233714161979321E-2</c:v>
                </c:pt>
                <c:pt idx="285">
                  <c:v>2.3233714161979321E-2</c:v>
                </c:pt>
                <c:pt idx="286">
                  <c:v>2.3233714161979321E-2</c:v>
                </c:pt>
                <c:pt idx="287">
                  <c:v>2.3233714161979321E-2</c:v>
                </c:pt>
                <c:pt idx="288">
                  <c:v>2.3233714161979321E-2</c:v>
                </c:pt>
                <c:pt idx="289">
                  <c:v>2.3233714161979321E-2</c:v>
                </c:pt>
                <c:pt idx="290">
                  <c:v>2.3233714161979321E-2</c:v>
                </c:pt>
                <c:pt idx="291">
                  <c:v>2.3233714161979321E-2</c:v>
                </c:pt>
                <c:pt idx="292">
                  <c:v>2.3233714161979321E-2</c:v>
                </c:pt>
                <c:pt idx="293">
                  <c:v>2.3233714161979321E-2</c:v>
                </c:pt>
                <c:pt idx="294">
                  <c:v>2.3233714161979321E-2</c:v>
                </c:pt>
                <c:pt idx="295">
                  <c:v>2.3233714161979321E-2</c:v>
                </c:pt>
                <c:pt idx="296">
                  <c:v>2.3233714161979321E-2</c:v>
                </c:pt>
                <c:pt idx="297">
                  <c:v>2.3233714161979321E-2</c:v>
                </c:pt>
                <c:pt idx="298">
                  <c:v>2.3233714161979321E-2</c:v>
                </c:pt>
                <c:pt idx="299">
                  <c:v>2.3233714161979321E-2</c:v>
                </c:pt>
                <c:pt idx="300">
                  <c:v>2.3233714161979321E-2</c:v>
                </c:pt>
                <c:pt idx="301">
                  <c:v>2.3233714161979321E-2</c:v>
                </c:pt>
                <c:pt idx="302">
                  <c:v>2.3233714161979321E-2</c:v>
                </c:pt>
                <c:pt idx="303">
                  <c:v>2.3233714161979321E-2</c:v>
                </c:pt>
                <c:pt idx="304">
                  <c:v>2.3233714161979321E-2</c:v>
                </c:pt>
                <c:pt idx="305">
                  <c:v>2.3233714161979321E-2</c:v>
                </c:pt>
                <c:pt idx="306">
                  <c:v>2.3233714161979321E-2</c:v>
                </c:pt>
                <c:pt idx="307">
                  <c:v>2.3233714161979321E-2</c:v>
                </c:pt>
                <c:pt idx="308">
                  <c:v>2.3233714161979321E-2</c:v>
                </c:pt>
                <c:pt idx="309">
                  <c:v>2.3233714161979321E-2</c:v>
                </c:pt>
                <c:pt idx="310">
                  <c:v>2.3233714161979321E-2</c:v>
                </c:pt>
                <c:pt idx="311">
                  <c:v>2.3233714161979321E-2</c:v>
                </c:pt>
                <c:pt idx="312">
                  <c:v>2.3233714161979321E-2</c:v>
                </c:pt>
                <c:pt idx="313">
                  <c:v>2.3233714161979321E-2</c:v>
                </c:pt>
                <c:pt idx="314">
                  <c:v>2.3233714161979321E-2</c:v>
                </c:pt>
                <c:pt idx="315">
                  <c:v>2.3233714161979321E-2</c:v>
                </c:pt>
                <c:pt idx="316">
                  <c:v>2.3233714161979321E-2</c:v>
                </c:pt>
                <c:pt idx="317">
                  <c:v>2.3233714161979321E-2</c:v>
                </c:pt>
                <c:pt idx="318">
                  <c:v>2.3233714161979321E-2</c:v>
                </c:pt>
                <c:pt idx="319">
                  <c:v>2.3233714161979321E-2</c:v>
                </c:pt>
                <c:pt idx="320">
                  <c:v>2.3233714161979321E-2</c:v>
                </c:pt>
                <c:pt idx="321">
                  <c:v>2.3233714161979321E-2</c:v>
                </c:pt>
                <c:pt idx="322">
                  <c:v>2.3233714161979321E-2</c:v>
                </c:pt>
                <c:pt idx="323">
                  <c:v>2.3233714161979321E-2</c:v>
                </c:pt>
                <c:pt idx="324">
                  <c:v>2.3233714161979321E-2</c:v>
                </c:pt>
                <c:pt idx="325">
                  <c:v>2.3233714161979321E-2</c:v>
                </c:pt>
                <c:pt idx="326">
                  <c:v>2.3233714161979321E-2</c:v>
                </c:pt>
                <c:pt idx="327">
                  <c:v>2.3233714161979321E-2</c:v>
                </c:pt>
                <c:pt idx="328">
                  <c:v>2.3233714161979321E-2</c:v>
                </c:pt>
                <c:pt idx="329">
                  <c:v>2.3233714161979321E-2</c:v>
                </c:pt>
                <c:pt idx="330">
                  <c:v>2.3233714161979321E-2</c:v>
                </c:pt>
                <c:pt idx="331">
                  <c:v>2.3233714161979321E-2</c:v>
                </c:pt>
                <c:pt idx="332">
                  <c:v>2.3233714161979321E-2</c:v>
                </c:pt>
                <c:pt idx="333">
                  <c:v>2.3233714161979321E-2</c:v>
                </c:pt>
                <c:pt idx="334">
                  <c:v>2.3233714161979321E-2</c:v>
                </c:pt>
                <c:pt idx="335">
                  <c:v>2.3233714161979321E-2</c:v>
                </c:pt>
                <c:pt idx="336">
                  <c:v>2.3233714161979321E-2</c:v>
                </c:pt>
                <c:pt idx="337">
                  <c:v>2.3233714161979321E-2</c:v>
                </c:pt>
                <c:pt idx="338">
                  <c:v>2.3233714161979321E-2</c:v>
                </c:pt>
                <c:pt idx="339">
                  <c:v>2.3233714161979321E-2</c:v>
                </c:pt>
                <c:pt idx="340">
                  <c:v>2.3233714161979321E-2</c:v>
                </c:pt>
                <c:pt idx="341">
                  <c:v>2.3233714161979321E-2</c:v>
                </c:pt>
                <c:pt idx="342">
                  <c:v>2.3233714161979321E-2</c:v>
                </c:pt>
                <c:pt idx="343">
                  <c:v>2.3233714161979321E-2</c:v>
                </c:pt>
                <c:pt idx="344">
                  <c:v>2.3233714161979321E-2</c:v>
                </c:pt>
                <c:pt idx="345">
                  <c:v>2.3233714161979321E-2</c:v>
                </c:pt>
                <c:pt idx="346">
                  <c:v>2.3233714161979321E-2</c:v>
                </c:pt>
                <c:pt idx="347">
                  <c:v>2.3233714161979321E-2</c:v>
                </c:pt>
                <c:pt idx="348">
                  <c:v>2.3233714161979321E-2</c:v>
                </c:pt>
                <c:pt idx="349">
                  <c:v>2.3233714161979321E-2</c:v>
                </c:pt>
                <c:pt idx="350">
                  <c:v>2.3233714161979321E-2</c:v>
                </c:pt>
                <c:pt idx="351">
                  <c:v>2.3233714161979321E-2</c:v>
                </c:pt>
                <c:pt idx="352">
                  <c:v>2.3233714161979321E-2</c:v>
                </c:pt>
                <c:pt idx="353">
                  <c:v>2.3233714161979321E-2</c:v>
                </c:pt>
                <c:pt idx="354">
                  <c:v>2.3233714161979321E-2</c:v>
                </c:pt>
                <c:pt idx="355">
                  <c:v>2.3233714161979321E-2</c:v>
                </c:pt>
                <c:pt idx="356">
                  <c:v>2.3233714161979321E-2</c:v>
                </c:pt>
                <c:pt idx="357">
                  <c:v>2.3233714161979321E-2</c:v>
                </c:pt>
                <c:pt idx="358">
                  <c:v>2.3233714161979321E-2</c:v>
                </c:pt>
                <c:pt idx="359">
                  <c:v>2.3233714161979321E-2</c:v>
                </c:pt>
                <c:pt idx="360">
                  <c:v>2.3233714161979321E-2</c:v>
                </c:pt>
                <c:pt idx="361">
                  <c:v>2.3233714161979321E-2</c:v>
                </c:pt>
                <c:pt idx="362">
                  <c:v>2.3233714161979321E-2</c:v>
                </c:pt>
                <c:pt idx="363">
                  <c:v>2.3233714161979321E-2</c:v>
                </c:pt>
                <c:pt idx="364">
                  <c:v>2.3233714161979321E-2</c:v>
                </c:pt>
                <c:pt idx="365">
                  <c:v>2.3233714161979321E-2</c:v>
                </c:pt>
                <c:pt idx="366">
                  <c:v>2.3233714161979321E-2</c:v>
                </c:pt>
                <c:pt idx="367">
                  <c:v>2.3233714161979321E-2</c:v>
                </c:pt>
                <c:pt idx="368">
                  <c:v>2.3233714161979321E-2</c:v>
                </c:pt>
                <c:pt idx="369">
                  <c:v>2.3233714161979321E-2</c:v>
                </c:pt>
                <c:pt idx="370">
                  <c:v>2.3233714161979321E-2</c:v>
                </c:pt>
                <c:pt idx="371">
                  <c:v>2.3233714161979321E-2</c:v>
                </c:pt>
                <c:pt idx="372">
                  <c:v>2.3233714161979321E-2</c:v>
                </c:pt>
                <c:pt idx="373">
                  <c:v>2.3233714161979321E-2</c:v>
                </c:pt>
                <c:pt idx="374">
                  <c:v>2.3233714161979321E-2</c:v>
                </c:pt>
                <c:pt idx="375">
                  <c:v>2.3233714161979321E-2</c:v>
                </c:pt>
                <c:pt idx="376">
                  <c:v>2.3233714161979321E-2</c:v>
                </c:pt>
                <c:pt idx="377">
                  <c:v>2.3233714161979321E-2</c:v>
                </c:pt>
                <c:pt idx="378">
                  <c:v>2.3233714161979321E-2</c:v>
                </c:pt>
                <c:pt idx="379">
                  <c:v>2.3233714161979321E-2</c:v>
                </c:pt>
                <c:pt idx="380">
                  <c:v>2.3233714161979321E-2</c:v>
                </c:pt>
                <c:pt idx="381">
                  <c:v>2.3233714161979321E-2</c:v>
                </c:pt>
                <c:pt idx="382">
                  <c:v>2.3233714161979321E-2</c:v>
                </c:pt>
                <c:pt idx="383">
                  <c:v>2.3233714161979321E-2</c:v>
                </c:pt>
                <c:pt idx="384">
                  <c:v>2.3233714161979321E-2</c:v>
                </c:pt>
                <c:pt idx="385">
                  <c:v>2.3233714161979321E-2</c:v>
                </c:pt>
                <c:pt idx="386">
                  <c:v>2.3233714161979321E-2</c:v>
                </c:pt>
              </c:numCache>
            </c:numRef>
          </c:val>
          <c:extLst>
            <c:ext xmlns:c16="http://schemas.microsoft.com/office/drawing/2014/chart" uri="{C3380CC4-5D6E-409C-BE32-E72D297353CC}">
              <c16:uniqueId val="{00000003-15F2-4C6D-B028-0A7DE9E5A23E}"/>
            </c:ext>
          </c:extLst>
        </c:ser>
        <c:ser>
          <c:idx val="7"/>
          <c:order val="7"/>
          <c:tx>
            <c:strRef>
              <c:f>Monthly!$J$1</c:f>
              <c:strCache>
                <c:ptCount val="1"/>
                <c:pt idx="0">
                  <c:v>Excess</c:v>
                </c:pt>
              </c:strCache>
            </c:strRef>
          </c:tx>
          <c:spPr>
            <a:solidFill>
              <a:schemeClr val="accent5"/>
            </a:solidFill>
            <a:ln>
              <a:noFill/>
            </a:ln>
            <a:effectLst/>
          </c:spPr>
          <c:invertIfNegative val="0"/>
          <c:cat>
            <c:numRef>
              <c:f>Monthly!$B$2:$B$581</c:f>
              <c:numCache>
                <c:formatCode>yyyy</c:formatCode>
                <c:ptCount val="387"/>
                <c:pt idx="0">
                  <c:v>33269</c:v>
                </c:pt>
                <c:pt idx="1">
                  <c:v>33297</c:v>
                </c:pt>
                <c:pt idx="2">
                  <c:v>33328</c:v>
                </c:pt>
                <c:pt idx="3">
                  <c:v>33358</c:v>
                </c:pt>
                <c:pt idx="4">
                  <c:v>33389</c:v>
                </c:pt>
                <c:pt idx="5">
                  <c:v>33419</c:v>
                </c:pt>
                <c:pt idx="6">
                  <c:v>33450</c:v>
                </c:pt>
                <c:pt idx="7">
                  <c:v>33481</c:v>
                </c:pt>
                <c:pt idx="8">
                  <c:v>33511</c:v>
                </c:pt>
                <c:pt idx="9">
                  <c:v>33542</c:v>
                </c:pt>
                <c:pt idx="10">
                  <c:v>33572</c:v>
                </c:pt>
                <c:pt idx="11">
                  <c:v>33603</c:v>
                </c:pt>
                <c:pt idx="12">
                  <c:v>33634</c:v>
                </c:pt>
                <c:pt idx="13">
                  <c:v>33663</c:v>
                </c:pt>
                <c:pt idx="14">
                  <c:v>33694</c:v>
                </c:pt>
                <c:pt idx="15">
                  <c:v>33724</c:v>
                </c:pt>
                <c:pt idx="16">
                  <c:v>33755</c:v>
                </c:pt>
                <c:pt idx="17">
                  <c:v>33785</c:v>
                </c:pt>
                <c:pt idx="18">
                  <c:v>33816</c:v>
                </c:pt>
                <c:pt idx="19">
                  <c:v>33847</c:v>
                </c:pt>
                <c:pt idx="20">
                  <c:v>33877</c:v>
                </c:pt>
                <c:pt idx="21">
                  <c:v>33908</c:v>
                </c:pt>
                <c:pt idx="22">
                  <c:v>33938</c:v>
                </c:pt>
                <c:pt idx="23">
                  <c:v>33969</c:v>
                </c:pt>
                <c:pt idx="24">
                  <c:v>34000</c:v>
                </c:pt>
                <c:pt idx="25">
                  <c:v>34028</c:v>
                </c:pt>
                <c:pt idx="26">
                  <c:v>34059</c:v>
                </c:pt>
                <c:pt idx="27">
                  <c:v>34089</c:v>
                </c:pt>
                <c:pt idx="28">
                  <c:v>34120</c:v>
                </c:pt>
                <c:pt idx="29">
                  <c:v>34150</c:v>
                </c:pt>
                <c:pt idx="30">
                  <c:v>34181</c:v>
                </c:pt>
                <c:pt idx="31">
                  <c:v>34212</c:v>
                </c:pt>
                <c:pt idx="32">
                  <c:v>34242</c:v>
                </c:pt>
                <c:pt idx="33">
                  <c:v>34273</c:v>
                </c:pt>
                <c:pt idx="34">
                  <c:v>34303</c:v>
                </c:pt>
                <c:pt idx="35">
                  <c:v>34334</c:v>
                </c:pt>
                <c:pt idx="36">
                  <c:v>34365</c:v>
                </c:pt>
                <c:pt idx="37">
                  <c:v>34393</c:v>
                </c:pt>
                <c:pt idx="38">
                  <c:v>34424</c:v>
                </c:pt>
                <c:pt idx="39">
                  <c:v>34454</c:v>
                </c:pt>
                <c:pt idx="40">
                  <c:v>34485</c:v>
                </c:pt>
                <c:pt idx="41">
                  <c:v>34515</c:v>
                </c:pt>
                <c:pt idx="42">
                  <c:v>34546</c:v>
                </c:pt>
                <c:pt idx="43">
                  <c:v>34577</c:v>
                </c:pt>
                <c:pt idx="44">
                  <c:v>34607</c:v>
                </c:pt>
                <c:pt idx="45">
                  <c:v>34638</c:v>
                </c:pt>
                <c:pt idx="46">
                  <c:v>34668</c:v>
                </c:pt>
                <c:pt idx="47">
                  <c:v>34699</c:v>
                </c:pt>
                <c:pt idx="48">
                  <c:v>34730</c:v>
                </c:pt>
                <c:pt idx="49">
                  <c:v>34758</c:v>
                </c:pt>
                <c:pt idx="50">
                  <c:v>34789</c:v>
                </c:pt>
                <c:pt idx="51">
                  <c:v>34819</c:v>
                </c:pt>
                <c:pt idx="52">
                  <c:v>34850</c:v>
                </c:pt>
                <c:pt idx="53">
                  <c:v>34880</c:v>
                </c:pt>
                <c:pt idx="54">
                  <c:v>34911</c:v>
                </c:pt>
                <c:pt idx="55">
                  <c:v>34942</c:v>
                </c:pt>
                <c:pt idx="56">
                  <c:v>34972</c:v>
                </c:pt>
                <c:pt idx="57">
                  <c:v>35003</c:v>
                </c:pt>
                <c:pt idx="58">
                  <c:v>35033</c:v>
                </c:pt>
                <c:pt idx="59">
                  <c:v>35064</c:v>
                </c:pt>
                <c:pt idx="60">
                  <c:v>35095</c:v>
                </c:pt>
                <c:pt idx="61">
                  <c:v>35124</c:v>
                </c:pt>
                <c:pt idx="62">
                  <c:v>35155</c:v>
                </c:pt>
                <c:pt idx="63">
                  <c:v>35185</c:v>
                </c:pt>
                <c:pt idx="64">
                  <c:v>35216</c:v>
                </c:pt>
                <c:pt idx="65">
                  <c:v>35246</c:v>
                </c:pt>
                <c:pt idx="66">
                  <c:v>35277</c:v>
                </c:pt>
                <c:pt idx="67">
                  <c:v>35308</c:v>
                </c:pt>
                <c:pt idx="68">
                  <c:v>35338</c:v>
                </c:pt>
                <c:pt idx="69">
                  <c:v>35369</c:v>
                </c:pt>
                <c:pt idx="70">
                  <c:v>35399</c:v>
                </c:pt>
                <c:pt idx="71">
                  <c:v>35430</c:v>
                </c:pt>
                <c:pt idx="72">
                  <c:v>35461</c:v>
                </c:pt>
                <c:pt idx="73">
                  <c:v>35489</c:v>
                </c:pt>
                <c:pt idx="74">
                  <c:v>35520</c:v>
                </c:pt>
                <c:pt idx="75">
                  <c:v>35550</c:v>
                </c:pt>
                <c:pt idx="76">
                  <c:v>35581</c:v>
                </c:pt>
                <c:pt idx="77">
                  <c:v>35611</c:v>
                </c:pt>
                <c:pt idx="78">
                  <c:v>35642</c:v>
                </c:pt>
                <c:pt idx="79">
                  <c:v>35673</c:v>
                </c:pt>
                <c:pt idx="80">
                  <c:v>35703</c:v>
                </c:pt>
                <c:pt idx="81">
                  <c:v>35734</c:v>
                </c:pt>
                <c:pt idx="82">
                  <c:v>35764</c:v>
                </c:pt>
                <c:pt idx="83">
                  <c:v>35795</c:v>
                </c:pt>
                <c:pt idx="84">
                  <c:v>35826</c:v>
                </c:pt>
                <c:pt idx="85">
                  <c:v>35854</c:v>
                </c:pt>
                <c:pt idx="86">
                  <c:v>35885</c:v>
                </c:pt>
                <c:pt idx="87">
                  <c:v>35915</c:v>
                </c:pt>
                <c:pt idx="88">
                  <c:v>35946</c:v>
                </c:pt>
                <c:pt idx="89">
                  <c:v>35976</c:v>
                </c:pt>
                <c:pt idx="90">
                  <c:v>36007</c:v>
                </c:pt>
                <c:pt idx="91">
                  <c:v>36038</c:v>
                </c:pt>
                <c:pt idx="92">
                  <c:v>36068</c:v>
                </c:pt>
                <c:pt idx="93">
                  <c:v>36099</c:v>
                </c:pt>
                <c:pt idx="94">
                  <c:v>36129</c:v>
                </c:pt>
                <c:pt idx="95">
                  <c:v>36160</c:v>
                </c:pt>
                <c:pt idx="96">
                  <c:v>36191</c:v>
                </c:pt>
                <c:pt idx="97">
                  <c:v>36219</c:v>
                </c:pt>
                <c:pt idx="98">
                  <c:v>36250</c:v>
                </c:pt>
                <c:pt idx="99">
                  <c:v>36280</c:v>
                </c:pt>
                <c:pt idx="100">
                  <c:v>36311</c:v>
                </c:pt>
                <c:pt idx="101">
                  <c:v>36341</c:v>
                </c:pt>
                <c:pt idx="102">
                  <c:v>36372</c:v>
                </c:pt>
                <c:pt idx="103">
                  <c:v>36403</c:v>
                </c:pt>
                <c:pt idx="104">
                  <c:v>36433</c:v>
                </c:pt>
                <c:pt idx="105">
                  <c:v>36464</c:v>
                </c:pt>
                <c:pt idx="106">
                  <c:v>36494</c:v>
                </c:pt>
                <c:pt idx="107">
                  <c:v>36525</c:v>
                </c:pt>
                <c:pt idx="108">
                  <c:v>36556</c:v>
                </c:pt>
                <c:pt idx="109">
                  <c:v>36585</c:v>
                </c:pt>
                <c:pt idx="110">
                  <c:v>36616</c:v>
                </c:pt>
                <c:pt idx="111">
                  <c:v>36646</c:v>
                </c:pt>
                <c:pt idx="112">
                  <c:v>36677</c:v>
                </c:pt>
                <c:pt idx="113">
                  <c:v>36707</c:v>
                </c:pt>
                <c:pt idx="114">
                  <c:v>36738</c:v>
                </c:pt>
                <c:pt idx="115">
                  <c:v>36769</c:v>
                </c:pt>
                <c:pt idx="116">
                  <c:v>36799</c:v>
                </c:pt>
                <c:pt idx="117">
                  <c:v>36830</c:v>
                </c:pt>
                <c:pt idx="118">
                  <c:v>36860</c:v>
                </c:pt>
                <c:pt idx="119">
                  <c:v>36891</c:v>
                </c:pt>
                <c:pt idx="120">
                  <c:v>36922</c:v>
                </c:pt>
                <c:pt idx="121">
                  <c:v>36950</c:v>
                </c:pt>
                <c:pt idx="122">
                  <c:v>36981</c:v>
                </c:pt>
                <c:pt idx="123">
                  <c:v>37011</c:v>
                </c:pt>
                <c:pt idx="124">
                  <c:v>37042</c:v>
                </c:pt>
                <c:pt idx="125">
                  <c:v>37072</c:v>
                </c:pt>
                <c:pt idx="126">
                  <c:v>37103</c:v>
                </c:pt>
                <c:pt idx="127">
                  <c:v>37134</c:v>
                </c:pt>
                <c:pt idx="128">
                  <c:v>37164</c:v>
                </c:pt>
                <c:pt idx="129">
                  <c:v>37195</c:v>
                </c:pt>
                <c:pt idx="130">
                  <c:v>37225</c:v>
                </c:pt>
                <c:pt idx="131">
                  <c:v>37256</c:v>
                </c:pt>
                <c:pt idx="132">
                  <c:v>37287</c:v>
                </c:pt>
                <c:pt idx="133">
                  <c:v>37315</c:v>
                </c:pt>
                <c:pt idx="134">
                  <c:v>37346</c:v>
                </c:pt>
                <c:pt idx="135">
                  <c:v>37376</c:v>
                </c:pt>
                <c:pt idx="136">
                  <c:v>37407</c:v>
                </c:pt>
                <c:pt idx="137">
                  <c:v>37437</c:v>
                </c:pt>
                <c:pt idx="138">
                  <c:v>37468</c:v>
                </c:pt>
                <c:pt idx="139">
                  <c:v>37499</c:v>
                </c:pt>
                <c:pt idx="140">
                  <c:v>37529</c:v>
                </c:pt>
                <c:pt idx="141">
                  <c:v>37560</c:v>
                </c:pt>
                <c:pt idx="142">
                  <c:v>37590</c:v>
                </c:pt>
                <c:pt idx="143">
                  <c:v>37621</c:v>
                </c:pt>
                <c:pt idx="144">
                  <c:v>37652</c:v>
                </c:pt>
                <c:pt idx="145">
                  <c:v>37680</c:v>
                </c:pt>
                <c:pt idx="146">
                  <c:v>37711</c:v>
                </c:pt>
                <c:pt idx="147">
                  <c:v>37741</c:v>
                </c:pt>
                <c:pt idx="148">
                  <c:v>37772</c:v>
                </c:pt>
                <c:pt idx="149">
                  <c:v>37802</c:v>
                </c:pt>
                <c:pt idx="150">
                  <c:v>37833</c:v>
                </c:pt>
                <c:pt idx="151">
                  <c:v>37864</c:v>
                </c:pt>
                <c:pt idx="152">
                  <c:v>37894</c:v>
                </c:pt>
                <c:pt idx="153">
                  <c:v>37925</c:v>
                </c:pt>
                <c:pt idx="154">
                  <c:v>37955</c:v>
                </c:pt>
                <c:pt idx="155">
                  <c:v>37986</c:v>
                </c:pt>
                <c:pt idx="156">
                  <c:v>38017</c:v>
                </c:pt>
                <c:pt idx="157">
                  <c:v>38046</c:v>
                </c:pt>
                <c:pt idx="158">
                  <c:v>38077</c:v>
                </c:pt>
                <c:pt idx="159">
                  <c:v>38107</c:v>
                </c:pt>
                <c:pt idx="160">
                  <c:v>38138</c:v>
                </c:pt>
                <c:pt idx="161">
                  <c:v>38168</c:v>
                </c:pt>
                <c:pt idx="162">
                  <c:v>38199</c:v>
                </c:pt>
                <c:pt idx="163">
                  <c:v>38230</c:v>
                </c:pt>
                <c:pt idx="164">
                  <c:v>38260</c:v>
                </c:pt>
                <c:pt idx="165">
                  <c:v>38291</c:v>
                </c:pt>
                <c:pt idx="166">
                  <c:v>38321</c:v>
                </c:pt>
                <c:pt idx="167">
                  <c:v>38352</c:v>
                </c:pt>
                <c:pt idx="168">
                  <c:v>38383</c:v>
                </c:pt>
                <c:pt idx="169">
                  <c:v>38411</c:v>
                </c:pt>
                <c:pt idx="170">
                  <c:v>38442</c:v>
                </c:pt>
                <c:pt idx="171">
                  <c:v>38472</c:v>
                </c:pt>
                <c:pt idx="172">
                  <c:v>38503</c:v>
                </c:pt>
                <c:pt idx="173">
                  <c:v>38533</c:v>
                </c:pt>
                <c:pt idx="174">
                  <c:v>38564</c:v>
                </c:pt>
                <c:pt idx="175">
                  <c:v>38595</c:v>
                </c:pt>
                <c:pt idx="176">
                  <c:v>38625</c:v>
                </c:pt>
                <c:pt idx="177">
                  <c:v>38656</c:v>
                </c:pt>
                <c:pt idx="178">
                  <c:v>38686</c:v>
                </c:pt>
                <c:pt idx="179">
                  <c:v>38717</c:v>
                </c:pt>
                <c:pt idx="180">
                  <c:v>38748</c:v>
                </c:pt>
                <c:pt idx="181">
                  <c:v>38776</c:v>
                </c:pt>
                <c:pt idx="182">
                  <c:v>38807</c:v>
                </c:pt>
                <c:pt idx="183">
                  <c:v>38837</c:v>
                </c:pt>
                <c:pt idx="184">
                  <c:v>38868</c:v>
                </c:pt>
                <c:pt idx="185">
                  <c:v>38898</c:v>
                </c:pt>
                <c:pt idx="186">
                  <c:v>38929</c:v>
                </c:pt>
                <c:pt idx="187">
                  <c:v>38960</c:v>
                </c:pt>
                <c:pt idx="188">
                  <c:v>38990</c:v>
                </c:pt>
                <c:pt idx="189">
                  <c:v>39021</c:v>
                </c:pt>
                <c:pt idx="190">
                  <c:v>39051</c:v>
                </c:pt>
                <c:pt idx="191">
                  <c:v>39082</c:v>
                </c:pt>
                <c:pt idx="192">
                  <c:v>39113</c:v>
                </c:pt>
                <c:pt idx="193">
                  <c:v>39141</c:v>
                </c:pt>
                <c:pt idx="194">
                  <c:v>39172</c:v>
                </c:pt>
                <c:pt idx="195">
                  <c:v>39202</c:v>
                </c:pt>
                <c:pt idx="196">
                  <c:v>39233</c:v>
                </c:pt>
                <c:pt idx="197">
                  <c:v>39263</c:v>
                </c:pt>
                <c:pt idx="198">
                  <c:v>39294</c:v>
                </c:pt>
                <c:pt idx="199">
                  <c:v>39325</c:v>
                </c:pt>
                <c:pt idx="200">
                  <c:v>39355</c:v>
                </c:pt>
                <c:pt idx="201">
                  <c:v>39386</c:v>
                </c:pt>
                <c:pt idx="202">
                  <c:v>39416</c:v>
                </c:pt>
                <c:pt idx="203">
                  <c:v>39447</c:v>
                </c:pt>
                <c:pt idx="204">
                  <c:v>39478</c:v>
                </c:pt>
                <c:pt idx="205">
                  <c:v>39507</c:v>
                </c:pt>
                <c:pt idx="206">
                  <c:v>39538</c:v>
                </c:pt>
                <c:pt idx="207">
                  <c:v>39568</c:v>
                </c:pt>
                <c:pt idx="208">
                  <c:v>39599</c:v>
                </c:pt>
                <c:pt idx="209">
                  <c:v>39629</c:v>
                </c:pt>
                <c:pt idx="210">
                  <c:v>39660</c:v>
                </c:pt>
                <c:pt idx="211">
                  <c:v>39691</c:v>
                </c:pt>
                <c:pt idx="212">
                  <c:v>39721</c:v>
                </c:pt>
                <c:pt idx="213">
                  <c:v>39752</c:v>
                </c:pt>
                <c:pt idx="214">
                  <c:v>39782</c:v>
                </c:pt>
                <c:pt idx="215">
                  <c:v>39813</c:v>
                </c:pt>
                <c:pt idx="216">
                  <c:v>39844</c:v>
                </c:pt>
                <c:pt idx="217">
                  <c:v>39872</c:v>
                </c:pt>
                <c:pt idx="218">
                  <c:v>39903</c:v>
                </c:pt>
                <c:pt idx="219">
                  <c:v>39933</c:v>
                </c:pt>
                <c:pt idx="220">
                  <c:v>39964</c:v>
                </c:pt>
                <c:pt idx="221">
                  <c:v>39994</c:v>
                </c:pt>
                <c:pt idx="222">
                  <c:v>40025</c:v>
                </c:pt>
                <c:pt idx="223">
                  <c:v>40056</c:v>
                </c:pt>
                <c:pt idx="224">
                  <c:v>40086</c:v>
                </c:pt>
                <c:pt idx="225">
                  <c:v>40117</c:v>
                </c:pt>
                <c:pt idx="226">
                  <c:v>40147</c:v>
                </c:pt>
                <c:pt idx="227">
                  <c:v>40178</c:v>
                </c:pt>
                <c:pt idx="228">
                  <c:v>40209</c:v>
                </c:pt>
                <c:pt idx="229">
                  <c:v>40237</c:v>
                </c:pt>
                <c:pt idx="230">
                  <c:v>40268</c:v>
                </c:pt>
                <c:pt idx="231">
                  <c:v>40298</c:v>
                </c:pt>
                <c:pt idx="232">
                  <c:v>40329</c:v>
                </c:pt>
                <c:pt idx="233">
                  <c:v>40359</c:v>
                </c:pt>
                <c:pt idx="234">
                  <c:v>40390</c:v>
                </c:pt>
                <c:pt idx="235">
                  <c:v>40421</c:v>
                </c:pt>
                <c:pt idx="236">
                  <c:v>40451</c:v>
                </c:pt>
                <c:pt idx="237">
                  <c:v>40482</c:v>
                </c:pt>
                <c:pt idx="238">
                  <c:v>40512</c:v>
                </c:pt>
                <c:pt idx="239">
                  <c:v>40543</c:v>
                </c:pt>
                <c:pt idx="240">
                  <c:v>40574</c:v>
                </c:pt>
                <c:pt idx="241">
                  <c:v>40602</c:v>
                </c:pt>
                <c:pt idx="242">
                  <c:v>40633</c:v>
                </c:pt>
                <c:pt idx="243">
                  <c:v>40663</c:v>
                </c:pt>
                <c:pt idx="244">
                  <c:v>40694</c:v>
                </c:pt>
                <c:pt idx="245">
                  <c:v>40724</c:v>
                </c:pt>
                <c:pt idx="246">
                  <c:v>40755</c:v>
                </c:pt>
                <c:pt idx="247">
                  <c:v>40786</c:v>
                </c:pt>
                <c:pt idx="248">
                  <c:v>40816</c:v>
                </c:pt>
                <c:pt idx="249">
                  <c:v>40847</c:v>
                </c:pt>
                <c:pt idx="250">
                  <c:v>40877</c:v>
                </c:pt>
                <c:pt idx="251">
                  <c:v>40908</c:v>
                </c:pt>
                <c:pt idx="252">
                  <c:v>40939</c:v>
                </c:pt>
                <c:pt idx="253">
                  <c:v>40968</c:v>
                </c:pt>
                <c:pt idx="254">
                  <c:v>40999</c:v>
                </c:pt>
                <c:pt idx="255">
                  <c:v>41029</c:v>
                </c:pt>
                <c:pt idx="256">
                  <c:v>41060</c:v>
                </c:pt>
                <c:pt idx="257">
                  <c:v>41090</c:v>
                </c:pt>
                <c:pt idx="258">
                  <c:v>41121</c:v>
                </c:pt>
                <c:pt idx="259">
                  <c:v>41152</c:v>
                </c:pt>
                <c:pt idx="260">
                  <c:v>41182</c:v>
                </c:pt>
                <c:pt idx="261">
                  <c:v>41213</c:v>
                </c:pt>
                <c:pt idx="262">
                  <c:v>41243</c:v>
                </c:pt>
                <c:pt idx="263">
                  <c:v>41274</c:v>
                </c:pt>
                <c:pt idx="264">
                  <c:v>41305</c:v>
                </c:pt>
                <c:pt idx="265">
                  <c:v>41333</c:v>
                </c:pt>
                <c:pt idx="266">
                  <c:v>41364</c:v>
                </c:pt>
                <c:pt idx="267">
                  <c:v>41394</c:v>
                </c:pt>
                <c:pt idx="268">
                  <c:v>41425</c:v>
                </c:pt>
                <c:pt idx="269">
                  <c:v>41455</c:v>
                </c:pt>
                <c:pt idx="270">
                  <c:v>41486</c:v>
                </c:pt>
                <c:pt idx="271">
                  <c:v>41517</c:v>
                </c:pt>
                <c:pt idx="272">
                  <c:v>41547</c:v>
                </c:pt>
                <c:pt idx="273">
                  <c:v>41578</c:v>
                </c:pt>
                <c:pt idx="274">
                  <c:v>41608</c:v>
                </c:pt>
                <c:pt idx="275">
                  <c:v>41639</c:v>
                </c:pt>
                <c:pt idx="276">
                  <c:v>41670</c:v>
                </c:pt>
                <c:pt idx="277">
                  <c:v>41698</c:v>
                </c:pt>
                <c:pt idx="278">
                  <c:v>41729</c:v>
                </c:pt>
                <c:pt idx="279">
                  <c:v>41759</c:v>
                </c:pt>
                <c:pt idx="280">
                  <c:v>41790</c:v>
                </c:pt>
                <c:pt idx="281">
                  <c:v>41820</c:v>
                </c:pt>
                <c:pt idx="282">
                  <c:v>41851</c:v>
                </c:pt>
                <c:pt idx="283">
                  <c:v>41882</c:v>
                </c:pt>
                <c:pt idx="284">
                  <c:v>41912</c:v>
                </c:pt>
                <c:pt idx="285">
                  <c:v>41943</c:v>
                </c:pt>
                <c:pt idx="286">
                  <c:v>41973</c:v>
                </c:pt>
                <c:pt idx="287">
                  <c:v>42004</c:v>
                </c:pt>
                <c:pt idx="288">
                  <c:v>42035</c:v>
                </c:pt>
                <c:pt idx="289">
                  <c:v>42063</c:v>
                </c:pt>
                <c:pt idx="290">
                  <c:v>42094</c:v>
                </c:pt>
                <c:pt idx="291">
                  <c:v>42124</c:v>
                </c:pt>
                <c:pt idx="292">
                  <c:v>42155</c:v>
                </c:pt>
                <c:pt idx="293">
                  <c:v>42185</c:v>
                </c:pt>
                <c:pt idx="294">
                  <c:v>42216</c:v>
                </c:pt>
                <c:pt idx="295">
                  <c:v>42247</c:v>
                </c:pt>
                <c:pt idx="296">
                  <c:v>42277</c:v>
                </c:pt>
                <c:pt idx="297">
                  <c:v>42308</c:v>
                </c:pt>
                <c:pt idx="298">
                  <c:v>42338</c:v>
                </c:pt>
                <c:pt idx="299">
                  <c:v>42369</c:v>
                </c:pt>
                <c:pt idx="300">
                  <c:v>42400</c:v>
                </c:pt>
                <c:pt idx="301">
                  <c:v>42429</c:v>
                </c:pt>
                <c:pt idx="302">
                  <c:v>42460</c:v>
                </c:pt>
                <c:pt idx="303">
                  <c:v>42490</c:v>
                </c:pt>
                <c:pt idx="304">
                  <c:v>42521</c:v>
                </c:pt>
                <c:pt idx="305">
                  <c:v>42551</c:v>
                </c:pt>
                <c:pt idx="306">
                  <c:v>42582</c:v>
                </c:pt>
                <c:pt idx="307">
                  <c:v>42613</c:v>
                </c:pt>
                <c:pt idx="308">
                  <c:v>42643</c:v>
                </c:pt>
                <c:pt idx="309">
                  <c:v>42674</c:v>
                </c:pt>
                <c:pt idx="310">
                  <c:v>42704</c:v>
                </c:pt>
                <c:pt idx="311">
                  <c:v>42735</c:v>
                </c:pt>
                <c:pt idx="312">
                  <c:v>42766</c:v>
                </c:pt>
                <c:pt idx="313">
                  <c:v>42794</c:v>
                </c:pt>
                <c:pt idx="314">
                  <c:v>42825</c:v>
                </c:pt>
                <c:pt idx="315">
                  <c:v>42855</c:v>
                </c:pt>
                <c:pt idx="316">
                  <c:v>42886</c:v>
                </c:pt>
                <c:pt idx="317">
                  <c:v>42916</c:v>
                </c:pt>
                <c:pt idx="318">
                  <c:v>42947</c:v>
                </c:pt>
                <c:pt idx="319">
                  <c:v>42978</c:v>
                </c:pt>
                <c:pt idx="320">
                  <c:v>43008</c:v>
                </c:pt>
                <c:pt idx="321">
                  <c:v>43039</c:v>
                </c:pt>
                <c:pt idx="322">
                  <c:v>43069</c:v>
                </c:pt>
                <c:pt idx="323">
                  <c:v>43100</c:v>
                </c:pt>
                <c:pt idx="324">
                  <c:v>43131</c:v>
                </c:pt>
                <c:pt idx="325">
                  <c:v>43159</c:v>
                </c:pt>
                <c:pt idx="326">
                  <c:v>43190</c:v>
                </c:pt>
                <c:pt idx="327">
                  <c:v>43220</c:v>
                </c:pt>
                <c:pt idx="328">
                  <c:v>43251</c:v>
                </c:pt>
                <c:pt idx="329">
                  <c:v>43281</c:v>
                </c:pt>
                <c:pt idx="330">
                  <c:v>43312</c:v>
                </c:pt>
                <c:pt idx="331">
                  <c:v>43343</c:v>
                </c:pt>
                <c:pt idx="332">
                  <c:v>43373</c:v>
                </c:pt>
                <c:pt idx="333">
                  <c:v>43404</c:v>
                </c:pt>
                <c:pt idx="334">
                  <c:v>43434</c:v>
                </c:pt>
                <c:pt idx="335">
                  <c:v>43465</c:v>
                </c:pt>
                <c:pt idx="336">
                  <c:v>43496</c:v>
                </c:pt>
                <c:pt idx="337">
                  <c:v>43524</c:v>
                </c:pt>
                <c:pt idx="338">
                  <c:v>43555</c:v>
                </c:pt>
                <c:pt idx="339">
                  <c:v>43585</c:v>
                </c:pt>
                <c:pt idx="340">
                  <c:v>43616</c:v>
                </c:pt>
                <c:pt idx="341">
                  <c:v>43646</c:v>
                </c:pt>
                <c:pt idx="342">
                  <c:v>43677</c:v>
                </c:pt>
                <c:pt idx="343">
                  <c:v>43708</c:v>
                </c:pt>
                <c:pt idx="344">
                  <c:v>43738</c:v>
                </c:pt>
                <c:pt idx="345">
                  <c:v>43769</c:v>
                </c:pt>
                <c:pt idx="346">
                  <c:v>43799</c:v>
                </c:pt>
                <c:pt idx="347">
                  <c:v>43830</c:v>
                </c:pt>
                <c:pt idx="348">
                  <c:v>43861</c:v>
                </c:pt>
                <c:pt idx="349">
                  <c:v>43890</c:v>
                </c:pt>
                <c:pt idx="350">
                  <c:v>43921</c:v>
                </c:pt>
                <c:pt idx="351">
                  <c:v>43951</c:v>
                </c:pt>
                <c:pt idx="352">
                  <c:v>43982</c:v>
                </c:pt>
                <c:pt idx="353">
                  <c:v>44012</c:v>
                </c:pt>
                <c:pt idx="354">
                  <c:v>44043</c:v>
                </c:pt>
                <c:pt idx="355">
                  <c:v>44074</c:v>
                </c:pt>
                <c:pt idx="356">
                  <c:v>44104</c:v>
                </c:pt>
                <c:pt idx="357">
                  <c:v>44135</c:v>
                </c:pt>
                <c:pt idx="358">
                  <c:v>44165</c:v>
                </c:pt>
                <c:pt idx="359">
                  <c:v>44196</c:v>
                </c:pt>
                <c:pt idx="360">
                  <c:v>44227</c:v>
                </c:pt>
                <c:pt idx="361">
                  <c:v>44255</c:v>
                </c:pt>
                <c:pt idx="362">
                  <c:v>44286</c:v>
                </c:pt>
                <c:pt idx="363">
                  <c:v>44316</c:v>
                </c:pt>
                <c:pt idx="364">
                  <c:v>44347</c:v>
                </c:pt>
                <c:pt idx="365">
                  <c:v>44377</c:v>
                </c:pt>
                <c:pt idx="366">
                  <c:v>44408</c:v>
                </c:pt>
                <c:pt idx="367">
                  <c:v>44439</c:v>
                </c:pt>
                <c:pt idx="368">
                  <c:v>44469</c:v>
                </c:pt>
                <c:pt idx="369">
                  <c:v>44500</c:v>
                </c:pt>
                <c:pt idx="370">
                  <c:v>44530</c:v>
                </c:pt>
                <c:pt idx="371">
                  <c:v>44561</c:v>
                </c:pt>
                <c:pt idx="372">
                  <c:v>44592</c:v>
                </c:pt>
                <c:pt idx="373">
                  <c:v>44620</c:v>
                </c:pt>
                <c:pt idx="374">
                  <c:v>44651</c:v>
                </c:pt>
                <c:pt idx="375">
                  <c:v>44681</c:v>
                </c:pt>
                <c:pt idx="376">
                  <c:v>44712</c:v>
                </c:pt>
                <c:pt idx="377">
                  <c:v>44742</c:v>
                </c:pt>
                <c:pt idx="378">
                  <c:v>44773</c:v>
                </c:pt>
                <c:pt idx="379">
                  <c:v>44804</c:v>
                </c:pt>
                <c:pt idx="380">
                  <c:v>44834</c:v>
                </c:pt>
                <c:pt idx="381">
                  <c:v>44865</c:v>
                </c:pt>
                <c:pt idx="382">
                  <c:v>44895</c:v>
                </c:pt>
                <c:pt idx="383">
                  <c:v>44926</c:v>
                </c:pt>
                <c:pt idx="384">
                  <c:v>44957</c:v>
                </c:pt>
                <c:pt idx="385">
                  <c:v>44985</c:v>
                </c:pt>
                <c:pt idx="386">
                  <c:v>45015</c:v>
                </c:pt>
              </c:numCache>
            </c:numRef>
          </c:cat>
          <c:val>
            <c:numRef>
              <c:f>Monthly!$J$2:$J$581</c:f>
              <c:numCache>
                <c:formatCode>General</c:formatCode>
                <c:ptCount val="387"/>
                <c:pt idx="363" formatCode="0%">
                  <c:v>6.8643616773003263E-3</c:v>
                </c:pt>
                <c:pt idx="364" formatCode="0%">
                  <c:v>1.5194478666223935E-2</c:v>
                </c:pt>
                <c:pt idx="365" formatCode="0%">
                  <c:v>1.9181927423492576E-2</c:v>
                </c:pt>
                <c:pt idx="366" formatCode="0%">
                  <c:v>1.8922165684133199E-2</c:v>
                </c:pt>
                <c:pt idx="367" formatCode="0%">
                  <c:v>1.7780128839029144E-2</c:v>
                </c:pt>
                <c:pt idx="368" formatCode="0%">
                  <c:v>1.9170901841070856E-2</c:v>
                </c:pt>
                <c:pt idx="369" formatCode="0%">
                  <c:v>2.7486102323568198E-2</c:v>
                </c:pt>
                <c:pt idx="370" formatCode="0%">
                  <c:v>3.3357441688343994E-2</c:v>
                </c:pt>
                <c:pt idx="371" formatCode="0%">
                  <c:v>3.563144194573066E-2</c:v>
                </c:pt>
                <c:pt idx="372" formatCode="0%">
                  <c:v>4.0066137973170393E-2</c:v>
                </c:pt>
                <c:pt idx="373" formatCode="0%">
                  <c:v>4.3978052267672055E-2</c:v>
                </c:pt>
                <c:pt idx="374" formatCode="0%">
                  <c:v>5.0691968838703541E-2</c:v>
                </c:pt>
                <c:pt idx="375" formatCode="0%">
                  <c:v>4.7853706699102952E-2</c:v>
                </c:pt>
                <c:pt idx="376" formatCode="0%">
                  <c:v>5.1082528727044454E-2</c:v>
                </c:pt>
                <c:pt idx="377" formatCode="0%">
                  <c:v>5.5864992938120764E-2</c:v>
                </c:pt>
                <c:pt idx="378" formatCode="0%">
                  <c:v>5.0515560746534419E-2</c:v>
                </c:pt>
                <c:pt idx="379" formatCode="0%">
                  <c:v>4.7894338321441646E-2</c:v>
                </c:pt>
                <c:pt idx="380" formatCode="0%">
                  <c:v>4.7284109728615423E-2</c:v>
                </c:pt>
                <c:pt idx="381" formatCode="0%">
                  <c:v>4.2721686598328437E-2</c:v>
                </c:pt>
                <c:pt idx="382" formatCode="0%">
                  <c:v>3.6370641232196479E-2</c:v>
                </c:pt>
                <c:pt idx="383" formatCode="0%">
                  <c:v>2.9811426604387417E-2</c:v>
                </c:pt>
                <c:pt idx="384" formatCode="0%">
                  <c:v>2.9368882978841895E-2</c:v>
                </c:pt>
                <c:pt idx="385" formatCode="0%">
                  <c:v>2.5623544068945195E-2</c:v>
                </c:pt>
                <c:pt idx="386" formatCode="0%">
                  <c:v>1.511715451127095E-2</c:v>
                </c:pt>
              </c:numCache>
            </c:numRef>
          </c:val>
          <c:extLst>
            <c:ext xmlns:c16="http://schemas.microsoft.com/office/drawing/2014/chart" uri="{C3380CC4-5D6E-409C-BE32-E72D297353CC}">
              <c16:uniqueId val="{00000000-EC06-4C79-B6DC-C8704B4CB972}"/>
            </c:ext>
          </c:extLst>
        </c:ser>
        <c:dLbls>
          <c:showLegendKey val="0"/>
          <c:showVal val="0"/>
          <c:showCatName val="0"/>
          <c:showSerName val="0"/>
          <c:showPercent val="0"/>
          <c:showBubbleSize val="0"/>
        </c:dLbls>
        <c:gapWidth val="0"/>
        <c:overlap val="100"/>
        <c:axId val="1956241503"/>
        <c:axId val="1956230687"/>
        <c:extLst>
          <c:ext xmlns:c15="http://schemas.microsoft.com/office/drawing/2012/chart" uri="{02D57815-91ED-43cb-92C2-25804820EDAC}">
            <c15:filteredBarSeries>
              <c15:ser>
                <c:idx val="0"/>
                <c:order val="0"/>
                <c:tx>
                  <c:strRef>
                    <c:extLst>
                      <c:ext uri="{02D57815-91ED-43cb-92C2-25804820EDAC}">
                        <c15:formulaRef>
                          <c15:sqref>Monthly!$C$1</c15:sqref>
                        </c15:formulaRef>
                      </c:ext>
                    </c:extLst>
                    <c:strCache>
                      <c:ptCount val="1"/>
                      <c:pt idx="0">
                        <c:v>CPI Index</c:v>
                      </c:pt>
                    </c:strCache>
                  </c:strRef>
                </c:tx>
                <c:spPr>
                  <a:solidFill>
                    <a:schemeClr val="accent1"/>
                  </a:solidFill>
                  <a:ln>
                    <a:noFill/>
                  </a:ln>
                  <a:effectLst/>
                </c:spPr>
                <c:invertIfNegative val="0"/>
                <c:trendline>
                  <c:spPr>
                    <a:ln w="19050" cap="rnd">
                      <a:solidFill>
                        <a:schemeClr val="accent1"/>
                      </a:solidFill>
                      <a:prstDash val="sysDot"/>
                    </a:ln>
                    <a:effectLst/>
                  </c:spPr>
                  <c:trendlineType val="linear"/>
                  <c:dispRSqr val="0"/>
                  <c:dispEq val="0"/>
                </c:trendline>
                <c:cat>
                  <c:numRef>
                    <c:extLst>
                      <c:ext uri="{02D57815-91ED-43cb-92C2-25804820EDAC}">
                        <c15:formulaRef>
                          <c15:sqref>Monthly!$B$2:$B$581</c15:sqref>
                        </c15:formulaRef>
                      </c:ext>
                    </c:extLst>
                    <c:numCache>
                      <c:formatCode>yyyy</c:formatCode>
                      <c:ptCount val="387"/>
                      <c:pt idx="0">
                        <c:v>33269</c:v>
                      </c:pt>
                      <c:pt idx="1">
                        <c:v>33297</c:v>
                      </c:pt>
                      <c:pt idx="2">
                        <c:v>33328</c:v>
                      </c:pt>
                      <c:pt idx="3">
                        <c:v>33358</c:v>
                      </c:pt>
                      <c:pt idx="4">
                        <c:v>33389</c:v>
                      </c:pt>
                      <c:pt idx="5">
                        <c:v>33419</c:v>
                      </c:pt>
                      <c:pt idx="6">
                        <c:v>33450</c:v>
                      </c:pt>
                      <c:pt idx="7">
                        <c:v>33481</c:v>
                      </c:pt>
                      <c:pt idx="8">
                        <c:v>33511</c:v>
                      </c:pt>
                      <c:pt idx="9">
                        <c:v>33542</c:v>
                      </c:pt>
                      <c:pt idx="10">
                        <c:v>33572</c:v>
                      </c:pt>
                      <c:pt idx="11">
                        <c:v>33603</c:v>
                      </c:pt>
                      <c:pt idx="12">
                        <c:v>33634</c:v>
                      </c:pt>
                      <c:pt idx="13">
                        <c:v>33663</c:v>
                      </c:pt>
                      <c:pt idx="14">
                        <c:v>33694</c:v>
                      </c:pt>
                      <c:pt idx="15">
                        <c:v>33724</c:v>
                      </c:pt>
                      <c:pt idx="16">
                        <c:v>33755</c:v>
                      </c:pt>
                      <c:pt idx="17">
                        <c:v>33785</c:v>
                      </c:pt>
                      <c:pt idx="18">
                        <c:v>33816</c:v>
                      </c:pt>
                      <c:pt idx="19">
                        <c:v>33847</c:v>
                      </c:pt>
                      <c:pt idx="20">
                        <c:v>33877</c:v>
                      </c:pt>
                      <c:pt idx="21">
                        <c:v>33908</c:v>
                      </c:pt>
                      <c:pt idx="22">
                        <c:v>33938</c:v>
                      </c:pt>
                      <c:pt idx="23">
                        <c:v>33969</c:v>
                      </c:pt>
                      <c:pt idx="24">
                        <c:v>34000</c:v>
                      </c:pt>
                      <c:pt idx="25">
                        <c:v>34028</c:v>
                      </c:pt>
                      <c:pt idx="26">
                        <c:v>34059</c:v>
                      </c:pt>
                      <c:pt idx="27">
                        <c:v>34089</c:v>
                      </c:pt>
                      <c:pt idx="28">
                        <c:v>34120</c:v>
                      </c:pt>
                      <c:pt idx="29">
                        <c:v>34150</c:v>
                      </c:pt>
                      <c:pt idx="30">
                        <c:v>34181</c:v>
                      </c:pt>
                      <c:pt idx="31">
                        <c:v>34212</c:v>
                      </c:pt>
                      <c:pt idx="32">
                        <c:v>34242</c:v>
                      </c:pt>
                      <c:pt idx="33">
                        <c:v>34273</c:v>
                      </c:pt>
                      <c:pt idx="34">
                        <c:v>34303</c:v>
                      </c:pt>
                      <c:pt idx="35">
                        <c:v>34334</c:v>
                      </c:pt>
                      <c:pt idx="36">
                        <c:v>34365</c:v>
                      </c:pt>
                      <c:pt idx="37">
                        <c:v>34393</c:v>
                      </c:pt>
                      <c:pt idx="38">
                        <c:v>34424</c:v>
                      </c:pt>
                      <c:pt idx="39">
                        <c:v>34454</c:v>
                      </c:pt>
                      <c:pt idx="40">
                        <c:v>34485</c:v>
                      </c:pt>
                      <c:pt idx="41">
                        <c:v>34515</c:v>
                      </c:pt>
                      <c:pt idx="42">
                        <c:v>34546</c:v>
                      </c:pt>
                      <c:pt idx="43">
                        <c:v>34577</c:v>
                      </c:pt>
                      <c:pt idx="44">
                        <c:v>34607</c:v>
                      </c:pt>
                      <c:pt idx="45">
                        <c:v>34638</c:v>
                      </c:pt>
                      <c:pt idx="46">
                        <c:v>34668</c:v>
                      </c:pt>
                      <c:pt idx="47">
                        <c:v>34699</c:v>
                      </c:pt>
                      <c:pt idx="48">
                        <c:v>34730</c:v>
                      </c:pt>
                      <c:pt idx="49">
                        <c:v>34758</c:v>
                      </c:pt>
                      <c:pt idx="50">
                        <c:v>34789</c:v>
                      </c:pt>
                      <c:pt idx="51">
                        <c:v>34819</c:v>
                      </c:pt>
                      <c:pt idx="52">
                        <c:v>34850</c:v>
                      </c:pt>
                      <c:pt idx="53">
                        <c:v>34880</c:v>
                      </c:pt>
                      <c:pt idx="54">
                        <c:v>34911</c:v>
                      </c:pt>
                      <c:pt idx="55">
                        <c:v>34942</c:v>
                      </c:pt>
                      <c:pt idx="56">
                        <c:v>34972</c:v>
                      </c:pt>
                      <c:pt idx="57">
                        <c:v>35003</c:v>
                      </c:pt>
                      <c:pt idx="58">
                        <c:v>35033</c:v>
                      </c:pt>
                      <c:pt idx="59">
                        <c:v>35064</c:v>
                      </c:pt>
                      <c:pt idx="60">
                        <c:v>35095</c:v>
                      </c:pt>
                      <c:pt idx="61">
                        <c:v>35124</c:v>
                      </c:pt>
                      <c:pt idx="62">
                        <c:v>35155</c:v>
                      </c:pt>
                      <c:pt idx="63">
                        <c:v>35185</c:v>
                      </c:pt>
                      <c:pt idx="64">
                        <c:v>35216</c:v>
                      </c:pt>
                      <c:pt idx="65">
                        <c:v>35246</c:v>
                      </c:pt>
                      <c:pt idx="66">
                        <c:v>35277</c:v>
                      </c:pt>
                      <c:pt idx="67">
                        <c:v>35308</c:v>
                      </c:pt>
                      <c:pt idx="68">
                        <c:v>35338</c:v>
                      </c:pt>
                      <c:pt idx="69">
                        <c:v>35369</c:v>
                      </c:pt>
                      <c:pt idx="70">
                        <c:v>35399</c:v>
                      </c:pt>
                      <c:pt idx="71">
                        <c:v>35430</c:v>
                      </c:pt>
                      <c:pt idx="72">
                        <c:v>35461</c:v>
                      </c:pt>
                      <c:pt idx="73">
                        <c:v>35489</c:v>
                      </c:pt>
                      <c:pt idx="74">
                        <c:v>35520</c:v>
                      </c:pt>
                      <c:pt idx="75">
                        <c:v>35550</c:v>
                      </c:pt>
                      <c:pt idx="76">
                        <c:v>35581</c:v>
                      </c:pt>
                      <c:pt idx="77">
                        <c:v>35611</c:v>
                      </c:pt>
                      <c:pt idx="78">
                        <c:v>35642</c:v>
                      </c:pt>
                      <c:pt idx="79">
                        <c:v>35673</c:v>
                      </c:pt>
                      <c:pt idx="80">
                        <c:v>35703</c:v>
                      </c:pt>
                      <c:pt idx="81">
                        <c:v>35734</c:v>
                      </c:pt>
                      <c:pt idx="82">
                        <c:v>35764</c:v>
                      </c:pt>
                      <c:pt idx="83">
                        <c:v>35795</c:v>
                      </c:pt>
                      <c:pt idx="84">
                        <c:v>35826</c:v>
                      </c:pt>
                      <c:pt idx="85">
                        <c:v>35854</c:v>
                      </c:pt>
                      <c:pt idx="86">
                        <c:v>35885</c:v>
                      </c:pt>
                      <c:pt idx="87">
                        <c:v>35915</c:v>
                      </c:pt>
                      <c:pt idx="88">
                        <c:v>35946</c:v>
                      </c:pt>
                      <c:pt idx="89">
                        <c:v>35976</c:v>
                      </c:pt>
                      <c:pt idx="90">
                        <c:v>36007</c:v>
                      </c:pt>
                      <c:pt idx="91">
                        <c:v>36038</c:v>
                      </c:pt>
                      <c:pt idx="92">
                        <c:v>36068</c:v>
                      </c:pt>
                      <c:pt idx="93">
                        <c:v>36099</c:v>
                      </c:pt>
                      <c:pt idx="94">
                        <c:v>36129</c:v>
                      </c:pt>
                      <c:pt idx="95">
                        <c:v>36160</c:v>
                      </c:pt>
                      <c:pt idx="96">
                        <c:v>36191</c:v>
                      </c:pt>
                      <c:pt idx="97">
                        <c:v>36219</c:v>
                      </c:pt>
                      <c:pt idx="98">
                        <c:v>36250</c:v>
                      </c:pt>
                      <c:pt idx="99">
                        <c:v>36280</c:v>
                      </c:pt>
                      <c:pt idx="100">
                        <c:v>36311</c:v>
                      </c:pt>
                      <c:pt idx="101">
                        <c:v>36341</c:v>
                      </c:pt>
                      <c:pt idx="102">
                        <c:v>36372</c:v>
                      </c:pt>
                      <c:pt idx="103">
                        <c:v>36403</c:v>
                      </c:pt>
                      <c:pt idx="104">
                        <c:v>36433</c:v>
                      </c:pt>
                      <c:pt idx="105">
                        <c:v>36464</c:v>
                      </c:pt>
                      <c:pt idx="106">
                        <c:v>36494</c:v>
                      </c:pt>
                      <c:pt idx="107">
                        <c:v>36525</c:v>
                      </c:pt>
                      <c:pt idx="108">
                        <c:v>36556</c:v>
                      </c:pt>
                      <c:pt idx="109">
                        <c:v>36585</c:v>
                      </c:pt>
                      <c:pt idx="110">
                        <c:v>36616</c:v>
                      </c:pt>
                      <c:pt idx="111">
                        <c:v>36646</c:v>
                      </c:pt>
                      <c:pt idx="112">
                        <c:v>36677</c:v>
                      </c:pt>
                      <c:pt idx="113">
                        <c:v>36707</c:v>
                      </c:pt>
                      <c:pt idx="114">
                        <c:v>36738</c:v>
                      </c:pt>
                      <c:pt idx="115">
                        <c:v>36769</c:v>
                      </c:pt>
                      <c:pt idx="116">
                        <c:v>36799</c:v>
                      </c:pt>
                      <c:pt idx="117">
                        <c:v>36830</c:v>
                      </c:pt>
                      <c:pt idx="118">
                        <c:v>36860</c:v>
                      </c:pt>
                      <c:pt idx="119">
                        <c:v>36891</c:v>
                      </c:pt>
                      <c:pt idx="120">
                        <c:v>36922</c:v>
                      </c:pt>
                      <c:pt idx="121">
                        <c:v>36950</c:v>
                      </c:pt>
                      <c:pt idx="122">
                        <c:v>36981</c:v>
                      </c:pt>
                      <c:pt idx="123">
                        <c:v>37011</c:v>
                      </c:pt>
                      <c:pt idx="124">
                        <c:v>37042</c:v>
                      </c:pt>
                      <c:pt idx="125">
                        <c:v>37072</c:v>
                      </c:pt>
                      <c:pt idx="126">
                        <c:v>37103</c:v>
                      </c:pt>
                      <c:pt idx="127">
                        <c:v>37134</c:v>
                      </c:pt>
                      <c:pt idx="128">
                        <c:v>37164</c:v>
                      </c:pt>
                      <c:pt idx="129">
                        <c:v>37195</c:v>
                      </c:pt>
                      <c:pt idx="130">
                        <c:v>37225</c:v>
                      </c:pt>
                      <c:pt idx="131">
                        <c:v>37256</c:v>
                      </c:pt>
                      <c:pt idx="132">
                        <c:v>37287</c:v>
                      </c:pt>
                      <c:pt idx="133">
                        <c:v>37315</c:v>
                      </c:pt>
                      <c:pt idx="134">
                        <c:v>37346</c:v>
                      </c:pt>
                      <c:pt idx="135">
                        <c:v>37376</c:v>
                      </c:pt>
                      <c:pt idx="136">
                        <c:v>37407</c:v>
                      </c:pt>
                      <c:pt idx="137">
                        <c:v>37437</c:v>
                      </c:pt>
                      <c:pt idx="138">
                        <c:v>37468</c:v>
                      </c:pt>
                      <c:pt idx="139">
                        <c:v>37499</c:v>
                      </c:pt>
                      <c:pt idx="140">
                        <c:v>37529</c:v>
                      </c:pt>
                      <c:pt idx="141">
                        <c:v>37560</c:v>
                      </c:pt>
                      <c:pt idx="142">
                        <c:v>37590</c:v>
                      </c:pt>
                      <c:pt idx="143">
                        <c:v>37621</c:v>
                      </c:pt>
                      <c:pt idx="144">
                        <c:v>37652</c:v>
                      </c:pt>
                      <c:pt idx="145">
                        <c:v>37680</c:v>
                      </c:pt>
                      <c:pt idx="146">
                        <c:v>37711</c:v>
                      </c:pt>
                      <c:pt idx="147">
                        <c:v>37741</c:v>
                      </c:pt>
                      <c:pt idx="148">
                        <c:v>37772</c:v>
                      </c:pt>
                      <c:pt idx="149">
                        <c:v>37802</c:v>
                      </c:pt>
                      <c:pt idx="150">
                        <c:v>37833</c:v>
                      </c:pt>
                      <c:pt idx="151">
                        <c:v>37864</c:v>
                      </c:pt>
                      <c:pt idx="152">
                        <c:v>37894</c:v>
                      </c:pt>
                      <c:pt idx="153">
                        <c:v>37925</c:v>
                      </c:pt>
                      <c:pt idx="154">
                        <c:v>37955</c:v>
                      </c:pt>
                      <c:pt idx="155">
                        <c:v>37986</c:v>
                      </c:pt>
                      <c:pt idx="156">
                        <c:v>38017</c:v>
                      </c:pt>
                      <c:pt idx="157">
                        <c:v>38046</c:v>
                      </c:pt>
                      <c:pt idx="158">
                        <c:v>38077</c:v>
                      </c:pt>
                      <c:pt idx="159">
                        <c:v>38107</c:v>
                      </c:pt>
                      <c:pt idx="160">
                        <c:v>38138</c:v>
                      </c:pt>
                      <c:pt idx="161">
                        <c:v>38168</c:v>
                      </c:pt>
                      <c:pt idx="162">
                        <c:v>38199</c:v>
                      </c:pt>
                      <c:pt idx="163">
                        <c:v>38230</c:v>
                      </c:pt>
                      <c:pt idx="164">
                        <c:v>38260</c:v>
                      </c:pt>
                      <c:pt idx="165">
                        <c:v>38291</c:v>
                      </c:pt>
                      <c:pt idx="166">
                        <c:v>38321</c:v>
                      </c:pt>
                      <c:pt idx="167">
                        <c:v>38352</c:v>
                      </c:pt>
                      <c:pt idx="168">
                        <c:v>38383</c:v>
                      </c:pt>
                      <c:pt idx="169">
                        <c:v>38411</c:v>
                      </c:pt>
                      <c:pt idx="170">
                        <c:v>38442</c:v>
                      </c:pt>
                      <c:pt idx="171">
                        <c:v>38472</c:v>
                      </c:pt>
                      <c:pt idx="172">
                        <c:v>38503</c:v>
                      </c:pt>
                      <c:pt idx="173">
                        <c:v>38533</c:v>
                      </c:pt>
                      <c:pt idx="174">
                        <c:v>38564</c:v>
                      </c:pt>
                      <c:pt idx="175">
                        <c:v>38595</c:v>
                      </c:pt>
                      <c:pt idx="176">
                        <c:v>38625</c:v>
                      </c:pt>
                      <c:pt idx="177">
                        <c:v>38656</c:v>
                      </c:pt>
                      <c:pt idx="178">
                        <c:v>38686</c:v>
                      </c:pt>
                      <c:pt idx="179">
                        <c:v>38717</c:v>
                      </c:pt>
                      <c:pt idx="180">
                        <c:v>38748</c:v>
                      </c:pt>
                      <c:pt idx="181">
                        <c:v>38776</c:v>
                      </c:pt>
                      <c:pt idx="182">
                        <c:v>38807</c:v>
                      </c:pt>
                      <c:pt idx="183">
                        <c:v>38837</c:v>
                      </c:pt>
                      <c:pt idx="184">
                        <c:v>38868</c:v>
                      </c:pt>
                      <c:pt idx="185">
                        <c:v>38898</c:v>
                      </c:pt>
                      <c:pt idx="186">
                        <c:v>38929</c:v>
                      </c:pt>
                      <c:pt idx="187">
                        <c:v>38960</c:v>
                      </c:pt>
                      <c:pt idx="188">
                        <c:v>38990</c:v>
                      </c:pt>
                      <c:pt idx="189">
                        <c:v>39021</c:v>
                      </c:pt>
                      <c:pt idx="190">
                        <c:v>39051</c:v>
                      </c:pt>
                      <c:pt idx="191">
                        <c:v>39082</c:v>
                      </c:pt>
                      <c:pt idx="192">
                        <c:v>39113</c:v>
                      </c:pt>
                      <c:pt idx="193">
                        <c:v>39141</c:v>
                      </c:pt>
                      <c:pt idx="194">
                        <c:v>39172</c:v>
                      </c:pt>
                      <c:pt idx="195">
                        <c:v>39202</c:v>
                      </c:pt>
                      <c:pt idx="196">
                        <c:v>39233</c:v>
                      </c:pt>
                      <c:pt idx="197">
                        <c:v>39263</c:v>
                      </c:pt>
                      <c:pt idx="198">
                        <c:v>39294</c:v>
                      </c:pt>
                      <c:pt idx="199">
                        <c:v>39325</c:v>
                      </c:pt>
                      <c:pt idx="200">
                        <c:v>39355</c:v>
                      </c:pt>
                      <c:pt idx="201">
                        <c:v>39386</c:v>
                      </c:pt>
                      <c:pt idx="202">
                        <c:v>39416</c:v>
                      </c:pt>
                      <c:pt idx="203">
                        <c:v>39447</c:v>
                      </c:pt>
                      <c:pt idx="204">
                        <c:v>39478</c:v>
                      </c:pt>
                      <c:pt idx="205">
                        <c:v>39507</c:v>
                      </c:pt>
                      <c:pt idx="206">
                        <c:v>39538</c:v>
                      </c:pt>
                      <c:pt idx="207">
                        <c:v>39568</c:v>
                      </c:pt>
                      <c:pt idx="208">
                        <c:v>39599</c:v>
                      </c:pt>
                      <c:pt idx="209">
                        <c:v>39629</c:v>
                      </c:pt>
                      <c:pt idx="210">
                        <c:v>39660</c:v>
                      </c:pt>
                      <c:pt idx="211">
                        <c:v>39691</c:v>
                      </c:pt>
                      <c:pt idx="212">
                        <c:v>39721</c:v>
                      </c:pt>
                      <c:pt idx="213">
                        <c:v>39752</c:v>
                      </c:pt>
                      <c:pt idx="214">
                        <c:v>39782</c:v>
                      </c:pt>
                      <c:pt idx="215">
                        <c:v>39813</c:v>
                      </c:pt>
                      <c:pt idx="216">
                        <c:v>39844</c:v>
                      </c:pt>
                      <c:pt idx="217">
                        <c:v>39872</c:v>
                      </c:pt>
                      <c:pt idx="218">
                        <c:v>39903</c:v>
                      </c:pt>
                      <c:pt idx="219">
                        <c:v>39933</c:v>
                      </c:pt>
                      <c:pt idx="220">
                        <c:v>39964</c:v>
                      </c:pt>
                      <c:pt idx="221">
                        <c:v>39994</c:v>
                      </c:pt>
                      <c:pt idx="222">
                        <c:v>40025</c:v>
                      </c:pt>
                      <c:pt idx="223">
                        <c:v>40056</c:v>
                      </c:pt>
                      <c:pt idx="224">
                        <c:v>40086</c:v>
                      </c:pt>
                      <c:pt idx="225">
                        <c:v>40117</c:v>
                      </c:pt>
                      <c:pt idx="226">
                        <c:v>40147</c:v>
                      </c:pt>
                      <c:pt idx="227">
                        <c:v>40178</c:v>
                      </c:pt>
                      <c:pt idx="228">
                        <c:v>40209</c:v>
                      </c:pt>
                      <c:pt idx="229">
                        <c:v>40237</c:v>
                      </c:pt>
                      <c:pt idx="230">
                        <c:v>40268</c:v>
                      </c:pt>
                      <c:pt idx="231">
                        <c:v>40298</c:v>
                      </c:pt>
                      <c:pt idx="232">
                        <c:v>40329</c:v>
                      </c:pt>
                      <c:pt idx="233">
                        <c:v>40359</c:v>
                      </c:pt>
                      <c:pt idx="234">
                        <c:v>40390</c:v>
                      </c:pt>
                      <c:pt idx="235">
                        <c:v>40421</c:v>
                      </c:pt>
                      <c:pt idx="236">
                        <c:v>40451</c:v>
                      </c:pt>
                      <c:pt idx="237">
                        <c:v>40482</c:v>
                      </c:pt>
                      <c:pt idx="238">
                        <c:v>40512</c:v>
                      </c:pt>
                      <c:pt idx="239">
                        <c:v>40543</c:v>
                      </c:pt>
                      <c:pt idx="240">
                        <c:v>40574</c:v>
                      </c:pt>
                      <c:pt idx="241">
                        <c:v>40602</c:v>
                      </c:pt>
                      <c:pt idx="242">
                        <c:v>40633</c:v>
                      </c:pt>
                      <c:pt idx="243">
                        <c:v>40663</c:v>
                      </c:pt>
                      <c:pt idx="244">
                        <c:v>40694</c:v>
                      </c:pt>
                      <c:pt idx="245">
                        <c:v>40724</c:v>
                      </c:pt>
                      <c:pt idx="246">
                        <c:v>40755</c:v>
                      </c:pt>
                      <c:pt idx="247">
                        <c:v>40786</c:v>
                      </c:pt>
                      <c:pt idx="248">
                        <c:v>40816</c:v>
                      </c:pt>
                      <c:pt idx="249">
                        <c:v>40847</c:v>
                      </c:pt>
                      <c:pt idx="250">
                        <c:v>40877</c:v>
                      </c:pt>
                      <c:pt idx="251">
                        <c:v>40908</c:v>
                      </c:pt>
                      <c:pt idx="252">
                        <c:v>40939</c:v>
                      </c:pt>
                      <c:pt idx="253">
                        <c:v>40968</c:v>
                      </c:pt>
                      <c:pt idx="254">
                        <c:v>40999</c:v>
                      </c:pt>
                      <c:pt idx="255">
                        <c:v>41029</c:v>
                      </c:pt>
                      <c:pt idx="256">
                        <c:v>41060</c:v>
                      </c:pt>
                      <c:pt idx="257">
                        <c:v>41090</c:v>
                      </c:pt>
                      <c:pt idx="258">
                        <c:v>41121</c:v>
                      </c:pt>
                      <c:pt idx="259">
                        <c:v>41152</c:v>
                      </c:pt>
                      <c:pt idx="260">
                        <c:v>41182</c:v>
                      </c:pt>
                      <c:pt idx="261">
                        <c:v>41213</c:v>
                      </c:pt>
                      <c:pt idx="262">
                        <c:v>41243</c:v>
                      </c:pt>
                      <c:pt idx="263">
                        <c:v>41274</c:v>
                      </c:pt>
                      <c:pt idx="264">
                        <c:v>41305</c:v>
                      </c:pt>
                      <c:pt idx="265">
                        <c:v>41333</c:v>
                      </c:pt>
                      <c:pt idx="266">
                        <c:v>41364</c:v>
                      </c:pt>
                      <c:pt idx="267">
                        <c:v>41394</c:v>
                      </c:pt>
                      <c:pt idx="268">
                        <c:v>41425</c:v>
                      </c:pt>
                      <c:pt idx="269">
                        <c:v>41455</c:v>
                      </c:pt>
                      <c:pt idx="270">
                        <c:v>41486</c:v>
                      </c:pt>
                      <c:pt idx="271">
                        <c:v>41517</c:v>
                      </c:pt>
                      <c:pt idx="272">
                        <c:v>41547</c:v>
                      </c:pt>
                      <c:pt idx="273">
                        <c:v>41578</c:v>
                      </c:pt>
                      <c:pt idx="274">
                        <c:v>41608</c:v>
                      </c:pt>
                      <c:pt idx="275">
                        <c:v>41639</c:v>
                      </c:pt>
                      <c:pt idx="276">
                        <c:v>41670</c:v>
                      </c:pt>
                      <c:pt idx="277">
                        <c:v>41698</c:v>
                      </c:pt>
                      <c:pt idx="278">
                        <c:v>41729</c:v>
                      </c:pt>
                      <c:pt idx="279">
                        <c:v>41759</c:v>
                      </c:pt>
                      <c:pt idx="280">
                        <c:v>41790</c:v>
                      </c:pt>
                      <c:pt idx="281">
                        <c:v>41820</c:v>
                      </c:pt>
                      <c:pt idx="282">
                        <c:v>41851</c:v>
                      </c:pt>
                      <c:pt idx="283">
                        <c:v>41882</c:v>
                      </c:pt>
                      <c:pt idx="284">
                        <c:v>41912</c:v>
                      </c:pt>
                      <c:pt idx="285">
                        <c:v>41943</c:v>
                      </c:pt>
                      <c:pt idx="286">
                        <c:v>41973</c:v>
                      </c:pt>
                      <c:pt idx="287">
                        <c:v>42004</c:v>
                      </c:pt>
                      <c:pt idx="288">
                        <c:v>42035</c:v>
                      </c:pt>
                      <c:pt idx="289">
                        <c:v>42063</c:v>
                      </c:pt>
                      <c:pt idx="290">
                        <c:v>42094</c:v>
                      </c:pt>
                      <c:pt idx="291">
                        <c:v>42124</c:v>
                      </c:pt>
                      <c:pt idx="292">
                        <c:v>42155</c:v>
                      </c:pt>
                      <c:pt idx="293">
                        <c:v>42185</c:v>
                      </c:pt>
                      <c:pt idx="294">
                        <c:v>42216</c:v>
                      </c:pt>
                      <c:pt idx="295">
                        <c:v>42247</c:v>
                      </c:pt>
                      <c:pt idx="296">
                        <c:v>42277</c:v>
                      </c:pt>
                      <c:pt idx="297">
                        <c:v>42308</c:v>
                      </c:pt>
                      <c:pt idx="298">
                        <c:v>42338</c:v>
                      </c:pt>
                      <c:pt idx="299">
                        <c:v>42369</c:v>
                      </c:pt>
                      <c:pt idx="300">
                        <c:v>42400</c:v>
                      </c:pt>
                      <c:pt idx="301">
                        <c:v>42429</c:v>
                      </c:pt>
                      <c:pt idx="302">
                        <c:v>42460</c:v>
                      </c:pt>
                      <c:pt idx="303">
                        <c:v>42490</c:v>
                      </c:pt>
                      <c:pt idx="304">
                        <c:v>42521</c:v>
                      </c:pt>
                      <c:pt idx="305">
                        <c:v>42551</c:v>
                      </c:pt>
                      <c:pt idx="306">
                        <c:v>42582</c:v>
                      </c:pt>
                      <c:pt idx="307">
                        <c:v>42613</c:v>
                      </c:pt>
                      <c:pt idx="308">
                        <c:v>42643</c:v>
                      </c:pt>
                      <c:pt idx="309">
                        <c:v>42674</c:v>
                      </c:pt>
                      <c:pt idx="310">
                        <c:v>42704</c:v>
                      </c:pt>
                      <c:pt idx="311">
                        <c:v>42735</c:v>
                      </c:pt>
                      <c:pt idx="312">
                        <c:v>42766</c:v>
                      </c:pt>
                      <c:pt idx="313">
                        <c:v>42794</c:v>
                      </c:pt>
                      <c:pt idx="314">
                        <c:v>42825</c:v>
                      </c:pt>
                      <c:pt idx="315">
                        <c:v>42855</c:v>
                      </c:pt>
                      <c:pt idx="316">
                        <c:v>42886</c:v>
                      </c:pt>
                      <c:pt idx="317">
                        <c:v>42916</c:v>
                      </c:pt>
                      <c:pt idx="318">
                        <c:v>42947</c:v>
                      </c:pt>
                      <c:pt idx="319">
                        <c:v>42978</c:v>
                      </c:pt>
                      <c:pt idx="320">
                        <c:v>43008</c:v>
                      </c:pt>
                      <c:pt idx="321">
                        <c:v>43039</c:v>
                      </c:pt>
                      <c:pt idx="322">
                        <c:v>43069</c:v>
                      </c:pt>
                      <c:pt idx="323">
                        <c:v>43100</c:v>
                      </c:pt>
                      <c:pt idx="324">
                        <c:v>43131</c:v>
                      </c:pt>
                      <c:pt idx="325">
                        <c:v>43159</c:v>
                      </c:pt>
                      <c:pt idx="326">
                        <c:v>43190</c:v>
                      </c:pt>
                      <c:pt idx="327">
                        <c:v>43220</c:v>
                      </c:pt>
                      <c:pt idx="328">
                        <c:v>43251</c:v>
                      </c:pt>
                      <c:pt idx="329">
                        <c:v>43281</c:v>
                      </c:pt>
                      <c:pt idx="330">
                        <c:v>43312</c:v>
                      </c:pt>
                      <c:pt idx="331">
                        <c:v>43343</c:v>
                      </c:pt>
                      <c:pt idx="332">
                        <c:v>43373</c:v>
                      </c:pt>
                      <c:pt idx="333">
                        <c:v>43404</c:v>
                      </c:pt>
                      <c:pt idx="334">
                        <c:v>43434</c:v>
                      </c:pt>
                      <c:pt idx="335">
                        <c:v>43465</c:v>
                      </c:pt>
                      <c:pt idx="336">
                        <c:v>43496</c:v>
                      </c:pt>
                      <c:pt idx="337">
                        <c:v>43524</c:v>
                      </c:pt>
                      <c:pt idx="338">
                        <c:v>43555</c:v>
                      </c:pt>
                      <c:pt idx="339">
                        <c:v>43585</c:v>
                      </c:pt>
                      <c:pt idx="340">
                        <c:v>43616</c:v>
                      </c:pt>
                      <c:pt idx="341">
                        <c:v>43646</c:v>
                      </c:pt>
                      <c:pt idx="342">
                        <c:v>43677</c:v>
                      </c:pt>
                      <c:pt idx="343">
                        <c:v>43708</c:v>
                      </c:pt>
                      <c:pt idx="344">
                        <c:v>43738</c:v>
                      </c:pt>
                      <c:pt idx="345">
                        <c:v>43769</c:v>
                      </c:pt>
                      <c:pt idx="346">
                        <c:v>43799</c:v>
                      </c:pt>
                      <c:pt idx="347">
                        <c:v>43830</c:v>
                      </c:pt>
                      <c:pt idx="348">
                        <c:v>43861</c:v>
                      </c:pt>
                      <c:pt idx="349">
                        <c:v>43890</c:v>
                      </c:pt>
                      <c:pt idx="350">
                        <c:v>43921</c:v>
                      </c:pt>
                      <c:pt idx="351">
                        <c:v>43951</c:v>
                      </c:pt>
                      <c:pt idx="352">
                        <c:v>43982</c:v>
                      </c:pt>
                      <c:pt idx="353">
                        <c:v>44012</c:v>
                      </c:pt>
                      <c:pt idx="354">
                        <c:v>44043</c:v>
                      </c:pt>
                      <c:pt idx="355">
                        <c:v>44074</c:v>
                      </c:pt>
                      <c:pt idx="356">
                        <c:v>44104</c:v>
                      </c:pt>
                      <c:pt idx="357">
                        <c:v>44135</c:v>
                      </c:pt>
                      <c:pt idx="358">
                        <c:v>44165</c:v>
                      </c:pt>
                      <c:pt idx="359">
                        <c:v>44196</c:v>
                      </c:pt>
                      <c:pt idx="360">
                        <c:v>44227</c:v>
                      </c:pt>
                      <c:pt idx="361">
                        <c:v>44255</c:v>
                      </c:pt>
                      <c:pt idx="362">
                        <c:v>44286</c:v>
                      </c:pt>
                      <c:pt idx="363">
                        <c:v>44316</c:v>
                      </c:pt>
                      <c:pt idx="364">
                        <c:v>44347</c:v>
                      </c:pt>
                      <c:pt idx="365">
                        <c:v>44377</c:v>
                      </c:pt>
                      <c:pt idx="366">
                        <c:v>44408</c:v>
                      </c:pt>
                      <c:pt idx="367">
                        <c:v>44439</c:v>
                      </c:pt>
                      <c:pt idx="368">
                        <c:v>44469</c:v>
                      </c:pt>
                      <c:pt idx="369">
                        <c:v>44500</c:v>
                      </c:pt>
                      <c:pt idx="370">
                        <c:v>44530</c:v>
                      </c:pt>
                      <c:pt idx="371">
                        <c:v>44561</c:v>
                      </c:pt>
                      <c:pt idx="372">
                        <c:v>44592</c:v>
                      </c:pt>
                      <c:pt idx="373">
                        <c:v>44620</c:v>
                      </c:pt>
                      <c:pt idx="374">
                        <c:v>44651</c:v>
                      </c:pt>
                      <c:pt idx="375">
                        <c:v>44681</c:v>
                      </c:pt>
                      <c:pt idx="376">
                        <c:v>44712</c:v>
                      </c:pt>
                      <c:pt idx="377">
                        <c:v>44742</c:v>
                      </c:pt>
                      <c:pt idx="378">
                        <c:v>44773</c:v>
                      </c:pt>
                      <c:pt idx="379">
                        <c:v>44804</c:v>
                      </c:pt>
                      <c:pt idx="380">
                        <c:v>44834</c:v>
                      </c:pt>
                      <c:pt idx="381">
                        <c:v>44865</c:v>
                      </c:pt>
                      <c:pt idx="382">
                        <c:v>44895</c:v>
                      </c:pt>
                      <c:pt idx="383">
                        <c:v>44926</c:v>
                      </c:pt>
                      <c:pt idx="384">
                        <c:v>44957</c:v>
                      </c:pt>
                      <c:pt idx="385">
                        <c:v>44985</c:v>
                      </c:pt>
                      <c:pt idx="386">
                        <c:v>45015</c:v>
                      </c:pt>
                    </c:numCache>
                  </c:numRef>
                </c:cat>
                <c:val>
                  <c:numRef>
                    <c:extLst>
                      <c:ext uri="{02D57815-91ED-43cb-92C2-25804820EDAC}">
                        <c15:formulaRef>
                          <c15:sqref>Monthly!$C$2:$C$581</c15:sqref>
                        </c15:formulaRef>
                      </c:ext>
                    </c:extLst>
                    <c:numCache>
                      <c:formatCode>General</c:formatCode>
                      <c:ptCount val="387"/>
                      <c:pt idx="0">
                        <c:v>134.6</c:v>
                      </c:pt>
                      <c:pt idx="1">
                        <c:v>134.80000000000001</c:v>
                      </c:pt>
                      <c:pt idx="2">
                        <c:v>135</c:v>
                      </c:pt>
                      <c:pt idx="3">
                        <c:v>135.19999999999999</c:v>
                      </c:pt>
                      <c:pt idx="4">
                        <c:v>135.6</c:v>
                      </c:pt>
                      <c:pt idx="5">
                        <c:v>136</c:v>
                      </c:pt>
                      <c:pt idx="6">
                        <c:v>136.19999999999999</c:v>
                      </c:pt>
                      <c:pt idx="7">
                        <c:v>136.6</c:v>
                      </c:pt>
                      <c:pt idx="8">
                        <c:v>137.19999999999999</c:v>
                      </c:pt>
                      <c:pt idx="9">
                        <c:v>137.4</c:v>
                      </c:pt>
                      <c:pt idx="10">
                        <c:v>137.80000000000001</c:v>
                      </c:pt>
                      <c:pt idx="11">
                        <c:v>137.9</c:v>
                      </c:pt>
                      <c:pt idx="12">
                        <c:v>138.1</c:v>
                      </c:pt>
                      <c:pt idx="13">
                        <c:v>138.6</c:v>
                      </c:pt>
                      <c:pt idx="14">
                        <c:v>139.30000000000001</c:v>
                      </c:pt>
                      <c:pt idx="15">
                        <c:v>139.5</c:v>
                      </c:pt>
                      <c:pt idx="16">
                        <c:v>139.69999999999999</c:v>
                      </c:pt>
                      <c:pt idx="17">
                        <c:v>140.19999999999999</c:v>
                      </c:pt>
                      <c:pt idx="18">
                        <c:v>140.5</c:v>
                      </c:pt>
                      <c:pt idx="19">
                        <c:v>140.9</c:v>
                      </c:pt>
                      <c:pt idx="20">
                        <c:v>141.30000000000001</c:v>
                      </c:pt>
                      <c:pt idx="21">
                        <c:v>141.80000000000001</c:v>
                      </c:pt>
                      <c:pt idx="22">
                        <c:v>142</c:v>
                      </c:pt>
                      <c:pt idx="23">
                        <c:v>141.9</c:v>
                      </c:pt>
                      <c:pt idx="24">
                        <c:v>142.6</c:v>
                      </c:pt>
                      <c:pt idx="25">
                        <c:v>143.1</c:v>
                      </c:pt>
                      <c:pt idx="26">
                        <c:v>143.6</c:v>
                      </c:pt>
                      <c:pt idx="27">
                        <c:v>144</c:v>
                      </c:pt>
                      <c:pt idx="28">
                        <c:v>144.19999999999999</c:v>
                      </c:pt>
                      <c:pt idx="29">
                        <c:v>144.4</c:v>
                      </c:pt>
                      <c:pt idx="30">
                        <c:v>144.4</c:v>
                      </c:pt>
                      <c:pt idx="31">
                        <c:v>144.80000000000001</c:v>
                      </c:pt>
                      <c:pt idx="32">
                        <c:v>145.1</c:v>
                      </c:pt>
                      <c:pt idx="33">
                        <c:v>145.69999999999999</c:v>
                      </c:pt>
                      <c:pt idx="34">
                        <c:v>145.80000000000001</c:v>
                      </c:pt>
                      <c:pt idx="35">
                        <c:v>145.80000000000001</c:v>
                      </c:pt>
                      <c:pt idx="36">
                        <c:v>146.19999999999999</c:v>
                      </c:pt>
                      <c:pt idx="37">
                        <c:v>146.69999999999999</c:v>
                      </c:pt>
                      <c:pt idx="38">
                        <c:v>147.19999999999999</c:v>
                      </c:pt>
                      <c:pt idx="39">
                        <c:v>147.4</c:v>
                      </c:pt>
                      <c:pt idx="40">
                        <c:v>147.5</c:v>
                      </c:pt>
                      <c:pt idx="41">
                        <c:v>148</c:v>
                      </c:pt>
                      <c:pt idx="42">
                        <c:v>148.4</c:v>
                      </c:pt>
                      <c:pt idx="43">
                        <c:v>149</c:v>
                      </c:pt>
                      <c:pt idx="44">
                        <c:v>149.4</c:v>
                      </c:pt>
                      <c:pt idx="45">
                        <c:v>149.5</c:v>
                      </c:pt>
                      <c:pt idx="46">
                        <c:v>149.69999999999999</c:v>
                      </c:pt>
                      <c:pt idx="47">
                        <c:v>149.69999999999999</c:v>
                      </c:pt>
                      <c:pt idx="48">
                        <c:v>150.30000000000001</c:v>
                      </c:pt>
                      <c:pt idx="49">
                        <c:v>150.9</c:v>
                      </c:pt>
                      <c:pt idx="50">
                        <c:v>151.4</c:v>
                      </c:pt>
                      <c:pt idx="51">
                        <c:v>151.9</c:v>
                      </c:pt>
                      <c:pt idx="52">
                        <c:v>152.19999999999999</c:v>
                      </c:pt>
                      <c:pt idx="53">
                        <c:v>152.5</c:v>
                      </c:pt>
                      <c:pt idx="54">
                        <c:v>152.5</c:v>
                      </c:pt>
                      <c:pt idx="55">
                        <c:v>152.9</c:v>
                      </c:pt>
                      <c:pt idx="56">
                        <c:v>153.19999999999999</c:v>
                      </c:pt>
                      <c:pt idx="57">
                        <c:v>153.69999999999999</c:v>
                      </c:pt>
                      <c:pt idx="58">
                        <c:v>153.6</c:v>
                      </c:pt>
                      <c:pt idx="59">
                        <c:v>153.5</c:v>
                      </c:pt>
                      <c:pt idx="60">
                        <c:v>154.4</c:v>
                      </c:pt>
                      <c:pt idx="61">
                        <c:v>154.9</c:v>
                      </c:pt>
                      <c:pt idx="62">
                        <c:v>155.69999999999999</c:v>
                      </c:pt>
                      <c:pt idx="63">
                        <c:v>156.30000000000001</c:v>
                      </c:pt>
                      <c:pt idx="64">
                        <c:v>156.6</c:v>
                      </c:pt>
                      <c:pt idx="65">
                        <c:v>156.69999999999999</c:v>
                      </c:pt>
                      <c:pt idx="66">
                        <c:v>157</c:v>
                      </c:pt>
                      <c:pt idx="67">
                        <c:v>157.30000000000001</c:v>
                      </c:pt>
                      <c:pt idx="68">
                        <c:v>157.80000000000001</c:v>
                      </c:pt>
                      <c:pt idx="69">
                        <c:v>158.30000000000001</c:v>
                      </c:pt>
                      <c:pt idx="70">
                        <c:v>158.6</c:v>
                      </c:pt>
                      <c:pt idx="71">
                        <c:v>158.6</c:v>
                      </c:pt>
                      <c:pt idx="72">
                        <c:v>159.1</c:v>
                      </c:pt>
                      <c:pt idx="73">
                        <c:v>159.6</c:v>
                      </c:pt>
                      <c:pt idx="74">
                        <c:v>160</c:v>
                      </c:pt>
                      <c:pt idx="75">
                        <c:v>160.19999999999999</c:v>
                      </c:pt>
                      <c:pt idx="76">
                        <c:v>160.1</c:v>
                      </c:pt>
                      <c:pt idx="77">
                        <c:v>160.30000000000001</c:v>
                      </c:pt>
                      <c:pt idx="78">
                        <c:v>160.5</c:v>
                      </c:pt>
                      <c:pt idx="79">
                        <c:v>160.80000000000001</c:v>
                      </c:pt>
                      <c:pt idx="80">
                        <c:v>161.19999999999999</c:v>
                      </c:pt>
                      <c:pt idx="81">
                        <c:v>161.6</c:v>
                      </c:pt>
                      <c:pt idx="82">
                        <c:v>161.5</c:v>
                      </c:pt>
                      <c:pt idx="83">
                        <c:v>161.30000000000001</c:v>
                      </c:pt>
                      <c:pt idx="84">
                        <c:v>161.6</c:v>
                      </c:pt>
                      <c:pt idx="85">
                        <c:v>161.9</c:v>
                      </c:pt>
                      <c:pt idx="86">
                        <c:v>162.19999999999999</c:v>
                      </c:pt>
                      <c:pt idx="87">
                        <c:v>162.5</c:v>
                      </c:pt>
                      <c:pt idx="88">
                        <c:v>162.80000000000001</c:v>
                      </c:pt>
                      <c:pt idx="89">
                        <c:v>163</c:v>
                      </c:pt>
                      <c:pt idx="90">
                        <c:v>163.19999999999999</c:v>
                      </c:pt>
                      <c:pt idx="91">
                        <c:v>163.4</c:v>
                      </c:pt>
                      <c:pt idx="92">
                        <c:v>163.6</c:v>
                      </c:pt>
                      <c:pt idx="93">
                        <c:v>164</c:v>
                      </c:pt>
                      <c:pt idx="94">
                        <c:v>164</c:v>
                      </c:pt>
                      <c:pt idx="95">
                        <c:v>163.9</c:v>
                      </c:pt>
                      <c:pt idx="96">
                        <c:v>164.3</c:v>
                      </c:pt>
                      <c:pt idx="97">
                        <c:v>164.5</c:v>
                      </c:pt>
                      <c:pt idx="98">
                        <c:v>165</c:v>
                      </c:pt>
                      <c:pt idx="99">
                        <c:v>166.2</c:v>
                      </c:pt>
                      <c:pt idx="100">
                        <c:v>166.2</c:v>
                      </c:pt>
                      <c:pt idx="101">
                        <c:v>166.2</c:v>
                      </c:pt>
                      <c:pt idx="102">
                        <c:v>166.7</c:v>
                      </c:pt>
                      <c:pt idx="103">
                        <c:v>167.1</c:v>
                      </c:pt>
                      <c:pt idx="104">
                        <c:v>167.9</c:v>
                      </c:pt>
                      <c:pt idx="105">
                        <c:v>168.2</c:v>
                      </c:pt>
                      <c:pt idx="106">
                        <c:v>168.3</c:v>
                      </c:pt>
                      <c:pt idx="107">
                        <c:v>168.3</c:v>
                      </c:pt>
                      <c:pt idx="108">
                        <c:v>168.8</c:v>
                      </c:pt>
                      <c:pt idx="109">
                        <c:v>169.8</c:v>
                      </c:pt>
                      <c:pt idx="110">
                        <c:v>171.2</c:v>
                      </c:pt>
                      <c:pt idx="111">
                        <c:v>171.3</c:v>
                      </c:pt>
                      <c:pt idx="112">
                        <c:v>171.5</c:v>
                      </c:pt>
                      <c:pt idx="113">
                        <c:v>172.4</c:v>
                      </c:pt>
                      <c:pt idx="114">
                        <c:v>172.8</c:v>
                      </c:pt>
                      <c:pt idx="115">
                        <c:v>172.8</c:v>
                      </c:pt>
                      <c:pt idx="116">
                        <c:v>173.7</c:v>
                      </c:pt>
                      <c:pt idx="117">
                        <c:v>174</c:v>
                      </c:pt>
                      <c:pt idx="118">
                        <c:v>174.1</c:v>
                      </c:pt>
                      <c:pt idx="119">
                        <c:v>174</c:v>
                      </c:pt>
                      <c:pt idx="120">
                        <c:v>175.1</c:v>
                      </c:pt>
                      <c:pt idx="121">
                        <c:v>175.8</c:v>
                      </c:pt>
                      <c:pt idx="122">
                        <c:v>176.2</c:v>
                      </c:pt>
                      <c:pt idx="123">
                        <c:v>176.9</c:v>
                      </c:pt>
                      <c:pt idx="124">
                        <c:v>177.7</c:v>
                      </c:pt>
                      <c:pt idx="125">
                        <c:v>178</c:v>
                      </c:pt>
                      <c:pt idx="126">
                        <c:v>177.5</c:v>
                      </c:pt>
                      <c:pt idx="127">
                        <c:v>177.5</c:v>
                      </c:pt>
                      <c:pt idx="128">
                        <c:v>178.3</c:v>
                      </c:pt>
                      <c:pt idx="129">
                        <c:v>177.7</c:v>
                      </c:pt>
                      <c:pt idx="130">
                        <c:v>177.4</c:v>
                      </c:pt>
                      <c:pt idx="131">
                        <c:v>176.7</c:v>
                      </c:pt>
                      <c:pt idx="132">
                        <c:v>177.1</c:v>
                      </c:pt>
                      <c:pt idx="133">
                        <c:v>177.8</c:v>
                      </c:pt>
                      <c:pt idx="134">
                        <c:v>178.8</c:v>
                      </c:pt>
                      <c:pt idx="135">
                        <c:v>179.8</c:v>
                      </c:pt>
                      <c:pt idx="136">
                        <c:v>179.8</c:v>
                      </c:pt>
                      <c:pt idx="137">
                        <c:v>179.9</c:v>
                      </c:pt>
                      <c:pt idx="138">
                        <c:v>180.1</c:v>
                      </c:pt>
                      <c:pt idx="139">
                        <c:v>180.7</c:v>
                      </c:pt>
                      <c:pt idx="140">
                        <c:v>181</c:v>
                      </c:pt>
                      <c:pt idx="141">
                        <c:v>181.3</c:v>
                      </c:pt>
                      <c:pt idx="142">
                        <c:v>181.3</c:v>
                      </c:pt>
                      <c:pt idx="143">
                        <c:v>180.9</c:v>
                      </c:pt>
                      <c:pt idx="144">
                        <c:v>181.7</c:v>
                      </c:pt>
                      <c:pt idx="145">
                        <c:v>183.1</c:v>
                      </c:pt>
                      <c:pt idx="146">
                        <c:v>184.2</c:v>
                      </c:pt>
                      <c:pt idx="147">
                        <c:v>183.8</c:v>
                      </c:pt>
                      <c:pt idx="148">
                        <c:v>183.5</c:v>
                      </c:pt>
                      <c:pt idx="149">
                        <c:v>183.7</c:v>
                      </c:pt>
                      <c:pt idx="150">
                        <c:v>183.9</c:v>
                      </c:pt>
                      <c:pt idx="151">
                        <c:v>184.6</c:v>
                      </c:pt>
                      <c:pt idx="152">
                        <c:v>185.2</c:v>
                      </c:pt>
                      <c:pt idx="153">
                        <c:v>185</c:v>
                      </c:pt>
                      <c:pt idx="154">
                        <c:v>184.5</c:v>
                      </c:pt>
                      <c:pt idx="155">
                        <c:v>184.3</c:v>
                      </c:pt>
                      <c:pt idx="156">
                        <c:v>185.2</c:v>
                      </c:pt>
                      <c:pt idx="157">
                        <c:v>186.2</c:v>
                      </c:pt>
                      <c:pt idx="158">
                        <c:v>187.4</c:v>
                      </c:pt>
                      <c:pt idx="159">
                        <c:v>188</c:v>
                      </c:pt>
                      <c:pt idx="160">
                        <c:v>189.1</c:v>
                      </c:pt>
                      <c:pt idx="161">
                        <c:v>189.7</c:v>
                      </c:pt>
                      <c:pt idx="162">
                        <c:v>189.4</c:v>
                      </c:pt>
                      <c:pt idx="163">
                        <c:v>189.5</c:v>
                      </c:pt>
                      <c:pt idx="164">
                        <c:v>189.9</c:v>
                      </c:pt>
                      <c:pt idx="165">
                        <c:v>190.9</c:v>
                      </c:pt>
                      <c:pt idx="166">
                        <c:v>191</c:v>
                      </c:pt>
                      <c:pt idx="167">
                        <c:v>190.3</c:v>
                      </c:pt>
                      <c:pt idx="168">
                        <c:v>190.7</c:v>
                      </c:pt>
                      <c:pt idx="169">
                        <c:v>191.8</c:v>
                      </c:pt>
                      <c:pt idx="170">
                        <c:v>193.3</c:v>
                      </c:pt>
                      <c:pt idx="171">
                        <c:v>194.6</c:v>
                      </c:pt>
                      <c:pt idx="172">
                        <c:v>194.4</c:v>
                      </c:pt>
                      <c:pt idx="173">
                        <c:v>194.5</c:v>
                      </c:pt>
                      <c:pt idx="174">
                        <c:v>195.4</c:v>
                      </c:pt>
                      <c:pt idx="175">
                        <c:v>196.4</c:v>
                      </c:pt>
                      <c:pt idx="176">
                        <c:v>198.8</c:v>
                      </c:pt>
                      <c:pt idx="177">
                        <c:v>199.2</c:v>
                      </c:pt>
                      <c:pt idx="178">
                        <c:v>197.6</c:v>
                      </c:pt>
                      <c:pt idx="179">
                        <c:v>196.8</c:v>
                      </c:pt>
                      <c:pt idx="180">
                        <c:v>198.3</c:v>
                      </c:pt>
                      <c:pt idx="181">
                        <c:v>198.7</c:v>
                      </c:pt>
                      <c:pt idx="182">
                        <c:v>199.8</c:v>
                      </c:pt>
                      <c:pt idx="183">
                        <c:v>201.5</c:v>
                      </c:pt>
                      <c:pt idx="184">
                        <c:v>202.5</c:v>
                      </c:pt>
                      <c:pt idx="185">
                        <c:v>202.9</c:v>
                      </c:pt>
                      <c:pt idx="186">
                        <c:v>203.5</c:v>
                      </c:pt>
                      <c:pt idx="187">
                        <c:v>203.9</c:v>
                      </c:pt>
                      <c:pt idx="188">
                        <c:v>202.9</c:v>
                      </c:pt>
                      <c:pt idx="189">
                        <c:v>201.8</c:v>
                      </c:pt>
                      <c:pt idx="190">
                        <c:v>201.5</c:v>
                      </c:pt>
                      <c:pt idx="191">
                        <c:v>201.8</c:v>
                      </c:pt>
                      <c:pt idx="192">
                        <c:v>202.416</c:v>
                      </c:pt>
                      <c:pt idx="193">
                        <c:v>203.499</c:v>
                      </c:pt>
                      <c:pt idx="194">
                        <c:v>205.352</c:v>
                      </c:pt>
                      <c:pt idx="195">
                        <c:v>206.68600000000001</c:v>
                      </c:pt>
                      <c:pt idx="196">
                        <c:v>207.94900000000001</c:v>
                      </c:pt>
                      <c:pt idx="197">
                        <c:v>208.352</c:v>
                      </c:pt>
                      <c:pt idx="198">
                        <c:v>208.29900000000001</c:v>
                      </c:pt>
                      <c:pt idx="199">
                        <c:v>207.917</c:v>
                      </c:pt>
                      <c:pt idx="200">
                        <c:v>208.49</c:v>
                      </c:pt>
                      <c:pt idx="201">
                        <c:v>208.93600000000001</c:v>
                      </c:pt>
                      <c:pt idx="202">
                        <c:v>210.17699999999999</c:v>
                      </c:pt>
                      <c:pt idx="203">
                        <c:v>210.036</c:v>
                      </c:pt>
                      <c:pt idx="204">
                        <c:v>211.08</c:v>
                      </c:pt>
                      <c:pt idx="205">
                        <c:v>211.69300000000001</c:v>
                      </c:pt>
                      <c:pt idx="206">
                        <c:v>213.52799999999999</c:v>
                      </c:pt>
                      <c:pt idx="207">
                        <c:v>214.82300000000001</c:v>
                      </c:pt>
                      <c:pt idx="208">
                        <c:v>216.63200000000001</c:v>
                      </c:pt>
                      <c:pt idx="209">
                        <c:v>218.815</c:v>
                      </c:pt>
                      <c:pt idx="210">
                        <c:v>219.964</c:v>
                      </c:pt>
                      <c:pt idx="211">
                        <c:v>219.08600000000001</c:v>
                      </c:pt>
                      <c:pt idx="212">
                        <c:v>218.78299999999999</c:v>
                      </c:pt>
                      <c:pt idx="213">
                        <c:v>216.57300000000001</c:v>
                      </c:pt>
                      <c:pt idx="214">
                        <c:v>212.42500000000001</c:v>
                      </c:pt>
                      <c:pt idx="215">
                        <c:v>210.22800000000001</c:v>
                      </c:pt>
                      <c:pt idx="216">
                        <c:v>211.143</c:v>
                      </c:pt>
                      <c:pt idx="217">
                        <c:v>212.19300000000001</c:v>
                      </c:pt>
                      <c:pt idx="218">
                        <c:v>212.709</c:v>
                      </c:pt>
                      <c:pt idx="219">
                        <c:v>213.24</c:v>
                      </c:pt>
                      <c:pt idx="220">
                        <c:v>213.85599999999999</c:v>
                      </c:pt>
                      <c:pt idx="221">
                        <c:v>215.69300000000001</c:v>
                      </c:pt>
                      <c:pt idx="222">
                        <c:v>215.351</c:v>
                      </c:pt>
                      <c:pt idx="223">
                        <c:v>215.834</c:v>
                      </c:pt>
                      <c:pt idx="224">
                        <c:v>215.96899999999999</c:v>
                      </c:pt>
                      <c:pt idx="225">
                        <c:v>216.17699999999999</c:v>
                      </c:pt>
                      <c:pt idx="226">
                        <c:v>216.33</c:v>
                      </c:pt>
                      <c:pt idx="227">
                        <c:v>215.94900000000001</c:v>
                      </c:pt>
                      <c:pt idx="228">
                        <c:v>216.68700000000001</c:v>
                      </c:pt>
                      <c:pt idx="229">
                        <c:v>216.74100000000001</c:v>
                      </c:pt>
                      <c:pt idx="230">
                        <c:v>217.631</c:v>
                      </c:pt>
                      <c:pt idx="231">
                        <c:v>218.00899999999999</c:v>
                      </c:pt>
                      <c:pt idx="232">
                        <c:v>218.178</c:v>
                      </c:pt>
                      <c:pt idx="233">
                        <c:v>217.965</c:v>
                      </c:pt>
                      <c:pt idx="234">
                        <c:v>218.011</c:v>
                      </c:pt>
                      <c:pt idx="235">
                        <c:v>218.31200000000001</c:v>
                      </c:pt>
                      <c:pt idx="236">
                        <c:v>218.43899999999999</c:v>
                      </c:pt>
                      <c:pt idx="237">
                        <c:v>218.71100000000001</c:v>
                      </c:pt>
                      <c:pt idx="238">
                        <c:v>218.803</c:v>
                      </c:pt>
                      <c:pt idx="239">
                        <c:v>219.179</c:v>
                      </c:pt>
                      <c:pt idx="240">
                        <c:v>220.22300000000001</c:v>
                      </c:pt>
                      <c:pt idx="241">
                        <c:v>221.309</c:v>
                      </c:pt>
                      <c:pt idx="242">
                        <c:v>223.46700000000001</c:v>
                      </c:pt>
                      <c:pt idx="243">
                        <c:v>224.90600000000001</c:v>
                      </c:pt>
                      <c:pt idx="244">
                        <c:v>225.964</c:v>
                      </c:pt>
                      <c:pt idx="245">
                        <c:v>225.72200000000001</c:v>
                      </c:pt>
                      <c:pt idx="246">
                        <c:v>225.922</c:v>
                      </c:pt>
                      <c:pt idx="247">
                        <c:v>226.54499999999999</c:v>
                      </c:pt>
                      <c:pt idx="248">
                        <c:v>226.88900000000001</c:v>
                      </c:pt>
                      <c:pt idx="249">
                        <c:v>226.42099999999999</c:v>
                      </c:pt>
                      <c:pt idx="250">
                        <c:v>226.23</c:v>
                      </c:pt>
                      <c:pt idx="251">
                        <c:v>225.672</c:v>
                      </c:pt>
                      <c:pt idx="252">
                        <c:v>226.66499999999999</c:v>
                      </c:pt>
                      <c:pt idx="253">
                        <c:v>227.66300000000001</c:v>
                      </c:pt>
                      <c:pt idx="254">
                        <c:v>229.392</c:v>
                      </c:pt>
                      <c:pt idx="255">
                        <c:v>230.08500000000001</c:v>
                      </c:pt>
                      <c:pt idx="256">
                        <c:v>229.815</c:v>
                      </c:pt>
                      <c:pt idx="257">
                        <c:v>229.47800000000001</c:v>
                      </c:pt>
                      <c:pt idx="258">
                        <c:v>229.10400000000001</c:v>
                      </c:pt>
                      <c:pt idx="259">
                        <c:v>230.37899999999999</c:v>
                      </c:pt>
                      <c:pt idx="260">
                        <c:v>231.40700000000001</c:v>
                      </c:pt>
                      <c:pt idx="261">
                        <c:v>231.31700000000001</c:v>
                      </c:pt>
                      <c:pt idx="262">
                        <c:v>230.221</c:v>
                      </c:pt>
                      <c:pt idx="263">
                        <c:v>229.601</c:v>
                      </c:pt>
                      <c:pt idx="264">
                        <c:v>230.28</c:v>
                      </c:pt>
                      <c:pt idx="265">
                        <c:v>232.166</c:v>
                      </c:pt>
                      <c:pt idx="266">
                        <c:v>232.773</c:v>
                      </c:pt>
                      <c:pt idx="267">
                        <c:v>232.53100000000001</c:v>
                      </c:pt>
                      <c:pt idx="268">
                        <c:v>232.94499999999999</c:v>
                      </c:pt>
                      <c:pt idx="269">
                        <c:v>233.50399999999999</c:v>
                      </c:pt>
                      <c:pt idx="270">
                        <c:v>233.596</c:v>
                      </c:pt>
                      <c:pt idx="271">
                        <c:v>233.87700000000001</c:v>
                      </c:pt>
                      <c:pt idx="272">
                        <c:v>234.149</c:v>
                      </c:pt>
                      <c:pt idx="273">
                        <c:v>233.54599999999999</c:v>
                      </c:pt>
                      <c:pt idx="274">
                        <c:v>233.06899999999999</c:v>
                      </c:pt>
                      <c:pt idx="275">
                        <c:v>233.04900000000001</c:v>
                      </c:pt>
                      <c:pt idx="276">
                        <c:v>233.916</c:v>
                      </c:pt>
                      <c:pt idx="277">
                        <c:v>234.78100000000001</c:v>
                      </c:pt>
                      <c:pt idx="278">
                        <c:v>236.29300000000001</c:v>
                      </c:pt>
                      <c:pt idx="279">
                        <c:v>237.072</c:v>
                      </c:pt>
                      <c:pt idx="280">
                        <c:v>237.9</c:v>
                      </c:pt>
                      <c:pt idx="281">
                        <c:v>238.34299999999999</c:v>
                      </c:pt>
                      <c:pt idx="282">
                        <c:v>238.25</c:v>
                      </c:pt>
                      <c:pt idx="283">
                        <c:v>237.852</c:v>
                      </c:pt>
                      <c:pt idx="284">
                        <c:v>238.03100000000001</c:v>
                      </c:pt>
                      <c:pt idx="285">
                        <c:v>237.43299999999999</c:v>
                      </c:pt>
                      <c:pt idx="286">
                        <c:v>236.15100000000001</c:v>
                      </c:pt>
                      <c:pt idx="287">
                        <c:v>234.81200000000001</c:v>
                      </c:pt>
                      <c:pt idx="288">
                        <c:v>233.70699999999999</c:v>
                      </c:pt>
                      <c:pt idx="289">
                        <c:v>234.72200000000001</c:v>
                      </c:pt>
                      <c:pt idx="290">
                        <c:v>236.119</c:v>
                      </c:pt>
                      <c:pt idx="291">
                        <c:v>236.59899999999999</c:v>
                      </c:pt>
                      <c:pt idx="292">
                        <c:v>237.80500000000001</c:v>
                      </c:pt>
                      <c:pt idx="293">
                        <c:v>238.63800000000001</c:v>
                      </c:pt>
                      <c:pt idx="294">
                        <c:v>238.654</c:v>
                      </c:pt>
                      <c:pt idx="295">
                        <c:v>238.316</c:v>
                      </c:pt>
                      <c:pt idx="296">
                        <c:v>237.94499999999999</c:v>
                      </c:pt>
                      <c:pt idx="297">
                        <c:v>237.83799999999999</c:v>
                      </c:pt>
                      <c:pt idx="298">
                        <c:v>237.33600000000001</c:v>
                      </c:pt>
                      <c:pt idx="299">
                        <c:v>236.52500000000001</c:v>
                      </c:pt>
                      <c:pt idx="300">
                        <c:v>236.916</c:v>
                      </c:pt>
                      <c:pt idx="301">
                        <c:v>237.11099999999999</c:v>
                      </c:pt>
                      <c:pt idx="302">
                        <c:v>238.13200000000001</c:v>
                      </c:pt>
                      <c:pt idx="303">
                        <c:v>239.261</c:v>
                      </c:pt>
                      <c:pt idx="304">
                        <c:v>240.22900000000001</c:v>
                      </c:pt>
                      <c:pt idx="305">
                        <c:v>241.018</c:v>
                      </c:pt>
                      <c:pt idx="306">
                        <c:v>240.62799999999999</c:v>
                      </c:pt>
                      <c:pt idx="307">
                        <c:v>240.84899999999999</c:v>
                      </c:pt>
                      <c:pt idx="308">
                        <c:v>241.428</c:v>
                      </c:pt>
                      <c:pt idx="309">
                        <c:v>241.72900000000001</c:v>
                      </c:pt>
                      <c:pt idx="310">
                        <c:v>241.35300000000001</c:v>
                      </c:pt>
                      <c:pt idx="311">
                        <c:v>241.43199999999999</c:v>
                      </c:pt>
                      <c:pt idx="312">
                        <c:v>242.839</c:v>
                      </c:pt>
                      <c:pt idx="313">
                        <c:v>243.60300000000001</c:v>
                      </c:pt>
                      <c:pt idx="314">
                        <c:v>243.80099999999999</c:v>
                      </c:pt>
                      <c:pt idx="315">
                        <c:v>244.524</c:v>
                      </c:pt>
                      <c:pt idx="316">
                        <c:v>244.733</c:v>
                      </c:pt>
                      <c:pt idx="317">
                        <c:v>244.95500000000001</c:v>
                      </c:pt>
                      <c:pt idx="318">
                        <c:v>244.786</c:v>
                      </c:pt>
                      <c:pt idx="319">
                        <c:v>245.51900000000001</c:v>
                      </c:pt>
                      <c:pt idx="320">
                        <c:v>246.81899999999999</c:v>
                      </c:pt>
                      <c:pt idx="321">
                        <c:v>246.66300000000001</c:v>
                      </c:pt>
                      <c:pt idx="322">
                        <c:v>246.66900000000001</c:v>
                      </c:pt>
                      <c:pt idx="323">
                        <c:v>246.524</c:v>
                      </c:pt>
                      <c:pt idx="324">
                        <c:v>247.86699999999999</c:v>
                      </c:pt>
                      <c:pt idx="325">
                        <c:v>248.99100000000001</c:v>
                      </c:pt>
                      <c:pt idx="326">
                        <c:v>249.554</c:v>
                      </c:pt>
                      <c:pt idx="327">
                        <c:v>250.54599999999999</c:v>
                      </c:pt>
                      <c:pt idx="328">
                        <c:v>251.58799999999999</c:v>
                      </c:pt>
                      <c:pt idx="329">
                        <c:v>251.989</c:v>
                      </c:pt>
                      <c:pt idx="330">
                        <c:v>252.006</c:v>
                      </c:pt>
                      <c:pt idx="331">
                        <c:v>252.14599999999999</c:v>
                      </c:pt>
                      <c:pt idx="332">
                        <c:v>252.43899999999999</c:v>
                      </c:pt>
                      <c:pt idx="333">
                        <c:v>252.88499999999999</c:v>
                      </c:pt>
                      <c:pt idx="334">
                        <c:v>252.03800000000001</c:v>
                      </c:pt>
                      <c:pt idx="335">
                        <c:v>251.233</c:v>
                      </c:pt>
                      <c:pt idx="336">
                        <c:v>251.71199999999999</c:v>
                      </c:pt>
                      <c:pt idx="337">
                        <c:v>252.77600000000001</c:v>
                      </c:pt>
                      <c:pt idx="338">
                        <c:v>254.202</c:v>
                      </c:pt>
                      <c:pt idx="339">
                        <c:v>255.548</c:v>
                      </c:pt>
                      <c:pt idx="340">
                        <c:v>256.09199999999998</c:v>
                      </c:pt>
                      <c:pt idx="341">
                        <c:v>256.14299999999997</c:v>
                      </c:pt>
                      <c:pt idx="342">
                        <c:v>256.57100000000003</c:v>
                      </c:pt>
                      <c:pt idx="343">
                        <c:v>256.55799999999999</c:v>
                      </c:pt>
                      <c:pt idx="344">
                        <c:v>256.75900000000001</c:v>
                      </c:pt>
                      <c:pt idx="345">
                        <c:v>257.346</c:v>
                      </c:pt>
                      <c:pt idx="346">
                        <c:v>257.20800000000003</c:v>
                      </c:pt>
                      <c:pt idx="347">
                        <c:v>256.97399999999999</c:v>
                      </c:pt>
                      <c:pt idx="348">
                        <c:v>257.971</c:v>
                      </c:pt>
                      <c:pt idx="349">
                        <c:v>258.678</c:v>
                      </c:pt>
                      <c:pt idx="350">
                        <c:v>258.11500000000001</c:v>
                      </c:pt>
                      <c:pt idx="351">
                        <c:v>256.38900000000001</c:v>
                      </c:pt>
                      <c:pt idx="352">
                        <c:v>256.39400000000001</c:v>
                      </c:pt>
                      <c:pt idx="353">
                        <c:v>257.79700000000003</c:v>
                      </c:pt>
                      <c:pt idx="354">
                        <c:v>259.101</c:v>
                      </c:pt>
                      <c:pt idx="355">
                        <c:v>259.91800000000001</c:v>
                      </c:pt>
                      <c:pt idx="356">
                        <c:v>260.27999999999997</c:v>
                      </c:pt>
                      <c:pt idx="357">
                        <c:v>260.38799999999998</c:v>
                      </c:pt>
                      <c:pt idx="358">
                        <c:v>260.22899999999998</c:v>
                      </c:pt>
                      <c:pt idx="359">
                        <c:v>260.47399999999999</c:v>
                      </c:pt>
                      <c:pt idx="360">
                        <c:v>261.58199999999999</c:v>
                      </c:pt>
                      <c:pt idx="361">
                        <c:v>263.01400000000001</c:v>
                      </c:pt>
                      <c:pt idx="362">
                        <c:v>264.87700000000001</c:v>
                      </c:pt>
                      <c:pt idx="363">
                        <c:v>267.05399999999997</c:v>
                      </c:pt>
                      <c:pt idx="364">
                        <c:v>269.19499999999999</c:v>
                      </c:pt>
                      <c:pt idx="365">
                        <c:v>271.69600000000003</c:v>
                      </c:pt>
                      <c:pt idx="366">
                        <c:v>273.00299999999999</c:v>
                      </c:pt>
                      <c:pt idx="367">
                        <c:v>273.56700000000001</c:v>
                      </c:pt>
                      <c:pt idx="368">
                        <c:v>274.31</c:v>
                      </c:pt>
                      <c:pt idx="369">
                        <c:v>276.589</c:v>
                      </c:pt>
                      <c:pt idx="370">
                        <c:v>277.94799999999998</c:v>
                      </c:pt>
                      <c:pt idx="371">
                        <c:v>278.80200000000002</c:v>
                      </c:pt>
                      <c:pt idx="372">
                        <c:v>281.14800000000002</c:v>
                      </c:pt>
                      <c:pt idx="373">
                        <c:v>283.71600000000001</c:v>
                      </c:pt>
                      <c:pt idx="374">
                        <c:v>287.50400000000002</c:v>
                      </c:pt>
                      <c:pt idx="375">
                        <c:v>289.10899999999998</c:v>
                      </c:pt>
                      <c:pt idx="376">
                        <c:v>292.29599999999999</c:v>
                      </c:pt>
                      <c:pt idx="377">
                        <c:v>296.31099999999998</c:v>
                      </c:pt>
                      <c:pt idx="378">
                        <c:v>296.27600000000001</c:v>
                      </c:pt>
                      <c:pt idx="379">
                        <c:v>296.17099999999999</c:v>
                      </c:pt>
                      <c:pt idx="380">
                        <c:v>296.80799999999999</c:v>
                      </c:pt>
                      <c:pt idx="381">
                        <c:v>298.012</c:v>
                      </c:pt>
                      <c:pt idx="382">
                        <c:v>297.71100000000001</c:v>
                      </c:pt>
                      <c:pt idx="383">
                        <c:v>296.79700000000003</c:v>
                      </c:pt>
                      <c:pt idx="384">
                        <c:v>299.17</c:v>
                      </c:pt>
                      <c:pt idx="385">
                        <c:v>300.83999999999997</c:v>
                      </c:pt>
                      <c:pt idx="386">
                        <c:v>301.83600000000001</c:v>
                      </c:pt>
                    </c:numCache>
                  </c:numRef>
                </c:val>
                <c:extLst>
                  <c:ext xmlns:c16="http://schemas.microsoft.com/office/drawing/2014/chart" uri="{C3380CC4-5D6E-409C-BE32-E72D297353CC}">
                    <c16:uniqueId val="{00000000-3E94-4901-8846-CDFA7CFD4692}"/>
                  </c:ext>
                </c:extLst>
              </c15:ser>
            </c15:filteredBarSeries>
          </c:ext>
        </c:extLst>
      </c:barChart>
      <c:lineChart>
        <c:grouping val="standard"/>
        <c:varyColors val="0"/>
        <c:ser>
          <c:idx val="2"/>
          <c:order val="2"/>
          <c:tx>
            <c:strRef>
              <c:f>Monthly!$E$1</c:f>
              <c:strCache>
                <c:ptCount val="1"/>
                <c:pt idx="0">
                  <c:v>Annual Inflation Rate</c:v>
                </c:pt>
              </c:strCache>
            </c:strRef>
          </c:tx>
          <c:spPr>
            <a:ln w="28575" cap="rnd">
              <a:solidFill>
                <a:schemeClr val="tx2"/>
              </a:solidFill>
              <a:round/>
            </a:ln>
            <a:effectLst/>
          </c:spPr>
          <c:marker>
            <c:symbol val="none"/>
          </c:marker>
          <c:cat>
            <c:numRef>
              <c:f>Monthly!$B$2:$B$581</c:f>
              <c:numCache>
                <c:formatCode>yyyy</c:formatCode>
                <c:ptCount val="387"/>
                <c:pt idx="0">
                  <c:v>33269</c:v>
                </c:pt>
                <c:pt idx="1">
                  <c:v>33297</c:v>
                </c:pt>
                <c:pt idx="2">
                  <c:v>33328</c:v>
                </c:pt>
                <c:pt idx="3">
                  <c:v>33358</c:v>
                </c:pt>
                <c:pt idx="4">
                  <c:v>33389</c:v>
                </c:pt>
                <c:pt idx="5">
                  <c:v>33419</c:v>
                </c:pt>
                <c:pt idx="6">
                  <c:v>33450</c:v>
                </c:pt>
                <c:pt idx="7">
                  <c:v>33481</c:v>
                </c:pt>
                <c:pt idx="8">
                  <c:v>33511</c:v>
                </c:pt>
                <c:pt idx="9">
                  <c:v>33542</c:v>
                </c:pt>
                <c:pt idx="10">
                  <c:v>33572</c:v>
                </c:pt>
                <c:pt idx="11">
                  <c:v>33603</c:v>
                </c:pt>
                <c:pt idx="12">
                  <c:v>33634</c:v>
                </c:pt>
                <c:pt idx="13">
                  <c:v>33663</c:v>
                </c:pt>
                <c:pt idx="14">
                  <c:v>33694</c:v>
                </c:pt>
                <c:pt idx="15">
                  <c:v>33724</c:v>
                </c:pt>
                <c:pt idx="16">
                  <c:v>33755</c:v>
                </c:pt>
                <c:pt idx="17">
                  <c:v>33785</c:v>
                </c:pt>
                <c:pt idx="18">
                  <c:v>33816</c:v>
                </c:pt>
                <c:pt idx="19">
                  <c:v>33847</c:v>
                </c:pt>
                <c:pt idx="20">
                  <c:v>33877</c:v>
                </c:pt>
                <c:pt idx="21">
                  <c:v>33908</c:v>
                </c:pt>
                <c:pt idx="22">
                  <c:v>33938</c:v>
                </c:pt>
                <c:pt idx="23">
                  <c:v>33969</c:v>
                </c:pt>
                <c:pt idx="24">
                  <c:v>34000</c:v>
                </c:pt>
                <c:pt idx="25">
                  <c:v>34028</c:v>
                </c:pt>
                <c:pt idx="26">
                  <c:v>34059</c:v>
                </c:pt>
                <c:pt idx="27">
                  <c:v>34089</c:v>
                </c:pt>
                <c:pt idx="28">
                  <c:v>34120</c:v>
                </c:pt>
                <c:pt idx="29">
                  <c:v>34150</c:v>
                </c:pt>
                <c:pt idx="30">
                  <c:v>34181</c:v>
                </c:pt>
                <c:pt idx="31">
                  <c:v>34212</c:v>
                </c:pt>
                <c:pt idx="32">
                  <c:v>34242</c:v>
                </c:pt>
                <c:pt idx="33">
                  <c:v>34273</c:v>
                </c:pt>
                <c:pt idx="34">
                  <c:v>34303</c:v>
                </c:pt>
                <c:pt idx="35">
                  <c:v>34334</c:v>
                </c:pt>
                <c:pt idx="36">
                  <c:v>34365</c:v>
                </c:pt>
                <c:pt idx="37">
                  <c:v>34393</c:v>
                </c:pt>
                <c:pt idx="38">
                  <c:v>34424</c:v>
                </c:pt>
                <c:pt idx="39">
                  <c:v>34454</c:v>
                </c:pt>
                <c:pt idx="40">
                  <c:v>34485</c:v>
                </c:pt>
                <c:pt idx="41">
                  <c:v>34515</c:v>
                </c:pt>
                <c:pt idx="42">
                  <c:v>34546</c:v>
                </c:pt>
                <c:pt idx="43">
                  <c:v>34577</c:v>
                </c:pt>
                <c:pt idx="44">
                  <c:v>34607</c:v>
                </c:pt>
                <c:pt idx="45">
                  <c:v>34638</c:v>
                </c:pt>
                <c:pt idx="46">
                  <c:v>34668</c:v>
                </c:pt>
                <c:pt idx="47">
                  <c:v>34699</c:v>
                </c:pt>
                <c:pt idx="48">
                  <c:v>34730</c:v>
                </c:pt>
                <c:pt idx="49">
                  <c:v>34758</c:v>
                </c:pt>
                <c:pt idx="50">
                  <c:v>34789</c:v>
                </c:pt>
                <c:pt idx="51">
                  <c:v>34819</c:v>
                </c:pt>
                <c:pt idx="52">
                  <c:v>34850</c:v>
                </c:pt>
                <c:pt idx="53">
                  <c:v>34880</c:v>
                </c:pt>
                <c:pt idx="54">
                  <c:v>34911</c:v>
                </c:pt>
                <c:pt idx="55">
                  <c:v>34942</c:v>
                </c:pt>
                <c:pt idx="56">
                  <c:v>34972</c:v>
                </c:pt>
                <c:pt idx="57">
                  <c:v>35003</c:v>
                </c:pt>
                <c:pt idx="58">
                  <c:v>35033</c:v>
                </c:pt>
                <c:pt idx="59">
                  <c:v>35064</c:v>
                </c:pt>
                <c:pt idx="60">
                  <c:v>35095</c:v>
                </c:pt>
                <c:pt idx="61">
                  <c:v>35124</c:v>
                </c:pt>
                <c:pt idx="62">
                  <c:v>35155</c:v>
                </c:pt>
                <c:pt idx="63">
                  <c:v>35185</c:v>
                </c:pt>
                <c:pt idx="64">
                  <c:v>35216</c:v>
                </c:pt>
                <c:pt idx="65">
                  <c:v>35246</c:v>
                </c:pt>
                <c:pt idx="66">
                  <c:v>35277</c:v>
                </c:pt>
                <c:pt idx="67">
                  <c:v>35308</c:v>
                </c:pt>
                <c:pt idx="68">
                  <c:v>35338</c:v>
                </c:pt>
                <c:pt idx="69">
                  <c:v>35369</c:v>
                </c:pt>
                <c:pt idx="70">
                  <c:v>35399</c:v>
                </c:pt>
                <c:pt idx="71">
                  <c:v>35430</c:v>
                </c:pt>
                <c:pt idx="72">
                  <c:v>35461</c:v>
                </c:pt>
                <c:pt idx="73">
                  <c:v>35489</c:v>
                </c:pt>
                <c:pt idx="74">
                  <c:v>35520</c:v>
                </c:pt>
                <c:pt idx="75">
                  <c:v>35550</c:v>
                </c:pt>
                <c:pt idx="76">
                  <c:v>35581</c:v>
                </c:pt>
                <c:pt idx="77">
                  <c:v>35611</c:v>
                </c:pt>
                <c:pt idx="78">
                  <c:v>35642</c:v>
                </c:pt>
                <c:pt idx="79">
                  <c:v>35673</c:v>
                </c:pt>
                <c:pt idx="80">
                  <c:v>35703</c:v>
                </c:pt>
                <c:pt idx="81">
                  <c:v>35734</c:v>
                </c:pt>
                <c:pt idx="82">
                  <c:v>35764</c:v>
                </c:pt>
                <c:pt idx="83">
                  <c:v>35795</c:v>
                </c:pt>
                <c:pt idx="84">
                  <c:v>35826</c:v>
                </c:pt>
                <c:pt idx="85">
                  <c:v>35854</c:v>
                </c:pt>
                <c:pt idx="86">
                  <c:v>35885</c:v>
                </c:pt>
                <c:pt idx="87">
                  <c:v>35915</c:v>
                </c:pt>
                <c:pt idx="88">
                  <c:v>35946</c:v>
                </c:pt>
                <c:pt idx="89">
                  <c:v>35976</c:v>
                </c:pt>
                <c:pt idx="90">
                  <c:v>36007</c:v>
                </c:pt>
                <c:pt idx="91">
                  <c:v>36038</c:v>
                </c:pt>
                <c:pt idx="92">
                  <c:v>36068</c:v>
                </c:pt>
                <c:pt idx="93">
                  <c:v>36099</c:v>
                </c:pt>
                <c:pt idx="94">
                  <c:v>36129</c:v>
                </c:pt>
                <c:pt idx="95">
                  <c:v>36160</c:v>
                </c:pt>
                <c:pt idx="96">
                  <c:v>36191</c:v>
                </c:pt>
                <c:pt idx="97">
                  <c:v>36219</c:v>
                </c:pt>
                <c:pt idx="98">
                  <c:v>36250</c:v>
                </c:pt>
                <c:pt idx="99">
                  <c:v>36280</c:v>
                </c:pt>
                <c:pt idx="100">
                  <c:v>36311</c:v>
                </c:pt>
                <c:pt idx="101">
                  <c:v>36341</c:v>
                </c:pt>
                <c:pt idx="102">
                  <c:v>36372</c:v>
                </c:pt>
                <c:pt idx="103">
                  <c:v>36403</c:v>
                </c:pt>
                <c:pt idx="104">
                  <c:v>36433</c:v>
                </c:pt>
                <c:pt idx="105">
                  <c:v>36464</c:v>
                </c:pt>
                <c:pt idx="106">
                  <c:v>36494</c:v>
                </c:pt>
                <c:pt idx="107">
                  <c:v>36525</c:v>
                </c:pt>
                <c:pt idx="108">
                  <c:v>36556</c:v>
                </c:pt>
                <c:pt idx="109">
                  <c:v>36585</c:v>
                </c:pt>
                <c:pt idx="110">
                  <c:v>36616</c:v>
                </c:pt>
                <c:pt idx="111">
                  <c:v>36646</c:v>
                </c:pt>
                <c:pt idx="112">
                  <c:v>36677</c:v>
                </c:pt>
                <c:pt idx="113">
                  <c:v>36707</c:v>
                </c:pt>
                <c:pt idx="114">
                  <c:v>36738</c:v>
                </c:pt>
                <c:pt idx="115">
                  <c:v>36769</c:v>
                </c:pt>
                <c:pt idx="116">
                  <c:v>36799</c:v>
                </c:pt>
                <c:pt idx="117">
                  <c:v>36830</c:v>
                </c:pt>
                <c:pt idx="118">
                  <c:v>36860</c:v>
                </c:pt>
                <c:pt idx="119">
                  <c:v>36891</c:v>
                </c:pt>
                <c:pt idx="120">
                  <c:v>36922</c:v>
                </c:pt>
                <c:pt idx="121">
                  <c:v>36950</c:v>
                </c:pt>
                <c:pt idx="122">
                  <c:v>36981</c:v>
                </c:pt>
                <c:pt idx="123">
                  <c:v>37011</c:v>
                </c:pt>
                <c:pt idx="124">
                  <c:v>37042</c:v>
                </c:pt>
                <c:pt idx="125">
                  <c:v>37072</c:v>
                </c:pt>
                <c:pt idx="126">
                  <c:v>37103</c:v>
                </c:pt>
                <c:pt idx="127">
                  <c:v>37134</c:v>
                </c:pt>
                <c:pt idx="128">
                  <c:v>37164</c:v>
                </c:pt>
                <c:pt idx="129">
                  <c:v>37195</c:v>
                </c:pt>
                <c:pt idx="130">
                  <c:v>37225</c:v>
                </c:pt>
                <c:pt idx="131">
                  <c:v>37256</c:v>
                </c:pt>
                <c:pt idx="132">
                  <c:v>37287</c:v>
                </c:pt>
                <c:pt idx="133">
                  <c:v>37315</c:v>
                </c:pt>
                <c:pt idx="134">
                  <c:v>37346</c:v>
                </c:pt>
                <c:pt idx="135">
                  <c:v>37376</c:v>
                </c:pt>
                <c:pt idx="136">
                  <c:v>37407</c:v>
                </c:pt>
                <c:pt idx="137">
                  <c:v>37437</c:v>
                </c:pt>
                <c:pt idx="138">
                  <c:v>37468</c:v>
                </c:pt>
                <c:pt idx="139">
                  <c:v>37499</c:v>
                </c:pt>
                <c:pt idx="140">
                  <c:v>37529</c:v>
                </c:pt>
                <c:pt idx="141">
                  <c:v>37560</c:v>
                </c:pt>
                <c:pt idx="142">
                  <c:v>37590</c:v>
                </c:pt>
                <c:pt idx="143">
                  <c:v>37621</c:v>
                </c:pt>
                <c:pt idx="144">
                  <c:v>37652</c:v>
                </c:pt>
                <c:pt idx="145">
                  <c:v>37680</c:v>
                </c:pt>
                <c:pt idx="146">
                  <c:v>37711</c:v>
                </c:pt>
                <c:pt idx="147">
                  <c:v>37741</c:v>
                </c:pt>
                <c:pt idx="148">
                  <c:v>37772</c:v>
                </c:pt>
                <c:pt idx="149">
                  <c:v>37802</c:v>
                </c:pt>
                <c:pt idx="150">
                  <c:v>37833</c:v>
                </c:pt>
                <c:pt idx="151">
                  <c:v>37864</c:v>
                </c:pt>
                <c:pt idx="152">
                  <c:v>37894</c:v>
                </c:pt>
                <c:pt idx="153">
                  <c:v>37925</c:v>
                </c:pt>
                <c:pt idx="154">
                  <c:v>37955</c:v>
                </c:pt>
                <c:pt idx="155">
                  <c:v>37986</c:v>
                </c:pt>
                <c:pt idx="156">
                  <c:v>38017</c:v>
                </c:pt>
                <c:pt idx="157">
                  <c:v>38046</c:v>
                </c:pt>
                <c:pt idx="158">
                  <c:v>38077</c:v>
                </c:pt>
                <c:pt idx="159">
                  <c:v>38107</c:v>
                </c:pt>
                <c:pt idx="160">
                  <c:v>38138</c:v>
                </c:pt>
                <c:pt idx="161">
                  <c:v>38168</c:v>
                </c:pt>
                <c:pt idx="162">
                  <c:v>38199</c:v>
                </c:pt>
                <c:pt idx="163">
                  <c:v>38230</c:v>
                </c:pt>
                <c:pt idx="164">
                  <c:v>38260</c:v>
                </c:pt>
                <c:pt idx="165">
                  <c:v>38291</c:v>
                </c:pt>
                <c:pt idx="166">
                  <c:v>38321</c:v>
                </c:pt>
                <c:pt idx="167">
                  <c:v>38352</c:v>
                </c:pt>
                <c:pt idx="168">
                  <c:v>38383</c:v>
                </c:pt>
                <c:pt idx="169">
                  <c:v>38411</c:v>
                </c:pt>
                <c:pt idx="170">
                  <c:v>38442</c:v>
                </c:pt>
                <c:pt idx="171">
                  <c:v>38472</c:v>
                </c:pt>
                <c:pt idx="172">
                  <c:v>38503</c:v>
                </c:pt>
                <c:pt idx="173">
                  <c:v>38533</c:v>
                </c:pt>
                <c:pt idx="174">
                  <c:v>38564</c:v>
                </c:pt>
                <c:pt idx="175">
                  <c:v>38595</c:v>
                </c:pt>
                <c:pt idx="176">
                  <c:v>38625</c:v>
                </c:pt>
                <c:pt idx="177">
                  <c:v>38656</c:v>
                </c:pt>
                <c:pt idx="178">
                  <c:v>38686</c:v>
                </c:pt>
                <c:pt idx="179">
                  <c:v>38717</c:v>
                </c:pt>
                <c:pt idx="180">
                  <c:v>38748</c:v>
                </c:pt>
                <c:pt idx="181">
                  <c:v>38776</c:v>
                </c:pt>
                <c:pt idx="182">
                  <c:v>38807</c:v>
                </c:pt>
                <c:pt idx="183">
                  <c:v>38837</c:v>
                </c:pt>
                <c:pt idx="184">
                  <c:v>38868</c:v>
                </c:pt>
                <c:pt idx="185">
                  <c:v>38898</c:v>
                </c:pt>
                <c:pt idx="186">
                  <c:v>38929</c:v>
                </c:pt>
                <c:pt idx="187">
                  <c:v>38960</c:v>
                </c:pt>
                <c:pt idx="188">
                  <c:v>38990</c:v>
                </c:pt>
                <c:pt idx="189">
                  <c:v>39021</c:v>
                </c:pt>
                <c:pt idx="190">
                  <c:v>39051</c:v>
                </c:pt>
                <c:pt idx="191">
                  <c:v>39082</c:v>
                </c:pt>
                <c:pt idx="192">
                  <c:v>39113</c:v>
                </c:pt>
                <c:pt idx="193">
                  <c:v>39141</c:v>
                </c:pt>
                <c:pt idx="194">
                  <c:v>39172</c:v>
                </c:pt>
                <c:pt idx="195">
                  <c:v>39202</c:v>
                </c:pt>
                <c:pt idx="196">
                  <c:v>39233</c:v>
                </c:pt>
                <c:pt idx="197">
                  <c:v>39263</c:v>
                </c:pt>
                <c:pt idx="198">
                  <c:v>39294</c:v>
                </c:pt>
                <c:pt idx="199">
                  <c:v>39325</c:v>
                </c:pt>
                <c:pt idx="200">
                  <c:v>39355</c:v>
                </c:pt>
                <c:pt idx="201">
                  <c:v>39386</c:v>
                </c:pt>
                <c:pt idx="202">
                  <c:v>39416</c:v>
                </c:pt>
                <c:pt idx="203">
                  <c:v>39447</c:v>
                </c:pt>
                <c:pt idx="204">
                  <c:v>39478</c:v>
                </c:pt>
                <c:pt idx="205">
                  <c:v>39507</c:v>
                </c:pt>
                <c:pt idx="206">
                  <c:v>39538</c:v>
                </c:pt>
                <c:pt idx="207">
                  <c:v>39568</c:v>
                </c:pt>
                <c:pt idx="208">
                  <c:v>39599</c:v>
                </c:pt>
                <c:pt idx="209">
                  <c:v>39629</c:v>
                </c:pt>
                <c:pt idx="210">
                  <c:v>39660</c:v>
                </c:pt>
                <c:pt idx="211">
                  <c:v>39691</c:v>
                </c:pt>
                <c:pt idx="212">
                  <c:v>39721</c:v>
                </c:pt>
                <c:pt idx="213">
                  <c:v>39752</c:v>
                </c:pt>
                <c:pt idx="214">
                  <c:v>39782</c:v>
                </c:pt>
                <c:pt idx="215">
                  <c:v>39813</c:v>
                </c:pt>
                <c:pt idx="216">
                  <c:v>39844</c:v>
                </c:pt>
                <c:pt idx="217">
                  <c:v>39872</c:v>
                </c:pt>
                <c:pt idx="218">
                  <c:v>39903</c:v>
                </c:pt>
                <c:pt idx="219">
                  <c:v>39933</c:v>
                </c:pt>
                <c:pt idx="220">
                  <c:v>39964</c:v>
                </c:pt>
                <c:pt idx="221">
                  <c:v>39994</c:v>
                </c:pt>
                <c:pt idx="222">
                  <c:v>40025</c:v>
                </c:pt>
                <c:pt idx="223">
                  <c:v>40056</c:v>
                </c:pt>
                <c:pt idx="224">
                  <c:v>40086</c:v>
                </c:pt>
                <c:pt idx="225">
                  <c:v>40117</c:v>
                </c:pt>
                <c:pt idx="226">
                  <c:v>40147</c:v>
                </c:pt>
                <c:pt idx="227">
                  <c:v>40178</c:v>
                </c:pt>
                <c:pt idx="228">
                  <c:v>40209</c:v>
                </c:pt>
                <c:pt idx="229">
                  <c:v>40237</c:v>
                </c:pt>
                <c:pt idx="230">
                  <c:v>40268</c:v>
                </c:pt>
                <c:pt idx="231">
                  <c:v>40298</c:v>
                </c:pt>
                <c:pt idx="232">
                  <c:v>40329</c:v>
                </c:pt>
                <c:pt idx="233">
                  <c:v>40359</c:v>
                </c:pt>
                <c:pt idx="234">
                  <c:v>40390</c:v>
                </c:pt>
                <c:pt idx="235">
                  <c:v>40421</c:v>
                </c:pt>
                <c:pt idx="236">
                  <c:v>40451</c:v>
                </c:pt>
                <c:pt idx="237">
                  <c:v>40482</c:v>
                </c:pt>
                <c:pt idx="238">
                  <c:v>40512</c:v>
                </c:pt>
                <c:pt idx="239">
                  <c:v>40543</c:v>
                </c:pt>
                <c:pt idx="240">
                  <c:v>40574</c:v>
                </c:pt>
                <c:pt idx="241">
                  <c:v>40602</c:v>
                </c:pt>
                <c:pt idx="242">
                  <c:v>40633</c:v>
                </c:pt>
                <c:pt idx="243">
                  <c:v>40663</c:v>
                </c:pt>
                <c:pt idx="244">
                  <c:v>40694</c:v>
                </c:pt>
                <c:pt idx="245">
                  <c:v>40724</c:v>
                </c:pt>
                <c:pt idx="246">
                  <c:v>40755</c:v>
                </c:pt>
                <c:pt idx="247">
                  <c:v>40786</c:v>
                </c:pt>
                <c:pt idx="248">
                  <c:v>40816</c:v>
                </c:pt>
                <c:pt idx="249">
                  <c:v>40847</c:v>
                </c:pt>
                <c:pt idx="250">
                  <c:v>40877</c:v>
                </c:pt>
                <c:pt idx="251">
                  <c:v>40908</c:v>
                </c:pt>
                <c:pt idx="252">
                  <c:v>40939</c:v>
                </c:pt>
                <c:pt idx="253">
                  <c:v>40968</c:v>
                </c:pt>
                <c:pt idx="254">
                  <c:v>40999</c:v>
                </c:pt>
                <c:pt idx="255">
                  <c:v>41029</c:v>
                </c:pt>
                <c:pt idx="256">
                  <c:v>41060</c:v>
                </c:pt>
                <c:pt idx="257">
                  <c:v>41090</c:v>
                </c:pt>
                <c:pt idx="258">
                  <c:v>41121</c:v>
                </c:pt>
                <c:pt idx="259">
                  <c:v>41152</c:v>
                </c:pt>
                <c:pt idx="260">
                  <c:v>41182</c:v>
                </c:pt>
                <c:pt idx="261">
                  <c:v>41213</c:v>
                </c:pt>
                <c:pt idx="262">
                  <c:v>41243</c:v>
                </c:pt>
                <c:pt idx="263">
                  <c:v>41274</c:v>
                </c:pt>
                <c:pt idx="264">
                  <c:v>41305</c:v>
                </c:pt>
                <c:pt idx="265">
                  <c:v>41333</c:v>
                </c:pt>
                <c:pt idx="266">
                  <c:v>41364</c:v>
                </c:pt>
                <c:pt idx="267">
                  <c:v>41394</c:v>
                </c:pt>
                <c:pt idx="268">
                  <c:v>41425</c:v>
                </c:pt>
                <c:pt idx="269">
                  <c:v>41455</c:v>
                </c:pt>
                <c:pt idx="270">
                  <c:v>41486</c:v>
                </c:pt>
                <c:pt idx="271">
                  <c:v>41517</c:v>
                </c:pt>
                <c:pt idx="272">
                  <c:v>41547</c:v>
                </c:pt>
                <c:pt idx="273">
                  <c:v>41578</c:v>
                </c:pt>
                <c:pt idx="274">
                  <c:v>41608</c:v>
                </c:pt>
                <c:pt idx="275">
                  <c:v>41639</c:v>
                </c:pt>
                <c:pt idx="276">
                  <c:v>41670</c:v>
                </c:pt>
                <c:pt idx="277">
                  <c:v>41698</c:v>
                </c:pt>
                <c:pt idx="278">
                  <c:v>41729</c:v>
                </c:pt>
                <c:pt idx="279">
                  <c:v>41759</c:v>
                </c:pt>
                <c:pt idx="280">
                  <c:v>41790</c:v>
                </c:pt>
                <c:pt idx="281">
                  <c:v>41820</c:v>
                </c:pt>
                <c:pt idx="282">
                  <c:v>41851</c:v>
                </c:pt>
                <c:pt idx="283">
                  <c:v>41882</c:v>
                </c:pt>
                <c:pt idx="284">
                  <c:v>41912</c:v>
                </c:pt>
                <c:pt idx="285">
                  <c:v>41943</c:v>
                </c:pt>
                <c:pt idx="286">
                  <c:v>41973</c:v>
                </c:pt>
                <c:pt idx="287">
                  <c:v>42004</c:v>
                </c:pt>
                <c:pt idx="288">
                  <c:v>42035</c:v>
                </c:pt>
                <c:pt idx="289">
                  <c:v>42063</c:v>
                </c:pt>
                <c:pt idx="290">
                  <c:v>42094</c:v>
                </c:pt>
                <c:pt idx="291">
                  <c:v>42124</c:v>
                </c:pt>
                <c:pt idx="292">
                  <c:v>42155</c:v>
                </c:pt>
                <c:pt idx="293">
                  <c:v>42185</c:v>
                </c:pt>
                <c:pt idx="294">
                  <c:v>42216</c:v>
                </c:pt>
                <c:pt idx="295">
                  <c:v>42247</c:v>
                </c:pt>
                <c:pt idx="296">
                  <c:v>42277</c:v>
                </c:pt>
                <c:pt idx="297">
                  <c:v>42308</c:v>
                </c:pt>
                <c:pt idx="298">
                  <c:v>42338</c:v>
                </c:pt>
                <c:pt idx="299">
                  <c:v>42369</c:v>
                </c:pt>
                <c:pt idx="300">
                  <c:v>42400</c:v>
                </c:pt>
                <c:pt idx="301">
                  <c:v>42429</c:v>
                </c:pt>
                <c:pt idx="302">
                  <c:v>42460</c:v>
                </c:pt>
                <c:pt idx="303">
                  <c:v>42490</c:v>
                </c:pt>
                <c:pt idx="304">
                  <c:v>42521</c:v>
                </c:pt>
                <c:pt idx="305">
                  <c:v>42551</c:v>
                </c:pt>
                <c:pt idx="306">
                  <c:v>42582</c:v>
                </c:pt>
                <c:pt idx="307">
                  <c:v>42613</c:v>
                </c:pt>
                <c:pt idx="308">
                  <c:v>42643</c:v>
                </c:pt>
                <c:pt idx="309">
                  <c:v>42674</c:v>
                </c:pt>
                <c:pt idx="310">
                  <c:v>42704</c:v>
                </c:pt>
                <c:pt idx="311">
                  <c:v>42735</c:v>
                </c:pt>
                <c:pt idx="312">
                  <c:v>42766</c:v>
                </c:pt>
                <c:pt idx="313">
                  <c:v>42794</c:v>
                </c:pt>
                <c:pt idx="314">
                  <c:v>42825</c:v>
                </c:pt>
                <c:pt idx="315">
                  <c:v>42855</c:v>
                </c:pt>
                <c:pt idx="316">
                  <c:v>42886</c:v>
                </c:pt>
                <c:pt idx="317">
                  <c:v>42916</c:v>
                </c:pt>
                <c:pt idx="318">
                  <c:v>42947</c:v>
                </c:pt>
                <c:pt idx="319">
                  <c:v>42978</c:v>
                </c:pt>
                <c:pt idx="320">
                  <c:v>43008</c:v>
                </c:pt>
                <c:pt idx="321">
                  <c:v>43039</c:v>
                </c:pt>
                <c:pt idx="322">
                  <c:v>43069</c:v>
                </c:pt>
                <c:pt idx="323">
                  <c:v>43100</c:v>
                </c:pt>
                <c:pt idx="324">
                  <c:v>43131</c:v>
                </c:pt>
                <c:pt idx="325">
                  <c:v>43159</c:v>
                </c:pt>
                <c:pt idx="326">
                  <c:v>43190</c:v>
                </c:pt>
                <c:pt idx="327">
                  <c:v>43220</c:v>
                </c:pt>
                <c:pt idx="328">
                  <c:v>43251</c:v>
                </c:pt>
                <c:pt idx="329">
                  <c:v>43281</c:v>
                </c:pt>
                <c:pt idx="330">
                  <c:v>43312</c:v>
                </c:pt>
                <c:pt idx="331">
                  <c:v>43343</c:v>
                </c:pt>
                <c:pt idx="332">
                  <c:v>43373</c:v>
                </c:pt>
                <c:pt idx="333">
                  <c:v>43404</c:v>
                </c:pt>
                <c:pt idx="334">
                  <c:v>43434</c:v>
                </c:pt>
                <c:pt idx="335">
                  <c:v>43465</c:v>
                </c:pt>
                <c:pt idx="336">
                  <c:v>43496</c:v>
                </c:pt>
                <c:pt idx="337">
                  <c:v>43524</c:v>
                </c:pt>
                <c:pt idx="338">
                  <c:v>43555</c:v>
                </c:pt>
                <c:pt idx="339">
                  <c:v>43585</c:v>
                </c:pt>
                <c:pt idx="340">
                  <c:v>43616</c:v>
                </c:pt>
                <c:pt idx="341">
                  <c:v>43646</c:v>
                </c:pt>
                <c:pt idx="342">
                  <c:v>43677</c:v>
                </c:pt>
                <c:pt idx="343">
                  <c:v>43708</c:v>
                </c:pt>
                <c:pt idx="344">
                  <c:v>43738</c:v>
                </c:pt>
                <c:pt idx="345">
                  <c:v>43769</c:v>
                </c:pt>
                <c:pt idx="346">
                  <c:v>43799</c:v>
                </c:pt>
                <c:pt idx="347">
                  <c:v>43830</c:v>
                </c:pt>
                <c:pt idx="348">
                  <c:v>43861</c:v>
                </c:pt>
                <c:pt idx="349">
                  <c:v>43890</c:v>
                </c:pt>
                <c:pt idx="350">
                  <c:v>43921</c:v>
                </c:pt>
                <c:pt idx="351">
                  <c:v>43951</c:v>
                </c:pt>
                <c:pt idx="352">
                  <c:v>43982</c:v>
                </c:pt>
                <c:pt idx="353">
                  <c:v>44012</c:v>
                </c:pt>
                <c:pt idx="354">
                  <c:v>44043</c:v>
                </c:pt>
                <c:pt idx="355">
                  <c:v>44074</c:v>
                </c:pt>
                <c:pt idx="356">
                  <c:v>44104</c:v>
                </c:pt>
                <c:pt idx="357">
                  <c:v>44135</c:v>
                </c:pt>
                <c:pt idx="358">
                  <c:v>44165</c:v>
                </c:pt>
                <c:pt idx="359">
                  <c:v>44196</c:v>
                </c:pt>
                <c:pt idx="360">
                  <c:v>44227</c:v>
                </c:pt>
                <c:pt idx="361">
                  <c:v>44255</c:v>
                </c:pt>
                <c:pt idx="362">
                  <c:v>44286</c:v>
                </c:pt>
                <c:pt idx="363">
                  <c:v>44316</c:v>
                </c:pt>
                <c:pt idx="364">
                  <c:v>44347</c:v>
                </c:pt>
                <c:pt idx="365">
                  <c:v>44377</c:v>
                </c:pt>
                <c:pt idx="366">
                  <c:v>44408</c:v>
                </c:pt>
                <c:pt idx="367">
                  <c:v>44439</c:v>
                </c:pt>
                <c:pt idx="368">
                  <c:v>44469</c:v>
                </c:pt>
                <c:pt idx="369">
                  <c:v>44500</c:v>
                </c:pt>
                <c:pt idx="370">
                  <c:v>44530</c:v>
                </c:pt>
                <c:pt idx="371">
                  <c:v>44561</c:v>
                </c:pt>
                <c:pt idx="372">
                  <c:v>44592</c:v>
                </c:pt>
                <c:pt idx="373">
                  <c:v>44620</c:v>
                </c:pt>
                <c:pt idx="374">
                  <c:v>44651</c:v>
                </c:pt>
                <c:pt idx="375">
                  <c:v>44681</c:v>
                </c:pt>
                <c:pt idx="376">
                  <c:v>44712</c:v>
                </c:pt>
                <c:pt idx="377">
                  <c:v>44742</c:v>
                </c:pt>
                <c:pt idx="378">
                  <c:v>44773</c:v>
                </c:pt>
                <c:pt idx="379">
                  <c:v>44804</c:v>
                </c:pt>
                <c:pt idx="380">
                  <c:v>44834</c:v>
                </c:pt>
                <c:pt idx="381">
                  <c:v>44865</c:v>
                </c:pt>
                <c:pt idx="382">
                  <c:v>44895</c:v>
                </c:pt>
                <c:pt idx="383">
                  <c:v>44926</c:v>
                </c:pt>
                <c:pt idx="384">
                  <c:v>44957</c:v>
                </c:pt>
                <c:pt idx="385">
                  <c:v>44985</c:v>
                </c:pt>
                <c:pt idx="386">
                  <c:v>45015</c:v>
                </c:pt>
              </c:numCache>
            </c:numRef>
          </c:cat>
          <c:val>
            <c:numRef>
              <c:f>Monthly!$E$2:$E$581</c:f>
              <c:numCache>
                <c:formatCode>0%</c:formatCode>
                <c:ptCount val="387"/>
                <c:pt idx="0">
                  <c:v>5.6514913657770727E-2</c:v>
                </c:pt>
                <c:pt idx="1">
                  <c:v>5.3125000000000089E-2</c:v>
                </c:pt>
                <c:pt idx="2">
                  <c:v>4.8951048951048959E-2</c:v>
                </c:pt>
                <c:pt idx="3">
                  <c:v>4.8875096974398735E-2</c:v>
                </c:pt>
                <c:pt idx="4">
                  <c:v>4.9535603715170407E-2</c:v>
                </c:pt>
                <c:pt idx="5">
                  <c:v>4.6959199384141614E-2</c:v>
                </c:pt>
                <c:pt idx="6">
                  <c:v>4.4478527607361817E-2</c:v>
                </c:pt>
                <c:pt idx="7">
                  <c:v>3.7993920972644313E-2</c:v>
                </c:pt>
                <c:pt idx="8">
                  <c:v>3.3911077618688834E-2</c:v>
                </c:pt>
                <c:pt idx="9">
                  <c:v>2.9213483146067531E-2</c:v>
                </c:pt>
                <c:pt idx="10">
                  <c:v>2.9895366218236186E-2</c:v>
                </c:pt>
                <c:pt idx="11">
                  <c:v>3.0642750373692129E-2</c:v>
                </c:pt>
                <c:pt idx="12">
                  <c:v>2.6002971768201988E-2</c:v>
                </c:pt>
                <c:pt idx="13">
                  <c:v>2.8189910979228294E-2</c:v>
                </c:pt>
                <c:pt idx="14">
                  <c:v>3.185185185185202E-2</c:v>
                </c:pt>
                <c:pt idx="15">
                  <c:v>3.1804733727810675E-2</c:v>
                </c:pt>
                <c:pt idx="16">
                  <c:v>3.0235988200590036E-2</c:v>
                </c:pt>
                <c:pt idx="17">
                  <c:v>3.0882352941176361E-2</c:v>
                </c:pt>
                <c:pt idx="18">
                  <c:v>3.1571218795888534E-2</c:v>
                </c:pt>
                <c:pt idx="19">
                  <c:v>3.1478770131771583E-2</c:v>
                </c:pt>
                <c:pt idx="20">
                  <c:v>2.9883381924198371E-2</c:v>
                </c:pt>
                <c:pt idx="21">
                  <c:v>3.2023289665211063E-2</c:v>
                </c:pt>
                <c:pt idx="22">
                  <c:v>3.0478955007256836E-2</c:v>
                </c:pt>
                <c:pt idx="23">
                  <c:v>2.9006526468455363E-2</c:v>
                </c:pt>
                <c:pt idx="24">
                  <c:v>3.2585083272990589E-2</c:v>
                </c:pt>
                <c:pt idx="25">
                  <c:v>3.2467532467532534E-2</c:v>
                </c:pt>
                <c:pt idx="26">
                  <c:v>3.086862885857844E-2</c:v>
                </c:pt>
                <c:pt idx="27">
                  <c:v>3.2258064516129004E-2</c:v>
                </c:pt>
                <c:pt idx="28">
                  <c:v>3.2211882605583497E-2</c:v>
                </c:pt>
                <c:pt idx="29">
                  <c:v>2.9957203994293913E-2</c:v>
                </c:pt>
                <c:pt idx="30">
                  <c:v>2.77580071174377E-2</c:v>
                </c:pt>
                <c:pt idx="31">
                  <c:v>2.767920511000721E-2</c:v>
                </c:pt>
                <c:pt idx="32">
                  <c:v>2.689313517338987E-2</c:v>
                </c:pt>
                <c:pt idx="33">
                  <c:v>2.7503526093088704E-2</c:v>
                </c:pt>
                <c:pt idx="34">
                  <c:v>2.6760563380281877E-2</c:v>
                </c:pt>
                <c:pt idx="35">
                  <c:v>2.748414376321362E-2</c:v>
                </c:pt>
                <c:pt idx="36">
                  <c:v>2.5245441795231471E-2</c:v>
                </c:pt>
                <c:pt idx="37">
                  <c:v>2.515723270440251E-2</c:v>
                </c:pt>
                <c:pt idx="38">
                  <c:v>2.5069637883008422E-2</c:v>
                </c:pt>
                <c:pt idx="39">
                  <c:v>2.3611111111111249E-2</c:v>
                </c:pt>
                <c:pt idx="40">
                  <c:v>2.2884882108183069E-2</c:v>
                </c:pt>
                <c:pt idx="41">
                  <c:v>2.4930747922437657E-2</c:v>
                </c:pt>
                <c:pt idx="42">
                  <c:v>2.7700831024930705E-2</c:v>
                </c:pt>
                <c:pt idx="43">
                  <c:v>2.9005524861878351E-2</c:v>
                </c:pt>
                <c:pt idx="44">
                  <c:v>2.9634734665747731E-2</c:v>
                </c:pt>
                <c:pt idx="45">
                  <c:v>2.6080988332189525E-2</c:v>
                </c:pt>
                <c:pt idx="46">
                  <c:v>2.6748971193415461E-2</c:v>
                </c:pt>
                <c:pt idx="47">
                  <c:v>2.6748971193415461E-2</c:v>
                </c:pt>
                <c:pt idx="48">
                  <c:v>2.8043775649794878E-2</c:v>
                </c:pt>
                <c:pt idx="49">
                  <c:v>2.8629856850715951E-2</c:v>
                </c:pt>
                <c:pt idx="50">
                  <c:v>2.8532608695652328E-2</c:v>
                </c:pt>
                <c:pt idx="51">
                  <c:v>3.0529172320217013E-2</c:v>
                </c:pt>
                <c:pt idx="52">
                  <c:v>3.1864406779660959E-2</c:v>
                </c:pt>
                <c:pt idx="53">
                  <c:v>3.0405405405405483E-2</c:v>
                </c:pt>
                <c:pt idx="54">
                  <c:v>2.7628032345013542E-2</c:v>
                </c:pt>
                <c:pt idx="55">
                  <c:v>2.6174496644295386E-2</c:v>
                </c:pt>
                <c:pt idx="56">
                  <c:v>2.5435073627844584E-2</c:v>
                </c:pt>
                <c:pt idx="57">
                  <c:v>2.8093645484949858E-2</c:v>
                </c:pt>
                <c:pt idx="58">
                  <c:v>2.6052104208416971E-2</c:v>
                </c:pt>
                <c:pt idx="59">
                  <c:v>2.5384101536406245E-2</c:v>
                </c:pt>
                <c:pt idx="60">
                  <c:v>2.7278775781769848E-2</c:v>
                </c:pt>
                <c:pt idx="61">
                  <c:v>2.6507620941020438E-2</c:v>
                </c:pt>
                <c:pt idx="62">
                  <c:v>2.8401585204755442E-2</c:v>
                </c:pt>
                <c:pt idx="63">
                  <c:v>2.8966425279789432E-2</c:v>
                </c:pt>
                <c:pt idx="64">
                  <c:v>2.890932982917227E-2</c:v>
                </c:pt>
                <c:pt idx="65">
                  <c:v>2.7540983606557212E-2</c:v>
                </c:pt>
                <c:pt idx="66">
                  <c:v>2.9508196721311553E-2</c:v>
                </c:pt>
                <c:pt idx="67">
                  <c:v>2.877697841726623E-2</c:v>
                </c:pt>
                <c:pt idx="68">
                  <c:v>3.0026109660574507E-2</c:v>
                </c:pt>
                <c:pt idx="69">
                  <c:v>2.9928432010410067E-2</c:v>
                </c:pt>
                <c:pt idx="70">
                  <c:v>3.2552083333333259E-2</c:v>
                </c:pt>
                <c:pt idx="71">
                  <c:v>3.3224755700325792E-2</c:v>
                </c:pt>
                <c:pt idx="72">
                  <c:v>3.0440414507771907E-2</c:v>
                </c:pt>
                <c:pt idx="73">
                  <c:v>3.0342156229825612E-2</c:v>
                </c:pt>
                <c:pt idx="74">
                  <c:v>2.7617212588310958E-2</c:v>
                </c:pt>
                <c:pt idx="75">
                  <c:v>2.4952015355086177E-2</c:v>
                </c:pt>
                <c:pt idx="76">
                  <c:v>2.2349936143039484E-2</c:v>
                </c:pt>
                <c:pt idx="77">
                  <c:v>2.2973835354180183E-2</c:v>
                </c:pt>
                <c:pt idx="78">
                  <c:v>2.2292993630573354E-2</c:v>
                </c:pt>
                <c:pt idx="79">
                  <c:v>2.2250476795931284E-2</c:v>
                </c:pt>
                <c:pt idx="80">
                  <c:v>2.1546261089987251E-2</c:v>
                </c:pt>
                <c:pt idx="81">
                  <c:v>2.0846493998736504E-2</c:v>
                </c:pt>
                <c:pt idx="82">
                  <c:v>1.8284993694829721E-2</c:v>
                </c:pt>
                <c:pt idx="83">
                  <c:v>1.7023959646910614E-2</c:v>
                </c:pt>
                <c:pt idx="84">
                  <c:v>1.5713387806411072E-2</c:v>
                </c:pt>
                <c:pt idx="85">
                  <c:v>1.441102756892243E-2</c:v>
                </c:pt>
                <c:pt idx="86">
                  <c:v>1.3749999999999929E-2</c:v>
                </c:pt>
                <c:pt idx="87">
                  <c:v>1.4357053682896526E-2</c:v>
                </c:pt>
                <c:pt idx="88">
                  <c:v>1.6864459712679691E-2</c:v>
                </c:pt>
                <c:pt idx="89">
                  <c:v>1.6843418590143378E-2</c:v>
                </c:pt>
                <c:pt idx="90">
                  <c:v>1.6822429906542036E-2</c:v>
                </c:pt>
                <c:pt idx="91">
                  <c:v>1.6169154228855787E-2</c:v>
                </c:pt>
                <c:pt idx="92">
                  <c:v>1.4888337468982771E-2</c:v>
                </c:pt>
                <c:pt idx="93">
                  <c:v>1.4851485148514865E-2</c:v>
                </c:pt>
                <c:pt idx="94">
                  <c:v>1.5479876160990669E-2</c:v>
                </c:pt>
                <c:pt idx="95">
                  <c:v>1.6119032858028515E-2</c:v>
                </c:pt>
                <c:pt idx="96">
                  <c:v>1.6707920792079278E-2</c:v>
                </c:pt>
                <c:pt idx="97">
                  <c:v>1.6059295861643008E-2</c:v>
                </c:pt>
                <c:pt idx="98">
                  <c:v>1.7262638717632672E-2</c:v>
                </c:pt>
                <c:pt idx="99">
                  <c:v>2.2769230769230653E-2</c:v>
                </c:pt>
                <c:pt idx="100">
                  <c:v>2.0884520884520752E-2</c:v>
                </c:pt>
                <c:pt idx="101">
                  <c:v>1.9631901840490684E-2</c:v>
                </c:pt>
                <c:pt idx="102">
                  <c:v>2.1446078431372584E-2</c:v>
                </c:pt>
                <c:pt idx="103">
                  <c:v>2.2643818849449104E-2</c:v>
                </c:pt>
                <c:pt idx="104">
                  <c:v>2.6283618581907087E-2</c:v>
                </c:pt>
                <c:pt idx="105">
                  <c:v>2.5609756097560998E-2</c:v>
                </c:pt>
                <c:pt idx="106">
                  <c:v>2.6219512195122086E-2</c:v>
                </c:pt>
                <c:pt idx="107">
                  <c:v>2.6845637583892579E-2</c:v>
                </c:pt>
                <c:pt idx="108">
                  <c:v>2.7388922702373808E-2</c:v>
                </c:pt>
                <c:pt idx="109">
                  <c:v>3.2218844984802431E-2</c:v>
                </c:pt>
                <c:pt idx="110">
                  <c:v>3.7575757575757596E-2</c:v>
                </c:pt>
                <c:pt idx="111">
                  <c:v>3.0685920577617543E-2</c:v>
                </c:pt>
                <c:pt idx="112">
                  <c:v>3.1889290012033777E-2</c:v>
                </c:pt>
                <c:pt idx="113">
                  <c:v>3.7304452466907501E-2</c:v>
                </c:pt>
                <c:pt idx="114">
                  <c:v>3.6592681463707422E-2</c:v>
                </c:pt>
                <c:pt idx="115">
                  <c:v>3.4111310592459754E-2</c:v>
                </c:pt>
                <c:pt idx="116">
                  <c:v>3.4544371649791517E-2</c:v>
                </c:pt>
                <c:pt idx="117">
                  <c:v>3.4482758620689724E-2</c:v>
                </c:pt>
                <c:pt idx="118">
                  <c:v>3.446226975638722E-2</c:v>
                </c:pt>
                <c:pt idx="119">
                  <c:v>3.3868092691621943E-2</c:v>
                </c:pt>
                <c:pt idx="120">
                  <c:v>3.7322274881516515E-2</c:v>
                </c:pt>
                <c:pt idx="121">
                  <c:v>3.5335689045936425E-2</c:v>
                </c:pt>
                <c:pt idx="122">
                  <c:v>2.9205607476635587E-2</c:v>
                </c:pt>
                <c:pt idx="123">
                  <c:v>3.2691185055458316E-2</c:v>
                </c:pt>
                <c:pt idx="124">
                  <c:v>3.6151603498542295E-2</c:v>
                </c:pt>
                <c:pt idx="125">
                  <c:v>3.2482598607888491E-2</c:v>
                </c:pt>
                <c:pt idx="126">
                  <c:v>2.7199074074073959E-2</c:v>
                </c:pt>
                <c:pt idx="127">
                  <c:v>2.7199074074073959E-2</c:v>
                </c:pt>
                <c:pt idx="128">
                  <c:v>2.648244099021313E-2</c:v>
                </c:pt>
                <c:pt idx="129">
                  <c:v>2.1264367816091978E-2</c:v>
                </c:pt>
                <c:pt idx="130">
                  <c:v>1.895462377943713E-2</c:v>
                </c:pt>
                <c:pt idx="131">
                  <c:v>1.551724137931032E-2</c:v>
                </c:pt>
                <c:pt idx="132">
                  <c:v>1.142204454597362E-2</c:v>
                </c:pt>
                <c:pt idx="133">
                  <c:v>1.1376564277588264E-2</c:v>
                </c:pt>
                <c:pt idx="134">
                  <c:v>1.4755959137344066E-2</c:v>
                </c:pt>
                <c:pt idx="135">
                  <c:v>1.6393442622950838E-2</c:v>
                </c:pt>
                <c:pt idx="136">
                  <c:v>1.1817670230725996E-2</c:v>
                </c:pt>
                <c:pt idx="137">
                  <c:v>1.0674157303370846E-2</c:v>
                </c:pt>
                <c:pt idx="138">
                  <c:v>1.4647887323943731E-2</c:v>
                </c:pt>
                <c:pt idx="139">
                  <c:v>1.8028169014084439E-2</c:v>
                </c:pt>
                <c:pt idx="140">
                  <c:v>1.5143017386427315E-2</c:v>
                </c:pt>
                <c:pt idx="141">
                  <c:v>2.0258863252673232E-2</c:v>
                </c:pt>
                <c:pt idx="142">
                  <c:v>2.1984216459977501E-2</c:v>
                </c:pt>
                <c:pt idx="143">
                  <c:v>2.3769100169779289E-2</c:v>
                </c:pt>
                <c:pt idx="144">
                  <c:v>2.5974025974025983E-2</c:v>
                </c:pt>
                <c:pt idx="145">
                  <c:v>2.9808773903261976E-2</c:v>
                </c:pt>
                <c:pt idx="146">
                  <c:v>3.0201342281878985E-2</c:v>
                </c:pt>
                <c:pt idx="147">
                  <c:v>2.2246941045606317E-2</c:v>
                </c:pt>
                <c:pt idx="148">
                  <c:v>2.0578420467185721E-2</c:v>
                </c:pt>
                <c:pt idx="149">
                  <c:v>2.1122846025569686E-2</c:v>
                </c:pt>
                <c:pt idx="150">
                  <c:v>2.1099389228206533E-2</c:v>
                </c:pt>
                <c:pt idx="151">
                  <c:v>2.1582733812949728E-2</c:v>
                </c:pt>
                <c:pt idx="152">
                  <c:v>2.3204419889502725E-2</c:v>
                </c:pt>
                <c:pt idx="153">
                  <c:v>2.0408163265306145E-2</c:v>
                </c:pt>
                <c:pt idx="154">
                  <c:v>1.7650303364588948E-2</c:v>
                </c:pt>
                <c:pt idx="155">
                  <c:v>1.8794914317302513E-2</c:v>
                </c:pt>
                <c:pt idx="156">
                  <c:v>1.9262520638414937E-2</c:v>
                </c:pt>
                <c:pt idx="157">
                  <c:v>1.6930638995084513E-2</c:v>
                </c:pt>
                <c:pt idx="158">
                  <c:v>1.7372421281216077E-2</c:v>
                </c:pt>
                <c:pt idx="159">
                  <c:v>2.285092491838947E-2</c:v>
                </c:pt>
                <c:pt idx="160">
                  <c:v>3.0517711171662132E-2</c:v>
                </c:pt>
                <c:pt idx="161">
                  <c:v>3.2661948829613596E-2</c:v>
                </c:pt>
                <c:pt idx="162">
                  <c:v>2.9907558455682492E-2</c:v>
                </c:pt>
                <c:pt idx="163">
                  <c:v>2.6543878656554831E-2</c:v>
                </c:pt>
                <c:pt idx="164">
                  <c:v>2.5377969762419017E-2</c:v>
                </c:pt>
                <c:pt idx="165">
                  <c:v>3.189189189189201E-2</c:v>
                </c:pt>
                <c:pt idx="166">
                  <c:v>3.5230352303523116E-2</c:v>
                </c:pt>
                <c:pt idx="167">
                  <c:v>3.255561584373301E-2</c:v>
                </c:pt>
                <c:pt idx="168">
                  <c:v>2.9697624190064831E-2</c:v>
                </c:pt>
                <c:pt idx="169">
                  <c:v>3.0075187969925032E-2</c:v>
                </c:pt>
                <c:pt idx="170">
                  <c:v>3.1483457844183604E-2</c:v>
                </c:pt>
                <c:pt idx="171">
                  <c:v>3.5106382978723483E-2</c:v>
                </c:pt>
                <c:pt idx="172">
                  <c:v>2.8027498677948293E-2</c:v>
                </c:pt>
                <c:pt idx="173">
                  <c:v>2.530311017395892E-2</c:v>
                </c:pt>
                <c:pt idx="174">
                  <c:v>3.1678986272439369E-2</c:v>
                </c:pt>
                <c:pt idx="175">
                  <c:v>3.641160949868083E-2</c:v>
                </c:pt>
                <c:pt idx="176">
                  <c:v>4.6866771985255351E-2</c:v>
                </c:pt>
                <c:pt idx="177">
                  <c:v>4.3478260869565188E-2</c:v>
                </c:pt>
                <c:pt idx="178">
                  <c:v>3.4554973821989465E-2</c:v>
                </c:pt>
                <c:pt idx="179">
                  <c:v>3.4156594850236477E-2</c:v>
                </c:pt>
                <c:pt idx="180">
                  <c:v>3.9853172522286373E-2</c:v>
                </c:pt>
                <c:pt idx="181">
                  <c:v>3.59749739311781E-2</c:v>
                </c:pt>
                <c:pt idx="182">
                  <c:v>3.3626487325400856E-2</c:v>
                </c:pt>
                <c:pt idx="183">
                  <c:v>3.5457348406988665E-2</c:v>
                </c:pt>
                <c:pt idx="184">
                  <c:v>4.1666666666666741E-2</c:v>
                </c:pt>
                <c:pt idx="185">
                  <c:v>4.3187660668380534E-2</c:v>
                </c:pt>
                <c:pt idx="186">
                  <c:v>4.1453428863869046E-2</c:v>
                </c:pt>
                <c:pt idx="187">
                  <c:v>3.8187372708757605E-2</c:v>
                </c:pt>
                <c:pt idx="188">
                  <c:v>2.0623742454728422E-2</c:v>
                </c:pt>
                <c:pt idx="189">
                  <c:v>1.3052208835341528E-2</c:v>
                </c:pt>
                <c:pt idx="190">
                  <c:v>1.9736842105263275E-2</c:v>
                </c:pt>
                <c:pt idx="191">
                  <c:v>2.5406504065040636E-2</c:v>
                </c:pt>
                <c:pt idx="192">
                  <c:v>2.0756429652042385E-2</c:v>
                </c:pt>
                <c:pt idx="193">
                  <c:v>2.4151987921489759E-2</c:v>
                </c:pt>
                <c:pt idx="194">
                  <c:v>2.7787787787787677E-2</c:v>
                </c:pt>
                <c:pt idx="195">
                  <c:v>2.5736972704714756E-2</c:v>
                </c:pt>
                <c:pt idx="196">
                  <c:v>2.6908641975308623E-2</c:v>
                </c:pt>
                <c:pt idx="197">
                  <c:v>2.6870379497289321E-2</c:v>
                </c:pt>
                <c:pt idx="198">
                  <c:v>2.3582309582309557E-2</c:v>
                </c:pt>
                <c:pt idx="199">
                  <c:v>1.9700833742030355E-2</c:v>
                </c:pt>
                <c:pt idx="200">
                  <c:v>2.755051749630355E-2</c:v>
                </c:pt>
                <c:pt idx="201">
                  <c:v>3.5361744301288356E-2</c:v>
                </c:pt>
                <c:pt idx="202">
                  <c:v>4.3062034739454136E-2</c:v>
                </c:pt>
                <c:pt idx="203">
                  <c:v>4.0812685827551931E-2</c:v>
                </c:pt>
                <c:pt idx="204">
                  <c:v>4.2802940479013563E-2</c:v>
                </c:pt>
                <c:pt idx="205">
                  <c:v>4.0265554130487269E-2</c:v>
                </c:pt>
                <c:pt idx="206">
                  <c:v>3.981456231251701E-2</c:v>
                </c:pt>
                <c:pt idx="207">
                  <c:v>3.9368897748275122E-2</c:v>
                </c:pt>
                <c:pt idx="208">
                  <c:v>4.17554304180352E-2</c:v>
                </c:pt>
                <c:pt idx="209">
                  <c:v>5.0217900476117405E-2</c:v>
                </c:pt>
                <c:pt idx="210">
                  <c:v>5.6001229002539565E-2</c:v>
                </c:pt>
                <c:pt idx="211">
                  <c:v>5.3718551152623473E-2</c:v>
                </c:pt>
                <c:pt idx="212">
                  <c:v>4.9369274305721911E-2</c:v>
                </c:pt>
                <c:pt idx="213">
                  <c:v>3.655186277137501E-2</c:v>
                </c:pt>
                <c:pt idx="214">
                  <c:v>1.0695746918073956E-2</c:v>
                </c:pt>
                <c:pt idx="215">
                  <c:v>9.1412900645604367E-4</c:v>
                </c:pt>
                <c:pt idx="216">
                  <c:v>2.984650369528552E-4</c:v>
                </c:pt>
                <c:pt idx="217">
                  <c:v>2.361910880378737E-3</c:v>
                </c:pt>
                <c:pt idx="218">
                  <c:v>-3.8355625491738321E-3</c:v>
                </c:pt>
                <c:pt idx="219">
                  <c:v>-7.3688571521671742E-3</c:v>
                </c:pt>
                <c:pt idx="220">
                  <c:v>-1.2814357989586078E-2</c:v>
                </c:pt>
                <c:pt idx="221">
                  <c:v>-1.4267760436898702E-2</c:v>
                </c:pt>
                <c:pt idx="222">
                  <c:v>-2.097161353676058E-2</c:v>
                </c:pt>
                <c:pt idx="223">
                  <c:v>-1.4843486119606064E-2</c:v>
                </c:pt>
                <c:pt idx="224">
                  <c:v>-1.2862059666427395E-2</c:v>
                </c:pt>
                <c:pt idx="225">
                  <c:v>-1.8284827748612509E-3</c:v>
                </c:pt>
                <c:pt idx="226">
                  <c:v>1.8382958691302909E-2</c:v>
                </c:pt>
                <c:pt idx="227">
                  <c:v>2.7213311262058282E-2</c:v>
                </c:pt>
                <c:pt idx="228">
                  <c:v>2.6257086429576137E-2</c:v>
                </c:pt>
                <c:pt idx="229">
                  <c:v>2.1433317781453631E-2</c:v>
                </c:pt>
                <c:pt idx="230">
                  <c:v>2.3139594469439473E-2</c:v>
                </c:pt>
                <c:pt idx="231">
                  <c:v>2.2364471956480836E-2</c:v>
                </c:pt>
                <c:pt idx="232">
                  <c:v>2.0209860840939786E-2</c:v>
                </c:pt>
                <c:pt idx="233">
                  <c:v>1.053348972845658E-2</c:v>
                </c:pt>
                <c:pt idx="234">
                  <c:v>1.2351927783014638E-2</c:v>
                </c:pt>
                <c:pt idx="235">
                  <c:v>1.1481045618392027E-2</c:v>
                </c:pt>
                <c:pt idx="236">
                  <c:v>1.1436826581592729E-2</c:v>
                </c:pt>
                <c:pt idx="237">
                  <c:v>1.1721876055269531E-2</c:v>
                </c:pt>
                <c:pt idx="238">
                  <c:v>1.1431609115702734E-2</c:v>
                </c:pt>
                <c:pt idx="239">
                  <c:v>1.4957235273143077E-2</c:v>
                </c:pt>
                <c:pt idx="240">
                  <c:v>1.631846857448771E-2</c:v>
                </c:pt>
                <c:pt idx="241">
                  <c:v>2.1075846286581656E-2</c:v>
                </c:pt>
                <c:pt idx="242">
                  <c:v>2.6816032642408505E-2</c:v>
                </c:pt>
                <c:pt idx="243">
                  <c:v>3.1636308592764673E-2</c:v>
                </c:pt>
                <c:pt idx="244">
                  <c:v>3.5686457846345609E-2</c:v>
                </c:pt>
                <c:pt idx="245">
                  <c:v>3.5588282522423409E-2</c:v>
                </c:pt>
                <c:pt idx="246">
                  <c:v>3.6287159822210757E-2</c:v>
                </c:pt>
                <c:pt idx="247">
                  <c:v>3.7712081791197782E-2</c:v>
                </c:pt>
                <c:pt idx="248">
                  <c:v>3.8683568410402991E-2</c:v>
                </c:pt>
                <c:pt idx="249">
                  <c:v>3.5251999213574026E-2</c:v>
                </c:pt>
                <c:pt idx="250">
                  <c:v>3.3943775908008567E-2</c:v>
                </c:pt>
                <c:pt idx="251">
                  <c:v>2.9624188448710953E-2</c:v>
                </c:pt>
                <c:pt idx="252">
                  <c:v>2.9252167121508466E-2</c:v>
                </c:pt>
                <c:pt idx="253">
                  <c:v>2.8710987804382082E-2</c:v>
                </c:pt>
                <c:pt idx="254">
                  <c:v>2.6513981930217811E-2</c:v>
                </c:pt>
                <c:pt idx="255">
                  <c:v>2.3027398112989372E-2</c:v>
                </c:pt>
                <c:pt idx="256">
                  <c:v>1.7042537749375919E-2</c:v>
                </c:pt>
                <c:pt idx="257">
                  <c:v>1.6639937622385137E-2</c:v>
                </c:pt>
                <c:pt idx="258">
                  <c:v>1.4084507042253502E-2</c:v>
                </c:pt>
                <c:pt idx="259">
                  <c:v>1.692378997550148E-2</c:v>
                </c:pt>
                <c:pt idx="260">
                  <c:v>1.9912820806649911E-2</c:v>
                </c:pt>
                <c:pt idx="261">
                  <c:v>2.1623435988711304E-2</c:v>
                </c:pt>
                <c:pt idx="262">
                  <c:v>1.7641338460858469E-2</c:v>
                </c:pt>
                <c:pt idx="263">
                  <c:v>1.7410223687475579E-2</c:v>
                </c:pt>
                <c:pt idx="264">
                  <c:v>1.5948646681225531E-2</c:v>
                </c:pt>
                <c:pt idx="265">
                  <c:v>1.9779235097490577E-2</c:v>
                </c:pt>
                <c:pt idx="266">
                  <c:v>1.4738962125967703E-2</c:v>
                </c:pt>
                <c:pt idx="267">
                  <c:v>1.0630853814894481E-2</c:v>
                </c:pt>
                <c:pt idx="268">
                  <c:v>1.3619650588516885E-2</c:v>
                </c:pt>
                <c:pt idx="269">
                  <c:v>1.7544165453768912E-2</c:v>
                </c:pt>
                <c:pt idx="270">
                  <c:v>1.9606816118443948E-2</c:v>
                </c:pt>
                <c:pt idx="271">
                  <c:v>1.5183675595431989E-2</c:v>
                </c:pt>
                <c:pt idx="272">
                  <c:v>1.184925261552161E-2</c:v>
                </c:pt>
                <c:pt idx="273">
                  <c:v>9.6361270464340176E-3</c:v>
                </c:pt>
                <c:pt idx="274">
                  <c:v>1.2370722045339066E-2</c:v>
                </c:pt>
                <c:pt idx="275">
                  <c:v>1.501735619618394E-2</c:v>
                </c:pt>
                <c:pt idx="276">
                  <c:v>1.5789473684210575E-2</c:v>
                </c:pt>
                <c:pt idx="277">
                  <c:v>1.1263492501055294E-2</c:v>
                </c:pt>
                <c:pt idx="278">
                  <c:v>1.5122028757630801E-2</c:v>
                </c:pt>
                <c:pt idx="279">
                  <c:v>1.9528578985167577E-2</c:v>
                </c:pt>
                <c:pt idx="280">
                  <c:v>2.1271115499366777E-2</c:v>
                </c:pt>
                <c:pt idx="281">
                  <c:v>2.0723413731670526E-2</c:v>
                </c:pt>
                <c:pt idx="282">
                  <c:v>1.9923286357643066E-2</c:v>
                </c:pt>
                <c:pt idx="283">
                  <c:v>1.6996113341628316E-2</c:v>
                </c:pt>
                <c:pt idx="284">
                  <c:v>1.657918675715031E-2</c:v>
                </c:pt>
                <c:pt idx="285">
                  <c:v>1.664340215632043E-2</c:v>
                </c:pt>
                <c:pt idx="286">
                  <c:v>1.3223551823708934E-2</c:v>
                </c:pt>
                <c:pt idx="287">
                  <c:v>7.564932696557447E-3</c:v>
                </c:pt>
                <c:pt idx="288">
                  <c:v>-8.9348313069648189E-4</c:v>
                </c:pt>
                <c:pt idx="289">
                  <c:v>-2.5129801815304553E-4</c:v>
                </c:pt>
                <c:pt idx="290">
                  <c:v>-7.3637390866432284E-4</c:v>
                </c:pt>
                <c:pt idx="291">
                  <c:v>-1.9951744617668909E-3</c:v>
                </c:pt>
                <c:pt idx="292">
                  <c:v>-3.9932744850779134E-4</c:v>
                </c:pt>
                <c:pt idx="293">
                  <c:v>1.2377120368545214E-3</c:v>
                </c:pt>
                <c:pt idx="294">
                  <c:v>1.695697796432194E-3</c:v>
                </c:pt>
                <c:pt idx="295">
                  <c:v>1.9507929300572879E-3</c:v>
                </c:pt>
                <c:pt idx="296">
                  <c:v>-3.612974780596856E-4</c:v>
                </c:pt>
                <c:pt idx="297">
                  <c:v>1.7057443573555986E-3</c:v>
                </c:pt>
                <c:pt idx="298">
                  <c:v>5.017975786678841E-3</c:v>
                </c:pt>
                <c:pt idx="299">
                  <c:v>7.2951978604158807E-3</c:v>
                </c:pt>
                <c:pt idx="300">
                  <c:v>1.3730868138309926E-2</c:v>
                </c:pt>
                <c:pt idx="301">
                  <c:v>1.0177997801654737E-2</c:v>
                </c:pt>
                <c:pt idx="302">
                  <c:v>8.5253622114274119E-3</c:v>
                </c:pt>
                <c:pt idx="303">
                  <c:v>1.1251104188944261E-2</c:v>
                </c:pt>
                <c:pt idx="304">
                  <c:v>1.0193225541935691E-2</c:v>
                </c:pt>
                <c:pt idx="305">
                  <c:v>9.9732649452308753E-3</c:v>
                </c:pt>
                <c:pt idx="306">
                  <c:v>8.2713887049870038E-3</c:v>
                </c:pt>
                <c:pt idx="307">
                  <c:v>1.0628745027610353E-2</c:v>
                </c:pt>
                <c:pt idx="308">
                  <c:v>1.4637836474815646E-2</c:v>
                </c:pt>
                <c:pt idx="309">
                  <c:v>1.6359875209176034E-2</c:v>
                </c:pt>
                <c:pt idx="310">
                  <c:v>1.6925371625037933E-2</c:v>
                </c:pt>
                <c:pt idx="311">
                  <c:v>2.074622132966919E-2</c:v>
                </c:pt>
                <c:pt idx="312">
                  <c:v>2.5000422090529995E-2</c:v>
                </c:pt>
                <c:pt idx="313">
                  <c:v>2.7379581714893186E-2</c:v>
                </c:pt>
                <c:pt idx="314">
                  <c:v>2.3806124334402767E-2</c:v>
                </c:pt>
                <c:pt idx="315">
                  <c:v>2.1996898784172991E-2</c:v>
                </c:pt>
                <c:pt idx="316">
                  <c:v>1.8748777208413614E-2</c:v>
                </c:pt>
                <c:pt idx="317">
                  <c:v>1.633487955256463E-2</c:v>
                </c:pt>
                <c:pt idx="318">
                  <c:v>1.727978456372492E-2</c:v>
                </c:pt>
                <c:pt idx="319">
                  <c:v>1.9389742120581754E-2</c:v>
                </c:pt>
                <c:pt idx="320">
                  <c:v>2.2329638650032235E-2</c:v>
                </c:pt>
                <c:pt idx="321">
                  <c:v>2.0411287019761692E-2</c:v>
                </c:pt>
                <c:pt idx="322">
                  <c:v>2.2025829386831841E-2</c:v>
                </c:pt>
                <c:pt idx="323">
                  <c:v>2.1090824745684245E-2</c:v>
                </c:pt>
                <c:pt idx="324">
                  <c:v>2.0705076202751638E-2</c:v>
                </c:pt>
                <c:pt idx="325">
                  <c:v>2.2117954212386604E-2</c:v>
                </c:pt>
                <c:pt idx="326">
                  <c:v>2.3597114039729084E-2</c:v>
                </c:pt>
                <c:pt idx="327">
                  <c:v>2.4627439433348108E-2</c:v>
                </c:pt>
                <c:pt idx="328">
                  <c:v>2.8010117148075553E-2</c:v>
                </c:pt>
                <c:pt idx="329">
                  <c:v>2.8715478353166901E-2</c:v>
                </c:pt>
                <c:pt idx="330">
                  <c:v>2.9495150866471143E-2</c:v>
                </c:pt>
                <c:pt idx="331">
                  <c:v>2.6991801041874375E-2</c:v>
                </c:pt>
                <c:pt idx="332">
                  <c:v>2.2769721941990007E-2</c:v>
                </c:pt>
                <c:pt idx="333">
                  <c:v>2.5224699286070296E-2</c:v>
                </c:pt>
                <c:pt idx="334">
                  <c:v>2.1766010321524032E-2</c:v>
                </c:pt>
                <c:pt idx="335">
                  <c:v>1.9101588486313714E-2</c:v>
                </c:pt>
                <c:pt idx="336">
                  <c:v>1.5512351381991252E-2</c:v>
                </c:pt>
                <c:pt idx="337">
                  <c:v>1.5201352659333089E-2</c:v>
                </c:pt>
                <c:pt idx="338">
                  <c:v>1.8625227405691724E-2</c:v>
                </c:pt>
                <c:pt idx="339">
                  <c:v>1.9964397755302565E-2</c:v>
                </c:pt>
                <c:pt idx="340">
                  <c:v>1.7902284687663972E-2</c:v>
                </c:pt>
                <c:pt idx="341">
                  <c:v>1.6484846560762545E-2</c:v>
                </c:pt>
                <c:pt idx="342">
                  <c:v>1.8114648063935146E-2</c:v>
                </c:pt>
                <c:pt idx="343">
                  <c:v>1.7497798894291483E-2</c:v>
                </c:pt>
                <c:pt idx="344">
                  <c:v>1.7113045131695204E-2</c:v>
                </c:pt>
                <c:pt idx="345">
                  <c:v>1.7640429444213845E-2</c:v>
                </c:pt>
                <c:pt idx="346">
                  <c:v>2.0512779818916194E-2</c:v>
                </c:pt>
                <c:pt idx="347">
                  <c:v>2.2851297401217163E-2</c:v>
                </c:pt>
                <c:pt idx="348">
                  <c:v>2.4865719552504606E-2</c:v>
                </c:pt>
                <c:pt idx="349">
                  <c:v>2.3348735639459495E-2</c:v>
                </c:pt>
                <c:pt idx="350">
                  <c:v>1.5393269919198094E-2</c:v>
                </c:pt>
                <c:pt idx="351">
                  <c:v>3.290966863368272E-3</c:v>
                </c:pt>
                <c:pt idx="352">
                  <c:v>1.1792637021070806E-3</c:v>
                </c:pt>
                <c:pt idx="353">
                  <c:v>6.4573304755548566E-3</c:v>
                </c:pt>
                <c:pt idx="354">
                  <c:v>9.8608182530370847E-3</c:v>
                </c:pt>
                <c:pt idx="355">
                  <c:v>1.3096453823307153E-2</c:v>
                </c:pt>
                <c:pt idx="356">
                  <c:v>1.3713248610564666E-2</c:v>
                </c:pt>
                <c:pt idx="357">
                  <c:v>1.1820661677274913E-2</c:v>
                </c:pt>
                <c:pt idx="358">
                  <c:v>1.1745357842679605E-2</c:v>
                </c:pt>
                <c:pt idx="359">
                  <c:v>1.3620054947193205E-2</c:v>
                </c:pt>
                <c:pt idx="360">
                  <c:v>1.3997697415600863E-2</c:v>
                </c:pt>
                <c:pt idx="361">
                  <c:v>1.6762152173745104E-2</c:v>
                </c:pt>
                <c:pt idx="362">
                  <c:v>2.6197625089591892E-2</c:v>
                </c:pt>
                <c:pt idx="363">
                  <c:v>4.1596948387021104E-2</c:v>
                </c:pt>
                <c:pt idx="364">
                  <c:v>4.9927065375944712E-2</c:v>
                </c:pt>
                <c:pt idx="365">
                  <c:v>5.3914514133213354E-2</c:v>
                </c:pt>
                <c:pt idx="366">
                  <c:v>5.3654752393853977E-2</c:v>
                </c:pt>
                <c:pt idx="367">
                  <c:v>5.2512715548749922E-2</c:v>
                </c:pt>
                <c:pt idx="368">
                  <c:v>5.3903488550791634E-2</c:v>
                </c:pt>
                <c:pt idx="369">
                  <c:v>6.2218689033288976E-2</c:v>
                </c:pt>
                <c:pt idx="370">
                  <c:v>6.8090028398064772E-2</c:v>
                </c:pt>
                <c:pt idx="371">
                  <c:v>7.0364028655451438E-2</c:v>
                </c:pt>
                <c:pt idx="372">
                  <c:v>7.4798724682891171E-2</c:v>
                </c:pt>
                <c:pt idx="373">
                  <c:v>7.8710638977392833E-2</c:v>
                </c:pt>
                <c:pt idx="374">
                  <c:v>8.5424555548424319E-2</c:v>
                </c:pt>
                <c:pt idx="375">
                  <c:v>8.258629340882373E-2</c:v>
                </c:pt>
                <c:pt idx="376">
                  <c:v>8.5815115436765232E-2</c:v>
                </c:pt>
                <c:pt idx="377">
                  <c:v>9.0597579647841542E-2</c:v>
                </c:pt>
                <c:pt idx="378">
                  <c:v>8.5248147456255197E-2</c:v>
                </c:pt>
                <c:pt idx="379">
                  <c:v>8.2626925031162424E-2</c:v>
                </c:pt>
                <c:pt idx="380">
                  <c:v>8.2016696438336201E-2</c:v>
                </c:pt>
                <c:pt idx="381">
                  <c:v>7.7454273308049215E-2</c:v>
                </c:pt>
                <c:pt idx="382">
                  <c:v>7.1103227941917257E-2</c:v>
                </c:pt>
                <c:pt idx="383">
                  <c:v>6.4544013314108195E-2</c:v>
                </c:pt>
                <c:pt idx="384">
                  <c:v>6.4101469688562673E-2</c:v>
                </c:pt>
                <c:pt idx="385">
                  <c:v>6.0356130778665973E-2</c:v>
                </c:pt>
                <c:pt idx="386">
                  <c:v>4.9849741220991728E-2</c:v>
                </c:pt>
              </c:numCache>
            </c:numRef>
          </c:val>
          <c:smooth val="0"/>
          <c:extLst>
            <c:ext xmlns:c16="http://schemas.microsoft.com/office/drawing/2014/chart" uri="{C3380CC4-5D6E-409C-BE32-E72D297353CC}">
              <c16:uniqueId val="{00000002-3E94-4901-8846-CDFA7CFD4692}"/>
            </c:ext>
          </c:extLst>
        </c:ser>
        <c:dLbls>
          <c:showLegendKey val="0"/>
          <c:showVal val="0"/>
          <c:showCatName val="0"/>
          <c:showSerName val="0"/>
          <c:showPercent val="0"/>
          <c:showBubbleSize val="0"/>
        </c:dLbls>
        <c:marker val="1"/>
        <c:smooth val="0"/>
        <c:axId val="1956241503"/>
        <c:axId val="1956230687"/>
        <c:extLst>
          <c:ext xmlns:c15="http://schemas.microsoft.com/office/drawing/2012/chart" uri="{02D57815-91ED-43cb-92C2-25804820EDAC}">
            <c15:filteredLineSeries>
              <c15:ser>
                <c:idx val="1"/>
                <c:order val="1"/>
                <c:tx>
                  <c:strRef>
                    <c:extLst>
                      <c:ext uri="{02D57815-91ED-43cb-92C2-25804820EDAC}">
                        <c15:formulaRef>
                          <c15:sqref>Monthly!$D$1</c15:sqref>
                        </c15:formulaRef>
                      </c:ext>
                    </c:extLst>
                    <c:strCache>
                      <c:ptCount val="1"/>
                      <c:pt idx="0">
                        <c:v>Monthly Inflation Rate</c:v>
                      </c:pt>
                    </c:strCache>
                  </c:strRef>
                </c:tx>
                <c:spPr>
                  <a:ln w="28575" cap="rnd">
                    <a:solidFill>
                      <a:schemeClr val="accent2"/>
                    </a:solidFill>
                    <a:round/>
                  </a:ln>
                  <a:effectLst/>
                </c:spPr>
                <c:marker>
                  <c:symbol val="none"/>
                </c:marker>
                <c:cat>
                  <c:numRef>
                    <c:extLst>
                      <c:ext uri="{02D57815-91ED-43cb-92C2-25804820EDAC}">
                        <c15:formulaRef>
                          <c15:sqref>Monthly!$B$2:$B$581</c15:sqref>
                        </c15:formulaRef>
                      </c:ext>
                    </c:extLst>
                    <c:numCache>
                      <c:formatCode>yyyy</c:formatCode>
                      <c:ptCount val="387"/>
                      <c:pt idx="0">
                        <c:v>33269</c:v>
                      </c:pt>
                      <c:pt idx="1">
                        <c:v>33297</c:v>
                      </c:pt>
                      <c:pt idx="2">
                        <c:v>33328</c:v>
                      </c:pt>
                      <c:pt idx="3">
                        <c:v>33358</c:v>
                      </c:pt>
                      <c:pt idx="4">
                        <c:v>33389</c:v>
                      </c:pt>
                      <c:pt idx="5">
                        <c:v>33419</c:v>
                      </c:pt>
                      <c:pt idx="6">
                        <c:v>33450</c:v>
                      </c:pt>
                      <c:pt idx="7">
                        <c:v>33481</c:v>
                      </c:pt>
                      <c:pt idx="8">
                        <c:v>33511</c:v>
                      </c:pt>
                      <c:pt idx="9">
                        <c:v>33542</c:v>
                      </c:pt>
                      <c:pt idx="10">
                        <c:v>33572</c:v>
                      </c:pt>
                      <c:pt idx="11">
                        <c:v>33603</c:v>
                      </c:pt>
                      <c:pt idx="12">
                        <c:v>33634</c:v>
                      </c:pt>
                      <c:pt idx="13">
                        <c:v>33663</c:v>
                      </c:pt>
                      <c:pt idx="14">
                        <c:v>33694</c:v>
                      </c:pt>
                      <c:pt idx="15">
                        <c:v>33724</c:v>
                      </c:pt>
                      <c:pt idx="16">
                        <c:v>33755</c:v>
                      </c:pt>
                      <c:pt idx="17">
                        <c:v>33785</c:v>
                      </c:pt>
                      <c:pt idx="18">
                        <c:v>33816</c:v>
                      </c:pt>
                      <c:pt idx="19">
                        <c:v>33847</c:v>
                      </c:pt>
                      <c:pt idx="20">
                        <c:v>33877</c:v>
                      </c:pt>
                      <c:pt idx="21">
                        <c:v>33908</c:v>
                      </c:pt>
                      <c:pt idx="22">
                        <c:v>33938</c:v>
                      </c:pt>
                      <c:pt idx="23">
                        <c:v>33969</c:v>
                      </c:pt>
                      <c:pt idx="24">
                        <c:v>34000</c:v>
                      </c:pt>
                      <c:pt idx="25">
                        <c:v>34028</c:v>
                      </c:pt>
                      <c:pt idx="26">
                        <c:v>34059</c:v>
                      </c:pt>
                      <c:pt idx="27">
                        <c:v>34089</c:v>
                      </c:pt>
                      <c:pt idx="28">
                        <c:v>34120</c:v>
                      </c:pt>
                      <c:pt idx="29">
                        <c:v>34150</c:v>
                      </c:pt>
                      <c:pt idx="30">
                        <c:v>34181</c:v>
                      </c:pt>
                      <c:pt idx="31">
                        <c:v>34212</c:v>
                      </c:pt>
                      <c:pt idx="32">
                        <c:v>34242</c:v>
                      </c:pt>
                      <c:pt idx="33">
                        <c:v>34273</c:v>
                      </c:pt>
                      <c:pt idx="34">
                        <c:v>34303</c:v>
                      </c:pt>
                      <c:pt idx="35">
                        <c:v>34334</c:v>
                      </c:pt>
                      <c:pt idx="36">
                        <c:v>34365</c:v>
                      </c:pt>
                      <c:pt idx="37">
                        <c:v>34393</c:v>
                      </c:pt>
                      <c:pt idx="38">
                        <c:v>34424</c:v>
                      </c:pt>
                      <c:pt idx="39">
                        <c:v>34454</c:v>
                      </c:pt>
                      <c:pt idx="40">
                        <c:v>34485</c:v>
                      </c:pt>
                      <c:pt idx="41">
                        <c:v>34515</c:v>
                      </c:pt>
                      <c:pt idx="42">
                        <c:v>34546</c:v>
                      </c:pt>
                      <c:pt idx="43">
                        <c:v>34577</c:v>
                      </c:pt>
                      <c:pt idx="44">
                        <c:v>34607</c:v>
                      </c:pt>
                      <c:pt idx="45">
                        <c:v>34638</c:v>
                      </c:pt>
                      <c:pt idx="46">
                        <c:v>34668</c:v>
                      </c:pt>
                      <c:pt idx="47">
                        <c:v>34699</c:v>
                      </c:pt>
                      <c:pt idx="48">
                        <c:v>34730</c:v>
                      </c:pt>
                      <c:pt idx="49">
                        <c:v>34758</c:v>
                      </c:pt>
                      <c:pt idx="50">
                        <c:v>34789</c:v>
                      </c:pt>
                      <c:pt idx="51">
                        <c:v>34819</c:v>
                      </c:pt>
                      <c:pt idx="52">
                        <c:v>34850</c:v>
                      </c:pt>
                      <c:pt idx="53">
                        <c:v>34880</c:v>
                      </c:pt>
                      <c:pt idx="54">
                        <c:v>34911</c:v>
                      </c:pt>
                      <c:pt idx="55">
                        <c:v>34942</c:v>
                      </c:pt>
                      <c:pt idx="56">
                        <c:v>34972</c:v>
                      </c:pt>
                      <c:pt idx="57">
                        <c:v>35003</c:v>
                      </c:pt>
                      <c:pt idx="58">
                        <c:v>35033</c:v>
                      </c:pt>
                      <c:pt idx="59">
                        <c:v>35064</c:v>
                      </c:pt>
                      <c:pt idx="60">
                        <c:v>35095</c:v>
                      </c:pt>
                      <c:pt idx="61">
                        <c:v>35124</c:v>
                      </c:pt>
                      <c:pt idx="62">
                        <c:v>35155</c:v>
                      </c:pt>
                      <c:pt idx="63">
                        <c:v>35185</c:v>
                      </c:pt>
                      <c:pt idx="64">
                        <c:v>35216</c:v>
                      </c:pt>
                      <c:pt idx="65">
                        <c:v>35246</c:v>
                      </c:pt>
                      <c:pt idx="66">
                        <c:v>35277</c:v>
                      </c:pt>
                      <c:pt idx="67">
                        <c:v>35308</c:v>
                      </c:pt>
                      <c:pt idx="68">
                        <c:v>35338</c:v>
                      </c:pt>
                      <c:pt idx="69">
                        <c:v>35369</c:v>
                      </c:pt>
                      <c:pt idx="70">
                        <c:v>35399</c:v>
                      </c:pt>
                      <c:pt idx="71">
                        <c:v>35430</c:v>
                      </c:pt>
                      <c:pt idx="72">
                        <c:v>35461</c:v>
                      </c:pt>
                      <c:pt idx="73">
                        <c:v>35489</c:v>
                      </c:pt>
                      <c:pt idx="74">
                        <c:v>35520</c:v>
                      </c:pt>
                      <c:pt idx="75">
                        <c:v>35550</c:v>
                      </c:pt>
                      <c:pt idx="76">
                        <c:v>35581</c:v>
                      </c:pt>
                      <c:pt idx="77">
                        <c:v>35611</c:v>
                      </c:pt>
                      <c:pt idx="78">
                        <c:v>35642</c:v>
                      </c:pt>
                      <c:pt idx="79">
                        <c:v>35673</c:v>
                      </c:pt>
                      <c:pt idx="80">
                        <c:v>35703</c:v>
                      </c:pt>
                      <c:pt idx="81">
                        <c:v>35734</c:v>
                      </c:pt>
                      <c:pt idx="82">
                        <c:v>35764</c:v>
                      </c:pt>
                      <c:pt idx="83">
                        <c:v>35795</c:v>
                      </c:pt>
                      <c:pt idx="84">
                        <c:v>35826</c:v>
                      </c:pt>
                      <c:pt idx="85">
                        <c:v>35854</c:v>
                      </c:pt>
                      <c:pt idx="86">
                        <c:v>35885</c:v>
                      </c:pt>
                      <c:pt idx="87">
                        <c:v>35915</c:v>
                      </c:pt>
                      <c:pt idx="88">
                        <c:v>35946</c:v>
                      </c:pt>
                      <c:pt idx="89">
                        <c:v>35976</c:v>
                      </c:pt>
                      <c:pt idx="90">
                        <c:v>36007</c:v>
                      </c:pt>
                      <c:pt idx="91">
                        <c:v>36038</c:v>
                      </c:pt>
                      <c:pt idx="92">
                        <c:v>36068</c:v>
                      </c:pt>
                      <c:pt idx="93">
                        <c:v>36099</c:v>
                      </c:pt>
                      <c:pt idx="94">
                        <c:v>36129</c:v>
                      </c:pt>
                      <c:pt idx="95">
                        <c:v>36160</c:v>
                      </c:pt>
                      <c:pt idx="96">
                        <c:v>36191</c:v>
                      </c:pt>
                      <c:pt idx="97">
                        <c:v>36219</c:v>
                      </c:pt>
                      <c:pt idx="98">
                        <c:v>36250</c:v>
                      </c:pt>
                      <c:pt idx="99">
                        <c:v>36280</c:v>
                      </c:pt>
                      <c:pt idx="100">
                        <c:v>36311</c:v>
                      </c:pt>
                      <c:pt idx="101">
                        <c:v>36341</c:v>
                      </c:pt>
                      <c:pt idx="102">
                        <c:v>36372</c:v>
                      </c:pt>
                      <c:pt idx="103">
                        <c:v>36403</c:v>
                      </c:pt>
                      <c:pt idx="104">
                        <c:v>36433</c:v>
                      </c:pt>
                      <c:pt idx="105">
                        <c:v>36464</c:v>
                      </c:pt>
                      <c:pt idx="106">
                        <c:v>36494</c:v>
                      </c:pt>
                      <c:pt idx="107">
                        <c:v>36525</c:v>
                      </c:pt>
                      <c:pt idx="108">
                        <c:v>36556</c:v>
                      </c:pt>
                      <c:pt idx="109">
                        <c:v>36585</c:v>
                      </c:pt>
                      <c:pt idx="110">
                        <c:v>36616</c:v>
                      </c:pt>
                      <c:pt idx="111">
                        <c:v>36646</c:v>
                      </c:pt>
                      <c:pt idx="112">
                        <c:v>36677</c:v>
                      </c:pt>
                      <c:pt idx="113">
                        <c:v>36707</c:v>
                      </c:pt>
                      <c:pt idx="114">
                        <c:v>36738</c:v>
                      </c:pt>
                      <c:pt idx="115">
                        <c:v>36769</c:v>
                      </c:pt>
                      <c:pt idx="116">
                        <c:v>36799</c:v>
                      </c:pt>
                      <c:pt idx="117">
                        <c:v>36830</c:v>
                      </c:pt>
                      <c:pt idx="118">
                        <c:v>36860</c:v>
                      </c:pt>
                      <c:pt idx="119">
                        <c:v>36891</c:v>
                      </c:pt>
                      <c:pt idx="120">
                        <c:v>36922</c:v>
                      </c:pt>
                      <c:pt idx="121">
                        <c:v>36950</c:v>
                      </c:pt>
                      <c:pt idx="122">
                        <c:v>36981</c:v>
                      </c:pt>
                      <c:pt idx="123">
                        <c:v>37011</c:v>
                      </c:pt>
                      <c:pt idx="124">
                        <c:v>37042</c:v>
                      </c:pt>
                      <c:pt idx="125">
                        <c:v>37072</c:v>
                      </c:pt>
                      <c:pt idx="126">
                        <c:v>37103</c:v>
                      </c:pt>
                      <c:pt idx="127">
                        <c:v>37134</c:v>
                      </c:pt>
                      <c:pt idx="128">
                        <c:v>37164</c:v>
                      </c:pt>
                      <c:pt idx="129">
                        <c:v>37195</c:v>
                      </c:pt>
                      <c:pt idx="130">
                        <c:v>37225</c:v>
                      </c:pt>
                      <c:pt idx="131">
                        <c:v>37256</c:v>
                      </c:pt>
                      <c:pt idx="132">
                        <c:v>37287</c:v>
                      </c:pt>
                      <c:pt idx="133">
                        <c:v>37315</c:v>
                      </c:pt>
                      <c:pt idx="134">
                        <c:v>37346</c:v>
                      </c:pt>
                      <c:pt idx="135">
                        <c:v>37376</c:v>
                      </c:pt>
                      <c:pt idx="136">
                        <c:v>37407</c:v>
                      </c:pt>
                      <c:pt idx="137">
                        <c:v>37437</c:v>
                      </c:pt>
                      <c:pt idx="138">
                        <c:v>37468</c:v>
                      </c:pt>
                      <c:pt idx="139">
                        <c:v>37499</c:v>
                      </c:pt>
                      <c:pt idx="140">
                        <c:v>37529</c:v>
                      </c:pt>
                      <c:pt idx="141">
                        <c:v>37560</c:v>
                      </c:pt>
                      <c:pt idx="142">
                        <c:v>37590</c:v>
                      </c:pt>
                      <c:pt idx="143">
                        <c:v>37621</c:v>
                      </c:pt>
                      <c:pt idx="144">
                        <c:v>37652</c:v>
                      </c:pt>
                      <c:pt idx="145">
                        <c:v>37680</c:v>
                      </c:pt>
                      <c:pt idx="146">
                        <c:v>37711</c:v>
                      </c:pt>
                      <c:pt idx="147">
                        <c:v>37741</c:v>
                      </c:pt>
                      <c:pt idx="148">
                        <c:v>37772</c:v>
                      </c:pt>
                      <c:pt idx="149">
                        <c:v>37802</c:v>
                      </c:pt>
                      <c:pt idx="150">
                        <c:v>37833</c:v>
                      </c:pt>
                      <c:pt idx="151">
                        <c:v>37864</c:v>
                      </c:pt>
                      <c:pt idx="152">
                        <c:v>37894</c:v>
                      </c:pt>
                      <c:pt idx="153">
                        <c:v>37925</c:v>
                      </c:pt>
                      <c:pt idx="154">
                        <c:v>37955</c:v>
                      </c:pt>
                      <c:pt idx="155">
                        <c:v>37986</c:v>
                      </c:pt>
                      <c:pt idx="156">
                        <c:v>38017</c:v>
                      </c:pt>
                      <c:pt idx="157">
                        <c:v>38046</c:v>
                      </c:pt>
                      <c:pt idx="158">
                        <c:v>38077</c:v>
                      </c:pt>
                      <c:pt idx="159">
                        <c:v>38107</c:v>
                      </c:pt>
                      <c:pt idx="160">
                        <c:v>38138</c:v>
                      </c:pt>
                      <c:pt idx="161">
                        <c:v>38168</c:v>
                      </c:pt>
                      <c:pt idx="162">
                        <c:v>38199</c:v>
                      </c:pt>
                      <c:pt idx="163">
                        <c:v>38230</c:v>
                      </c:pt>
                      <c:pt idx="164">
                        <c:v>38260</c:v>
                      </c:pt>
                      <c:pt idx="165">
                        <c:v>38291</c:v>
                      </c:pt>
                      <c:pt idx="166">
                        <c:v>38321</c:v>
                      </c:pt>
                      <c:pt idx="167">
                        <c:v>38352</c:v>
                      </c:pt>
                      <c:pt idx="168">
                        <c:v>38383</c:v>
                      </c:pt>
                      <c:pt idx="169">
                        <c:v>38411</c:v>
                      </c:pt>
                      <c:pt idx="170">
                        <c:v>38442</c:v>
                      </c:pt>
                      <c:pt idx="171">
                        <c:v>38472</c:v>
                      </c:pt>
                      <c:pt idx="172">
                        <c:v>38503</c:v>
                      </c:pt>
                      <c:pt idx="173">
                        <c:v>38533</c:v>
                      </c:pt>
                      <c:pt idx="174">
                        <c:v>38564</c:v>
                      </c:pt>
                      <c:pt idx="175">
                        <c:v>38595</c:v>
                      </c:pt>
                      <c:pt idx="176">
                        <c:v>38625</c:v>
                      </c:pt>
                      <c:pt idx="177">
                        <c:v>38656</c:v>
                      </c:pt>
                      <c:pt idx="178">
                        <c:v>38686</c:v>
                      </c:pt>
                      <c:pt idx="179">
                        <c:v>38717</c:v>
                      </c:pt>
                      <c:pt idx="180">
                        <c:v>38748</c:v>
                      </c:pt>
                      <c:pt idx="181">
                        <c:v>38776</c:v>
                      </c:pt>
                      <c:pt idx="182">
                        <c:v>38807</c:v>
                      </c:pt>
                      <c:pt idx="183">
                        <c:v>38837</c:v>
                      </c:pt>
                      <c:pt idx="184">
                        <c:v>38868</c:v>
                      </c:pt>
                      <c:pt idx="185">
                        <c:v>38898</c:v>
                      </c:pt>
                      <c:pt idx="186">
                        <c:v>38929</c:v>
                      </c:pt>
                      <c:pt idx="187">
                        <c:v>38960</c:v>
                      </c:pt>
                      <c:pt idx="188">
                        <c:v>38990</c:v>
                      </c:pt>
                      <c:pt idx="189">
                        <c:v>39021</c:v>
                      </c:pt>
                      <c:pt idx="190">
                        <c:v>39051</c:v>
                      </c:pt>
                      <c:pt idx="191">
                        <c:v>39082</c:v>
                      </c:pt>
                      <c:pt idx="192">
                        <c:v>39113</c:v>
                      </c:pt>
                      <c:pt idx="193">
                        <c:v>39141</c:v>
                      </c:pt>
                      <c:pt idx="194">
                        <c:v>39172</c:v>
                      </c:pt>
                      <c:pt idx="195">
                        <c:v>39202</c:v>
                      </c:pt>
                      <c:pt idx="196">
                        <c:v>39233</c:v>
                      </c:pt>
                      <c:pt idx="197">
                        <c:v>39263</c:v>
                      </c:pt>
                      <c:pt idx="198">
                        <c:v>39294</c:v>
                      </c:pt>
                      <c:pt idx="199">
                        <c:v>39325</c:v>
                      </c:pt>
                      <c:pt idx="200">
                        <c:v>39355</c:v>
                      </c:pt>
                      <c:pt idx="201">
                        <c:v>39386</c:v>
                      </c:pt>
                      <c:pt idx="202">
                        <c:v>39416</c:v>
                      </c:pt>
                      <c:pt idx="203">
                        <c:v>39447</c:v>
                      </c:pt>
                      <c:pt idx="204">
                        <c:v>39478</c:v>
                      </c:pt>
                      <c:pt idx="205">
                        <c:v>39507</c:v>
                      </c:pt>
                      <c:pt idx="206">
                        <c:v>39538</c:v>
                      </c:pt>
                      <c:pt idx="207">
                        <c:v>39568</c:v>
                      </c:pt>
                      <c:pt idx="208">
                        <c:v>39599</c:v>
                      </c:pt>
                      <c:pt idx="209">
                        <c:v>39629</c:v>
                      </c:pt>
                      <c:pt idx="210">
                        <c:v>39660</c:v>
                      </c:pt>
                      <c:pt idx="211">
                        <c:v>39691</c:v>
                      </c:pt>
                      <c:pt idx="212">
                        <c:v>39721</c:v>
                      </c:pt>
                      <c:pt idx="213">
                        <c:v>39752</c:v>
                      </c:pt>
                      <c:pt idx="214">
                        <c:v>39782</c:v>
                      </c:pt>
                      <c:pt idx="215">
                        <c:v>39813</c:v>
                      </c:pt>
                      <c:pt idx="216">
                        <c:v>39844</c:v>
                      </c:pt>
                      <c:pt idx="217">
                        <c:v>39872</c:v>
                      </c:pt>
                      <c:pt idx="218">
                        <c:v>39903</c:v>
                      </c:pt>
                      <c:pt idx="219">
                        <c:v>39933</c:v>
                      </c:pt>
                      <c:pt idx="220">
                        <c:v>39964</c:v>
                      </c:pt>
                      <c:pt idx="221">
                        <c:v>39994</c:v>
                      </c:pt>
                      <c:pt idx="222">
                        <c:v>40025</c:v>
                      </c:pt>
                      <c:pt idx="223">
                        <c:v>40056</c:v>
                      </c:pt>
                      <c:pt idx="224">
                        <c:v>40086</c:v>
                      </c:pt>
                      <c:pt idx="225">
                        <c:v>40117</c:v>
                      </c:pt>
                      <c:pt idx="226">
                        <c:v>40147</c:v>
                      </c:pt>
                      <c:pt idx="227">
                        <c:v>40178</c:v>
                      </c:pt>
                      <c:pt idx="228">
                        <c:v>40209</c:v>
                      </c:pt>
                      <c:pt idx="229">
                        <c:v>40237</c:v>
                      </c:pt>
                      <c:pt idx="230">
                        <c:v>40268</c:v>
                      </c:pt>
                      <c:pt idx="231">
                        <c:v>40298</c:v>
                      </c:pt>
                      <c:pt idx="232">
                        <c:v>40329</c:v>
                      </c:pt>
                      <c:pt idx="233">
                        <c:v>40359</c:v>
                      </c:pt>
                      <c:pt idx="234">
                        <c:v>40390</c:v>
                      </c:pt>
                      <c:pt idx="235">
                        <c:v>40421</c:v>
                      </c:pt>
                      <c:pt idx="236">
                        <c:v>40451</c:v>
                      </c:pt>
                      <c:pt idx="237">
                        <c:v>40482</c:v>
                      </c:pt>
                      <c:pt idx="238">
                        <c:v>40512</c:v>
                      </c:pt>
                      <c:pt idx="239">
                        <c:v>40543</c:v>
                      </c:pt>
                      <c:pt idx="240">
                        <c:v>40574</c:v>
                      </c:pt>
                      <c:pt idx="241">
                        <c:v>40602</c:v>
                      </c:pt>
                      <c:pt idx="242">
                        <c:v>40633</c:v>
                      </c:pt>
                      <c:pt idx="243">
                        <c:v>40663</c:v>
                      </c:pt>
                      <c:pt idx="244">
                        <c:v>40694</c:v>
                      </c:pt>
                      <c:pt idx="245">
                        <c:v>40724</c:v>
                      </c:pt>
                      <c:pt idx="246">
                        <c:v>40755</c:v>
                      </c:pt>
                      <c:pt idx="247">
                        <c:v>40786</c:v>
                      </c:pt>
                      <c:pt idx="248">
                        <c:v>40816</c:v>
                      </c:pt>
                      <c:pt idx="249">
                        <c:v>40847</c:v>
                      </c:pt>
                      <c:pt idx="250">
                        <c:v>40877</c:v>
                      </c:pt>
                      <c:pt idx="251">
                        <c:v>40908</c:v>
                      </c:pt>
                      <c:pt idx="252">
                        <c:v>40939</c:v>
                      </c:pt>
                      <c:pt idx="253">
                        <c:v>40968</c:v>
                      </c:pt>
                      <c:pt idx="254">
                        <c:v>40999</c:v>
                      </c:pt>
                      <c:pt idx="255">
                        <c:v>41029</c:v>
                      </c:pt>
                      <c:pt idx="256">
                        <c:v>41060</c:v>
                      </c:pt>
                      <c:pt idx="257">
                        <c:v>41090</c:v>
                      </c:pt>
                      <c:pt idx="258">
                        <c:v>41121</c:v>
                      </c:pt>
                      <c:pt idx="259">
                        <c:v>41152</c:v>
                      </c:pt>
                      <c:pt idx="260">
                        <c:v>41182</c:v>
                      </c:pt>
                      <c:pt idx="261">
                        <c:v>41213</c:v>
                      </c:pt>
                      <c:pt idx="262">
                        <c:v>41243</c:v>
                      </c:pt>
                      <c:pt idx="263">
                        <c:v>41274</c:v>
                      </c:pt>
                      <c:pt idx="264">
                        <c:v>41305</c:v>
                      </c:pt>
                      <c:pt idx="265">
                        <c:v>41333</c:v>
                      </c:pt>
                      <c:pt idx="266">
                        <c:v>41364</c:v>
                      </c:pt>
                      <c:pt idx="267">
                        <c:v>41394</c:v>
                      </c:pt>
                      <c:pt idx="268">
                        <c:v>41425</c:v>
                      </c:pt>
                      <c:pt idx="269">
                        <c:v>41455</c:v>
                      </c:pt>
                      <c:pt idx="270">
                        <c:v>41486</c:v>
                      </c:pt>
                      <c:pt idx="271">
                        <c:v>41517</c:v>
                      </c:pt>
                      <c:pt idx="272">
                        <c:v>41547</c:v>
                      </c:pt>
                      <c:pt idx="273">
                        <c:v>41578</c:v>
                      </c:pt>
                      <c:pt idx="274">
                        <c:v>41608</c:v>
                      </c:pt>
                      <c:pt idx="275">
                        <c:v>41639</c:v>
                      </c:pt>
                      <c:pt idx="276">
                        <c:v>41670</c:v>
                      </c:pt>
                      <c:pt idx="277">
                        <c:v>41698</c:v>
                      </c:pt>
                      <c:pt idx="278">
                        <c:v>41729</c:v>
                      </c:pt>
                      <c:pt idx="279">
                        <c:v>41759</c:v>
                      </c:pt>
                      <c:pt idx="280">
                        <c:v>41790</c:v>
                      </c:pt>
                      <c:pt idx="281">
                        <c:v>41820</c:v>
                      </c:pt>
                      <c:pt idx="282">
                        <c:v>41851</c:v>
                      </c:pt>
                      <c:pt idx="283">
                        <c:v>41882</c:v>
                      </c:pt>
                      <c:pt idx="284">
                        <c:v>41912</c:v>
                      </c:pt>
                      <c:pt idx="285">
                        <c:v>41943</c:v>
                      </c:pt>
                      <c:pt idx="286">
                        <c:v>41973</c:v>
                      </c:pt>
                      <c:pt idx="287">
                        <c:v>42004</c:v>
                      </c:pt>
                      <c:pt idx="288">
                        <c:v>42035</c:v>
                      </c:pt>
                      <c:pt idx="289">
                        <c:v>42063</c:v>
                      </c:pt>
                      <c:pt idx="290">
                        <c:v>42094</c:v>
                      </c:pt>
                      <c:pt idx="291">
                        <c:v>42124</c:v>
                      </c:pt>
                      <c:pt idx="292">
                        <c:v>42155</c:v>
                      </c:pt>
                      <c:pt idx="293">
                        <c:v>42185</c:v>
                      </c:pt>
                      <c:pt idx="294">
                        <c:v>42216</c:v>
                      </c:pt>
                      <c:pt idx="295">
                        <c:v>42247</c:v>
                      </c:pt>
                      <c:pt idx="296">
                        <c:v>42277</c:v>
                      </c:pt>
                      <c:pt idx="297">
                        <c:v>42308</c:v>
                      </c:pt>
                      <c:pt idx="298">
                        <c:v>42338</c:v>
                      </c:pt>
                      <c:pt idx="299">
                        <c:v>42369</c:v>
                      </c:pt>
                      <c:pt idx="300">
                        <c:v>42400</c:v>
                      </c:pt>
                      <c:pt idx="301">
                        <c:v>42429</c:v>
                      </c:pt>
                      <c:pt idx="302">
                        <c:v>42460</c:v>
                      </c:pt>
                      <c:pt idx="303">
                        <c:v>42490</c:v>
                      </c:pt>
                      <c:pt idx="304">
                        <c:v>42521</c:v>
                      </c:pt>
                      <c:pt idx="305">
                        <c:v>42551</c:v>
                      </c:pt>
                      <c:pt idx="306">
                        <c:v>42582</c:v>
                      </c:pt>
                      <c:pt idx="307">
                        <c:v>42613</c:v>
                      </c:pt>
                      <c:pt idx="308">
                        <c:v>42643</c:v>
                      </c:pt>
                      <c:pt idx="309">
                        <c:v>42674</c:v>
                      </c:pt>
                      <c:pt idx="310">
                        <c:v>42704</c:v>
                      </c:pt>
                      <c:pt idx="311">
                        <c:v>42735</c:v>
                      </c:pt>
                      <c:pt idx="312">
                        <c:v>42766</c:v>
                      </c:pt>
                      <c:pt idx="313">
                        <c:v>42794</c:v>
                      </c:pt>
                      <c:pt idx="314">
                        <c:v>42825</c:v>
                      </c:pt>
                      <c:pt idx="315">
                        <c:v>42855</c:v>
                      </c:pt>
                      <c:pt idx="316">
                        <c:v>42886</c:v>
                      </c:pt>
                      <c:pt idx="317">
                        <c:v>42916</c:v>
                      </c:pt>
                      <c:pt idx="318">
                        <c:v>42947</c:v>
                      </c:pt>
                      <c:pt idx="319">
                        <c:v>42978</c:v>
                      </c:pt>
                      <c:pt idx="320">
                        <c:v>43008</c:v>
                      </c:pt>
                      <c:pt idx="321">
                        <c:v>43039</c:v>
                      </c:pt>
                      <c:pt idx="322">
                        <c:v>43069</c:v>
                      </c:pt>
                      <c:pt idx="323">
                        <c:v>43100</c:v>
                      </c:pt>
                      <c:pt idx="324">
                        <c:v>43131</c:v>
                      </c:pt>
                      <c:pt idx="325">
                        <c:v>43159</c:v>
                      </c:pt>
                      <c:pt idx="326">
                        <c:v>43190</c:v>
                      </c:pt>
                      <c:pt idx="327">
                        <c:v>43220</c:v>
                      </c:pt>
                      <c:pt idx="328">
                        <c:v>43251</c:v>
                      </c:pt>
                      <c:pt idx="329">
                        <c:v>43281</c:v>
                      </c:pt>
                      <c:pt idx="330">
                        <c:v>43312</c:v>
                      </c:pt>
                      <c:pt idx="331">
                        <c:v>43343</c:v>
                      </c:pt>
                      <c:pt idx="332">
                        <c:v>43373</c:v>
                      </c:pt>
                      <c:pt idx="333">
                        <c:v>43404</c:v>
                      </c:pt>
                      <c:pt idx="334">
                        <c:v>43434</c:v>
                      </c:pt>
                      <c:pt idx="335">
                        <c:v>43465</c:v>
                      </c:pt>
                      <c:pt idx="336">
                        <c:v>43496</c:v>
                      </c:pt>
                      <c:pt idx="337">
                        <c:v>43524</c:v>
                      </c:pt>
                      <c:pt idx="338">
                        <c:v>43555</c:v>
                      </c:pt>
                      <c:pt idx="339">
                        <c:v>43585</c:v>
                      </c:pt>
                      <c:pt idx="340">
                        <c:v>43616</c:v>
                      </c:pt>
                      <c:pt idx="341">
                        <c:v>43646</c:v>
                      </c:pt>
                      <c:pt idx="342">
                        <c:v>43677</c:v>
                      </c:pt>
                      <c:pt idx="343">
                        <c:v>43708</c:v>
                      </c:pt>
                      <c:pt idx="344">
                        <c:v>43738</c:v>
                      </c:pt>
                      <c:pt idx="345">
                        <c:v>43769</c:v>
                      </c:pt>
                      <c:pt idx="346">
                        <c:v>43799</c:v>
                      </c:pt>
                      <c:pt idx="347">
                        <c:v>43830</c:v>
                      </c:pt>
                      <c:pt idx="348">
                        <c:v>43861</c:v>
                      </c:pt>
                      <c:pt idx="349">
                        <c:v>43890</c:v>
                      </c:pt>
                      <c:pt idx="350">
                        <c:v>43921</c:v>
                      </c:pt>
                      <c:pt idx="351">
                        <c:v>43951</c:v>
                      </c:pt>
                      <c:pt idx="352">
                        <c:v>43982</c:v>
                      </c:pt>
                      <c:pt idx="353">
                        <c:v>44012</c:v>
                      </c:pt>
                      <c:pt idx="354">
                        <c:v>44043</c:v>
                      </c:pt>
                      <c:pt idx="355">
                        <c:v>44074</c:v>
                      </c:pt>
                      <c:pt idx="356">
                        <c:v>44104</c:v>
                      </c:pt>
                      <c:pt idx="357">
                        <c:v>44135</c:v>
                      </c:pt>
                      <c:pt idx="358">
                        <c:v>44165</c:v>
                      </c:pt>
                      <c:pt idx="359">
                        <c:v>44196</c:v>
                      </c:pt>
                      <c:pt idx="360">
                        <c:v>44227</c:v>
                      </c:pt>
                      <c:pt idx="361">
                        <c:v>44255</c:v>
                      </c:pt>
                      <c:pt idx="362">
                        <c:v>44286</c:v>
                      </c:pt>
                      <c:pt idx="363">
                        <c:v>44316</c:v>
                      </c:pt>
                      <c:pt idx="364">
                        <c:v>44347</c:v>
                      </c:pt>
                      <c:pt idx="365">
                        <c:v>44377</c:v>
                      </c:pt>
                      <c:pt idx="366">
                        <c:v>44408</c:v>
                      </c:pt>
                      <c:pt idx="367">
                        <c:v>44439</c:v>
                      </c:pt>
                      <c:pt idx="368">
                        <c:v>44469</c:v>
                      </c:pt>
                      <c:pt idx="369">
                        <c:v>44500</c:v>
                      </c:pt>
                      <c:pt idx="370">
                        <c:v>44530</c:v>
                      </c:pt>
                      <c:pt idx="371">
                        <c:v>44561</c:v>
                      </c:pt>
                      <c:pt idx="372">
                        <c:v>44592</c:v>
                      </c:pt>
                      <c:pt idx="373">
                        <c:v>44620</c:v>
                      </c:pt>
                      <c:pt idx="374">
                        <c:v>44651</c:v>
                      </c:pt>
                      <c:pt idx="375">
                        <c:v>44681</c:v>
                      </c:pt>
                      <c:pt idx="376">
                        <c:v>44712</c:v>
                      </c:pt>
                      <c:pt idx="377">
                        <c:v>44742</c:v>
                      </c:pt>
                      <c:pt idx="378">
                        <c:v>44773</c:v>
                      </c:pt>
                      <c:pt idx="379">
                        <c:v>44804</c:v>
                      </c:pt>
                      <c:pt idx="380">
                        <c:v>44834</c:v>
                      </c:pt>
                      <c:pt idx="381">
                        <c:v>44865</c:v>
                      </c:pt>
                      <c:pt idx="382">
                        <c:v>44895</c:v>
                      </c:pt>
                      <c:pt idx="383">
                        <c:v>44926</c:v>
                      </c:pt>
                      <c:pt idx="384">
                        <c:v>44957</c:v>
                      </c:pt>
                      <c:pt idx="385">
                        <c:v>44985</c:v>
                      </c:pt>
                      <c:pt idx="386">
                        <c:v>45015</c:v>
                      </c:pt>
                    </c:numCache>
                  </c:numRef>
                </c:cat>
                <c:val>
                  <c:numRef>
                    <c:extLst>
                      <c:ext uri="{02D57815-91ED-43cb-92C2-25804820EDAC}">
                        <c15:formulaRef>
                          <c15:sqref>Monthly!$D$2:$D$581</c15:sqref>
                        </c15:formulaRef>
                      </c:ext>
                    </c:extLst>
                    <c:numCache>
                      <c:formatCode>0.00%</c:formatCode>
                      <c:ptCount val="387"/>
                      <c:pt idx="0">
                        <c:v>5.9790732436471039E-3</c:v>
                      </c:pt>
                      <c:pt idx="1">
                        <c:v>1.4858841010403356E-3</c:v>
                      </c:pt>
                      <c:pt idx="2">
                        <c:v>1.4836795252224366E-3</c:v>
                      </c:pt>
                      <c:pt idx="3">
                        <c:v>1.481481481481417E-3</c:v>
                      </c:pt>
                      <c:pt idx="4">
                        <c:v>2.9585798816569309E-3</c:v>
                      </c:pt>
                      <c:pt idx="5">
                        <c:v>2.9498525073747839E-3</c:v>
                      </c:pt>
                      <c:pt idx="6">
                        <c:v>1.4705882352941124E-3</c:v>
                      </c:pt>
                      <c:pt idx="7">
                        <c:v>2.936857562408246E-3</c:v>
                      </c:pt>
                      <c:pt idx="8">
                        <c:v>4.3923865300146137E-3</c:v>
                      </c:pt>
                      <c:pt idx="9">
                        <c:v>1.4577259475219151E-3</c:v>
                      </c:pt>
                      <c:pt idx="10">
                        <c:v>2.9112081513829047E-3</c:v>
                      </c:pt>
                      <c:pt idx="11">
                        <c:v>7.2568940493455969E-4</c:v>
                      </c:pt>
                      <c:pt idx="12">
                        <c:v>1.4503263234226793E-3</c:v>
                      </c:pt>
                      <c:pt idx="13">
                        <c:v>3.6205648081100161E-3</c:v>
                      </c:pt>
                      <c:pt idx="14">
                        <c:v>5.050505050505194E-3</c:v>
                      </c:pt>
                      <c:pt idx="15">
                        <c:v>1.43575017946862E-3</c:v>
                      </c:pt>
                      <c:pt idx="16">
                        <c:v>1.4336917562722817E-3</c:v>
                      </c:pt>
                      <c:pt idx="17">
                        <c:v>3.5790980672869566E-3</c:v>
                      </c:pt>
                      <c:pt idx="18">
                        <c:v>2.1398002853068032E-3</c:v>
                      </c:pt>
                      <c:pt idx="19">
                        <c:v>2.846975088967918E-3</c:v>
                      </c:pt>
                      <c:pt idx="20">
                        <c:v>2.8388928317957252E-3</c:v>
                      </c:pt>
                      <c:pt idx="21">
                        <c:v>3.5385704175512345E-3</c:v>
                      </c:pt>
                      <c:pt idx="22">
                        <c:v>1.4104372355430161E-3</c:v>
                      </c:pt>
                      <c:pt idx="23">
                        <c:v>-7.0422535211267512E-4</c:v>
                      </c:pt>
                      <c:pt idx="24">
                        <c:v>4.9330514446792595E-3</c:v>
                      </c:pt>
                      <c:pt idx="25">
                        <c:v>3.5063113604487661E-3</c:v>
                      </c:pt>
                      <c:pt idx="26">
                        <c:v>3.4940600978337066E-3</c:v>
                      </c:pt>
                      <c:pt idx="27">
                        <c:v>2.7855153203342198E-3</c:v>
                      </c:pt>
                      <c:pt idx="28">
                        <c:v>1.388888888888884E-3</c:v>
                      </c:pt>
                      <c:pt idx="29">
                        <c:v>1.3869625520113171E-3</c:v>
                      </c:pt>
                      <c:pt idx="30">
                        <c:v>0</c:v>
                      </c:pt>
                      <c:pt idx="31">
                        <c:v>2.7700831024930483E-3</c:v>
                      </c:pt>
                      <c:pt idx="32">
                        <c:v>2.071823204419676E-3</c:v>
                      </c:pt>
                      <c:pt idx="33">
                        <c:v>4.1350792556857918E-3</c:v>
                      </c:pt>
                      <c:pt idx="34">
                        <c:v>6.8634179821569496E-4</c:v>
                      </c:pt>
                      <c:pt idx="35">
                        <c:v>0</c:v>
                      </c:pt>
                      <c:pt idx="36">
                        <c:v>2.7434842249656199E-3</c:v>
                      </c:pt>
                      <c:pt idx="37">
                        <c:v>3.4199726402188713E-3</c:v>
                      </c:pt>
                      <c:pt idx="38">
                        <c:v>3.4083162917519783E-3</c:v>
                      </c:pt>
                      <c:pt idx="39">
                        <c:v>1.3586956521740579E-3</c:v>
                      </c:pt>
                      <c:pt idx="40">
                        <c:v>6.7842605156043234E-4</c:v>
                      </c:pt>
                      <c:pt idx="41">
                        <c:v>3.3898305084745228E-3</c:v>
                      </c:pt>
                      <c:pt idx="42">
                        <c:v>2.7027027027026751E-3</c:v>
                      </c:pt>
                      <c:pt idx="43">
                        <c:v>4.0431266846361336E-3</c:v>
                      </c:pt>
                      <c:pt idx="44">
                        <c:v>2.6845637583892135E-3</c:v>
                      </c:pt>
                      <c:pt idx="45">
                        <c:v>6.6934404283802706E-4</c:v>
                      </c:pt>
                      <c:pt idx="46">
                        <c:v>1.3377926421402897E-3</c:v>
                      </c:pt>
                      <c:pt idx="47">
                        <c:v>0</c:v>
                      </c:pt>
                      <c:pt idx="48">
                        <c:v>4.0080160320643543E-3</c:v>
                      </c:pt>
                      <c:pt idx="49">
                        <c:v>3.9920159680637557E-3</c:v>
                      </c:pt>
                      <c:pt idx="50">
                        <c:v>3.3134526176274992E-3</c:v>
                      </c:pt>
                      <c:pt idx="51">
                        <c:v>3.3025099075296716E-3</c:v>
                      </c:pt>
                      <c:pt idx="52">
                        <c:v>1.9749835418036987E-3</c:v>
                      </c:pt>
                      <c:pt idx="53">
                        <c:v>1.9710906701708719E-3</c:v>
                      </c:pt>
                      <c:pt idx="54">
                        <c:v>0</c:v>
                      </c:pt>
                      <c:pt idx="55">
                        <c:v>2.6229508196722318E-3</c:v>
                      </c:pt>
                      <c:pt idx="56">
                        <c:v>1.9620667102679956E-3</c:v>
                      </c:pt>
                      <c:pt idx="57">
                        <c:v>3.2637075718016106E-3</c:v>
                      </c:pt>
                      <c:pt idx="58">
                        <c:v>-6.5061808718280822E-4</c:v>
                      </c:pt>
                      <c:pt idx="59">
                        <c:v>-6.5104166666662966E-4</c:v>
                      </c:pt>
                      <c:pt idx="60">
                        <c:v>5.8631921824103816E-3</c:v>
                      </c:pt>
                      <c:pt idx="61">
                        <c:v>3.2383419689119286E-3</c:v>
                      </c:pt>
                      <c:pt idx="62">
                        <c:v>5.1646223369914424E-3</c:v>
                      </c:pt>
                      <c:pt idx="63">
                        <c:v>3.8535645472064228E-3</c:v>
                      </c:pt>
                      <c:pt idx="64">
                        <c:v>1.9193857965449368E-3</c:v>
                      </c:pt>
                      <c:pt idx="65">
                        <c:v>6.3856960408670282E-4</c:v>
                      </c:pt>
                      <c:pt idx="66">
                        <c:v>1.9144862795150708E-3</c:v>
                      </c:pt>
                      <c:pt idx="67">
                        <c:v>1.9108280254778176E-3</c:v>
                      </c:pt>
                      <c:pt idx="68">
                        <c:v>3.1786395422759295E-3</c:v>
                      </c:pt>
                      <c:pt idx="69">
                        <c:v>3.1685678073509749E-3</c:v>
                      </c:pt>
                      <c:pt idx="70">
                        <c:v>1.8951358180667732E-3</c:v>
                      </c:pt>
                      <c:pt idx="71">
                        <c:v>0</c:v>
                      </c:pt>
                      <c:pt idx="72">
                        <c:v>3.1525851197982124E-3</c:v>
                      </c:pt>
                      <c:pt idx="73">
                        <c:v>3.14267756128217E-3</c:v>
                      </c:pt>
                      <c:pt idx="74">
                        <c:v>2.5062656641603454E-3</c:v>
                      </c:pt>
                      <c:pt idx="75">
                        <c:v>1.2499999999999734E-3</c:v>
                      </c:pt>
                      <c:pt idx="76">
                        <c:v>-6.2421972534332237E-4</c:v>
                      </c:pt>
                      <c:pt idx="77">
                        <c:v>1.2492192379762734E-3</c:v>
                      </c:pt>
                      <c:pt idx="78">
                        <c:v>1.2476606363067688E-3</c:v>
                      </c:pt>
                      <c:pt idx="79">
                        <c:v>1.8691588785046953E-3</c:v>
                      </c:pt>
                      <c:pt idx="80">
                        <c:v>2.4875621890545485E-3</c:v>
                      </c:pt>
                      <c:pt idx="81">
                        <c:v>2.4813895781639062E-3</c:v>
                      </c:pt>
                      <c:pt idx="82">
                        <c:v>-6.1881188118806385E-4</c:v>
                      </c:pt>
                      <c:pt idx="83">
                        <c:v>-1.2383900928791824E-3</c:v>
                      </c:pt>
                      <c:pt idx="84">
                        <c:v>1.8598884066955979E-3</c:v>
                      </c:pt>
                      <c:pt idx="85">
                        <c:v>1.8564356435644136E-3</c:v>
                      </c:pt>
                      <c:pt idx="86">
                        <c:v>1.8529956763433386E-3</c:v>
                      </c:pt>
                      <c:pt idx="87">
                        <c:v>1.8495684340320562E-3</c:v>
                      </c:pt>
                      <c:pt idx="88">
                        <c:v>1.8461538461538307E-3</c:v>
                      </c:pt>
                      <c:pt idx="89">
                        <c:v>1.2285012285011554E-3</c:v>
                      </c:pt>
                      <c:pt idx="90">
                        <c:v>1.2269938650306678E-3</c:v>
                      </c:pt>
                      <c:pt idx="91">
                        <c:v>1.225490196078427E-3</c:v>
                      </c:pt>
                      <c:pt idx="92">
                        <c:v>1.2239902080781739E-3</c:v>
                      </c:pt>
                      <c:pt idx="93">
                        <c:v>2.4449877750611915E-3</c:v>
                      </c:pt>
                      <c:pt idx="94">
                        <c:v>0</c:v>
                      </c:pt>
                      <c:pt idx="95">
                        <c:v>-6.0975609756097615E-4</c:v>
                      </c:pt>
                      <c:pt idx="96">
                        <c:v>2.4405125076265577E-3</c:v>
                      </c:pt>
                      <c:pt idx="97">
                        <c:v>1.2172854534386879E-3</c:v>
                      </c:pt>
                      <c:pt idx="98">
                        <c:v>3.0395136778116338E-3</c:v>
                      </c:pt>
                      <c:pt idx="99">
                        <c:v>7.2727272727270975E-3</c:v>
                      </c:pt>
                      <c:pt idx="100">
                        <c:v>0</c:v>
                      </c:pt>
                      <c:pt idx="101">
                        <c:v>0</c:v>
                      </c:pt>
                      <c:pt idx="102">
                        <c:v>3.0084235860408093E-3</c:v>
                      </c:pt>
                      <c:pt idx="103">
                        <c:v>2.3995200959807672E-3</c:v>
                      </c:pt>
                      <c:pt idx="104">
                        <c:v>4.7875523638540862E-3</c:v>
                      </c:pt>
                      <c:pt idx="105">
                        <c:v>1.7867778439546456E-3</c:v>
                      </c:pt>
                      <c:pt idx="106">
                        <c:v>5.9453032104661574E-4</c:v>
                      </c:pt>
                      <c:pt idx="107">
                        <c:v>0</c:v>
                      </c:pt>
                      <c:pt idx="108">
                        <c:v>2.9708853238266109E-3</c:v>
                      </c:pt>
                      <c:pt idx="109">
                        <c:v>5.924170616113722E-3</c:v>
                      </c:pt>
                      <c:pt idx="110">
                        <c:v>8.2449941107183289E-3</c:v>
                      </c:pt>
                      <c:pt idx="111">
                        <c:v>5.8411214953291157E-4</c:v>
                      </c:pt>
                      <c:pt idx="112">
                        <c:v>1.1675423234092097E-3</c:v>
                      </c:pt>
                      <c:pt idx="113">
                        <c:v>5.2478134110787167E-3</c:v>
                      </c:pt>
                      <c:pt idx="114">
                        <c:v>2.3201856148491462E-3</c:v>
                      </c:pt>
                      <c:pt idx="115">
                        <c:v>0</c:v>
                      </c:pt>
                      <c:pt idx="116">
                        <c:v>5.2083333333332593E-3</c:v>
                      </c:pt>
                      <c:pt idx="117">
                        <c:v>1.7271157167531026E-3</c:v>
                      </c:pt>
                      <c:pt idx="118">
                        <c:v>5.7471264367814356E-4</c:v>
                      </c:pt>
                      <c:pt idx="119">
                        <c:v>-5.7438253877073464E-4</c:v>
                      </c:pt>
                      <c:pt idx="120">
                        <c:v>6.3218390804598013E-3</c:v>
                      </c:pt>
                      <c:pt idx="121">
                        <c:v>3.9977155910908557E-3</c:v>
                      </c:pt>
                      <c:pt idx="122">
                        <c:v>2.2753128555175195E-3</c:v>
                      </c:pt>
                      <c:pt idx="123">
                        <c:v>3.9727582292850006E-3</c:v>
                      </c:pt>
                      <c:pt idx="124">
                        <c:v>4.5223289994347216E-3</c:v>
                      </c:pt>
                      <c:pt idx="125">
                        <c:v>1.6882386043894915E-3</c:v>
                      </c:pt>
                      <c:pt idx="126">
                        <c:v>-2.8089887640448952E-3</c:v>
                      </c:pt>
                      <c:pt idx="127">
                        <c:v>0</c:v>
                      </c:pt>
                      <c:pt idx="128">
                        <c:v>4.5070422535211652E-3</c:v>
                      </c:pt>
                      <c:pt idx="129">
                        <c:v>-3.3651149747617737E-3</c:v>
                      </c:pt>
                      <c:pt idx="130">
                        <c:v>-1.6882386043892694E-3</c:v>
                      </c:pt>
                      <c:pt idx="131">
                        <c:v>-3.9458850056370842E-3</c:v>
                      </c:pt>
                      <c:pt idx="132">
                        <c:v>2.2637238256932868E-3</c:v>
                      </c:pt>
                      <c:pt idx="133">
                        <c:v>3.9525691699606735E-3</c:v>
                      </c:pt>
                      <c:pt idx="134">
                        <c:v>5.6242969628796935E-3</c:v>
                      </c:pt>
                      <c:pt idx="135">
                        <c:v>5.5928411633110464E-3</c:v>
                      </c:pt>
                      <c:pt idx="136">
                        <c:v>0</c:v>
                      </c:pt>
                      <c:pt idx="137">
                        <c:v>5.5617352614012461E-4</c:v>
                      </c:pt>
                      <c:pt idx="138">
                        <c:v>1.1117287381878782E-3</c:v>
                      </c:pt>
                      <c:pt idx="139">
                        <c:v>3.331482509716821E-3</c:v>
                      </c:pt>
                      <c:pt idx="140">
                        <c:v>1.6602102933038765E-3</c:v>
                      </c:pt>
                      <c:pt idx="141">
                        <c:v>1.6574585635360517E-3</c:v>
                      </c:pt>
                      <c:pt idx="142">
                        <c:v>0</c:v>
                      </c:pt>
                      <c:pt idx="143">
                        <c:v>-2.2062879205736463E-3</c:v>
                      </c:pt>
                      <c:pt idx="144">
                        <c:v>4.4223327805417156E-3</c:v>
                      </c:pt>
                      <c:pt idx="145">
                        <c:v>7.7050082553660193E-3</c:v>
                      </c:pt>
                      <c:pt idx="146">
                        <c:v>6.007646095030017E-3</c:v>
                      </c:pt>
                      <c:pt idx="147">
                        <c:v>-2.1715526601518986E-3</c:v>
                      </c:pt>
                      <c:pt idx="148">
                        <c:v>-1.6322089227421843E-3</c:v>
                      </c:pt>
                      <c:pt idx="149">
                        <c:v>1.0899182561308063E-3</c:v>
                      </c:pt>
                      <c:pt idx="150">
                        <c:v>1.0887316276537717E-3</c:v>
                      </c:pt>
                      <c:pt idx="151">
                        <c:v>3.8064165307232223E-3</c:v>
                      </c:pt>
                      <c:pt idx="152">
                        <c:v>3.250270855904569E-3</c:v>
                      </c:pt>
                      <c:pt idx="153">
                        <c:v>-1.0799136069113979E-3</c:v>
                      </c:pt>
                      <c:pt idx="154">
                        <c:v>-2.7027027027026751E-3</c:v>
                      </c:pt>
                      <c:pt idx="155">
                        <c:v>-1.0840108401083404E-3</c:v>
                      </c:pt>
                      <c:pt idx="156">
                        <c:v>4.8833423765597406E-3</c:v>
                      </c:pt>
                      <c:pt idx="157">
                        <c:v>5.3995680345573227E-3</c:v>
                      </c:pt>
                      <c:pt idx="158">
                        <c:v>6.4446831364124435E-3</c:v>
                      </c:pt>
                      <c:pt idx="159">
                        <c:v>3.2017075773744796E-3</c:v>
                      </c:pt>
                      <c:pt idx="160">
                        <c:v>5.8510638297872841E-3</c:v>
                      </c:pt>
                      <c:pt idx="161">
                        <c:v>3.1729243786355887E-3</c:v>
                      </c:pt>
                      <c:pt idx="162">
                        <c:v>-1.581444385872377E-3</c:v>
                      </c:pt>
                      <c:pt idx="163">
                        <c:v>5.2798310454060804E-4</c:v>
                      </c:pt>
                      <c:pt idx="164">
                        <c:v>2.1108179419524475E-3</c:v>
                      </c:pt>
                      <c:pt idx="165">
                        <c:v>5.26592943654558E-3</c:v>
                      </c:pt>
                      <c:pt idx="166">
                        <c:v>5.238344683080598E-4</c:v>
                      </c:pt>
                      <c:pt idx="167">
                        <c:v>-3.6649214659685292E-3</c:v>
                      </c:pt>
                      <c:pt idx="168">
                        <c:v>2.1019442984759884E-3</c:v>
                      </c:pt>
                      <c:pt idx="169">
                        <c:v>5.7682223387520715E-3</c:v>
                      </c:pt>
                      <c:pt idx="170">
                        <c:v>7.8206465067778286E-3</c:v>
                      </c:pt>
                      <c:pt idx="171">
                        <c:v>6.7252974650799935E-3</c:v>
                      </c:pt>
                      <c:pt idx="172">
                        <c:v>-1.0277492291880241E-3</c:v>
                      </c:pt>
                      <c:pt idx="173">
                        <c:v>5.1440329218110925E-4</c:v>
                      </c:pt>
                      <c:pt idx="174">
                        <c:v>4.6272493573265017E-3</c:v>
                      </c:pt>
                      <c:pt idx="175">
                        <c:v>5.1177072671442225E-3</c:v>
                      </c:pt>
                      <c:pt idx="176">
                        <c:v>1.2219959266802416E-2</c:v>
                      </c:pt>
                      <c:pt idx="177">
                        <c:v>2.012072434607548E-3</c:v>
                      </c:pt>
                      <c:pt idx="178">
                        <c:v>-8.0321285140562138E-3</c:v>
                      </c:pt>
                      <c:pt idx="179">
                        <c:v>-4.0485829959513442E-3</c:v>
                      </c:pt>
                      <c:pt idx="180">
                        <c:v>7.6219512195121464E-3</c:v>
                      </c:pt>
                      <c:pt idx="181">
                        <c:v>2.0171457387794245E-3</c:v>
                      </c:pt>
                      <c:pt idx="182">
                        <c:v>5.5359838953197293E-3</c:v>
                      </c:pt>
                      <c:pt idx="183">
                        <c:v>8.5085085085083723E-3</c:v>
                      </c:pt>
                      <c:pt idx="184">
                        <c:v>4.9627791563275903E-3</c:v>
                      </c:pt>
                      <c:pt idx="185">
                        <c:v>1.9753086419753707E-3</c:v>
                      </c:pt>
                      <c:pt idx="186">
                        <c:v>2.9571217348447476E-3</c:v>
                      </c:pt>
                      <c:pt idx="187">
                        <c:v>1.9656019656020263E-3</c:v>
                      </c:pt>
                      <c:pt idx="188">
                        <c:v>-4.9043648847474364E-3</c:v>
                      </c:pt>
                      <c:pt idx="189">
                        <c:v>-5.4213898472152966E-3</c:v>
                      </c:pt>
                      <c:pt idx="190">
                        <c:v>-1.4866204162538033E-3</c:v>
                      </c:pt>
                      <c:pt idx="191">
                        <c:v>1.4888337468983437E-3</c:v>
                      </c:pt>
                      <c:pt idx="192">
                        <c:v>3.0525272547075044E-3</c:v>
                      </c:pt>
                      <c:pt idx="193">
                        <c:v>5.3503675598767231E-3</c:v>
                      </c:pt>
                      <c:pt idx="194">
                        <c:v>9.1056958510853381E-3</c:v>
                      </c:pt>
                      <c:pt idx="195">
                        <c:v>6.4961626865089883E-3</c:v>
                      </c:pt>
                      <c:pt idx="196">
                        <c:v>6.110718674704696E-3</c:v>
                      </c:pt>
                      <c:pt idx="197">
                        <c:v>1.9379751766057662E-3</c:v>
                      </c:pt>
                      <c:pt idx="198">
                        <c:v>-2.543772078021922E-4</c:v>
                      </c:pt>
                      <c:pt idx="199">
                        <c:v>-1.8339022270870142E-3</c:v>
                      </c:pt>
                      <c:pt idx="200">
                        <c:v>2.755907405358915E-3</c:v>
                      </c:pt>
                      <c:pt idx="201">
                        <c:v>2.1391913281212371E-3</c:v>
                      </c:pt>
                      <c:pt idx="202">
                        <c:v>5.9396178734156813E-3</c:v>
                      </c:pt>
                      <c:pt idx="203">
                        <c:v>-6.7086312964781403E-4</c:v>
                      </c:pt>
                      <c:pt idx="204">
                        <c:v>4.9705764726046819E-3</c:v>
                      </c:pt>
                      <c:pt idx="205">
                        <c:v>2.9041121849535667E-3</c:v>
                      </c:pt>
                      <c:pt idx="206">
                        <c:v>8.6682129309896272E-3</c:v>
                      </c:pt>
                      <c:pt idx="207">
                        <c:v>6.0647783897194163E-3</c:v>
                      </c:pt>
                      <c:pt idx="208">
                        <c:v>8.4208860317562806E-3</c:v>
                      </c:pt>
                      <c:pt idx="209">
                        <c:v>1.0076996934894167E-2</c:v>
                      </c:pt>
                      <c:pt idx="210">
                        <c:v>5.2510111281218741E-3</c:v>
                      </c:pt>
                      <c:pt idx="211">
                        <c:v>-3.9915622556417896E-3</c:v>
                      </c:pt>
                      <c:pt idx="212">
                        <c:v>-1.3830185406644713E-3</c:v>
                      </c:pt>
                      <c:pt idx="213">
                        <c:v>-1.010133328457874E-2</c:v>
                      </c:pt>
                      <c:pt idx="214">
                        <c:v>-1.9152895328595876E-2</c:v>
                      </c:pt>
                      <c:pt idx="215">
                        <c:v>-1.0342473814287434E-2</c:v>
                      </c:pt>
                      <c:pt idx="216">
                        <c:v>4.3524173754210249E-3</c:v>
                      </c:pt>
                      <c:pt idx="217">
                        <c:v>4.9729330359047363E-3</c:v>
                      </c:pt>
                      <c:pt idx="218">
                        <c:v>2.4317484554154944E-3</c:v>
                      </c:pt>
                      <c:pt idx="219">
                        <c:v>2.4963682777880969E-3</c:v>
                      </c:pt>
                      <c:pt idx="220">
                        <c:v>2.8887638341774657E-3</c:v>
                      </c:pt>
                      <c:pt idx="221">
                        <c:v>8.589892263953347E-3</c:v>
                      </c:pt>
                      <c:pt idx="222">
                        <c:v>-1.5855869221532704E-3</c:v>
                      </c:pt>
                      <c:pt idx="223">
                        <c:v>2.2428500448106181E-3</c:v>
                      </c:pt>
                      <c:pt idx="224">
                        <c:v>6.2548069349599444E-4</c:v>
                      </c:pt>
                      <c:pt idx="225">
                        <c:v>9.6310118581843795E-4</c:v>
                      </c:pt>
                      <c:pt idx="226">
                        <c:v>7.0775336876738315E-4</c:v>
                      </c:pt>
                      <c:pt idx="227">
                        <c:v>-1.7611981694632961E-3</c:v>
                      </c:pt>
                      <c:pt idx="228">
                        <c:v>3.4174735701484327E-3</c:v>
                      </c:pt>
                      <c:pt idx="229">
                        <c:v>2.4920738207656612E-4</c:v>
                      </c:pt>
                      <c:pt idx="230">
                        <c:v>4.1062835365712758E-3</c:v>
                      </c:pt>
                      <c:pt idx="231">
                        <c:v>1.736884910697345E-3</c:v>
                      </c:pt>
                      <c:pt idx="232">
                        <c:v>7.75197354237811E-4</c:v>
                      </c:pt>
                      <c:pt idx="233">
                        <c:v>-9.7626708467390966E-4</c:v>
                      </c:pt>
                      <c:pt idx="234">
                        <c:v>2.1104305737162932E-4</c:v>
                      </c:pt>
                      <c:pt idx="235">
                        <c:v>1.3806642784079948E-3</c:v>
                      </c:pt>
                      <c:pt idx="236">
                        <c:v>5.8173623071566816E-4</c:v>
                      </c:pt>
                      <c:pt idx="237">
                        <c:v>1.2451988884769616E-3</c:v>
                      </c:pt>
                      <c:pt idx="238">
                        <c:v>4.206464238194485E-4</c:v>
                      </c:pt>
                      <c:pt idx="239">
                        <c:v>1.718440789203024E-3</c:v>
                      </c:pt>
                      <c:pt idx="240">
                        <c:v>4.7632300539741657E-3</c:v>
                      </c:pt>
                      <c:pt idx="241">
                        <c:v>4.9313650254514396E-3</c:v>
                      </c:pt>
                      <c:pt idx="242">
                        <c:v>9.7510720305094001E-3</c:v>
                      </c:pt>
                      <c:pt idx="243">
                        <c:v>6.4394295354570641E-3</c:v>
                      </c:pt>
                      <c:pt idx="244">
                        <c:v>4.7041875272335609E-3</c:v>
                      </c:pt>
                      <c:pt idx="245">
                        <c:v>-1.0709670566992902E-3</c:v>
                      </c:pt>
                      <c:pt idx="246">
                        <c:v>8.8604566679362229E-4</c:v>
                      </c:pt>
                      <c:pt idx="247">
                        <c:v>2.7575889023645495E-3</c:v>
                      </c:pt>
                      <c:pt idx="248">
                        <c:v>1.5184621156945077E-3</c:v>
                      </c:pt>
                      <c:pt idx="249">
                        <c:v>-2.0626826333582926E-3</c:v>
                      </c:pt>
                      <c:pt idx="250">
                        <c:v>-8.4356133044194426E-4</c:v>
                      </c:pt>
                      <c:pt idx="251">
                        <c:v>-2.4665163771382392E-3</c:v>
                      </c:pt>
                      <c:pt idx="252">
                        <c:v>4.4001914282676413E-3</c:v>
                      </c:pt>
                      <c:pt idx="253">
                        <c:v>4.4029735512762791E-3</c:v>
                      </c:pt>
                      <c:pt idx="254">
                        <c:v>7.5945586239309915E-3</c:v>
                      </c:pt>
                      <c:pt idx="255">
                        <c:v>3.0210295040804525E-3</c:v>
                      </c:pt>
                      <c:pt idx="256">
                        <c:v>-1.1734793663211729E-3</c:v>
                      </c:pt>
                      <c:pt idx="257">
                        <c:v>-1.4663968844504938E-3</c:v>
                      </c:pt>
                      <c:pt idx="258">
                        <c:v>-1.6297858618254946E-3</c:v>
                      </c:pt>
                      <c:pt idx="259">
                        <c:v>5.5651581814371021E-3</c:v>
                      </c:pt>
                      <c:pt idx="260">
                        <c:v>4.4622122676112319E-3</c:v>
                      </c:pt>
                      <c:pt idx="261">
                        <c:v>-3.8892514055322014E-4</c:v>
                      </c:pt>
                      <c:pt idx="262">
                        <c:v>-4.73808669488196E-3</c:v>
                      </c:pt>
                      <c:pt idx="263">
                        <c:v>-2.6930644902072309E-3</c:v>
                      </c:pt>
                      <c:pt idx="264">
                        <c:v>2.957304192926058E-3</c:v>
                      </c:pt>
                      <c:pt idx="265">
                        <c:v>8.1900295292687275E-3</c:v>
                      </c:pt>
                      <c:pt idx="266">
                        <c:v>2.6145085843749527E-3</c:v>
                      </c:pt>
                      <c:pt idx="267">
                        <c:v>-1.0396394770870732E-3</c:v>
                      </c:pt>
                      <c:pt idx="268">
                        <c:v>1.7804077735872337E-3</c:v>
                      </c:pt>
                      <c:pt idx="269">
                        <c:v>2.3997080855995279E-3</c:v>
                      </c:pt>
                      <c:pt idx="270">
                        <c:v>3.9399753323299258E-4</c:v>
                      </c:pt>
                      <c:pt idx="271">
                        <c:v>1.2029315570472043E-3</c:v>
                      </c:pt>
                      <c:pt idx="272">
                        <c:v>1.1630044852635191E-3</c:v>
                      </c:pt>
                      <c:pt idx="273">
                        <c:v>-2.5752832598047171E-3</c:v>
                      </c:pt>
                      <c:pt idx="274">
                        <c:v>-2.042424190523473E-3</c:v>
                      </c:pt>
                      <c:pt idx="275">
                        <c:v>-8.5811497882559706E-5</c:v>
                      </c:pt>
                      <c:pt idx="276">
                        <c:v>3.7202476732360878E-3</c:v>
                      </c:pt>
                      <c:pt idx="277">
                        <c:v>3.6979086509687509E-3</c:v>
                      </c:pt>
                      <c:pt idx="278">
                        <c:v>6.4400441262282282E-3</c:v>
                      </c:pt>
                      <c:pt idx="279">
                        <c:v>3.2967544531576909E-3</c:v>
                      </c:pt>
                      <c:pt idx="280">
                        <c:v>3.4926098400485106E-3</c:v>
                      </c:pt>
                      <c:pt idx="281">
                        <c:v>1.8621269440941557E-3</c:v>
                      </c:pt>
                      <c:pt idx="282">
                        <c:v>-3.901939641608454E-4</c:v>
                      </c:pt>
                      <c:pt idx="283">
                        <c:v>-1.6705141657922251E-3</c:v>
                      </c:pt>
                      <c:pt idx="284">
                        <c:v>7.5256882431085081E-4</c:v>
                      </c:pt>
                      <c:pt idx="285">
                        <c:v>-2.5122778125539202E-3</c:v>
                      </c:pt>
                      <c:pt idx="286">
                        <c:v>-5.3994179410612464E-3</c:v>
                      </c:pt>
                      <c:pt idx="287">
                        <c:v>-5.6701009100109667E-3</c:v>
                      </c:pt>
                      <c:pt idx="288">
                        <c:v>-4.7058923734732971E-3</c:v>
                      </c:pt>
                      <c:pt idx="289">
                        <c:v>4.3430449237722435E-3</c:v>
                      </c:pt>
                      <c:pt idx="290">
                        <c:v>5.9517216110973603E-3</c:v>
                      </c:pt>
                      <c:pt idx="291">
                        <c:v>2.0328732545877859E-3</c:v>
                      </c:pt>
                      <c:pt idx="292">
                        <c:v>5.0972320254947245E-3</c:v>
                      </c:pt>
                      <c:pt idx="293">
                        <c:v>3.5028699985282241E-3</c:v>
                      </c:pt>
                      <c:pt idx="294">
                        <c:v>6.7047159295618997E-5</c:v>
                      </c:pt>
                      <c:pt idx="295">
                        <c:v>-1.4162762828194841E-3</c:v>
                      </c:pt>
                      <c:pt idx="296">
                        <c:v>-1.5567565753034085E-3</c:v>
                      </c:pt>
                      <c:pt idx="297">
                        <c:v>-4.4968375044651676E-4</c:v>
                      </c:pt>
                      <c:pt idx="298">
                        <c:v>-2.1106803790814643E-3</c:v>
                      </c:pt>
                      <c:pt idx="299">
                        <c:v>-3.4170964371187385E-3</c:v>
                      </c:pt>
                      <c:pt idx="300">
                        <c:v>1.6531022090686687E-3</c:v>
                      </c:pt>
                      <c:pt idx="301">
                        <c:v>8.2307653345492504E-4</c:v>
                      </c:pt>
                      <c:pt idx="302">
                        <c:v>4.3060001433927741E-3</c:v>
                      </c:pt>
                      <c:pt idx="303">
                        <c:v>4.7410679791040078E-3</c:v>
                      </c:pt>
                      <c:pt idx="304">
                        <c:v>4.0457909981150841E-3</c:v>
                      </c:pt>
                      <c:pt idx="305">
                        <c:v>3.2843661672818936E-3</c:v>
                      </c:pt>
                      <c:pt idx="306">
                        <c:v>-1.618136404749948E-3</c:v>
                      </c:pt>
                      <c:pt idx="307">
                        <c:v>9.1843010788439372E-4</c:v>
                      </c:pt>
                      <c:pt idx="308">
                        <c:v>2.4039958646289161E-3</c:v>
                      </c:pt>
                      <c:pt idx="309">
                        <c:v>1.2467485130143174E-3</c:v>
                      </c:pt>
                      <c:pt idx="310">
                        <c:v>-1.5554608673349346E-3</c:v>
                      </c:pt>
                      <c:pt idx="311">
                        <c:v>3.2732139231739232E-4</c:v>
                      </c:pt>
                      <c:pt idx="312">
                        <c:v>5.8277278902547636E-3</c:v>
                      </c:pt>
                      <c:pt idx="313">
                        <c:v>3.1461173864164582E-3</c:v>
                      </c:pt>
                      <c:pt idx="314">
                        <c:v>8.1279787194721287E-4</c:v>
                      </c:pt>
                      <c:pt idx="315">
                        <c:v>2.965533365326678E-3</c:v>
                      </c:pt>
                      <c:pt idx="316">
                        <c:v>8.5472182689638743E-4</c:v>
                      </c:pt>
                      <c:pt idx="317">
                        <c:v>9.0711101486107282E-4</c:v>
                      </c:pt>
                      <c:pt idx="318">
                        <c:v>-6.8992263885203631E-4</c:v>
                      </c:pt>
                      <c:pt idx="319">
                        <c:v>2.9944522971085963E-3</c:v>
                      </c:pt>
                      <c:pt idx="320">
                        <c:v>5.2949058932301174E-3</c:v>
                      </c:pt>
                      <c:pt idx="321">
                        <c:v>-6.3204210372769243E-4</c:v>
                      </c:pt>
                      <c:pt idx="322">
                        <c:v>2.4324685907517463E-5</c:v>
                      </c:pt>
                      <c:pt idx="323">
                        <c:v>-5.8783227726233456E-4</c:v>
                      </c:pt>
                      <c:pt idx="324">
                        <c:v>5.4477454527752656E-3</c:v>
                      </c:pt>
                      <c:pt idx="325">
                        <c:v>4.5346899748657243E-3</c:v>
                      </c:pt>
                      <c:pt idx="326">
                        <c:v>2.2611259041491749E-3</c:v>
                      </c:pt>
                      <c:pt idx="327">
                        <c:v>3.9750915633489647E-3</c:v>
                      </c:pt>
                      <c:pt idx="328">
                        <c:v>4.1589169254347969E-3</c:v>
                      </c:pt>
                      <c:pt idx="329">
                        <c:v>1.5938757015439009E-3</c:v>
                      </c:pt>
                      <c:pt idx="330">
                        <c:v>6.7463262285238912E-5</c:v>
                      </c:pt>
                      <c:pt idx="331">
                        <c:v>5.5554232835719475E-4</c:v>
                      </c:pt>
                      <c:pt idx="332">
                        <c:v>1.1620251758901468E-3</c:v>
                      </c:pt>
                      <c:pt idx="333">
                        <c:v>1.766763455725906E-3</c:v>
                      </c:pt>
                      <c:pt idx="334">
                        <c:v>-3.3493485181009808E-3</c:v>
                      </c:pt>
                      <c:pt idx="335">
                        <c:v>-3.1939628151310684E-3</c:v>
                      </c:pt>
                      <c:pt idx="336">
                        <c:v>1.9065966652469513E-3</c:v>
                      </c:pt>
                      <c:pt idx="337">
                        <c:v>4.2270531400967482E-3</c:v>
                      </c:pt>
                      <c:pt idx="338">
                        <c:v>5.6413583568060144E-3</c:v>
                      </c:pt>
                      <c:pt idx="339">
                        <c:v>5.2950016128905375E-3</c:v>
                      </c:pt>
                      <c:pt idx="340">
                        <c:v>2.1287585893843275E-3</c:v>
                      </c:pt>
                      <c:pt idx="341">
                        <c:v>1.9914718148150712E-4</c:v>
                      </c:pt>
                      <c:pt idx="342">
                        <c:v>1.6709416224534035E-3</c:v>
                      </c:pt>
                      <c:pt idx="343">
                        <c:v>-5.0668236082906937E-5</c:v>
                      </c:pt>
                      <c:pt idx="344">
                        <c:v>7.8344857693002368E-4</c:v>
                      </c:pt>
                      <c:pt idx="345">
                        <c:v>2.2861905522297832E-3</c:v>
                      </c:pt>
                      <c:pt idx="346">
                        <c:v>-5.3624303466914824E-4</c:v>
                      </c:pt>
                      <c:pt idx="347">
                        <c:v>-9.0976952505383846E-4</c:v>
                      </c:pt>
                      <c:pt idx="348">
                        <c:v>3.8797699378148032E-3</c:v>
                      </c:pt>
                      <c:pt idx="349">
                        <c:v>2.7406181314952871E-3</c:v>
                      </c:pt>
                      <c:pt idx="350">
                        <c:v>-2.1764510317846542E-3</c:v>
                      </c:pt>
                      <c:pt idx="351">
                        <c:v>-6.6869418669972536E-3</c:v>
                      </c:pt>
                      <c:pt idx="352">
                        <c:v>1.9501616683959E-5</c:v>
                      </c:pt>
                      <c:pt idx="353">
                        <c:v>5.4720469277753647E-3</c:v>
                      </c:pt>
                      <c:pt idx="354">
                        <c:v>5.0582435016697236E-3</c:v>
                      </c:pt>
                      <c:pt idx="355">
                        <c:v>3.1532105240814623E-3</c:v>
                      </c:pt>
                      <c:pt idx="356">
                        <c:v>1.3927469432666317E-3</c:v>
                      </c:pt>
                      <c:pt idx="357">
                        <c:v>4.1493775933609811E-4</c:v>
                      </c:pt>
                      <c:pt idx="358">
                        <c:v>-6.1062721784410634E-4</c:v>
                      </c:pt>
                      <c:pt idx="359">
                        <c:v>9.4147846704251137E-4</c:v>
                      </c:pt>
                      <c:pt idx="360">
                        <c:v>4.2537834870275404E-3</c:v>
                      </c:pt>
                      <c:pt idx="361">
                        <c:v>5.4743827939232048E-3</c:v>
                      </c:pt>
                      <c:pt idx="362">
                        <c:v>7.083273133749568E-3</c:v>
                      </c:pt>
                      <c:pt idx="363">
                        <c:v>8.2189091540600945E-3</c:v>
                      </c:pt>
                      <c:pt idx="364">
                        <c:v>8.017105154762838E-3</c:v>
                      </c:pt>
                      <c:pt idx="365">
                        <c:v>9.2906629023572496E-3</c:v>
                      </c:pt>
                      <c:pt idx="366">
                        <c:v>4.8105235262938528E-3</c:v>
                      </c:pt>
                      <c:pt idx="367">
                        <c:v>2.0659113636114501E-3</c:v>
                      </c:pt>
                      <c:pt idx="368">
                        <c:v>2.715970859058281E-3</c:v>
                      </c:pt>
                      <c:pt idx="369">
                        <c:v>8.3081185520030854E-3</c:v>
                      </c:pt>
                      <c:pt idx="370">
                        <c:v>4.913427504347645E-3</c:v>
                      </c:pt>
                      <c:pt idx="371">
                        <c:v>3.0725171614836011E-3</c:v>
                      </c:pt>
                      <c:pt idx="372">
                        <c:v>8.414573783545265E-3</c:v>
                      </c:pt>
                      <c:pt idx="373">
                        <c:v>9.133979256476854E-3</c:v>
                      </c:pt>
                      <c:pt idx="374">
                        <c:v>1.3351379548562692E-2</c:v>
                      </c:pt>
                      <c:pt idx="375">
                        <c:v>5.5825310256552019E-3</c:v>
                      </c:pt>
                      <c:pt idx="376">
                        <c:v>1.1023523999598828E-2</c:v>
                      </c:pt>
                      <c:pt idx="377">
                        <c:v>1.3736075758819855E-2</c:v>
                      </c:pt>
                      <c:pt idx="378">
                        <c:v>-1.1811913833770227E-4</c:v>
                      </c:pt>
                      <c:pt idx="379">
                        <c:v>-3.5439927635050328E-4</c:v>
                      </c:pt>
                      <c:pt idx="380">
                        <c:v>2.1507845130008807E-3</c:v>
                      </c:pt>
                      <c:pt idx="381">
                        <c:v>4.0564944341123788E-3</c:v>
                      </c:pt>
                      <c:pt idx="382">
                        <c:v>-1.0100264418881899E-3</c:v>
                      </c:pt>
                      <c:pt idx="383">
                        <c:v>-3.0700914645410693E-3</c:v>
                      </c:pt>
                      <c:pt idx="384">
                        <c:v>7.9953638345400257E-3</c:v>
                      </c:pt>
                      <c:pt idx="385">
                        <c:v>5.5821105057323184E-3</c:v>
                      </c:pt>
                      <c:pt idx="386">
                        <c:v>3.3107299561230263E-3</c:v>
                      </c:pt>
                    </c:numCache>
                  </c:numRef>
                </c:val>
                <c:smooth val="0"/>
                <c:extLst>
                  <c:ext xmlns:c16="http://schemas.microsoft.com/office/drawing/2014/chart" uri="{C3380CC4-5D6E-409C-BE32-E72D297353CC}">
                    <c16:uniqueId val="{00000001-3E94-4901-8846-CDFA7CFD4692}"/>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Monthly!$G$1</c15:sqref>
                        </c15:formulaRef>
                      </c:ext>
                    </c:extLst>
                    <c:strCache>
                      <c:ptCount val="1"/>
                      <c:pt idx="0">
                        <c:v>30-yr CPI Avg</c:v>
                      </c:pt>
                    </c:strCache>
                  </c:strRef>
                </c:tx>
                <c:spPr>
                  <a:ln w="28575" cap="rnd">
                    <a:solidFill>
                      <a:schemeClr val="tx2"/>
                    </a:solidFill>
                    <a:prstDash val="dash"/>
                    <a:round/>
                  </a:ln>
                  <a:effectLst/>
                </c:spPr>
                <c:marker>
                  <c:symbol val="none"/>
                </c:marker>
                <c:cat>
                  <c:numRef>
                    <c:extLst xmlns:c15="http://schemas.microsoft.com/office/drawing/2012/chart">
                      <c:ext xmlns:c15="http://schemas.microsoft.com/office/drawing/2012/chart" uri="{02D57815-91ED-43cb-92C2-25804820EDAC}">
                        <c15:formulaRef>
                          <c15:sqref>Monthly!$B$2:$B$581</c15:sqref>
                        </c15:formulaRef>
                      </c:ext>
                    </c:extLst>
                    <c:numCache>
                      <c:formatCode>yyyy</c:formatCode>
                      <c:ptCount val="387"/>
                      <c:pt idx="0">
                        <c:v>33269</c:v>
                      </c:pt>
                      <c:pt idx="1">
                        <c:v>33297</c:v>
                      </c:pt>
                      <c:pt idx="2">
                        <c:v>33328</c:v>
                      </c:pt>
                      <c:pt idx="3">
                        <c:v>33358</c:v>
                      </c:pt>
                      <c:pt idx="4">
                        <c:v>33389</c:v>
                      </c:pt>
                      <c:pt idx="5">
                        <c:v>33419</c:v>
                      </c:pt>
                      <c:pt idx="6">
                        <c:v>33450</c:v>
                      </c:pt>
                      <c:pt idx="7">
                        <c:v>33481</c:v>
                      </c:pt>
                      <c:pt idx="8">
                        <c:v>33511</c:v>
                      </c:pt>
                      <c:pt idx="9">
                        <c:v>33542</c:v>
                      </c:pt>
                      <c:pt idx="10">
                        <c:v>33572</c:v>
                      </c:pt>
                      <c:pt idx="11">
                        <c:v>33603</c:v>
                      </c:pt>
                      <c:pt idx="12">
                        <c:v>33634</c:v>
                      </c:pt>
                      <c:pt idx="13">
                        <c:v>33663</c:v>
                      </c:pt>
                      <c:pt idx="14">
                        <c:v>33694</c:v>
                      </c:pt>
                      <c:pt idx="15">
                        <c:v>33724</c:v>
                      </c:pt>
                      <c:pt idx="16">
                        <c:v>33755</c:v>
                      </c:pt>
                      <c:pt idx="17">
                        <c:v>33785</c:v>
                      </c:pt>
                      <c:pt idx="18">
                        <c:v>33816</c:v>
                      </c:pt>
                      <c:pt idx="19">
                        <c:v>33847</c:v>
                      </c:pt>
                      <c:pt idx="20">
                        <c:v>33877</c:v>
                      </c:pt>
                      <c:pt idx="21">
                        <c:v>33908</c:v>
                      </c:pt>
                      <c:pt idx="22">
                        <c:v>33938</c:v>
                      </c:pt>
                      <c:pt idx="23">
                        <c:v>33969</c:v>
                      </c:pt>
                      <c:pt idx="24">
                        <c:v>34000</c:v>
                      </c:pt>
                      <c:pt idx="25">
                        <c:v>34028</c:v>
                      </c:pt>
                      <c:pt idx="26">
                        <c:v>34059</c:v>
                      </c:pt>
                      <c:pt idx="27">
                        <c:v>34089</c:v>
                      </c:pt>
                      <c:pt idx="28">
                        <c:v>34120</c:v>
                      </c:pt>
                      <c:pt idx="29">
                        <c:v>34150</c:v>
                      </c:pt>
                      <c:pt idx="30">
                        <c:v>34181</c:v>
                      </c:pt>
                      <c:pt idx="31">
                        <c:v>34212</c:v>
                      </c:pt>
                      <c:pt idx="32">
                        <c:v>34242</c:v>
                      </c:pt>
                      <c:pt idx="33">
                        <c:v>34273</c:v>
                      </c:pt>
                      <c:pt idx="34">
                        <c:v>34303</c:v>
                      </c:pt>
                      <c:pt idx="35">
                        <c:v>34334</c:v>
                      </c:pt>
                      <c:pt idx="36">
                        <c:v>34365</c:v>
                      </c:pt>
                      <c:pt idx="37">
                        <c:v>34393</c:v>
                      </c:pt>
                      <c:pt idx="38">
                        <c:v>34424</c:v>
                      </c:pt>
                      <c:pt idx="39">
                        <c:v>34454</c:v>
                      </c:pt>
                      <c:pt idx="40">
                        <c:v>34485</c:v>
                      </c:pt>
                      <c:pt idx="41">
                        <c:v>34515</c:v>
                      </c:pt>
                      <c:pt idx="42">
                        <c:v>34546</c:v>
                      </c:pt>
                      <c:pt idx="43">
                        <c:v>34577</c:v>
                      </c:pt>
                      <c:pt idx="44">
                        <c:v>34607</c:v>
                      </c:pt>
                      <c:pt idx="45">
                        <c:v>34638</c:v>
                      </c:pt>
                      <c:pt idx="46">
                        <c:v>34668</c:v>
                      </c:pt>
                      <c:pt idx="47">
                        <c:v>34699</c:v>
                      </c:pt>
                      <c:pt idx="48">
                        <c:v>34730</c:v>
                      </c:pt>
                      <c:pt idx="49">
                        <c:v>34758</c:v>
                      </c:pt>
                      <c:pt idx="50">
                        <c:v>34789</c:v>
                      </c:pt>
                      <c:pt idx="51">
                        <c:v>34819</c:v>
                      </c:pt>
                      <c:pt idx="52">
                        <c:v>34850</c:v>
                      </c:pt>
                      <c:pt idx="53">
                        <c:v>34880</c:v>
                      </c:pt>
                      <c:pt idx="54">
                        <c:v>34911</c:v>
                      </c:pt>
                      <c:pt idx="55">
                        <c:v>34942</c:v>
                      </c:pt>
                      <c:pt idx="56">
                        <c:v>34972</c:v>
                      </c:pt>
                      <c:pt idx="57">
                        <c:v>35003</c:v>
                      </c:pt>
                      <c:pt idx="58">
                        <c:v>35033</c:v>
                      </c:pt>
                      <c:pt idx="59">
                        <c:v>35064</c:v>
                      </c:pt>
                      <c:pt idx="60">
                        <c:v>35095</c:v>
                      </c:pt>
                      <c:pt idx="61">
                        <c:v>35124</c:v>
                      </c:pt>
                      <c:pt idx="62">
                        <c:v>35155</c:v>
                      </c:pt>
                      <c:pt idx="63">
                        <c:v>35185</c:v>
                      </c:pt>
                      <c:pt idx="64">
                        <c:v>35216</c:v>
                      </c:pt>
                      <c:pt idx="65">
                        <c:v>35246</c:v>
                      </c:pt>
                      <c:pt idx="66">
                        <c:v>35277</c:v>
                      </c:pt>
                      <c:pt idx="67">
                        <c:v>35308</c:v>
                      </c:pt>
                      <c:pt idx="68">
                        <c:v>35338</c:v>
                      </c:pt>
                      <c:pt idx="69">
                        <c:v>35369</c:v>
                      </c:pt>
                      <c:pt idx="70">
                        <c:v>35399</c:v>
                      </c:pt>
                      <c:pt idx="71">
                        <c:v>35430</c:v>
                      </c:pt>
                      <c:pt idx="72">
                        <c:v>35461</c:v>
                      </c:pt>
                      <c:pt idx="73">
                        <c:v>35489</c:v>
                      </c:pt>
                      <c:pt idx="74">
                        <c:v>35520</c:v>
                      </c:pt>
                      <c:pt idx="75">
                        <c:v>35550</c:v>
                      </c:pt>
                      <c:pt idx="76">
                        <c:v>35581</c:v>
                      </c:pt>
                      <c:pt idx="77">
                        <c:v>35611</c:v>
                      </c:pt>
                      <c:pt idx="78">
                        <c:v>35642</c:v>
                      </c:pt>
                      <c:pt idx="79">
                        <c:v>35673</c:v>
                      </c:pt>
                      <c:pt idx="80">
                        <c:v>35703</c:v>
                      </c:pt>
                      <c:pt idx="81">
                        <c:v>35734</c:v>
                      </c:pt>
                      <c:pt idx="82">
                        <c:v>35764</c:v>
                      </c:pt>
                      <c:pt idx="83">
                        <c:v>35795</c:v>
                      </c:pt>
                      <c:pt idx="84">
                        <c:v>35826</c:v>
                      </c:pt>
                      <c:pt idx="85">
                        <c:v>35854</c:v>
                      </c:pt>
                      <c:pt idx="86">
                        <c:v>35885</c:v>
                      </c:pt>
                      <c:pt idx="87">
                        <c:v>35915</c:v>
                      </c:pt>
                      <c:pt idx="88">
                        <c:v>35946</c:v>
                      </c:pt>
                      <c:pt idx="89">
                        <c:v>35976</c:v>
                      </c:pt>
                      <c:pt idx="90">
                        <c:v>36007</c:v>
                      </c:pt>
                      <c:pt idx="91">
                        <c:v>36038</c:v>
                      </c:pt>
                      <c:pt idx="92">
                        <c:v>36068</c:v>
                      </c:pt>
                      <c:pt idx="93">
                        <c:v>36099</c:v>
                      </c:pt>
                      <c:pt idx="94">
                        <c:v>36129</c:v>
                      </c:pt>
                      <c:pt idx="95">
                        <c:v>36160</c:v>
                      </c:pt>
                      <c:pt idx="96">
                        <c:v>36191</c:v>
                      </c:pt>
                      <c:pt idx="97">
                        <c:v>36219</c:v>
                      </c:pt>
                      <c:pt idx="98">
                        <c:v>36250</c:v>
                      </c:pt>
                      <c:pt idx="99">
                        <c:v>36280</c:v>
                      </c:pt>
                      <c:pt idx="100">
                        <c:v>36311</c:v>
                      </c:pt>
                      <c:pt idx="101">
                        <c:v>36341</c:v>
                      </c:pt>
                      <c:pt idx="102">
                        <c:v>36372</c:v>
                      </c:pt>
                      <c:pt idx="103">
                        <c:v>36403</c:v>
                      </c:pt>
                      <c:pt idx="104">
                        <c:v>36433</c:v>
                      </c:pt>
                      <c:pt idx="105">
                        <c:v>36464</c:v>
                      </c:pt>
                      <c:pt idx="106">
                        <c:v>36494</c:v>
                      </c:pt>
                      <c:pt idx="107">
                        <c:v>36525</c:v>
                      </c:pt>
                      <c:pt idx="108">
                        <c:v>36556</c:v>
                      </c:pt>
                      <c:pt idx="109">
                        <c:v>36585</c:v>
                      </c:pt>
                      <c:pt idx="110">
                        <c:v>36616</c:v>
                      </c:pt>
                      <c:pt idx="111">
                        <c:v>36646</c:v>
                      </c:pt>
                      <c:pt idx="112">
                        <c:v>36677</c:v>
                      </c:pt>
                      <c:pt idx="113">
                        <c:v>36707</c:v>
                      </c:pt>
                      <c:pt idx="114">
                        <c:v>36738</c:v>
                      </c:pt>
                      <c:pt idx="115">
                        <c:v>36769</c:v>
                      </c:pt>
                      <c:pt idx="116">
                        <c:v>36799</c:v>
                      </c:pt>
                      <c:pt idx="117">
                        <c:v>36830</c:v>
                      </c:pt>
                      <c:pt idx="118">
                        <c:v>36860</c:v>
                      </c:pt>
                      <c:pt idx="119">
                        <c:v>36891</c:v>
                      </c:pt>
                      <c:pt idx="120">
                        <c:v>36922</c:v>
                      </c:pt>
                      <c:pt idx="121">
                        <c:v>36950</c:v>
                      </c:pt>
                      <c:pt idx="122">
                        <c:v>36981</c:v>
                      </c:pt>
                      <c:pt idx="123">
                        <c:v>37011</c:v>
                      </c:pt>
                      <c:pt idx="124">
                        <c:v>37042</c:v>
                      </c:pt>
                      <c:pt idx="125">
                        <c:v>37072</c:v>
                      </c:pt>
                      <c:pt idx="126">
                        <c:v>37103</c:v>
                      </c:pt>
                      <c:pt idx="127">
                        <c:v>37134</c:v>
                      </c:pt>
                      <c:pt idx="128">
                        <c:v>37164</c:v>
                      </c:pt>
                      <c:pt idx="129">
                        <c:v>37195</c:v>
                      </c:pt>
                      <c:pt idx="130">
                        <c:v>37225</c:v>
                      </c:pt>
                      <c:pt idx="131">
                        <c:v>37256</c:v>
                      </c:pt>
                      <c:pt idx="132">
                        <c:v>37287</c:v>
                      </c:pt>
                      <c:pt idx="133">
                        <c:v>37315</c:v>
                      </c:pt>
                      <c:pt idx="134">
                        <c:v>37346</c:v>
                      </c:pt>
                      <c:pt idx="135">
                        <c:v>37376</c:v>
                      </c:pt>
                      <c:pt idx="136">
                        <c:v>37407</c:v>
                      </c:pt>
                      <c:pt idx="137">
                        <c:v>37437</c:v>
                      </c:pt>
                      <c:pt idx="138">
                        <c:v>37468</c:v>
                      </c:pt>
                      <c:pt idx="139">
                        <c:v>37499</c:v>
                      </c:pt>
                      <c:pt idx="140">
                        <c:v>37529</c:v>
                      </c:pt>
                      <c:pt idx="141">
                        <c:v>37560</c:v>
                      </c:pt>
                      <c:pt idx="142">
                        <c:v>37590</c:v>
                      </c:pt>
                      <c:pt idx="143">
                        <c:v>37621</c:v>
                      </c:pt>
                      <c:pt idx="144">
                        <c:v>37652</c:v>
                      </c:pt>
                      <c:pt idx="145">
                        <c:v>37680</c:v>
                      </c:pt>
                      <c:pt idx="146">
                        <c:v>37711</c:v>
                      </c:pt>
                      <c:pt idx="147">
                        <c:v>37741</c:v>
                      </c:pt>
                      <c:pt idx="148">
                        <c:v>37772</c:v>
                      </c:pt>
                      <c:pt idx="149">
                        <c:v>37802</c:v>
                      </c:pt>
                      <c:pt idx="150">
                        <c:v>37833</c:v>
                      </c:pt>
                      <c:pt idx="151">
                        <c:v>37864</c:v>
                      </c:pt>
                      <c:pt idx="152">
                        <c:v>37894</c:v>
                      </c:pt>
                      <c:pt idx="153">
                        <c:v>37925</c:v>
                      </c:pt>
                      <c:pt idx="154">
                        <c:v>37955</c:v>
                      </c:pt>
                      <c:pt idx="155">
                        <c:v>37986</c:v>
                      </c:pt>
                      <c:pt idx="156">
                        <c:v>38017</c:v>
                      </c:pt>
                      <c:pt idx="157">
                        <c:v>38046</c:v>
                      </c:pt>
                      <c:pt idx="158">
                        <c:v>38077</c:v>
                      </c:pt>
                      <c:pt idx="159">
                        <c:v>38107</c:v>
                      </c:pt>
                      <c:pt idx="160">
                        <c:v>38138</c:v>
                      </c:pt>
                      <c:pt idx="161">
                        <c:v>38168</c:v>
                      </c:pt>
                      <c:pt idx="162">
                        <c:v>38199</c:v>
                      </c:pt>
                      <c:pt idx="163">
                        <c:v>38230</c:v>
                      </c:pt>
                      <c:pt idx="164">
                        <c:v>38260</c:v>
                      </c:pt>
                      <c:pt idx="165">
                        <c:v>38291</c:v>
                      </c:pt>
                      <c:pt idx="166">
                        <c:v>38321</c:v>
                      </c:pt>
                      <c:pt idx="167">
                        <c:v>38352</c:v>
                      </c:pt>
                      <c:pt idx="168">
                        <c:v>38383</c:v>
                      </c:pt>
                      <c:pt idx="169">
                        <c:v>38411</c:v>
                      </c:pt>
                      <c:pt idx="170">
                        <c:v>38442</c:v>
                      </c:pt>
                      <c:pt idx="171">
                        <c:v>38472</c:v>
                      </c:pt>
                      <c:pt idx="172">
                        <c:v>38503</c:v>
                      </c:pt>
                      <c:pt idx="173">
                        <c:v>38533</c:v>
                      </c:pt>
                      <c:pt idx="174">
                        <c:v>38564</c:v>
                      </c:pt>
                      <c:pt idx="175">
                        <c:v>38595</c:v>
                      </c:pt>
                      <c:pt idx="176">
                        <c:v>38625</c:v>
                      </c:pt>
                      <c:pt idx="177">
                        <c:v>38656</c:v>
                      </c:pt>
                      <c:pt idx="178">
                        <c:v>38686</c:v>
                      </c:pt>
                      <c:pt idx="179">
                        <c:v>38717</c:v>
                      </c:pt>
                      <c:pt idx="180">
                        <c:v>38748</c:v>
                      </c:pt>
                      <c:pt idx="181">
                        <c:v>38776</c:v>
                      </c:pt>
                      <c:pt idx="182">
                        <c:v>38807</c:v>
                      </c:pt>
                      <c:pt idx="183">
                        <c:v>38837</c:v>
                      </c:pt>
                      <c:pt idx="184">
                        <c:v>38868</c:v>
                      </c:pt>
                      <c:pt idx="185">
                        <c:v>38898</c:v>
                      </c:pt>
                      <c:pt idx="186">
                        <c:v>38929</c:v>
                      </c:pt>
                      <c:pt idx="187">
                        <c:v>38960</c:v>
                      </c:pt>
                      <c:pt idx="188">
                        <c:v>38990</c:v>
                      </c:pt>
                      <c:pt idx="189">
                        <c:v>39021</c:v>
                      </c:pt>
                      <c:pt idx="190">
                        <c:v>39051</c:v>
                      </c:pt>
                      <c:pt idx="191">
                        <c:v>39082</c:v>
                      </c:pt>
                      <c:pt idx="192">
                        <c:v>39113</c:v>
                      </c:pt>
                      <c:pt idx="193">
                        <c:v>39141</c:v>
                      </c:pt>
                      <c:pt idx="194">
                        <c:v>39172</c:v>
                      </c:pt>
                      <c:pt idx="195">
                        <c:v>39202</c:v>
                      </c:pt>
                      <c:pt idx="196">
                        <c:v>39233</c:v>
                      </c:pt>
                      <c:pt idx="197">
                        <c:v>39263</c:v>
                      </c:pt>
                      <c:pt idx="198">
                        <c:v>39294</c:v>
                      </c:pt>
                      <c:pt idx="199">
                        <c:v>39325</c:v>
                      </c:pt>
                      <c:pt idx="200">
                        <c:v>39355</c:v>
                      </c:pt>
                      <c:pt idx="201">
                        <c:v>39386</c:v>
                      </c:pt>
                      <c:pt idx="202">
                        <c:v>39416</c:v>
                      </c:pt>
                      <c:pt idx="203">
                        <c:v>39447</c:v>
                      </c:pt>
                      <c:pt idx="204">
                        <c:v>39478</c:v>
                      </c:pt>
                      <c:pt idx="205">
                        <c:v>39507</c:v>
                      </c:pt>
                      <c:pt idx="206">
                        <c:v>39538</c:v>
                      </c:pt>
                      <c:pt idx="207">
                        <c:v>39568</c:v>
                      </c:pt>
                      <c:pt idx="208">
                        <c:v>39599</c:v>
                      </c:pt>
                      <c:pt idx="209">
                        <c:v>39629</c:v>
                      </c:pt>
                      <c:pt idx="210">
                        <c:v>39660</c:v>
                      </c:pt>
                      <c:pt idx="211">
                        <c:v>39691</c:v>
                      </c:pt>
                      <c:pt idx="212">
                        <c:v>39721</c:v>
                      </c:pt>
                      <c:pt idx="213">
                        <c:v>39752</c:v>
                      </c:pt>
                      <c:pt idx="214">
                        <c:v>39782</c:v>
                      </c:pt>
                      <c:pt idx="215">
                        <c:v>39813</c:v>
                      </c:pt>
                      <c:pt idx="216">
                        <c:v>39844</c:v>
                      </c:pt>
                      <c:pt idx="217">
                        <c:v>39872</c:v>
                      </c:pt>
                      <c:pt idx="218">
                        <c:v>39903</c:v>
                      </c:pt>
                      <c:pt idx="219">
                        <c:v>39933</c:v>
                      </c:pt>
                      <c:pt idx="220">
                        <c:v>39964</c:v>
                      </c:pt>
                      <c:pt idx="221">
                        <c:v>39994</c:v>
                      </c:pt>
                      <c:pt idx="222">
                        <c:v>40025</c:v>
                      </c:pt>
                      <c:pt idx="223">
                        <c:v>40056</c:v>
                      </c:pt>
                      <c:pt idx="224">
                        <c:v>40086</c:v>
                      </c:pt>
                      <c:pt idx="225">
                        <c:v>40117</c:v>
                      </c:pt>
                      <c:pt idx="226">
                        <c:v>40147</c:v>
                      </c:pt>
                      <c:pt idx="227">
                        <c:v>40178</c:v>
                      </c:pt>
                      <c:pt idx="228">
                        <c:v>40209</c:v>
                      </c:pt>
                      <c:pt idx="229">
                        <c:v>40237</c:v>
                      </c:pt>
                      <c:pt idx="230">
                        <c:v>40268</c:v>
                      </c:pt>
                      <c:pt idx="231">
                        <c:v>40298</c:v>
                      </c:pt>
                      <c:pt idx="232">
                        <c:v>40329</c:v>
                      </c:pt>
                      <c:pt idx="233">
                        <c:v>40359</c:v>
                      </c:pt>
                      <c:pt idx="234">
                        <c:v>40390</c:v>
                      </c:pt>
                      <c:pt idx="235">
                        <c:v>40421</c:v>
                      </c:pt>
                      <c:pt idx="236">
                        <c:v>40451</c:v>
                      </c:pt>
                      <c:pt idx="237">
                        <c:v>40482</c:v>
                      </c:pt>
                      <c:pt idx="238">
                        <c:v>40512</c:v>
                      </c:pt>
                      <c:pt idx="239">
                        <c:v>40543</c:v>
                      </c:pt>
                      <c:pt idx="240">
                        <c:v>40574</c:v>
                      </c:pt>
                      <c:pt idx="241">
                        <c:v>40602</c:v>
                      </c:pt>
                      <c:pt idx="242">
                        <c:v>40633</c:v>
                      </c:pt>
                      <c:pt idx="243">
                        <c:v>40663</c:v>
                      </c:pt>
                      <c:pt idx="244">
                        <c:v>40694</c:v>
                      </c:pt>
                      <c:pt idx="245">
                        <c:v>40724</c:v>
                      </c:pt>
                      <c:pt idx="246">
                        <c:v>40755</c:v>
                      </c:pt>
                      <c:pt idx="247">
                        <c:v>40786</c:v>
                      </c:pt>
                      <c:pt idx="248">
                        <c:v>40816</c:v>
                      </c:pt>
                      <c:pt idx="249">
                        <c:v>40847</c:v>
                      </c:pt>
                      <c:pt idx="250">
                        <c:v>40877</c:v>
                      </c:pt>
                      <c:pt idx="251">
                        <c:v>40908</c:v>
                      </c:pt>
                      <c:pt idx="252">
                        <c:v>40939</c:v>
                      </c:pt>
                      <c:pt idx="253">
                        <c:v>40968</c:v>
                      </c:pt>
                      <c:pt idx="254">
                        <c:v>40999</c:v>
                      </c:pt>
                      <c:pt idx="255">
                        <c:v>41029</c:v>
                      </c:pt>
                      <c:pt idx="256">
                        <c:v>41060</c:v>
                      </c:pt>
                      <c:pt idx="257">
                        <c:v>41090</c:v>
                      </c:pt>
                      <c:pt idx="258">
                        <c:v>41121</c:v>
                      </c:pt>
                      <c:pt idx="259">
                        <c:v>41152</c:v>
                      </c:pt>
                      <c:pt idx="260">
                        <c:v>41182</c:v>
                      </c:pt>
                      <c:pt idx="261">
                        <c:v>41213</c:v>
                      </c:pt>
                      <c:pt idx="262">
                        <c:v>41243</c:v>
                      </c:pt>
                      <c:pt idx="263">
                        <c:v>41274</c:v>
                      </c:pt>
                      <c:pt idx="264">
                        <c:v>41305</c:v>
                      </c:pt>
                      <c:pt idx="265">
                        <c:v>41333</c:v>
                      </c:pt>
                      <c:pt idx="266">
                        <c:v>41364</c:v>
                      </c:pt>
                      <c:pt idx="267">
                        <c:v>41394</c:v>
                      </c:pt>
                      <c:pt idx="268">
                        <c:v>41425</c:v>
                      </c:pt>
                      <c:pt idx="269">
                        <c:v>41455</c:v>
                      </c:pt>
                      <c:pt idx="270">
                        <c:v>41486</c:v>
                      </c:pt>
                      <c:pt idx="271">
                        <c:v>41517</c:v>
                      </c:pt>
                      <c:pt idx="272">
                        <c:v>41547</c:v>
                      </c:pt>
                      <c:pt idx="273">
                        <c:v>41578</c:v>
                      </c:pt>
                      <c:pt idx="274">
                        <c:v>41608</c:v>
                      </c:pt>
                      <c:pt idx="275">
                        <c:v>41639</c:v>
                      </c:pt>
                      <c:pt idx="276">
                        <c:v>41670</c:v>
                      </c:pt>
                      <c:pt idx="277">
                        <c:v>41698</c:v>
                      </c:pt>
                      <c:pt idx="278">
                        <c:v>41729</c:v>
                      </c:pt>
                      <c:pt idx="279">
                        <c:v>41759</c:v>
                      </c:pt>
                      <c:pt idx="280">
                        <c:v>41790</c:v>
                      </c:pt>
                      <c:pt idx="281">
                        <c:v>41820</c:v>
                      </c:pt>
                      <c:pt idx="282">
                        <c:v>41851</c:v>
                      </c:pt>
                      <c:pt idx="283">
                        <c:v>41882</c:v>
                      </c:pt>
                      <c:pt idx="284">
                        <c:v>41912</c:v>
                      </c:pt>
                      <c:pt idx="285">
                        <c:v>41943</c:v>
                      </c:pt>
                      <c:pt idx="286">
                        <c:v>41973</c:v>
                      </c:pt>
                      <c:pt idx="287">
                        <c:v>42004</c:v>
                      </c:pt>
                      <c:pt idx="288">
                        <c:v>42035</c:v>
                      </c:pt>
                      <c:pt idx="289">
                        <c:v>42063</c:v>
                      </c:pt>
                      <c:pt idx="290">
                        <c:v>42094</c:v>
                      </c:pt>
                      <c:pt idx="291">
                        <c:v>42124</c:v>
                      </c:pt>
                      <c:pt idx="292">
                        <c:v>42155</c:v>
                      </c:pt>
                      <c:pt idx="293">
                        <c:v>42185</c:v>
                      </c:pt>
                      <c:pt idx="294">
                        <c:v>42216</c:v>
                      </c:pt>
                      <c:pt idx="295">
                        <c:v>42247</c:v>
                      </c:pt>
                      <c:pt idx="296">
                        <c:v>42277</c:v>
                      </c:pt>
                      <c:pt idx="297">
                        <c:v>42308</c:v>
                      </c:pt>
                      <c:pt idx="298">
                        <c:v>42338</c:v>
                      </c:pt>
                      <c:pt idx="299">
                        <c:v>42369</c:v>
                      </c:pt>
                      <c:pt idx="300">
                        <c:v>42400</c:v>
                      </c:pt>
                      <c:pt idx="301">
                        <c:v>42429</c:v>
                      </c:pt>
                      <c:pt idx="302">
                        <c:v>42460</c:v>
                      </c:pt>
                      <c:pt idx="303">
                        <c:v>42490</c:v>
                      </c:pt>
                      <c:pt idx="304">
                        <c:v>42521</c:v>
                      </c:pt>
                      <c:pt idx="305">
                        <c:v>42551</c:v>
                      </c:pt>
                      <c:pt idx="306">
                        <c:v>42582</c:v>
                      </c:pt>
                      <c:pt idx="307">
                        <c:v>42613</c:v>
                      </c:pt>
                      <c:pt idx="308">
                        <c:v>42643</c:v>
                      </c:pt>
                      <c:pt idx="309">
                        <c:v>42674</c:v>
                      </c:pt>
                      <c:pt idx="310">
                        <c:v>42704</c:v>
                      </c:pt>
                      <c:pt idx="311">
                        <c:v>42735</c:v>
                      </c:pt>
                      <c:pt idx="312">
                        <c:v>42766</c:v>
                      </c:pt>
                      <c:pt idx="313">
                        <c:v>42794</c:v>
                      </c:pt>
                      <c:pt idx="314">
                        <c:v>42825</c:v>
                      </c:pt>
                      <c:pt idx="315">
                        <c:v>42855</c:v>
                      </c:pt>
                      <c:pt idx="316">
                        <c:v>42886</c:v>
                      </c:pt>
                      <c:pt idx="317">
                        <c:v>42916</c:v>
                      </c:pt>
                      <c:pt idx="318">
                        <c:v>42947</c:v>
                      </c:pt>
                      <c:pt idx="319">
                        <c:v>42978</c:v>
                      </c:pt>
                      <c:pt idx="320">
                        <c:v>43008</c:v>
                      </c:pt>
                      <c:pt idx="321">
                        <c:v>43039</c:v>
                      </c:pt>
                      <c:pt idx="322">
                        <c:v>43069</c:v>
                      </c:pt>
                      <c:pt idx="323">
                        <c:v>43100</c:v>
                      </c:pt>
                      <c:pt idx="324">
                        <c:v>43131</c:v>
                      </c:pt>
                      <c:pt idx="325">
                        <c:v>43159</c:v>
                      </c:pt>
                      <c:pt idx="326">
                        <c:v>43190</c:v>
                      </c:pt>
                      <c:pt idx="327">
                        <c:v>43220</c:v>
                      </c:pt>
                      <c:pt idx="328">
                        <c:v>43251</c:v>
                      </c:pt>
                      <c:pt idx="329">
                        <c:v>43281</c:v>
                      </c:pt>
                      <c:pt idx="330">
                        <c:v>43312</c:v>
                      </c:pt>
                      <c:pt idx="331">
                        <c:v>43343</c:v>
                      </c:pt>
                      <c:pt idx="332">
                        <c:v>43373</c:v>
                      </c:pt>
                      <c:pt idx="333">
                        <c:v>43404</c:v>
                      </c:pt>
                      <c:pt idx="334">
                        <c:v>43434</c:v>
                      </c:pt>
                      <c:pt idx="335">
                        <c:v>43465</c:v>
                      </c:pt>
                      <c:pt idx="336">
                        <c:v>43496</c:v>
                      </c:pt>
                      <c:pt idx="337">
                        <c:v>43524</c:v>
                      </c:pt>
                      <c:pt idx="338">
                        <c:v>43555</c:v>
                      </c:pt>
                      <c:pt idx="339">
                        <c:v>43585</c:v>
                      </c:pt>
                      <c:pt idx="340">
                        <c:v>43616</c:v>
                      </c:pt>
                      <c:pt idx="341">
                        <c:v>43646</c:v>
                      </c:pt>
                      <c:pt idx="342">
                        <c:v>43677</c:v>
                      </c:pt>
                      <c:pt idx="343">
                        <c:v>43708</c:v>
                      </c:pt>
                      <c:pt idx="344">
                        <c:v>43738</c:v>
                      </c:pt>
                      <c:pt idx="345">
                        <c:v>43769</c:v>
                      </c:pt>
                      <c:pt idx="346">
                        <c:v>43799</c:v>
                      </c:pt>
                      <c:pt idx="347">
                        <c:v>43830</c:v>
                      </c:pt>
                      <c:pt idx="348">
                        <c:v>43861</c:v>
                      </c:pt>
                      <c:pt idx="349">
                        <c:v>43890</c:v>
                      </c:pt>
                      <c:pt idx="350">
                        <c:v>43921</c:v>
                      </c:pt>
                      <c:pt idx="351">
                        <c:v>43951</c:v>
                      </c:pt>
                      <c:pt idx="352">
                        <c:v>43982</c:v>
                      </c:pt>
                      <c:pt idx="353">
                        <c:v>44012</c:v>
                      </c:pt>
                      <c:pt idx="354">
                        <c:v>44043</c:v>
                      </c:pt>
                      <c:pt idx="355">
                        <c:v>44074</c:v>
                      </c:pt>
                      <c:pt idx="356">
                        <c:v>44104</c:v>
                      </c:pt>
                      <c:pt idx="357">
                        <c:v>44135</c:v>
                      </c:pt>
                      <c:pt idx="358">
                        <c:v>44165</c:v>
                      </c:pt>
                      <c:pt idx="359">
                        <c:v>44196</c:v>
                      </c:pt>
                      <c:pt idx="360">
                        <c:v>44227</c:v>
                      </c:pt>
                      <c:pt idx="361">
                        <c:v>44255</c:v>
                      </c:pt>
                      <c:pt idx="362">
                        <c:v>44286</c:v>
                      </c:pt>
                      <c:pt idx="363">
                        <c:v>44316</c:v>
                      </c:pt>
                      <c:pt idx="364">
                        <c:v>44347</c:v>
                      </c:pt>
                      <c:pt idx="365">
                        <c:v>44377</c:v>
                      </c:pt>
                      <c:pt idx="366">
                        <c:v>44408</c:v>
                      </c:pt>
                      <c:pt idx="367">
                        <c:v>44439</c:v>
                      </c:pt>
                      <c:pt idx="368">
                        <c:v>44469</c:v>
                      </c:pt>
                      <c:pt idx="369">
                        <c:v>44500</c:v>
                      </c:pt>
                      <c:pt idx="370">
                        <c:v>44530</c:v>
                      </c:pt>
                      <c:pt idx="371">
                        <c:v>44561</c:v>
                      </c:pt>
                      <c:pt idx="372">
                        <c:v>44592</c:v>
                      </c:pt>
                      <c:pt idx="373">
                        <c:v>44620</c:v>
                      </c:pt>
                      <c:pt idx="374">
                        <c:v>44651</c:v>
                      </c:pt>
                      <c:pt idx="375">
                        <c:v>44681</c:v>
                      </c:pt>
                      <c:pt idx="376">
                        <c:v>44712</c:v>
                      </c:pt>
                      <c:pt idx="377">
                        <c:v>44742</c:v>
                      </c:pt>
                      <c:pt idx="378">
                        <c:v>44773</c:v>
                      </c:pt>
                      <c:pt idx="379">
                        <c:v>44804</c:v>
                      </c:pt>
                      <c:pt idx="380">
                        <c:v>44834</c:v>
                      </c:pt>
                      <c:pt idx="381">
                        <c:v>44865</c:v>
                      </c:pt>
                      <c:pt idx="382">
                        <c:v>44895</c:v>
                      </c:pt>
                      <c:pt idx="383">
                        <c:v>44926</c:v>
                      </c:pt>
                      <c:pt idx="384">
                        <c:v>44957</c:v>
                      </c:pt>
                      <c:pt idx="385">
                        <c:v>44985</c:v>
                      </c:pt>
                      <c:pt idx="386">
                        <c:v>45015</c:v>
                      </c:pt>
                    </c:numCache>
                  </c:numRef>
                </c:cat>
                <c:val>
                  <c:numRef>
                    <c:extLst xmlns:c15="http://schemas.microsoft.com/office/drawing/2012/chart">
                      <c:ext xmlns:c15="http://schemas.microsoft.com/office/drawing/2012/chart" uri="{02D57815-91ED-43cb-92C2-25804820EDAC}">
                        <c15:formulaRef>
                          <c15:sqref>Monthly!$G$2:$G$581</c15:sqref>
                        </c15:formulaRef>
                      </c:ext>
                    </c:extLst>
                    <c:numCache>
                      <c:formatCode>0%</c:formatCode>
                      <c:ptCount val="387"/>
                      <c:pt idx="0">
                        <c:v>2.3115729628731117E-2</c:v>
                      </c:pt>
                      <c:pt idx="1">
                        <c:v>2.3115729628731117E-2</c:v>
                      </c:pt>
                      <c:pt idx="2">
                        <c:v>2.3115729628731117E-2</c:v>
                      </c:pt>
                      <c:pt idx="3">
                        <c:v>2.3115729628731117E-2</c:v>
                      </c:pt>
                      <c:pt idx="4">
                        <c:v>2.3115729628731117E-2</c:v>
                      </c:pt>
                      <c:pt idx="5">
                        <c:v>2.3115729628731117E-2</c:v>
                      </c:pt>
                      <c:pt idx="6">
                        <c:v>2.3115729628731117E-2</c:v>
                      </c:pt>
                      <c:pt idx="7">
                        <c:v>2.3115729628731117E-2</c:v>
                      </c:pt>
                      <c:pt idx="8">
                        <c:v>2.3115729628731117E-2</c:v>
                      </c:pt>
                      <c:pt idx="9">
                        <c:v>2.3115729628731117E-2</c:v>
                      </c:pt>
                      <c:pt idx="10">
                        <c:v>2.3115729628731117E-2</c:v>
                      </c:pt>
                      <c:pt idx="11">
                        <c:v>2.3115729628731117E-2</c:v>
                      </c:pt>
                      <c:pt idx="12">
                        <c:v>2.3115729628731117E-2</c:v>
                      </c:pt>
                      <c:pt idx="13">
                        <c:v>2.3115729628731117E-2</c:v>
                      </c:pt>
                      <c:pt idx="14">
                        <c:v>2.3115729628731117E-2</c:v>
                      </c:pt>
                      <c:pt idx="15">
                        <c:v>2.3115729628731117E-2</c:v>
                      </c:pt>
                      <c:pt idx="16">
                        <c:v>2.3115729628731117E-2</c:v>
                      </c:pt>
                      <c:pt idx="17">
                        <c:v>2.3115729628731117E-2</c:v>
                      </c:pt>
                      <c:pt idx="18">
                        <c:v>2.3115729628731117E-2</c:v>
                      </c:pt>
                      <c:pt idx="19">
                        <c:v>2.3115729628731117E-2</c:v>
                      </c:pt>
                      <c:pt idx="20">
                        <c:v>2.3115729628731117E-2</c:v>
                      </c:pt>
                      <c:pt idx="21">
                        <c:v>2.3115729628731117E-2</c:v>
                      </c:pt>
                      <c:pt idx="22">
                        <c:v>2.3115729628731117E-2</c:v>
                      </c:pt>
                      <c:pt idx="23">
                        <c:v>2.3115729628731117E-2</c:v>
                      </c:pt>
                      <c:pt idx="24">
                        <c:v>2.3115729628731117E-2</c:v>
                      </c:pt>
                      <c:pt idx="25">
                        <c:v>2.3115729628731117E-2</c:v>
                      </c:pt>
                      <c:pt idx="26">
                        <c:v>2.3115729628731117E-2</c:v>
                      </c:pt>
                      <c:pt idx="27">
                        <c:v>2.3115729628731117E-2</c:v>
                      </c:pt>
                      <c:pt idx="28">
                        <c:v>2.3115729628731117E-2</c:v>
                      </c:pt>
                      <c:pt idx="29">
                        <c:v>2.3115729628731117E-2</c:v>
                      </c:pt>
                      <c:pt idx="30">
                        <c:v>2.3115729628731117E-2</c:v>
                      </c:pt>
                      <c:pt idx="31">
                        <c:v>2.3115729628731117E-2</c:v>
                      </c:pt>
                      <c:pt idx="32">
                        <c:v>2.3115729628731117E-2</c:v>
                      </c:pt>
                      <c:pt idx="33">
                        <c:v>2.3115729628731117E-2</c:v>
                      </c:pt>
                      <c:pt idx="34">
                        <c:v>2.3115729628731117E-2</c:v>
                      </c:pt>
                      <c:pt idx="35">
                        <c:v>2.3115729628731117E-2</c:v>
                      </c:pt>
                      <c:pt idx="36">
                        <c:v>2.3115729628731117E-2</c:v>
                      </c:pt>
                      <c:pt idx="37">
                        <c:v>2.3115729628731117E-2</c:v>
                      </c:pt>
                      <c:pt idx="38">
                        <c:v>2.3115729628731117E-2</c:v>
                      </c:pt>
                      <c:pt idx="39">
                        <c:v>2.3115729628731117E-2</c:v>
                      </c:pt>
                      <c:pt idx="40">
                        <c:v>2.3115729628731117E-2</c:v>
                      </c:pt>
                      <c:pt idx="41">
                        <c:v>2.3115729628731117E-2</c:v>
                      </c:pt>
                      <c:pt idx="42">
                        <c:v>2.3115729628731117E-2</c:v>
                      </c:pt>
                      <c:pt idx="43">
                        <c:v>2.3115729628731117E-2</c:v>
                      </c:pt>
                      <c:pt idx="44">
                        <c:v>2.3115729628731117E-2</c:v>
                      </c:pt>
                      <c:pt idx="45">
                        <c:v>2.3115729628731117E-2</c:v>
                      </c:pt>
                      <c:pt idx="46">
                        <c:v>2.3115729628731117E-2</c:v>
                      </c:pt>
                      <c:pt idx="47">
                        <c:v>2.3115729628731117E-2</c:v>
                      </c:pt>
                      <c:pt idx="48">
                        <c:v>2.3115729628731117E-2</c:v>
                      </c:pt>
                      <c:pt idx="49">
                        <c:v>2.3115729628731117E-2</c:v>
                      </c:pt>
                      <c:pt idx="50">
                        <c:v>2.3115729628731117E-2</c:v>
                      </c:pt>
                      <c:pt idx="51">
                        <c:v>2.3115729628731117E-2</c:v>
                      </c:pt>
                      <c:pt idx="52">
                        <c:v>2.3115729628731117E-2</c:v>
                      </c:pt>
                      <c:pt idx="53">
                        <c:v>2.3115729628731117E-2</c:v>
                      </c:pt>
                      <c:pt idx="54">
                        <c:v>2.3115729628731117E-2</c:v>
                      </c:pt>
                      <c:pt idx="55">
                        <c:v>2.3115729628731117E-2</c:v>
                      </c:pt>
                      <c:pt idx="56">
                        <c:v>2.3115729628731117E-2</c:v>
                      </c:pt>
                      <c:pt idx="57">
                        <c:v>2.3115729628731117E-2</c:v>
                      </c:pt>
                      <c:pt idx="58">
                        <c:v>2.3115729628731117E-2</c:v>
                      </c:pt>
                      <c:pt idx="59">
                        <c:v>2.3115729628731117E-2</c:v>
                      </c:pt>
                      <c:pt idx="60">
                        <c:v>2.3115729628731117E-2</c:v>
                      </c:pt>
                      <c:pt idx="61">
                        <c:v>2.3115729628731117E-2</c:v>
                      </c:pt>
                      <c:pt idx="62">
                        <c:v>2.3115729628731117E-2</c:v>
                      </c:pt>
                      <c:pt idx="63">
                        <c:v>2.3115729628731117E-2</c:v>
                      </c:pt>
                      <c:pt idx="64">
                        <c:v>2.3115729628731117E-2</c:v>
                      </c:pt>
                      <c:pt idx="65">
                        <c:v>2.3115729628731117E-2</c:v>
                      </c:pt>
                      <c:pt idx="66">
                        <c:v>2.3115729628731117E-2</c:v>
                      </c:pt>
                      <c:pt idx="67">
                        <c:v>2.3115729628731117E-2</c:v>
                      </c:pt>
                      <c:pt idx="68">
                        <c:v>2.3115729628731117E-2</c:v>
                      </c:pt>
                      <c:pt idx="69">
                        <c:v>2.3115729628731117E-2</c:v>
                      </c:pt>
                      <c:pt idx="70">
                        <c:v>2.3115729628731117E-2</c:v>
                      </c:pt>
                      <c:pt idx="71">
                        <c:v>2.3115729628731117E-2</c:v>
                      </c:pt>
                      <c:pt idx="72">
                        <c:v>2.3115729628731117E-2</c:v>
                      </c:pt>
                      <c:pt idx="73">
                        <c:v>2.3115729628731117E-2</c:v>
                      </c:pt>
                      <c:pt idx="74">
                        <c:v>2.3115729628731117E-2</c:v>
                      </c:pt>
                      <c:pt idx="75">
                        <c:v>2.3115729628731117E-2</c:v>
                      </c:pt>
                      <c:pt idx="76">
                        <c:v>2.3115729628731117E-2</c:v>
                      </c:pt>
                      <c:pt idx="77">
                        <c:v>2.3115729628731117E-2</c:v>
                      </c:pt>
                      <c:pt idx="78">
                        <c:v>2.3115729628731117E-2</c:v>
                      </c:pt>
                      <c:pt idx="79">
                        <c:v>2.3115729628731117E-2</c:v>
                      </c:pt>
                      <c:pt idx="80">
                        <c:v>2.3115729628731117E-2</c:v>
                      </c:pt>
                      <c:pt idx="81">
                        <c:v>2.3115729628731117E-2</c:v>
                      </c:pt>
                      <c:pt idx="82">
                        <c:v>2.3115729628731117E-2</c:v>
                      </c:pt>
                      <c:pt idx="83">
                        <c:v>2.3115729628731117E-2</c:v>
                      </c:pt>
                      <c:pt idx="84">
                        <c:v>2.3115729628731117E-2</c:v>
                      </c:pt>
                      <c:pt idx="85">
                        <c:v>2.3115729628731117E-2</c:v>
                      </c:pt>
                      <c:pt idx="86">
                        <c:v>2.3115729628731117E-2</c:v>
                      </c:pt>
                      <c:pt idx="87">
                        <c:v>2.3115729628731117E-2</c:v>
                      </c:pt>
                      <c:pt idx="88">
                        <c:v>2.3115729628731117E-2</c:v>
                      </c:pt>
                      <c:pt idx="89">
                        <c:v>2.3115729628731117E-2</c:v>
                      </c:pt>
                      <c:pt idx="90">
                        <c:v>2.3115729628731117E-2</c:v>
                      </c:pt>
                      <c:pt idx="91">
                        <c:v>2.3115729628731117E-2</c:v>
                      </c:pt>
                      <c:pt idx="92">
                        <c:v>2.3115729628731117E-2</c:v>
                      </c:pt>
                      <c:pt idx="93">
                        <c:v>2.3115729628731117E-2</c:v>
                      </c:pt>
                      <c:pt idx="94">
                        <c:v>2.3115729628731117E-2</c:v>
                      </c:pt>
                      <c:pt idx="95">
                        <c:v>2.3115729628731117E-2</c:v>
                      </c:pt>
                      <c:pt idx="96">
                        <c:v>2.3115729628731117E-2</c:v>
                      </c:pt>
                      <c:pt idx="97">
                        <c:v>2.3115729628731117E-2</c:v>
                      </c:pt>
                      <c:pt idx="98">
                        <c:v>2.3115729628731117E-2</c:v>
                      </c:pt>
                      <c:pt idx="99">
                        <c:v>2.3115729628731117E-2</c:v>
                      </c:pt>
                      <c:pt idx="100">
                        <c:v>2.3115729628731117E-2</c:v>
                      </c:pt>
                      <c:pt idx="101">
                        <c:v>2.3115729628731117E-2</c:v>
                      </c:pt>
                      <c:pt idx="102">
                        <c:v>2.3115729628731117E-2</c:v>
                      </c:pt>
                      <c:pt idx="103">
                        <c:v>2.3115729628731117E-2</c:v>
                      </c:pt>
                      <c:pt idx="104">
                        <c:v>2.3115729628731117E-2</c:v>
                      </c:pt>
                      <c:pt idx="105">
                        <c:v>2.3115729628731117E-2</c:v>
                      </c:pt>
                      <c:pt idx="106">
                        <c:v>2.3115729628731117E-2</c:v>
                      </c:pt>
                      <c:pt idx="107">
                        <c:v>2.3115729628731117E-2</c:v>
                      </c:pt>
                      <c:pt idx="108">
                        <c:v>2.3115729628731117E-2</c:v>
                      </c:pt>
                      <c:pt idx="109">
                        <c:v>2.3115729628731117E-2</c:v>
                      </c:pt>
                      <c:pt idx="110">
                        <c:v>2.3115729628731117E-2</c:v>
                      </c:pt>
                      <c:pt idx="111">
                        <c:v>2.3115729628731117E-2</c:v>
                      </c:pt>
                      <c:pt idx="112">
                        <c:v>2.3115729628731117E-2</c:v>
                      </c:pt>
                      <c:pt idx="113">
                        <c:v>2.3115729628731117E-2</c:v>
                      </c:pt>
                      <c:pt idx="114">
                        <c:v>2.3115729628731117E-2</c:v>
                      </c:pt>
                      <c:pt idx="115">
                        <c:v>2.3115729628731117E-2</c:v>
                      </c:pt>
                      <c:pt idx="116">
                        <c:v>2.3115729628731117E-2</c:v>
                      </c:pt>
                      <c:pt idx="117">
                        <c:v>2.3115729628731117E-2</c:v>
                      </c:pt>
                      <c:pt idx="118">
                        <c:v>2.3115729628731117E-2</c:v>
                      </c:pt>
                      <c:pt idx="119">
                        <c:v>2.3115729628731117E-2</c:v>
                      </c:pt>
                      <c:pt idx="120">
                        <c:v>2.3115729628731117E-2</c:v>
                      </c:pt>
                      <c:pt idx="121">
                        <c:v>2.3115729628731117E-2</c:v>
                      </c:pt>
                      <c:pt idx="122">
                        <c:v>2.3115729628731117E-2</c:v>
                      </c:pt>
                      <c:pt idx="123">
                        <c:v>2.3115729628731117E-2</c:v>
                      </c:pt>
                      <c:pt idx="124">
                        <c:v>2.3115729628731117E-2</c:v>
                      </c:pt>
                      <c:pt idx="125">
                        <c:v>2.3115729628731117E-2</c:v>
                      </c:pt>
                      <c:pt idx="126">
                        <c:v>2.3115729628731117E-2</c:v>
                      </c:pt>
                      <c:pt idx="127">
                        <c:v>2.3115729628731117E-2</c:v>
                      </c:pt>
                      <c:pt idx="128">
                        <c:v>2.3115729628731117E-2</c:v>
                      </c:pt>
                      <c:pt idx="129">
                        <c:v>2.3115729628731117E-2</c:v>
                      </c:pt>
                      <c:pt idx="130">
                        <c:v>2.3115729628731117E-2</c:v>
                      </c:pt>
                      <c:pt idx="131">
                        <c:v>2.3115729628731117E-2</c:v>
                      </c:pt>
                      <c:pt idx="132">
                        <c:v>2.3115729628731117E-2</c:v>
                      </c:pt>
                      <c:pt idx="133">
                        <c:v>2.3115729628731117E-2</c:v>
                      </c:pt>
                      <c:pt idx="134">
                        <c:v>2.3115729628731117E-2</c:v>
                      </c:pt>
                      <c:pt idx="135">
                        <c:v>2.3115729628731117E-2</c:v>
                      </c:pt>
                      <c:pt idx="136">
                        <c:v>2.3115729628731117E-2</c:v>
                      </c:pt>
                      <c:pt idx="137">
                        <c:v>2.3115729628731117E-2</c:v>
                      </c:pt>
                      <c:pt idx="138">
                        <c:v>2.3115729628731117E-2</c:v>
                      </c:pt>
                      <c:pt idx="139">
                        <c:v>2.3115729628731117E-2</c:v>
                      </c:pt>
                      <c:pt idx="140">
                        <c:v>2.3115729628731117E-2</c:v>
                      </c:pt>
                      <c:pt idx="141">
                        <c:v>2.3115729628731117E-2</c:v>
                      </c:pt>
                      <c:pt idx="142">
                        <c:v>2.3115729628731117E-2</c:v>
                      </c:pt>
                      <c:pt idx="143">
                        <c:v>2.3115729628731117E-2</c:v>
                      </c:pt>
                      <c:pt idx="144">
                        <c:v>2.3115729628731117E-2</c:v>
                      </c:pt>
                      <c:pt idx="145">
                        <c:v>2.3115729628731117E-2</c:v>
                      </c:pt>
                      <c:pt idx="146">
                        <c:v>2.3115729628731117E-2</c:v>
                      </c:pt>
                      <c:pt idx="147">
                        <c:v>2.3115729628731117E-2</c:v>
                      </c:pt>
                      <c:pt idx="148">
                        <c:v>2.3115729628731117E-2</c:v>
                      </c:pt>
                      <c:pt idx="149">
                        <c:v>2.3115729628731117E-2</c:v>
                      </c:pt>
                      <c:pt idx="150">
                        <c:v>2.3115729628731117E-2</c:v>
                      </c:pt>
                      <c:pt idx="151">
                        <c:v>2.3115729628731117E-2</c:v>
                      </c:pt>
                      <c:pt idx="152">
                        <c:v>2.3115729628731117E-2</c:v>
                      </c:pt>
                      <c:pt idx="153">
                        <c:v>2.3115729628731117E-2</c:v>
                      </c:pt>
                      <c:pt idx="154">
                        <c:v>2.3115729628731117E-2</c:v>
                      </c:pt>
                      <c:pt idx="155">
                        <c:v>2.3115729628731117E-2</c:v>
                      </c:pt>
                      <c:pt idx="156">
                        <c:v>2.3115729628731117E-2</c:v>
                      </c:pt>
                      <c:pt idx="157">
                        <c:v>2.3115729628731117E-2</c:v>
                      </c:pt>
                      <c:pt idx="158">
                        <c:v>2.3115729628731117E-2</c:v>
                      </c:pt>
                      <c:pt idx="159">
                        <c:v>2.3115729628731117E-2</c:v>
                      </c:pt>
                      <c:pt idx="160">
                        <c:v>2.3115729628731117E-2</c:v>
                      </c:pt>
                      <c:pt idx="161">
                        <c:v>2.3115729628731117E-2</c:v>
                      </c:pt>
                      <c:pt idx="162">
                        <c:v>2.3115729628731117E-2</c:v>
                      </c:pt>
                      <c:pt idx="163">
                        <c:v>2.3115729628731117E-2</c:v>
                      </c:pt>
                      <c:pt idx="164">
                        <c:v>2.3115729628731117E-2</c:v>
                      </c:pt>
                      <c:pt idx="165">
                        <c:v>2.3115729628731117E-2</c:v>
                      </c:pt>
                      <c:pt idx="166">
                        <c:v>2.3115729628731117E-2</c:v>
                      </c:pt>
                      <c:pt idx="167">
                        <c:v>2.3115729628731117E-2</c:v>
                      </c:pt>
                      <c:pt idx="168">
                        <c:v>2.3115729628731117E-2</c:v>
                      </c:pt>
                      <c:pt idx="169">
                        <c:v>2.3115729628731117E-2</c:v>
                      </c:pt>
                      <c:pt idx="170">
                        <c:v>2.3115729628731117E-2</c:v>
                      </c:pt>
                      <c:pt idx="171">
                        <c:v>2.3115729628731117E-2</c:v>
                      </c:pt>
                      <c:pt idx="172">
                        <c:v>2.3115729628731117E-2</c:v>
                      </c:pt>
                      <c:pt idx="173">
                        <c:v>2.3115729628731117E-2</c:v>
                      </c:pt>
                      <c:pt idx="174">
                        <c:v>2.3115729628731117E-2</c:v>
                      </c:pt>
                      <c:pt idx="175">
                        <c:v>2.3115729628731117E-2</c:v>
                      </c:pt>
                      <c:pt idx="176">
                        <c:v>2.3115729628731117E-2</c:v>
                      </c:pt>
                      <c:pt idx="177">
                        <c:v>2.3115729628731117E-2</c:v>
                      </c:pt>
                      <c:pt idx="178">
                        <c:v>2.3115729628731117E-2</c:v>
                      </c:pt>
                      <c:pt idx="179">
                        <c:v>2.3115729628731117E-2</c:v>
                      </c:pt>
                      <c:pt idx="180">
                        <c:v>2.3115729628731117E-2</c:v>
                      </c:pt>
                      <c:pt idx="181">
                        <c:v>2.3115729628731117E-2</c:v>
                      </c:pt>
                      <c:pt idx="182">
                        <c:v>2.3115729628731117E-2</c:v>
                      </c:pt>
                      <c:pt idx="183">
                        <c:v>2.3115729628731117E-2</c:v>
                      </c:pt>
                      <c:pt idx="184">
                        <c:v>2.3115729628731117E-2</c:v>
                      </c:pt>
                      <c:pt idx="185">
                        <c:v>2.3115729628731117E-2</c:v>
                      </c:pt>
                      <c:pt idx="186">
                        <c:v>2.3115729628731117E-2</c:v>
                      </c:pt>
                      <c:pt idx="187">
                        <c:v>2.3115729628731117E-2</c:v>
                      </c:pt>
                      <c:pt idx="188">
                        <c:v>2.3115729628731117E-2</c:v>
                      </c:pt>
                      <c:pt idx="189">
                        <c:v>2.3115729628731117E-2</c:v>
                      </c:pt>
                      <c:pt idx="190">
                        <c:v>2.3115729628731117E-2</c:v>
                      </c:pt>
                      <c:pt idx="191">
                        <c:v>2.3115729628731117E-2</c:v>
                      </c:pt>
                      <c:pt idx="192">
                        <c:v>2.3115729628731117E-2</c:v>
                      </c:pt>
                      <c:pt idx="193">
                        <c:v>2.3115729628731117E-2</c:v>
                      </c:pt>
                      <c:pt idx="194">
                        <c:v>2.3115729628731117E-2</c:v>
                      </c:pt>
                      <c:pt idx="195">
                        <c:v>2.3115729628731117E-2</c:v>
                      </c:pt>
                      <c:pt idx="196">
                        <c:v>2.3115729628731117E-2</c:v>
                      </c:pt>
                      <c:pt idx="197">
                        <c:v>2.3115729628731117E-2</c:v>
                      </c:pt>
                      <c:pt idx="198">
                        <c:v>2.3115729628731117E-2</c:v>
                      </c:pt>
                      <c:pt idx="199">
                        <c:v>2.3115729628731117E-2</c:v>
                      </c:pt>
                      <c:pt idx="200">
                        <c:v>2.3115729628731117E-2</c:v>
                      </c:pt>
                      <c:pt idx="201">
                        <c:v>2.3115729628731117E-2</c:v>
                      </c:pt>
                      <c:pt idx="202">
                        <c:v>2.3115729628731117E-2</c:v>
                      </c:pt>
                      <c:pt idx="203">
                        <c:v>2.3115729628731117E-2</c:v>
                      </c:pt>
                      <c:pt idx="204">
                        <c:v>2.3115729628731117E-2</c:v>
                      </c:pt>
                      <c:pt idx="205">
                        <c:v>2.3115729628731117E-2</c:v>
                      </c:pt>
                      <c:pt idx="206">
                        <c:v>2.3115729628731117E-2</c:v>
                      </c:pt>
                      <c:pt idx="207">
                        <c:v>2.3115729628731117E-2</c:v>
                      </c:pt>
                      <c:pt idx="208">
                        <c:v>2.3115729628731117E-2</c:v>
                      </c:pt>
                      <c:pt idx="209">
                        <c:v>2.3115729628731117E-2</c:v>
                      </c:pt>
                      <c:pt idx="210">
                        <c:v>2.3115729628731117E-2</c:v>
                      </c:pt>
                      <c:pt idx="211">
                        <c:v>2.3115729628731117E-2</c:v>
                      </c:pt>
                      <c:pt idx="212">
                        <c:v>2.3115729628731117E-2</c:v>
                      </c:pt>
                      <c:pt idx="213">
                        <c:v>2.3115729628731117E-2</c:v>
                      </c:pt>
                      <c:pt idx="214">
                        <c:v>2.3115729628731117E-2</c:v>
                      </c:pt>
                      <c:pt idx="215">
                        <c:v>2.3115729628731117E-2</c:v>
                      </c:pt>
                      <c:pt idx="216">
                        <c:v>2.3115729628731117E-2</c:v>
                      </c:pt>
                      <c:pt idx="217">
                        <c:v>2.3115729628731117E-2</c:v>
                      </c:pt>
                      <c:pt idx="218">
                        <c:v>2.3115729628731117E-2</c:v>
                      </c:pt>
                      <c:pt idx="219">
                        <c:v>2.3115729628731117E-2</c:v>
                      </c:pt>
                      <c:pt idx="220">
                        <c:v>2.3115729628731117E-2</c:v>
                      </c:pt>
                      <c:pt idx="221">
                        <c:v>2.3115729628731117E-2</c:v>
                      </c:pt>
                      <c:pt idx="222">
                        <c:v>2.3115729628731117E-2</c:v>
                      </c:pt>
                      <c:pt idx="223">
                        <c:v>2.3115729628731117E-2</c:v>
                      </c:pt>
                      <c:pt idx="224">
                        <c:v>2.3115729628731117E-2</c:v>
                      </c:pt>
                      <c:pt idx="225">
                        <c:v>2.3115729628731117E-2</c:v>
                      </c:pt>
                      <c:pt idx="226">
                        <c:v>2.3115729628731117E-2</c:v>
                      </c:pt>
                      <c:pt idx="227">
                        <c:v>2.3115729628731117E-2</c:v>
                      </c:pt>
                      <c:pt idx="228">
                        <c:v>2.3115729628731117E-2</c:v>
                      </c:pt>
                      <c:pt idx="229">
                        <c:v>2.3115729628731117E-2</c:v>
                      </c:pt>
                      <c:pt idx="230">
                        <c:v>2.3115729628731117E-2</c:v>
                      </c:pt>
                      <c:pt idx="231">
                        <c:v>2.3115729628731117E-2</c:v>
                      </c:pt>
                      <c:pt idx="232">
                        <c:v>2.3115729628731117E-2</c:v>
                      </c:pt>
                      <c:pt idx="233">
                        <c:v>2.3115729628731117E-2</c:v>
                      </c:pt>
                      <c:pt idx="234">
                        <c:v>2.3115729628731117E-2</c:v>
                      </c:pt>
                      <c:pt idx="235">
                        <c:v>2.3115729628731117E-2</c:v>
                      </c:pt>
                      <c:pt idx="236">
                        <c:v>2.3115729628731117E-2</c:v>
                      </c:pt>
                      <c:pt idx="237">
                        <c:v>2.3115729628731117E-2</c:v>
                      </c:pt>
                      <c:pt idx="238">
                        <c:v>2.3115729628731117E-2</c:v>
                      </c:pt>
                      <c:pt idx="239">
                        <c:v>2.3115729628731117E-2</c:v>
                      </c:pt>
                      <c:pt idx="240">
                        <c:v>2.3115729628731117E-2</c:v>
                      </c:pt>
                      <c:pt idx="241">
                        <c:v>2.3115729628731117E-2</c:v>
                      </c:pt>
                      <c:pt idx="242">
                        <c:v>2.3115729628731117E-2</c:v>
                      </c:pt>
                      <c:pt idx="243">
                        <c:v>2.3115729628731117E-2</c:v>
                      </c:pt>
                      <c:pt idx="244">
                        <c:v>2.3115729628731117E-2</c:v>
                      </c:pt>
                      <c:pt idx="245">
                        <c:v>2.3115729628731117E-2</c:v>
                      </c:pt>
                      <c:pt idx="246">
                        <c:v>2.3115729628731117E-2</c:v>
                      </c:pt>
                      <c:pt idx="247">
                        <c:v>2.3115729628731117E-2</c:v>
                      </c:pt>
                      <c:pt idx="248">
                        <c:v>2.3115729628731117E-2</c:v>
                      </c:pt>
                      <c:pt idx="249">
                        <c:v>2.3115729628731117E-2</c:v>
                      </c:pt>
                      <c:pt idx="250">
                        <c:v>2.3115729628731117E-2</c:v>
                      </c:pt>
                      <c:pt idx="251">
                        <c:v>2.3115729628731117E-2</c:v>
                      </c:pt>
                      <c:pt idx="252">
                        <c:v>2.3115729628731117E-2</c:v>
                      </c:pt>
                      <c:pt idx="253">
                        <c:v>2.3115729628731117E-2</c:v>
                      </c:pt>
                      <c:pt idx="254">
                        <c:v>2.3115729628731117E-2</c:v>
                      </c:pt>
                      <c:pt idx="255">
                        <c:v>2.3115729628731117E-2</c:v>
                      </c:pt>
                      <c:pt idx="256">
                        <c:v>2.3115729628731117E-2</c:v>
                      </c:pt>
                      <c:pt idx="257">
                        <c:v>2.3115729628731117E-2</c:v>
                      </c:pt>
                      <c:pt idx="258">
                        <c:v>2.3115729628731117E-2</c:v>
                      </c:pt>
                      <c:pt idx="259">
                        <c:v>2.3115729628731117E-2</c:v>
                      </c:pt>
                      <c:pt idx="260">
                        <c:v>2.3115729628731117E-2</c:v>
                      </c:pt>
                      <c:pt idx="261">
                        <c:v>2.3115729628731117E-2</c:v>
                      </c:pt>
                      <c:pt idx="262">
                        <c:v>2.3115729628731117E-2</c:v>
                      </c:pt>
                      <c:pt idx="263">
                        <c:v>2.3115729628731117E-2</c:v>
                      </c:pt>
                      <c:pt idx="264">
                        <c:v>2.3115729628731117E-2</c:v>
                      </c:pt>
                      <c:pt idx="265">
                        <c:v>2.3115729628731117E-2</c:v>
                      </c:pt>
                      <c:pt idx="266">
                        <c:v>2.3115729628731117E-2</c:v>
                      </c:pt>
                      <c:pt idx="267">
                        <c:v>2.3115729628731117E-2</c:v>
                      </c:pt>
                      <c:pt idx="268">
                        <c:v>2.3115729628731117E-2</c:v>
                      </c:pt>
                      <c:pt idx="269">
                        <c:v>2.3115729628731117E-2</c:v>
                      </c:pt>
                      <c:pt idx="270">
                        <c:v>2.3115729628731117E-2</c:v>
                      </c:pt>
                      <c:pt idx="271">
                        <c:v>2.3115729628731117E-2</c:v>
                      </c:pt>
                      <c:pt idx="272">
                        <c:v>2.3115729628731117E-2</c:v>
                      </c:pt>
                      <c:pt idx="273">
                        <c:v>2.3115729628731117E-2</c:v>
                      </c:pt>
                      <c:pt idx="274">
                        <c:v>2.3115729628731117E-2</c:v>
                      </c:pt>
                      <c:pt idx="275">
                        <c:v>2.3115729628731117E-2</c:v>
                      </c:pt>
                      <c:pt idx="276">
                        <c:v>2.3115729628731117E-2</c:v>
                      </c:pt>
                      <c:pt idx="277">
                        <c:v>2.3115729628731117E-2</c:v>
                      </c:pt>
                      <c:pt idx="278">
                        <c:v>2.3115729628731117E-2</c:v>
                      </c:pt>
                      <c:pt idx="279">
                        <c:v>2.3115729628731117E-2</c:v>
                      </c:pt>
                      <c:pt idx="280">
                        <c:v>2.3115729628731117E-2</c:v>
                      </c:pt>
                      <c:pt idx="281">
                        <c:v>2.3115729628731117E-2</c:v>
                      </c:pt>
                      <c:pt idx="282">
                        <c:v>2.3115729628731117E-2</c:v>
                      </c:pt>
                      <c:pt idx="283">
                        <c:v>2.3115729628731117E-2</c:v>
                      </c:pt>
                      <c:pt idx="284">
                        <c:v>2.3115729628731117E-2</c:v>
                      </c:pt>
                      <c:pt idx="285">
                        <c:v>2.3115729628731117E-2</c:v>
                      </c:pt>
                      <c:pt idx="286">
                        <c:v>2.3115729628731117E-2</c:v>
                      </c:pt>
                      <c:pt idx="287">
                        <c:v>2.3115729628731117E-2</c:v>
                      </c:pt>
                      <c:pt idx="288">
                        <c:v>2.3115729628731117E-2</c:v>
                      </c:pt>
                      <c:pt idx="289">
                        <c:v>2.3115729628731117E-2</c:v>
                      </c:pt>
                      <c:pt idx="290">
                        <c:v>2.3115729628731117E-2</c:v>
                      </c:pt>
                      <c:pt idx="291">
                        <c:v>2.3115729628731117E-2</c:v>
                      </c:pt>
                      <c:pt idx="292">
                        <c:v>2.3115729628731117E-2</c:v>
                      </c:pt>
                      <c:pt idx="293">
                        <c:v>2.3115729628731117E-2</c:v>
                      </c:pt>
                      <c:pt idx="294">
                        <c:v>2.3115729628731117E-2</c:v>
                      </c:pt>
                      <c:pt idx="295">
                        <c:v>2.3115729628731117E-2</c:v>
                      </c:pt>
                      <c:pt idx="296">
                        <c:v>2.3115729628731117E-2</c:v>
                      </c:pt>
                      <c:pt idx="297">
                        <c:v>2.3115729628731117E-2</c:v>
                      </c:pt>
                      <c:pt idx="298">
                        <c:v>2.3115729628731117E-2</c:v>
                      </c:pt>
                      <c:pt idx="299">
                        <c:v>2.3115729628731117E-2</c:v>
                      </c:pt>
                      <c:pt idx="300">
                        <c:v>2.3115729628731117E-2</c:v>
                      </c:pt>
                      <c:pt idx="301">
                        <c:v>2.3115729628731117E-2</c:v>
                      </c:pt>
                      <c:pt idx="302">
                        <c:v>2.3115729628731117E-2</c:v>
                      </c:pt>
                      <c:pt idx="303">
                        <c:v>2.3115729628731117E-2</c:v>
                      </c:pt>
                      <c:pt idx="304">
                        <c:v>2.3115729628731117E-2</c:v>
                      </c:pt>
                      <c:pt idx="305">
                        <c:v>2.3115729628731117E-2</c:v>
                      </c:pt>
                      <c:pt idx="306">
                        <c:v>2.3115729628731117E-2</c:v>
                      </c:pt>
                      <c:pt idx="307">
                        <c:v>2.3115729628731117E-2</c:v>
                      </c:pt>
                      <c:pt idx="308">
                        <c:v>2.3115729628731117E-2</c:v>
                      </c:pt>
                      <c:pt idx="309">
                        <c:v>2.3115729628731117E-2</c:v>
                      </c:pt>
                      <c:pt idx="310">
                        <c:v>2.3115729628731117E-2</c:v>
                      </c:pt>
                      <c:pt idx="311">
                        <c:v>2.3115729628731117E-2</c:v>
                      </c:pt>
                      <c:pt idx="312">
                        <c:v>2.3115729628731117E-2</c:v>
                      </c:pt>
                      <c:pt idx="313">
                        <c:v>2.3115729628731117E-2</c:v>
                      </c:pt>
                      <c:pt idx="314">
                        <c:v>2.3115729628731117E-2</c:v>
                      </c:pt>
                      <c:pt idx="315">
                        <c:v>2.3115729628731117E-2</c:v>
                      </c:pt>
                      <c:pt idx="316">
                        <c:v>2.3115729628731117E-2</c:v>
                      </c:pt>
                      <c:pt idx="317">
                        <c:v>2.3115729628731117E-2</c:v>
                      </c:pt>
                      <c:pt idx="318">
                        <c:v>2.3115729628731117E-2</c:v>
                      </c:pt>
                      <c:pt idx="319">
                        <c:v>2.3115729628731117E-2</c:v>
                      </c:pt>
                      <c:pt idx="320">
                        <c:v>2.3115729628731117E-2</c:v>
                      </c:pt>
                      <c:pt idx="321">
                        <c:v>2.3115729628731117E-2</c:v>
                      </c:pt>
                      <c:pt idx="322">
                        <c:v>2.3115729628731117E-2</c:v>
                      </c:pt>
                      <c:pt idx="323">
                        <c:v>2.3115729628731117E-2</c:v>
                      </c:pt>
                      <c:pt idx="324">
                        <c:v>2.3115729628731117E-2</c:v>
                      </c:pt>
                      <c:pt idx="325">
                        <c:v>2.3115729628731117E-2</c:v>
                      </c:pt>
                      <c:pt idx="326">
                        <c:v>2.3115729628731117E-2</c:v>
                      </c:pt>
                      <c:pt idx="327">
                        <c:v>2.3115729628731117E-2</c:v>
                      </c:pt>
                      <c:pt idx="328">
                        <c:v>2.3115729628731117E-2</c:v>
                      </c:pt>
                      <c:pt idx="329">
                        <c:v>2.3115729628731117E-2</c:v>
                      </c:pt>
                      <c:pt idx="330">
                        <c:v>2.3115729628731117E-2</c:v>
                      </c:pt>
                      <c:pt idx="331">
                        <c:v>2.3115729628731117E-2</c:v>
                      </c:pt>
                      <c:pt idx="332">
                        <c:v>2.3115729628731117E-2</c:v>
                      </c:pt>
                      <c:pt idx="333">
                        <c:v>2.3115729628731117E-2</c:v>
                      </c:pt>
                      <c:pt idx="334">
                        <c:v>2.3115729628731117E-2</c:v>
                      </c:pt>
                      <c:pt idx="335">
                        <c:v>2.3115729628731117E-2</c:v>
                      </c:pt>
                      <c:pt idx="336">
                        <c:v>2.3115729628731117E-2</c:v>
                      </c:pt>
                      <c:pt idx="337">
                        <c:v>2.3115729628731117E-2</c:v>
                      </c:pt>
                      <c:pt idx="338">
                        <c:v>2.3115729628731117E-2</c:v>
                      </c:pt>
                      <c:pt idx="339">
                        <c:v>2.3115729628731117E-2</c:v>
                      </c:pt>
                      <c:pt idx="340">
                        <c:v>2.3115729628731117E-2</c:v>
                      </c:pt>
                      <c:pt idx="341">
                        <c:v>2.3115729628731117E-2</c:v>
                      </c:pt>
                      <c:pt idx="342">
                        <c:v>2.3115729628731117E-2</c:v>
                      </c:pt>
                      <c:pt idx="343">
                        <c:v>2.3115729628731117E-2</c:v>
                      </c:pt>
                      <c:pt idx="344">
                        <c:v>2.3115729628731117E-2</c:v>
                      </c:pt>
                      <c:pt idx="345">
                        <c:v>2.3115729628731117E-2</c:v>
                      </c:pt>
                      <c:pt idx="346">
                        <c:v>2.3115729628731117E-2</c:v>
                      </c:pt>
                      <c:pt idx="347">
                        <c:v>2.3115729628731117E-2</c:v>
                      </c:pt>
                      <c:pt idx="348">
                        <c:v>2.3115729628731117E-2</c:v>
                      </c:pt>
                      <c:pt idx="349">
                        <c:v>2.3115729628731117E-2</c:v>
                      </c:pt>
                      <c:pt idx="350">
                        <c:v>2.3115729628731117E-2</c:v>
                      </c:pt>
                      <c:pt idx="351">
                        <c:v>2.3115729628731117E-2</c:v>
                      </c:pt>
                      <c:pt idx="352">
                        <c:v>2.3115729628731117E-2</c:v>
                      </c:pt>
                      <c:pt idx="353">
                        <c:v>2.3115729628731117E-2</c:v>
                      </c:pt>
                      <c:pt idx="354">
                        <c:v>2.3115729628731117E-2</c:v>
                      </c:pt>
                      <c:pt idx="355">
                        <c:v>2.3115729628731117E-2</c:v>
                      </c:pt>
                      <c:pt idx="356">
                        <c:v>2.3115729628731117E-2</c:v>
                      </c:pt>
                      <c:pt idx="357">
                        <c:v>2.3115729628731117E-2</c:v>
                      </c:pt>
                      <c:pt idx="358">
                        <c:v>2.3115729628731117E-2</c:v>
                      </c:pt>
                      <c:pt idx="359">
                        <c:v>2.3115729628731117E-2</c:v>
                      </c:pt>
                      <c:pt idx="360">
                        <c:v>2.3115729628731117E-2</c:v>
                      </c:pt>
                      <c:pt idx="361">
                        <c:v>2.3115729628731117E-2</c:v>
                      </c:pt>
                      <c:pt idx="362">
                        <c:v>2.3115729628731117E-2</c:v>
                      </c:pt>
                      <c:pt idx="363">
                        <c:v>2.3115729628731117E-2</c:v>
                      </c:pt>
                      <c:pt idx="364">
                        <c:v>2.3115729628731117E-2</c:v>
                      </c:pt>
                      <c:pt idx="365">
                        <c:v>2.3115729628731117E-2</c:v>
                      </c:pt>
                      <c:pt idx="366">
                        <c:v>2.3115729628731117E-2</c:v>
                      </c:pt>
                      <c:pt idx="367">
                        <c:v>2.3115729628731117E-2</c:v>
                      </c:pt>
                      <c:pt idx="368">
                        <c:v>2.3115729628731117E-2</c:v>
                      </c:pt>
                      <c:pt idx="369">
                        <c:v>2.3115729628731117E-2</c:v>
                      </c:pt>
                      <c:pt idx="370">
                        <c:v>2.3115729628731117E-2</c:v>
                      </c:pt>
                      <c:pt idx="371">
                        <c:v>2.3115729628731117E-2</c:v>
                      </c:pt>
                      <c:pt idx="372">
                        <c:v>2.3115729628731117E-2</c:v>
                      </c:pt>
                      <c:pt idx="373">
                        <c:v>2.3115729628731117E-2</c:v>
                      </c:pt>
                      <c:pt idx="374">
                        <c:v>2.3115729628731117E-2</c:v>
                      </c:pt>
                      <c:pt idx="375">
                        <c:v>2.3115729628731117E-2</c:v>
                      </c:pt>
                      <c:pt idx="376">
                        <c:v>2.3115729628731117E-2</c:v>
                      </c:pt>
                      <c:pt idx="377">
                        <c:v>2.3115729628731117E-2</c:v>
                      </c:pt>
                      <c:pt idx="378">
                        <c:v>2.3115729628731117E-2</c:v>
                      </c:pt>
                      <c:pt idx="379">
                        <c:v>2.3115729628731117E-2</c:v>
                      </c:pt>
                      <c:pt idx="380">
                        <c:v>2.3115729628731117E-2</c:v>
                      </c:pt>
                      <c:pt idx="381">
                        <c:v>2.3115729628731117E-2</c:v>
                      </c:pt>
                      <c:pt idx="382">
                        <c:v>2.3115729628731117E-2</c:v>
                      </c:pt>
                      <c:pt idx="383">
                        <c:v>2.3115729628731117E-2</c:v>
                      </c:pt>
                      <c:pt idx="384">
                        <c:v>2.3115729628731117E-2</c:v>
                      </c:pt>
                      <c:pt idx="385">
                        <c:v>2.3115729628731117E-2</c:v>
                      </c:pt>
                      <c:pt idx="386">
                        <c:v>2.3115729628731117E-2</c:v>
                      </c:pt>
                    </c:numCache>
                  </c:numRef>
                </c:val>
                <c:smooth val="0"/>
                <c:extLst xmlns:c15="http://schemas.microsoft.com/office/drawing/2012/chart">
                  <c:ext xmlns:c16="http://schemas.microsoft.com/office/drawing/2014/chart" uri="{C3380CC4-5D6E-409C-BE32-E72D297353CC}">
                    <c16:uniqueId val="{00000001-15F2-4C6D-B028-0A7DE9E5A23E}"/>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Monthly!$H$1</c15:sqref>
                        </c15:formulaRef>
                      </c:ext>
                    </c:extLst>
                    <c:strCache>
                      <c:ptCount val="1"/>
                      <c:pt idx="0">
                        <c:v>CPI STDEV+</c:v>
                      </c:pt>
                    </c:strCache>
                  </c:strRef>
                </c:tx>
                <c:spPr>
                  <a:ln w="28575" cap="rnd">
                    <a:solidFill>
                      <a:schemeClr val="accent6"/>
                    </a:solidFill>
                    <a:round/>
                  </a:ln>
                  <a:effectLst/>
                </c:spPr>
                <c:marker>
                  <c:symbol val="none"/>
                </c:marker>
                <c:cat>
                  <c:numRef>
                    <c:extLst xmlns:c15="http://schemas.microsoft.com/office/drawing/2012/chart">
                      <c:ext xmlns:c15="http://schemas.microsoft.com/office/drawing/2012/chart" uri="{02D57815-91ED-43cb-92C2-25804820EDAC}">
                        <c15:formulaRef>
                          <c15:sqref>Monthly!$B$2:$B$581</c15:sqref>
                        </c15:formulaRef>
                      </c:ext>
                    </c:extLst>
                    <c:numCache>
                      <c:formatCode>yyyy</c:formatCode>
                      <c:ptCount val="387"/>
                      <c:pt idx="0">
                        <c:v>33269</c:v>
                      </c:pt>
                      <c:pt idx="1">
                        <c:v>33297</c:v>
                      </c:pt>
                      <c:pt idx="2">
                        <c:v>33328</c:v>
                      </c:pt>
                      <c:pt idx="3">
                        <c:v>33358</c:v>
                      </c:pt>
                      <c:pt idx="4">
                        <c:v>33389</c:v>
                      </c:pt>
                      <c:pt idx="5">
                        <c:v>33419</c:v>
                      </c:pt>
                      <c:pt idx="6">
                        <c:v>33450</c:v>
                      </c:pt>
                      <c:pt idx="7">
                        <c:v>33481</c:v>
                      </c:pt>
                      <c:pt idx="8">
                        <c:v>33511</c:v>
                      </c:pt>
                      <c:pt idx="9">
                        <c:v>33542</c:v>
                      </c:pt>
                      <c:pt idx="10">
                        <c:v>33572</c:v>
                      </c:pt>
                      <c:pt idx="11">
                        <c:v>33603</c:v>
                      </c:pt>
                      <c:pt idx="12">
                        <c:v>33634</c:v>
                      </c:pt>
                      <c:pt idx="13">
                        <c:v>33663</c:v>
                      </c:pt>
                      <c:pt idx="14">
                        <c:v>33694</c:v>
                      </c:pt>
                      <c:pt idx="15">
                        <c:v>33724</c:v>
                      </c:pt>
                      <c:pt idx="16">
                        <c:v>33755</c:v>
                      </c:pt>
                      <c:pt idx="17">
                        <c:v>33785</c:v>
                      </c:pt>
                      <c:pt idx="18">
                        <c:v>33816</c:v>
                      </c:pt>
                      <c:pt idx="19">
                        <c:v>33847</c:v>
                      </c:pt>
                      <c:pt idx="20">
                        <c:v>33877</c:v>
                      </c:pt>
                      <c:pt idx="21">
                        <c:v>33908</c:v>
                      </c:pt>
                      <c:pt idx="22">
                        <c:v>33938</c:v>
                      </c:pt>
                      <c:pt idx="23">
                        <c:v>33969</c:v>
                      </c:pt>
                      <c:pt idx="24">
                        <c:v>34000</c:v>
                      </c:pt>
                      <c:pt idx="25">
                        <c:v>34028</c:v>
                      </c:pt>
                      <c:pt idx="26">
                        <c:v>34059</c:v>
                      </c:pt>
                      <c:pt idx="27">
                        <c:v>34089</c:v>
                      </c:pt>
                      <c:pt idx="28">
                        <c:v>34120</c:v>
                      </c:pt>
                      <c:pt idx="29">
                        <c:v>34150</c:v>
                      </c:pt>
                      <c:pt idx="30">
                        <c:v>34181</c:v>
                      </c:pt>
                      <c:pt idx="31">
                        <c:v>34212</c:v>
                      </c:pt>
                      <c:pt idx="32">
                        <c:v>34242</c:v>
                      </c:pt>
                      <c:pt idx="33">
                        <c:v>34273</c:v>
                      </c:pt>
                      <c:pt idx="34">
                        <c:v>34303</c:v>
                      </c:pt>
                      <c:pt idx="35">
                        <c:v>34334</c:v>
                      </c:pt>
                      <c:pt idx="36">
                        <c:v>34365</c:v>
                      </c:pt>
                      <c:pt idx="37">
                        <c:v>34393</c:v>
                      </c:pt>
                      <c:pt idx="38">
                        <c:v>34424</c:v>
                      </c:pt>
                      <c:pt idx="39">
                        <c:v>34454</c:v>
                      </c:pt>
                      <c:pt idx="40">
                        <c:v>34485</c:v>
                      </c:pt>
                      <c:pt idx="41">
                        <c:v>34515</c:v>
                      </c:pt>
                      <c:pt idx="42">
                        <c:v>34546</c:v>
                      </c:pt>
                      <c:pt idx="43">
                        <c:v>34577</c:v>
                      </c:pt>
                      <c:pt idx="44">
                        <c:v>34607</c:v>
                      </c:pt>
                      <c:pt idx="45">
                        <c:v>34638</c:v>
                      </c:pt>
                      <c:pt idx="46">
                        <c:v>34668</c:v>
                      </c:pt>
                      <c:pt idx="47">
                        <c:v>34699</c:v>
                      </c:pt>
                      <c:pt idx="48">
                        <c:v>34730</c:v>
                      </c:pt>
                      <c:pt idx="49">
                        <c:v>34758</c:v>
                      </c:pt>
                      <c:pt idx="50">
                        <c:v>34789</c:v>
                      </c:pt>
                      <c:pt idx="51">
                        <c:v>34819</c:v>
                      </c:pt>
                      <c:pt idx="52">
                        <c:v>34850</c:v>
                      </c:pt>
                      <c:pt idx="53">
                        <c:v>34880</c:v>
                      </c:pt>
                      <c:pt idx="54">
                        <c:v>34911</c:v>
                      </c:pt>
                      <c:pt idx="55">
                        <c:v>34942</c:v>
                      </c:pt>
                      <c:pt idx="56">
                        <c:v>34972</c:v>
                      </c:pt>
                      <c:pt idx="57">
                        <c:v>35003</c:v>
                      </c:pt>
                      <c:pt idx="58">
                        <c:v>35033</c:v>
                      </c:pt>
                      <c:pt idx="59">
                        <c:v>35064</c:v>
                      </c:pt>
                      <c:pt idx="60">
                        <c:v>35095</c:v>
                      </c:pt>
                      <c:pt idx="61">
                        <c:v>35124</c:v>
                      </c:pt>
                      <c:pt idx="62">
                        <c:v>35155</c:v>
                      </c:pt>
                      <c:pt idx="63">
                        <c:v>35185</c:v>
                      </c:pt>
                      <c:pt idx="64">
                        <c:v>35216</c:v>
                      </c:pt>
                      <c:pt idx="65">
                        <c:v>35246</c:v>
                      </c:pt>
                      <c:pt idx="66">
                        <c:v>35277</c:v>
                      </c:pt>
                      <c:pt idx="67">
                        <c:v>35308</c:v>
                      </c:pt>
                      <c:pt idx="68">
                        <c:v>35338</c:v>
                      </c:pt>
                      <c:pt idx="69">
                        <c:v>35369</c:v>
                      </c:pt>
                      <c:pt idx="70">
                        <c:v>35399</c:v>
                      </c:pt>
                      <c:pt idx="71">
                        <c:v>35430</c:v>
                      </c:pt>
                      <c:pt idx="72">
                        <c:v>35461</c:v>
                      </c:pt>
                      <c:pt idx="73">
                        <c:v>35489</c:v>
                      </c:pt>
                      <c:pt idx="74">
                        <c:v>35520</c:v>
                      </c:pt>
                      <c:pt idx="75">
                        <c:v>35550</c:v>
                      </c:pt>
                      <c:pt idx="76">
                        <c:v>35581</c:v>
                      </c:pt>
                      <c:pt idx="77">
                        <c:v>35611</c:v>
                      </c:pt>
                      <c:pt idx="78">
                        <c:v>35642</c:v>
                      </c:pt>
                      <c:pt idx="79">
                        <c:v>35673</c:v>
                      </c:pt>
                      <c:pt idx="80">
                        <c:v>35703</c:v>
                      </c:pt>
                      <c:pt idx="81">
                        <c:v>35734</c:v>
                      </c:pt>
                      <c:pt idx="82">
                        <c:v>35764</c:v>
                      </c:pt>
                      <c:pt idx="83">
                        <c:v>35795</c:v>
                      </c:pt>
                      <c:pt idx="84">
                        <c:v>35826</c:v>
                      </c:pt>
                      <c:pt idx="85">
                        <c:v>35854</c:v>
                      </c:pt>
                      <c:pt idx="86">
                        <c:v>35885</c:v>
                      </c:pt>
                      <c:pt idx="87">
                        <c:v>35915</c:v>
                      </c:pt>
                      <c:pt idx="88">
                        <c:v>35946</c:v>
                      </c:pt>
                      <c:pt idx="89">
                        <c:v>35976</c:v>
                      </c:pt>
                      <c:pt idx="90">
                        <c:v>36007</c:v>
                      </c:pt>
                      <c:pt idx="91">
                        <c:v>36038</c:v>
                      </c:pt>
                      <c:pt idx="92">
                        <c:v>36068</c:v>
                      </c:pt>
                      <c:pt idx="93">
                        <c:v>36099</c:v>
                      </c:pt>
                      <c:pt idx="94">
                        <c:v>36129</c:v>
                      </c:pt>
                      <c:pt idx="95">
                        <c:v>36160</c:v>
                      </c:pt>
                      <c:pt idx="96">
                        <c:v>36191</c:v>
                      </c:pt>
                      <c:pt idx="97">
                        <c:v>36219</c:v>
                      </c:pt>
                      <c:pt idx="98">
                        <c:v>36250</c:v>
                      </c:pt>
                      <c:pt idx="99">
                        <c:v>36280</c:v>
                      </c:pt>
                      <c:pt idx="100">
                        <c:v>36311</c:v>
                      </c:pt>
                      <c:pt idx="101">
                        <c:v>36341</c:v>
                      </c:pt>
                      <c:pt idx="102">
                        <c:v>36372</c:v>
                      </c:pt>
                      <c:pt idx="103">
                        <c:v>36403</c:v>
                      </c:pt>
                      <c:pt idx="104">
                        <c:v>36433</c:v>
                      </c:pt>
                      <c:pt idx="105">
                        <c:v>36464</c:v>
                      </c:pt>
                      <c:pt idx="106">
                        <c:v>36494</c:v>
                      </c:pt>
                      <c:pt idx="107">
                        <c:v>36525</c:v>
                      </c:pt>
                      <c:pt idx="108">
                        <c:v>36556</c:v>
                      </c:pt>
                      <c:pt idx="109">
                        <c:v>36585</c:v>
                      </c:pt>
                      <c:pt idx="110">
                        <c:v>36616</c:v>
                      </c:pt>
                      <c:pt idx="111">
                        <c:v>36646</c:v>
                      </c:pt>
                      <c:pt idx="112">
                        <c:v>36677</c:v>
                      </c:pt>
                      <c:pt idx="113">
                        <c:v>36707</c:v>
                      </c:pt>
                      <c:pt idx="114">
                        <c:v>36738</c:v>
                      </c:pt>
                      <c:pt idx="115">
                        <c:v>36769</c:v>
                      </c:pt>
                      <c:pt idx="116">
                        <c:v>36799</c:v>
                      </c:pt>
                      <c:pt idx="117">
                        <c:v>36830</c:v>
                      </c:pt>
                      <c:pt idx="118">
                        <c:v>36860</c:v>
                      </c:pt>
                      <c:pt idx="119">
                        <c:v>36891</c:v>
                      </c:pt>
                      <c:pt idx="120">
                        <c:v>36922</c:v>
                      </c:pt>
                      <c:pt idx="121">
                        <c:v>36950</c:v>
                      </c:pt>
                      <c:pt idx="122">
                        <c:v>36981</c:v>
                      </c:pt>
                      <c:pt idx="123">
                        <c:v>37011</c:v>
                      </c:pt>
                      <c:pt idx="124">
                        <c:v>37042</c:v>
                      </c:pt>
                      <c:pt idx="125">
                        <c:v>37072</c:v>
                      </c:pt>
                      <c:pt idx="126">
                        <c:v>37103</c:v>
                      </c:pt>
                      <c:pt idx="127">
                        <c:v>37134</c:v>
                      </c:pt>
                      <c:pt idx="128">
                        <c:v>37164</c:v>
                      </c:pt>
                      <c:pt idx="129">
                        <c:v>37195</c:v>
                      </c:pt>
                      <c:pt idx="130">
                        <c:v>37225</c:v>
                      </c:pt>
                      <c:pt idx="131">
                        <c:v>37256</c:v>
                      </c:pt>
                      <c:pt idx="132">
                        <c:v>37287</c:v>
                      </c:pt>
                      <c:pt idx="133">
                        <c:v>37315</c:v>
                      </c:pt>
                      <c:pt idx="134">
                        <c:v>37346</c:v>
                      </c:pt>
                      <c:pt idx="135">
                        <c:v>37376</c:v>
                      </c:pt>
                      <c:pt idx="136">
                        <c:v>37407</c:v>
                      </c:pt>
                      <c:pt idx="137">
                        <c:v>37437</c:v>
                      </c:pt>
                      <c:pt idx="138">
                        <c:v>37468</c:v>
                      </c:pt>
                      <c:pt idx="139">
                        <c:v>37499</c:v>
                      </c:pt>
                      <c:pt idx="140">
                        <c:v>37529</c:v>
                      </c:pt>
                      <c:pt idx="141">
                        <c:v>37560</c:v>
                      </c:pt>
                      <c:pt idx="142">
                        <c:v>37590</c:v>
                      </c:pt>
                      <c:pt idx="143">
                        <c:v>37621</c:v>
                      </c:pt>
                      <c:pt idx="144">
                        <c:v>37652</c:v>
                      </c:pt>
                      <c:pt idx="145">
                        <c:v>37680</c:v>
                      </c:pt>
                      <c:pt idx="146">
                        <c:v>37711</c:v>
                      </c:pt>
                      <c:pt idx="147">
                        <c:v>37741</c:v>
                      </c:pt>
                      <c:pt idx="148">
                        <c:v>37772</c:v>
                      </c:pt>
                      <c:pt idx="149">
                        <c:v>37802</c:v>
                      </c:pt>
                      <c:pt idx="150">
                        <c:v>37833</c:v>
                      </c:pt>
                      <c:pt idx="151">
                        <c:v>37864</c:v>
                      </c:pt>
                      <c:pt idx="152">
                        <c:v>37894</c:v>
                      </c:pt>
                      <c:pt idx="153">
                        <c:v>37925</c:v>
                      </c:pt>
                      <c:pt idx="154">
                        <c:v>37955</c:v>
                      </c:pt>
                      <c:pt idx="155">
                        <c:v>37986</c:v>
                      </c:pt>
                      <c:pt idx="156">
                        <c:v>38017</c:v>
                      </c:pt>
                      <c:pt idx="157">
                        <c:v>38046</c:v>
                      </c:pt>
                      <c:pt idx="158">
                        <c:v>38077</c:v>
                      </c:pt>
                      <c:pt idx="159">
                        <c:v>38107</c:v>
                      </c:pt>
                      <c:pt idx="160">
                        <c:v>38138</c:v>
                      </c:pt>
                      <c:pt idx="161">
                        <c:v>38168</c:v>
                      </c:pt>
                      <c:pt idx="162">
                        <c:v>38199</c:v>
                      </c:pt>
                      <c:pt idx="163">
                        <c:v>38230</c:v>
                      </c:pt>
                      <c:pt idx="164">
                        <c:v>38260</c:v>
                      </c:pt>
                      <c:pt idx="165">
                        <c:v>38291</c:v>
                      </c:pt>
                      <c:pt idx="166">
                        <c:v>38321</c:v>
                      </c:pt>
                      <c:pt idx="167">
                        <c:v>38352</c:v>
                      </c:pt>
                      <c:pt idx="168">
                        <c:v>38383</c:v>
                      </c:pt>
                      <c:pt idx="169">
                        <c:v>38411</c:v>
                      </c:pt>
                      <c:pt idx="170">
                        <c:v>38442</c:v>
                      </c:pt>
                      <c:pt idx="171">
                        <c:v>38472</c:v>
                      </c:pt>
                      <c:pt idx="172">
                        <c:v>38503</c:v>
                      </c:pt>
                      <c:pt idx="173">
                        <c:v>38533</c:v>
                      </c:pt>
                      <c:pt idx="174">
                        <c:v>38564</c:v>
                      </c:pt>
                      <c:pt idx="175">
                        <c:v>38595</c:v>
                      </c:pt>
                      <c:pt idx="176">
                        <c:v>38625</c:v>
                      </c:pt>
                      <c:pt idx="177">
                        <c:v>38656</c:v>
                      </c:pt>
                      <c:pt idx="178">
                        <c:v>38686</c:v>
                      </c:pt>
                      <c:pt idx="179">
                        <c:v>38717</c:v>
                      </c:pt>
                      <c:pt idx="180">
                        <c:v>38748</c:v>
                      </c:pt>
                      <c:pt idx="181">
                        <c:v>38776</c:v>
                      </c:pt>
                      <c:pt idx="182">
                        <c:v>38807</c:v>
                      </c:pt>
                      <c:pt idx="183">
                        <c:v>38837</c:v>
                      </c:pt>
                      <c:pt idx="184">
                        <c:v>38868</c:v>
                      </c:pt>
                      <c:pt idx="185">
                        <c:v>38898</c:v>
                      </c:pt>
                      <c:pt idx="186">
                        <c:v>38929</c:v>
                      </c:pt>
                      <c:pt idx="187">
                        <c:v>38960</c:v>
                      </c:pt>
                      <c:pt idx="188">
                        <c:v>38990</c:v>
                      </c:pt>
                      <c:pt idx="189">
                        <c:v>39021</c:v>
                      </c:pt>
                      <c:pt idx="190">
                        <c:v>39051</c:v>
                      </c:pt>
                      <c:pt idx="191">
                        <c:v>39082</c:v>
                      </c:pt>
                      <c:pt idx="192">
                        <c:v>39113</c:v>
                      </c:pt>
                      <c:pt idx="193">
                        <c:v>39141</c:v>
                      </c:pt>
                      <c:pt idx="194">
                        <c:v>39172</c:v>
                      </c:pt>
                      <c:pt idx="195">
                        <c:v>39202</c:v>
                      </c:pt>
                      <c:pt idx="196">
                        <c:v>39233</c:v>
                      </c:pt>
                      <c:pt idx="197">
                        <c:v>39263</c:v>
                      </c:pt>
                      <c:pt idx="198">
                        <c:v>39294</c:v>
                      </c:pt>
                      <c:pt idx="199">
                        <c:v>39325</c:v>
                      </c:pt>
                      <c:pt idx="200">
                        <c:v>39355</c:v>
                      </c:pt>
                      <c:pt idx="201">
                        <c:v>39386</c:v>
                      </c:pt>
                      <c:pt idx="202">
                        <c:v>39416</c:v>
                      </c:pt>
                      <c:pt idx="203">
                        <c:v>39447</c:v>
                      </c:pt>
                      <c:pt idx="204">
                        <c:v>39478</c:v>
                      </c:pt>
                      <c:pt idx="205">
                        <c:v>39507</c:v>
                      </c:pt>
                      <c:pt idx="206">
                        <c:v>39538</c:v>
                      </c:pt>
                      <c:pt idx="207">
                        <c:v>39568</c:v>
                      </c:pt>
                      <c:pt idx="208">
                        <c:v>39599</c:v>
                      </c:pt>
                      <c:pt idx="209">
                        <c:v>39629</c:v>
                      </c:pt>
                      <c:pt idx="210">
                        <c:v>39660</c:v>
                      </c:pt>
                      <c:pt idx="211">
                        <c:v>39691</c:v>
                      </c:pt>
                      <c:pt idx="212">
                        <c:v>39721</c:v>
                      </c:pt>
                      <c:pt idx="213">
                        <c:v>39752</c:v>
                      </c:pt>
                      <c:pt idx="214">
                        <c:v>39782</c:v>
                      </c:pt>
                      <c:pt idx="215">
                        <c:v>39813</c:v>
                      </c:pt>
                      <c:pt idx="216">
                        <c:v>39844</c:v>
                      </c:pt>
                      <c:pt idx="217">
                        <c:v>39872</c:v>
                      </c:pt>
                      <c:pt idx="218">
                        <c:v>39903</c:v>
                      </c:pt>
                      <c:pt idx="219">
                        <c:v>39933</c:v>
                      </c:pt>
                      <c:pt idx="220">
                        <c:v>39964</c:v>
                      </c:pt>
                      <c:pt idx="221">
                        <c:v>39994</c:v>
                      </c:pt>
                      <c:pt idx="222">
                        <c:v>40025</c:v>
                      </c:pt>
                      <c:pt idx="223">
                        <c:v>40056</c:v>
                      </c:pt>
                      <c:pt idx="224">
                        <c:v>40086</c:v>
                      </c:pt>
                      <c:pt idx="225">
                        <c:v>40117</c:v>
                      </c:pt>
                      <c:pt idx="226">
                        <c:v>40147</c:v>
                      </c:pt>
                      <c:pt idx="227">
                        <c:v>40178</c:v>
                      </c:pt>
                      <c:pt idx="228">
                        <c:v>40209</c:v>
                      </c:pt>
                      <c:pt idx="229">
                        <c:v>40237</c:v>
                      </c:pt>
                      <c:pt idx="230">
                        <c:v>40268</c:v>
                      </c:pt>
                      <c:pt idx="231">
                        <c:v>40298</c:v>
                      </c:pt>
                      <c:pt idx="232">
                        <c:v>40329</c:v>
                      </c:pt>
                      <c:pt idx="233">
                        <c:v>40359</c:v>
                      </c:pt>
                      <c:pt idx="234">
                        <c:v>40390</c:v>
                      </c:pt>
                      <c:pt idx="235">
                        <c:v>40421</c:v>
                      </c:pt>
                      <c:pt idx="236">
                        <c:v>40451</c:v>
                      </c:pt>
                      <c:pt idx="237">
                        <c:v>40482</c:v>
                      </c:pt>
                      <c:pt idx="238">
                        <c:v>40512</c:v>
                      </c:pt>
                      <c:pt idx="239">
                        <c:v>40543</c:v>
                      </c:pt>
                      <c:pt idx="240">
                        <c:v>40574</c:v>
                      </c:pt>
                      <c:pt idx="241">
                        <c:v>40602</c:v>
                      </c:pt>
                      <c:pt idx="242">
                        <c:v>40633</c:v>
                      </c:pt>
                      <c:pt idx="243">
                        <c:v>40663</c:v>
                      </c:pt>
                      <c:pt idx="244">
                        <c:v>40694</c:v>
                      </c:pt>
                      <c:pt idx="245">
                        <c:v>40724</c:v>
                      </c:pt>
                      <c:pt idx="246">
                        <c:v>40755</c:v>
                      </c:pt>
                      <c:pt idx="247">
                        <c:v>40786</c:v>
                      </c:pt>
                      <c:pt idx="248">
                        <c:v>40816</c:v>
                      </c:pt>
                      <c:pt idx="249">
                        <c:v>40847</c:v>
                      </c:pt>
                      <c:pt idx="250">
                        <c:v>40877</c:v>
                      </c:pt>
                      <c:pt idx="251">
                        <c:v>40908</c:v>
                      </c:pt>
                      <c:pt idx="252">
                        <c:v>40939</c:v>
                      </c:pt>
                      <c:pt idx="253">
                        <c:v>40968</c:v>
                      </c:pt>
                      <c:pt idx="254">
                        <c:v>40999</c:v>
                      </c:pt>
                      <c:pt idx="255">
                        <c:v>41029</c:v>
                      </c:pt>
                      <c:pt idx="256">
                        <c:v>41060</c:v>
                      </c:pt>
                      <c:pt idx="257">
                        <c:v>41090</c:v>
                      </c:pt>
                      <c:pt idx="258">
                        <c:v>41121</c:v>
                      </c:pt>
                      <c:pt idx="259">
                        <c:v>41152</c:v>
                      </c:pt>
                      <c:pt idx="260">
                        <c:v>41182</c:v>
                      </c:pt>
                      <c:pt idx="261">
                        <c:v>41213</c:v>
                      </c:pt>
                      <c:pt idx="262">
                        <c:v>41243</c:v>
                      </c:pt>
                      <c:pt idx="263">
                        <c:v>41274</c:v>
                      </c:pt>
                      <c:pt idx="264">
                        <c:v>41305</c:v>
                      </c:pt>
                      <c:pt idx="265">
                        <c:v>41333</c:v>
                      </c:pt>
                      <c:pt idx="266">
                        <c:v>41364</c:v>
                      </c:pt>
                      <c:pt idx="267">
                        <c:v>41394</c:v>
                      </c:pt>
                      <c:pt idx="268">
                        <c:v>41425</c:v>
                      </c:pt>
                      <c:pt idx="269">
                        <c:v>41455</c:v>
                      </c:pt>
                      <c:pt idx="270">
                        <c:v>41486</c:v>
                      </c:pt>
                      <c:pt idx="271">
                        <c:v>41517</c:v>
                      </c:pt>
                      <c:pt idx="272">
                        <c:v>41547</c:v>
                      </c:pt>
                      <c:pt idx="273">
                        <c:v>41578</c:v>
                      </c:pt>
                      <c:pt idx="274">
                        <c:v>41608</c:v>
                      </c:pt>
                      <c:pt idx="275">
                        <c:v>41639</c:v>
                      </c:pt>
                      <c:pt idx="276">
                        <c:v>41670</c:v>
                      </c:pt>
                      <c:pt idx="277">
                        <c:v>41698</c:v>
                      </c:pt>
                      <c:pt idx="278">
                        <c:v>41729</c:v>
                      </c:pt>
                      <c:pt idx="279">
                        <c:v>41759</c:v>
                      </c:pt>
                      <c:pt idx="280">
                        <c:v>41790</c:v>
                      </c:pt>
                      <c:pt idx="281">
                        <c:v>41820</c:v>
                      </c:pt>
                      <c:pt idx="282">
                        <c:v>41851</c:v>
                      </c:pt>
                      <c:pt idx="283">
                        <c:v>41882</c:v>
                      </c:pt>
                      <c:pt idx="284">
                        <c:v>41912</c:v>
                      </c:pt>
                      <c:pt idx="285">
                        <c:v>41943</c:v>
                      </c:pt>
                      <c:pt idx="286">
                        <c:v>41973</c:v>
                      </c:pt>
                      <c:pt idx="287">
                        <c:v>42004</c:v>
                      </c:pt>
                      <c:pt idx="288">
                        <c:v>42035</c:v>
                      </c:pt>
                      <c:pt idx="289">
                        <c:v>42063</c:v>
                      </c:pt>
                      <c:pt idx="290">
                        <c:v>42094</c:v>
                      </c:pt>
                      <c:pt idx="291">
                        <c:v>42124</c:v>
                      </c:pt>
                      <c:pt idx="292">
                        <c:v>42155</c:v>
                      </c:pt>
                      <c:pt idx="293">
                        <c:v>42185</c:v>
                      </c:pt>
                      <c:pt idx="294">
                        <c:v>42216</c:v>
                      </c:pt>
                      <c:pt idx="295">
                        <c:v>42247</c:v>
                      </c:pt>
                      <c:pt idx="296">
                        <c:v>42277</c:v>
                      </c:pt>
                      <c:pt idx="297">
                        <c:v>42308</c:v>
                      </c:pt>
                      <c:pt idx="298">
                        <c:v>42338</c:v>
                      </c:pt>
                      <c:pt idx="299">
                        <c:v>42369</c:v>
                      </c:pt>
                      <c:pt idx="300">
                        <c:v>42400</c:v>
                      </c:pt>
                      <c:pt idx="301">
                        <c:v>42429</c:v>
                      </c:pt>
                      <c:pt idx="302">
                        <c:v>42460</c:v>
                      </c:pt>
                      <c:pt idx="303">
                        <c:v>42490</c:v>
                      </c:pt>
                      <c:pt idx="304">
                        <c:v>42521</c:v>
                      </c:pt>
                      <c:pt idx="305">
                        <c:v>42551</c:v>
                      </c:pt>
                      <c:pt idx="306">
                        <c:v>42582</c:v>
                      </c:pt>
                      <c:pt idx="307">
                        <c:v>42613</c:v>
                      </c:pt>
                      <c:pt idx="308">
                        <c:v>42643</c:v>
                      </c:pt>
                      <c:pt idx="309">
                        <c:v>42674</c:v>
                      </c:pt>
                      <c:pt idx="310">
                        <c:v>42704</c:v>
                      </c:pt>
                      <c:pt idx="311">
                        <c:v>42735</c:v>
                      </c:pt>
                      <c:pt idx="312">
                        <c:v>42766</c:v>
                      </c:pt>
                      <c:pt idx="313">
                        <c:v>42794</c:v>
                      </c:pt>
                      <c:pt idx="314">
                        <c:v>42825</c:v>
                      </c:pt>
                      <c:pt idx="315">
                        <c:v>42855</c:v>
                      </c:pt>
                      <c:pt idx="316">
                        <c:v>42886</c:v>
                      </c:pt>
                      <c:pt idx="317">
                        <c:v>42916</c:v>
                      </c:pt>
                      <c:pt idx="318">
                        <c:v>42947</c:v>
                      </c:pt>
                      <c:pt idx="319">
                        <c:v>42978</c:v>
                      </c:pt>
                      <c:pt idx="320">
                        <c:v>43008</c:v>
                      </c:pt>
                      <c:pt idx="321">
                        <c:v>43039</c:v>
                      </c:pt>
                      <c:pt idx="322">
                        <c:v>43069</c:v>
                      </c:pt>
                      <c:pt idx="323">
                        <c:v>43100</c:v>
                      </c:pt>
                      <c:pt idx="324">
                        <c:v>43131</c:v>
                      </c:pt>
                      <c:pt idx="325">
                        <c:v>43159</c:v>
                      </c:pt>
                      <c:pt idx="326">
                        <c:v>43190</c:v>
                      </c:pt>
                      <c:pt idx="327">
                        <c:v>43220</c:v>
                      </c:pt>
                      <c:pt idx="328">
                        <c:v>43251</c:v>
                      </c:pt>
                      <c:pt idx="329">
                        <c:v>43281</c:v>
                      </c:pt>
                      <c:pt idx="330">
                        <c:v>43312</c:v>
                      </c:pt>
                      <c:pt idx="331">
                        <c:v>43343</c:v>
                      </c:pt>
                      <c:pt idx="332">
                        <c:v>43373</c:v>
                      </c:pt>
                      <c:pt idx="333">
                        <c:v>43404</c:v>
                      </c:pt>
                      <c:pt idx="334">
                        <c:v>43434</c:v>
                      </c:pt>
                      <c:pt idx="335">
                        <c:v>43465</c:v>
                      </c:pt>
                      <c:pt idx="336">
                        <c:v>43496</c:v>
                      </c:pt>
                      <c:pt idx="337">
                        <c:v>43524</c:v>
                      </c:pt>
                      <c:pt idx="338">
                        <c:v>43555</c:v>
                      </c:pt>
                      <c:pt idx="339">
                        <c:v>43585</c:v>
                      </c:pt>
                      <c:pt idx="340">
                        <c:v>43616</c:v>
                      </c:pt>
                      <c:pt idx="341">
                        <c:v>43646</c:v>
                      </c:pt>
                      <c:pt idx="342">
                        <c:v>43677</c:v>
                      </c:pt>
                      <c:pt idx="343">
                        <c:v>43708</c:v>
                      </c:pt>
                      <c:pt idx="344">
                        <c:v>43738</c:v>
                      </c:pt>
                      <c:pt idx="345">
                        <c:v>43769</c:v>
                      </c:pt>
                      <c:pt idx="346">
                        <c:v>43799</c:v>
                      </c:pt>
                      <c:pt idx="347">
                        <c:v>43830</c:v>
                      </c:pt>
                      <c:pt idx="348">
                        <c:v>43861</c:v>
                      </c:pt>
                      <c:pt idx="349">
                        <c:v>43890</c:v>
                      </c:pt>
                      <c:pt idx="350">
                        <c:v>43921</c:v>
                      </c:pt>
                      <c:pt idx="351">
                        <c:v>43951</c:v>
                      </c:pt>
                      <c:pt idx="352">
                        <c:v>43982</c:v>
                      </c:pt>
                      <c:pt idx="353">
                        <c:v>44012</c:v>
                      </c:pt>
                      <c:pt idx="354">
                        <c:v>44043</c:v>
                      </c:pt>
                      <c:pt idx="355">
                        <c:v>44074</c:v>
                      </c:pt>
                      <c:pt idx="356">
                        <c:v>44104</c:v>
                      </c:pt>
                      <c:pt idx="357">
                        <c:v>44135</c:v>
                      </c:pt>
                      <c:pt idx="358">
                        <c:v>44165</c:v>
                      </c:pt>
                      <c:pt idx="359">
                        <c:v>44196</c:v>
                      </c:pt>
                      <c:pt idx="360">
                        <c:v>44227</c:v>
                      </c:pt>
                      <c:pt idx="361">
                        <c:v>44255</c:v>
                      </c:pt>
                      <c:pt idx="362">
                        <c:v>44286</c:v>
                      </c:pt>
                      <c:pt idx="363">
                        <c:v>44316</c:v>
                      </c:pt>
                      <c:pt idx="364">
                        <c:v>44347</c:v>
                      </c:pt>
                      <c:pt idx="365">
                        <c:v>44377</c:v>
                      </c:pt>
                      <c:pt idx="366">
                        <c:v>44408</c:v>
                      </c:pt>
                      <c:pt idx="367">
                        <c:v>44439</c:v>
                      </c:pt>
                      <c:pt idx="368">
                        <c:v>44469</c:v>
                      </c:pt>
                      <c:pt idx="369">
                        <c:v>44500</c:v>
                      </c:pt>
                      <c:pt idx="370">
                        <c:v>44530</c:v>
                      </c:pt>
                      <c:pt idx="371">
                        <c:v>44561</c:v>
                      </c:pt>
                      <c:pt idx="372">
                        <c:v>44592</c:v>
                      </c:pt>
                      <c:pt idx="373">
                        <c:v>44620</c:v>
                      </c:pt>
                      <c:pt idx="374">
                        <c:v>44651</c:v>
                      </c:pt>
                      <c:pt idx="375">
                        <c:v>44681</c:v>
                      </c:pt>
                      <c:pt idx="376">
                        <c:v>44712</c:v>
                      </c:pt>
                      <c:pt idx="377">
                        <c:v>44742</c:v>
                      </c:pt>
                      <c:pt idx="378">
                        <c:v>44773</c:v>
                      </c:pt>
                      <c:pt idx="379">
                        <c:v>44804</c:v>
                      </c:pt>
                      <c:pt idx="380">
                        <c:v>44834</c:v>
                      </c:pt>
                      <c:pt idx="381">
                        <c:v>44865</c:v>
                      </c:pt>
                      <c:pt idx="382">
                        <c:v>44895</c:v>
                      </c:pt>
                      <c:pt idx="383">
                        <c:v>44926</c:v>
                      </c:pt>
                      <c:pt idx="384">
                        <c:v>44957</c:v>
                      </c:pt>
                      <c:pt idx="385">
                        <c:v>44985</c:v>
                      </c:pt>
                      <c:pt idx="386">
                        <c:v>45015</c:v>
                      </c:pt>
                    </c:numCache>
                  </c:numRef>
                </c:cat>
                <c:val>
                  <c:numRef>
                    <c:extLst xmlns:c15="http://schemas.microsoft.com/office/drawing/2012/chart">
                      <c:ext xmlns:c15="http://schemas.microsoft.com/office/drawing/2012/chart" uri="{02D57815-91ED-43cb-92C2-25804820EDAC}">
                        <c15:formulaRef>
                          <c15:sqref>Monthly!$H$2:$H$581</c15:sqref>
                        </c15:formulaRef>
                      </c:ext>
                    </c:extLst>
                    <c:numCache>
                      <c:formatCode>0%</c:formatCode>
                      <c:ptCount val="387"/>
                      <c:pt idx="0">
                        <c:v>3.4732586709720778E-2</c:v>
                      </c:pt>
                      <c:pt idx="1">
                        <c:v>3.4732586709720778E-2</c:v>
                      </c:pt>
                      <c:pt idx="2">
                        <c:v>3.4732586709720778E-2</c:v>
                      </c:pt>
                      <c:pt idx="3">
                        <c:v>3.4732586709720778E-2</c:v>
                      </c:pt>
                      <c:pt idx="4">
                        <c:v>3.4732586709720778E-2</c:v>
                      </c:pt>
                      <c:pt idx="5">
                        <c:v>3.4732586709720778E-2</c:v>
                      </c:pt>
                      <c:pt idx="6">
                        <c:v>3.4732586709720778E-2</c:v>
                      </c:pt>
                      <c:pt idx="7">
                        <c:v>3.4732586709720778E-2</c:v>
                      </c:pt>
                      <c:pt idx="8">
                        <c:v>3.4732586709720778E-2</c:v>
                      </c:pt>
                      <c:pt idx="9">
                        <c:v>3.4732586709720778E-2</c:v>
                      </c:pt>
                      <c:pt idx="10">
                        <c:v>3.4732586709720778E-2</c:v>
                      </c:pt>
                      <c:pt idx="11">
                        <c:v>3.4732586709720778E-2</c:v>
                      </c:pt>
                      <c:pt idx="12">
                        <c:v>3.4732586709720778E-2</c:v>
                      </c:pt>
                      <c:pt idx="13">
                        <c:v>3.4732586709720778E-2</c:v>
                      </c:pt>
                      <c:pt idx="14">
                        <c:v>3.4732586709720778E-2</c:v>
                      </c:pt>
                      <c:pt idx="15">
                        <c:v>3.4732586709720778E-2</c:v>
                      </c:pt>
                      <c:pt idx="16">
                        <c:v>3.4732586709720778E-2</c:v>
                      </c:pt>
                      <c:pt idx="17">
                        <c:v>3.4732586709720778E-2</c:v>
                      </c:pt>
                      <c:pt idx="18">
                        <c:v>3.4732586709720778E-2</c:v>
                      </c:pt>
                      <c:pt idx="19">
                        <c:v>3.4732586709720778E-2</c:v>
                      </c:pt>
                      <c:pt idx="20">
                        <c:v>3.4732586709720778E-2</c:v>
                      </c:pt>
                      <c:pt idx="21">
                        <c:v>3.4732586709720778E-2</c:v>
                      </c:pt>
                      <c:pt idx="22">
                        <c:v>3.4732586709720778E-2</c:v>
                      </c:pt>
                      <c:pt idx="23">
                        <c:v>3.4732586709720778E-2</c:v>
                      </c:pt>
                      <c:pt idx="24">
                        <c:v>3.4732586709720778E-2</c:v>
                      </c:pt>
                      <c:pt idx="25">
                        <c:v>3.4732586709720778E-2</c:v>
                      </c:pt>
                      <c:pt idx="26">
                        <c:v>3.4732586709720778E-2</c:v>
                      </c:pt>
                      <c:pt idx="27">
                        <c:v>3.4732586709720778E-2</c:v>
                      </c:pt>
                      <c:pt idx="28">
                        <c:v>3.4732586709720778E-2</c:v>
                      </c:pt>
                      <c:pt idx="29">
                        <c:v>3.4732586709720778E-2</c:v>
                      </c:pt>
                      <c:pt idx="30">
                        <c:v>3.4732586709720778E-2</c:v>
                      </c:pt>
                      <c:pt idx="31">
                        <c:v>3.4732586709720778E-2</c:v>
                      </c:pt>
                      <c:pt idx="32">
                        <c:v>3.4732586709720778E-2</c:v>
                      </c:pt>
                      <c:pt idx="33">
                        <c:v>3.4732586709720778E-2</c:v>
                      </c:pt>
                      <c:pt idx="34">
                        <c:v>3.4732586709720778E-2</c:v>
                      </c:pt>
                      <c:pt idx="35">
                        <c:v>3.4732586709720778E-2</c:v>
                      </c:pt>
                      <c:pt idx="36">
                        <c:v>3.4732586709720778E-2</c:v>
                      </c:pt>
                      <c:pt idx="37">
                        <c:v>3.4732586709720778E-2</c:v>
                      </c:pt>
                      <c:pt idx="38">
                        <c:v>3.4732586709720778E-2</c:v>
                      </c:pt>
                      <c:pt idx="39">
                        <c:v>3.4732586709720778E-2</c:v>
                      </c:pt>
                      <c:pt idx="40">
                        <c:v>3.4732586709720778E-2</c:v>
                      </c:pt>
                      <c:pt idx="41">
                        <c:v>3.4732586709720778E-2</c:v>
                      </c:pt>
                      <c:pt idx="42">
                        <c:v>3.4732586709720778E-2</c:v>
                      </c:pt>
                      <c:pt idx="43">
                        <c:v>3.4732586709720778E-2</c:v>
                      </c:pt>
                      <c:pt idx="44">
                        <c:v>3.4732586709720778E-2</c:v>
                      </c:pt>
                      <c:pt idx="45">
                        <c:v>3.4732586709720778E-2</c:v>
                      </c:pt>
                      <c:pt idx="46">
                        <c:v>3.4732586709720778E-2</c:v>
                      </c:pt>
                      <c:pt idx="47">
                        <c:v>3.4732586709720778E-2</c:v>
                      </c:pt>
                      <c:pt idx="48">
                        <c:v>3.4732586709720778E-2</c:v>
                      </c:pt>
                      <c:pt idx="49">
                        <c:v>3.4732586709720778E-2</c:v>
                      </c:pt>
                      <c:pt idx="50">
                        <c:v>3.4732586709720778E-2</c:v>
                      </c:pt>
                      <c:pt idx="51">
                        <c:v>3.4732586709720778E-2</c:v>
                      </c:pt>
                      <c:pt idx="52">
                        <c:v>3.4732586709720778E-2</c:v>
                      </c:pt>
                      <c:pt idx="53">
                        <c:v>3.4732586709720778E-2</c:v>
                      </c:pt>
                      <c:pt idx="54">
                        <c:v>3.4732586709720778E-2</c:v>
                      </c:pt>
                      <c:pt idx="55">
                        <c:v>3.4732586709720778E-2</c:v>
                      </c:pt>
                      <c:pt idx="56">
                        <c:v>3.4732586709720778E-2</c:v>
                      </c:pt>
                      <c:pt idx="57">
                        <c:v>3.4732586709720778E-2</c:v>
                      </c:pt>
                      <c:pt idx="58">
                        <c:v>3.4732586709720778E-2</c:v>
                      </c:pt>
                      <c:pt idx="59">
                        <c:v>3.4732586709720778E-2</c:v>
                      </c:pt>
                      <c:pt idx="60">
                        <c:v>3.4732586709720778E-2</c:v>
                      </c:pt>
                      <c:pt idx="61">
                        <c:v>3.4732586709720778E-2</c:v>
                      </c:pt>
                      <c:pt idx="62">
                        <c:v>3.4732586709720778E-2</c:v>
                      </c:pt>
                      <c:pt idx="63">
                        <c:v>3.4732586709720778E-2</c:v>
                      </c:pt>
                      <c:pt idx="64">
                        <c:v>3.4732586709720778E-2</c:v>
                      </c:pt>
                      <c:pt idx="65">
                        <c:v>3.4732586709720778E-2</c:v>
                      </c:pt>
                      <c:pt idx="66">
                        <c:v>3.4732586709720778E-2</c:v>
                      </c:pt>
                      <c:pt idx="67">
                        <c:v>3.4732586709720778E-2</c:v>
                      </c:pt>
                      <c:pt idx="68">
                        <c:v>3.4732586709720778E-2</c:v>
                      </c:pt>
                      <c:pt idx="69">
                        <c:v>3.4732586709720778E-2</c:v>
                      </c:pt>
                      <c:pt idx="70">
                        <c:v>3.4732586709720778E-2</c:v>
                      </c:pt>
                      <c:pt idx="71">
                        <c:v>3.4732586709720778E-2</c:v>
                      </c:pt>
                      <c:pt idx="72">
                        <c:v>3.4732586709720778E-2</c:v>
                      </c:pt>
                      <c:pt idx="73">
                        <c:v>3.4732586709720778E-2</c:v>
                      </c:pt>
                      <c:pt idx="74">
                        <c:v>3.4732586709720778E-2</c:v>
                      </c:pt>
                      <c:pt idx="75">
                        <c:v>3.4732586709720778E-2</c:v>
                      </c:pt>
                      <c:pt idx="76">
                        <c:v>3.4732586709720778E-2</c:v>
                      </c:pt>
                      <c:pt idx="77">
                        <c:v>3.4732586709720778E-2</c:v>
                      </c:pt>
                      <c:pt idx="78">
                        <c:v>3.4732586709720778E-2</c:v>
                      </c:pt>
                      <c:pt idx="79">
                        <c:v>3.4732586709720778E-2</c:v>
                      </c:pt>
                      <c:pt idx="80">
                        <c:v>3.4732586709720778E-2</c:v>
                      </c:pt>
                      <c:pt idx="81">
                        <c:v>3.4732586709720778E-2</c:v>
                      </c:pt>
                      <c:pt idx="82">
                        <c:v>3.4732586709720778E-2</c:v>
                      </c:pt>
                      <c:pt idx="83">
                        <c:v>3.4732586709720778E-2</c:v>
                      </c:pt>
                      <c:pt idx="84">
                        <c:v>3.4732586709720778E-2</c:v>
                      </c:pt>
                      <c:pt idx="85">
                        <c:v>3.4732586709720778E-2</c:v>
                      </c:pt>
                      <c:pt idx="86">
                        <c:v>3.4732586709720778E-2</c:v>
                      </c:pt>
                      <c:pt idx="87">
                        <c:v>3.4732586709720778E-2</c:v>
                      </c:pt>
                      <c:pt idx="88">
                        <c:v>3.4732586709720778E-2</c:v>
                      </c:pt>
                      <c:pt idx="89">
                        <c:v>3.4732586709720778E-2</c:v>
                      </c:pt>
                      <c:pt idx="90">
                        <c:v>3.4732586709720778E-2</c:v>
                      </c:pt>
                      <c:pt idx="91">
                        <c:v>3.4732586709720778E-2</c:v>
                      </c:pt>
                      <c:pt idx="92">
                        <c:v>3.4732586709720778E-2</c:v>
                      </c:pt>
                      <c:pt idx="93">
                        <c:v>3.4732586709720778E-2</c:v>
                      </c:pt>
                      <c:pt idx="94">
                        <c:v>3.4732586709720778E-2</c:v>
                      </c:pt>
                      <c:pt idx="95">
                        <c:v>3.4732586709720778E-2</c:v>
                      </c:pt>
                      <c:pt idx="96">
                        <c:v>3.4732586709720778E-2</c:v>
                      </c:pt>
                      <c:pt idx="97">
                        <c:v>3.4732586709720778E-2</c:v>
                      </c:pt>
                      <c:pt idx="98">
                        <c:v>3.4732586709720778E-2</c:v>
                      </c:pt>
                      <c:pt idx="99">
                        <c:v>3.4732586709720778E-2</c:v>
                      </c:pt>
                      <c:pt idx="100">
                        <c:v>3.4732586709720778E-2</c:v>
                      </c:pt>
                      <c:pt idx="101">
                        <c:v>3.4732586709720778E-2</c:v>
                      </c:pt>
                      <c:pt idx="102">
                        <c:v>3.4732586709720778E-2</c:v>
                      </c:pt>
                      <c:pt idx="103">
                        <c:v>3.4732586709720778E-2</c:v>
                      </c:pt>
                      <c:pt idx="104">
                        <c:v>3.4732586709720778E-2</c:v>
                      </c:pt>
                      <c:pt idx="105">
                        <c:v>3.4732586709720778E-2</c:v>
                      </c:pt>
                      <c:pt idx="106">
                        <c:v>3.4732586709720778E-2</c:v>
                      </c:pt>
                      <c:pt idx="107">
                        <c:v>3.4732586709720778E-2</c:v>
                      </c:pt>
                      <c:pt idx="108">
                        <c:v>3.4732586709720778E-2</c:v>
                      </c:pt>
                      <c:pt idx="109">
                        <c:v>3.4732586709720778E-2</c:v>
                      </c:pt>
                      <c:pt idx="110">
                        <c:v>3.4732586709720778E-2</c:v>
                      </c:pt>
                      <c:pt idx="111">
                        <c:v>3.4732586709720778E-2</c:v>
                      </c:pt>
                      <c:pt idx="112">
                        <c:v>3.4732586709720778E-2</c:v>
                      </c:pt>
                      <c:pt idx="113">
                        <c:v>3.4732586709720778E-2</c:v>
                      </c:pt>
                      <c:pt idx="114">
                        <c:v>3.4732586709720778E-2</c:v>
                      </c:pt>
                      <c:pt idx="115">
                        <c:v>3.4732586709720778E-2</c:v>
                      </c:pt>
                      <c:pt idx="116">
                        <c:v>3.4732586709720778E-2</c:v>
                      </c:pt>
                      <c:pt idx="117">
                        <c:v>3.4732586709720778E-2</c:v>
                      </c:pt>
                      <c:pt idx="118">
                        <c:v>3.4732586709720778E-2</c:v>
                      </c:pt>
                      <c:pt idx="119">
                        <c:v>3.4732586709720778E-2</c:v>
                      </c:pt>
                      <c:pt idx="120">
                        <c:v>3.4732586709720778E-2</c:v>
                      </c:pt>
                      <c:pt idx="121">
                        <c:v>3.4732586709720778E-2</c:v>
                      </c:pt>
                      <c:pt idx="122">
                        <c:v>3.4732586709720778E-2</c:v>
                      </c:pt>
                      <c:pt idx="123">
                        <c:v>3.4732586709720778E-2</c:v>
                      </c:pt>
                      <c:pt idx="124">
                        <c:v>3.4732586709720778E-2</c:v>
                      </c:pt>
                      <c:pt idx="125">
                        <c:v>3.4732586709720778E-2</c:v>
                      </c:pt>
                      <c:pt idx="126">
                        <c:v>3.4732586709720778E-2</c:v>
                      </c:pt>
                      <c:pt idx="127">
                        <c:v>3.4732586709720778E-2</c:v>
                      </c:pt>
                      <c:pt idx="128">
                        <c:v>3.4732586709720778E-2</c:v>
                      </c:pt>
                      <c:pt idx="129">
                        <c:v>3.4732586709720778E-2</c:v>
                      </c:pt>
                      <c:pt idx="130">
                        <c:v>3.4732586709720778E-2</c:v>
                      </c:pt>
                      <c:pt idx="131">
                        <c:v>3.4732586709720778E-2</c:v>
                      </c:pt>
                      <c:pt idx="132">
                        <c:v>3.4732586709720778E-2</c:v>
                      </c:pt>
                      <c:pt idx="133">
                        <c:v>3.4732586709720778E-2</c:v>
                      </c:pt>
                      <c:pt idx="134">
                        <c:v>3.4732586709720778E-2</c:v>
                      </c:pt>
                      <c:pt idx="135">
                        <c:v>3.4732586709720778E-2</c:v>
                      </c:pt>
                      <c:pt idx="136">
                        <c:v>3.4732586709720778E-2</c:v>
                      </c:pt>
                      <c:pt idx="137">
                        <c:v>3.4732586709720778E-2</c:v>
                      </c:pt>
                      <c:pt idx="138">
                        <c:v>3.4732586709720778E-2</c:v>
                      </c:pt>
                      <c:pt idx="139">
                        <c:v>3.4732586709720778E-2</c:v>
                      </c:pt>
                      <c:pt idx="140">
                        <c:v>3.4732586709720778E-2</c:v>
                      </c:pt>
                      <c:pt idx="141">
                        <c:v>3.4732586709720778E-2</c:v>
                      </c:pt>
                      <c:pt idx="142">
                        <c:v>3.4732586709720778E-2</c:v>
                      </c:pt>
                      <c:pt idx="143">
                        <c:v>3.4732586709720778E-2</c:v>
                      </c:pt>
                      <c:pt idx="144">
                        <c:v>3.4732586709720778E-2</c:v>
                      </c:pt>
                      <c:pt idx="145">
                        <c:v>3.4732586709720778E-2</c:v>
                      </c:pt>
                      <c:pt idx="146">
                        <c:v>3.4732586709720778E-2</c:v>
                      </c:pt>
                      <c:pt idx="147">
                        <c:v>3.4732586709720778E-2</c:v>
                      </c:pt>
                      <c:pt idx="148">
                        <c:v>3.4732586709720778E-2</c:v>
                      </c:pt>
                      <c:pt idx="149">
                        <c:v>3.4732586709720778E-2</c:v>
                      </c:pt>
                      <c:pt idx="150">
                        <c:v>3.4732586709720778E-2</c:v>
                      </c:pt>
                      <c:pt idx="151">
                        <c:v>3.4732586709720778E-2</c:v>
                      </c:pt>
                      <c:pt idx="152">
                        <c:v>3.4732586709720778E-2</c:v>
                      </c:pt>
                      <c:pt idx="153">
                        <c:v>3.4732586709720778E-2</c:v>
                      </c:pt>
                      <c:pt idx="154">
                        <c:v>3.4732586709720778E-2</c:v>
                      </c:pt>
                      <c:pt idx="155">
                        <c:v>3.4732586709720778E-2</c:v>
                      </c:pt>
                      <c:pt idx="156">
                        <c:v>3.4732586709720778E-2</c:v>
                      </c:pt>
                      <c:pt idx="157">
                        <c:v>3.4732586709720778E-2</c:v>
                      </c:pt>
                      <c:pt idx="158">
                        <c:v>3.4732586709720778E-2</c:v>
                      </c:pt>
                      <c:pt idx="159">
                        <c:v>3.4732586709720778E-2</c:v>
                      </c:pt>
                      <c:pt idx="160">
                        <c:v>3.4732586709720778E-2</c:v>
                      </c:pt>
                      <c:pt idx="161">
                        <c:v>3.4732586709720778E-2</c:v>
                      </c:pt>
                      <c:pt idx="162">
                        <c:v>3.4732586709720778E-2</c:v>
                      </c:pt>
                      <c:pt idx="163">
                        <c:v>3.4732586709720778E-2</c:v>
                      </c:pt>
                      <c:pt idx="164">
                        <c:v>3.4732586709720778E-2</c:v>
                      </c:pt>
                      <c:pt idx="165">
                        <c:v>3.4732586709720778E-2</c:v>
                      </c:pt>
                      <c:pt idx="166">
                        <c:v>3.4732586709720778E-2</c:v>
                      </c:pt>
                      <c:pt idx="167">
                        <c:v>3.4732586709720778E-2</c:v>
                      </c:pt>
                      <c:pt idx="168">
                        <c:v>3.4732586709720778E-2</c:v>
                      </c:pt>
                      <c:pt idx="169">
                        <c:v>3.4732586709720778E-2</c:v>
                      </c:pt>
                      <c:pt idx="170">
                        <c:v>3.4732586709720778E-2</c:v>
                      </c:pt>
                      <c:pt idx="171">
                        <c:v>3.4732586709720778E-2</c:v>
                      </c:pt>
                      <c:pt idx="172">
                        <c:v>3.4732586709720778E-2</c:v>
                      </c:pt>
                      <c:pt idx="173">
                        <c:v>3.4732586709720778E-2</c:v>
                      </c:pt>
                      <c:pt idx="174">
                        <c:v>3.4732586709720778E-2</c:v>
                      </c:pt>
                      <c:pt idx="175">
                        <c:v>3.4732586709720778E-2</c:v>
                      </c:pt>
                      <c:pt idx="176">
                        <c:v>3.4732586709720778E-2</c:v>
                      </c:pt>
                      <c:pt idx="177">
                        <c:v>3.4732586709720778E-2</c:v>
                      </c:pt>
                      <c:pt idx="178">
                        <c:v>3.4732586709720778E-2</c:v>
                      </c:pt>
                      <c:pt idx="179">
                        <c:v>3.4732586709720778E-2</c:v>
                      </c:pt>
                      <c:pt idx="180">
                        <c:v>3.4732586709720778E-2</c:v>
                      </c:pt>
                      <c:pt idx="181">
                        <c:v>3.4732586709720778E-2</c:v>
                      </c:pt>
                      <c:pt idx="182">
                        <c:v>3.4732586709720778E-2</c:v>
                      </c:pt>
                      <c:pt idx="183">
                        <c:v>3.4732586709720778E-2</c:v>
                      </c:pt>
                      <c:pt idx="184">
                        <c:v>3.4732586709720778E-2</c:v>
                      </c:pt>
                      <c:pt idx="185">
                        <c:v>3.4732586709720778E-2</c:v>
                      </c:pt>
                      <c:pt idx="186">
                        <c:v>3.4732586709720778E-2</c:v>
                      </c:pt>
                      <c:pt idx="187">
                        <c:v>3.4732586709720778E-2</c:v>
                      </c:pt>
                      <c:pt idx="188">
                        <c:v>3.4732586709720778E-2</c:v>
                      </c:pt>
                      <c:pt idx="189">
                        <c:v>3.4732586709720778E-2</c:v>
                      </c:pt>
                      <c:pt idx="190">
                        <c:v>3.4732586709720778E-2</c:v>
                      </c:pt>
                      <c:pt idx="191">
                        <c:v>3.4732586709720778E-2</c:v>
                      </c:pt>
                      <c:pt idx="192">
                        <c:v>3.4732586709720778E-2</c:v>
                      </c:pt>
                      <c:pt idx="193">
                        <c:v>3.4732586709720778E-2</c:v>
                      </c:pt>
                      <c:pt idx="194">
                        <c:v>3.4732586709720778E-2</c:v>
                      </c:pt>
                      <c:pt idx="195">
                        <c:v>3.4732586709720778E-2</c:v>
                      </c:pt>
                      <c:pt idx="196">
                        <c:v>3.4732586709720778E-2</c:v>
                      </c:pt>
                      <c:pt idx="197">
                        <c:v>3.4732586709720778E-2</c:v>
                      </c:pt>
                      <c:pt idx="198">
                        <c:v>3.4732586709720778E-2</c:v>
                      </c:pt>
                      <c:pt idx="199">
                        <c:v>3.4732586709720778E-2</c:v>
                      </c:pt>
                      <c:pt idx="200">
                        <c:v>3.4732586709720778E-2</c:v>
                      </c:pt>
                      <c:pt idx="201">
                        <c:v>3.4732586709720778E-2</c:v>
                      </c:pt>
                      <c:pt idx="202">
                        <c:v>3.4732586709720778E-2</c:v>
                      </c:pt>
                      <c:pt idx="203">
                        <c:v>3.4732586709720778E-2</c:v>
                      </c:pt>
                      <c:pt idx="204">
                        <c:v>3.4732586709720778E-2</c:v>
                      </c:pt>
                      <c:pt idx="205">
                        <c:v>3.4732586709720778E-2</c:v>
                      </c:pt>
                      <c:pt idx="206">
                        <c:v>3.4732586709720778E-2</c:v>
                      </c:pt>
                      <c:pt idx="207">
                        <c:v>3.4732586709720778E-2</c:v>
                      </c:pt>
                      <c:pt idx="208">
                        <c:v>3.4732586709720778E-2</c:v>
                      </c:pt>
                      <c:pt idx="209">
                        <c:v>3.4732586709720778E-2</c:v>
                      </c:pt>
                      <c:pt idx="210">
                        <c:v>3.4732586709720778E-2</c:v>
                      </c:pt>
                      <c:pt idx="211">
                        <c:v>3.4732586709720778E-2</c:v>
                      </c:pt>
                      <c:pt idx="212">
                        <c:v>3.4732586709720778E-2</c:v>
                      </c:pt>
                      <c:pt idx="213">
                        <c:v>3.4732586709720778E-2</c:v>
                      </c:pt>
                      <c:pt idx="214">
                        <c:v>3.4732586709720778E-2</c:v>
                      </c:pt>
                      <c:pt idx="215">
                        <c:v>3.4732586709720778E-2</c:v>
                      </c:pt>
                      <c:pt idx="216">
                        <c:v>3.4732586709720778E-2</c:v>
                      </c:pt>
                      <c:pt idx="217">
                        <c:v>3.4732586709720778E-2</c:v>
                      </c:pt>
                      <c:pt idx="218">
                        <c:v>3.4732586709720778E-2</c:v>
                      </c:pt>
                      <c:pt idx="219">
                        <c:v>3.4732586709720778E-2</c:v>
                      </c:pt>
                      <c:pt idx="220">
                        <c:v>3.4732586709720778E-2</c:v>
                      </c:pt>
                      <c:pt idx="221">
                        <c:v>3.4732586709720778E-2</c:v>
                      </c:pt>
                      <c:pt idx="222">
                        <c:v>3.4732586709720778E-2</c:v>
                      </c:pt>
                      <c:pt idx="223">
                        <c:v>3.4732586709720778E-2</c:v>
                      </c:pt>
                      <c:pt idx="224">
                        <c:v>3.4732586709720778E-2</c:v>
                      </c:pt>
                      <c:pt idx="225">
                        <c:v>3.4732586709720778E-2</c:v>
                      </c:pt>
                      <c:pt idx="226">
                        <c:v>3.4732586709720778E-2</c:v>
                      </c:pt>
                      <c:pt idx="227">
                        <c:v>3.4732586709720778E-2</c:v>
                      </c:pt>
                      <c:pt idx="228">
                        <c:v>3.4732586709720778E-2</c:v>
                      </c:pt>
                      <c:pt idx="229">
                        <c:v>3.4732586709720778E-2</c:v>
                      </c:pt>
                      <c:pt idx="230">
                        <c:v>3.4732586709720778E-2</c:v>
                      </c:pt>
                      <c:pt idx="231">
                        <c:v>3.4732586709720778E-2</c:v>
                      </c:pt>
                      <c:pt idx="232">
                        <c:v>3.4732586709720778E-2</c:v>
                      </c:pt>
                      <c:pt idx="233">
                        <c:v>3.4732586709720778E-2</c:v>
                      </c:pt>
                      <c:pt idx="234">
                        <c:v>3.4732586709720778E-2</c:v>
                      </c:pt>
                      <c:pt idx="235">
                        <c:v>3.4732586709720778E-2</c:v>
                      </c:pt>
                      <c:pt idx="236">
                        <c:v>3.4732586709720778E-2</c:v>
                      </c:pt>
                      <c:pt idx="237">
                        <c:v>3.4732586709720778E-2</c:v>
                      </c:pt>
                      <c:pt idx="238">
                        <c:v>3.4732586709720778E-2</c:v>
                      </c:pt>
                      <c:pt idx="239">
                        <c:v>3.4732586709720778E-2</c:v>
                      </c:pt>
                      <c:pt idx="240">
                        <c:v>3.4732586709720778E-2</c:v>
                      </c:pt>
                      <c:pt idx="241">
                        <c:v>3.4732586709720778E-2</c:v>
                      </c:pt>
                      <c:pt idx="242">
                        <c:v>3.4732586709720778E-2</c:v>
                      </c:pt>
                      <c:pt idx="243">
                        <c:v>3.4732586709720778E-2</c:v>
                      </c:pt>
                      <c:pt idx="244">
                        <c:v>3.4732586709720778E-2</c:v>
                      </c:pt>
                      <c:pt idx="245">
                        <c:v>3.4732586709720778E-2</c:v>
                      </c:pt>
                      <c:pt idx="246">
                        <c:v>3.4732586709720778E-2</c:v>
                      </c:pt>
                      <c:pt idx="247">
                        <c:v>3.4732586709720778E-2</c:v>
                      </c:pt>
                      <c:pt idx="248">
                        <c:v>3.4732586709720778E-2</c:v>
                      </c:pt>
                      <c:pt idx="249">
                        <c:v>3.4732586709720778E-2</c:v>
                      </c:pt>
                      <c:pt idx="250">
                        <c:v>3.4732586709720778E-2</c:v>
                      </c:pt>
                      <c:pt idx="251">
                        <c:v>3.4732586709720778E-2</c:v>
                      </c:pt>
                      <c:pt idx="252">
                        <c:v>3.4732586709720778E-2</c:v>
                      </c:pt>
                      <c:pt idx="253">
                        <c:v>3.4732586709720778E-2</c:v>
                      </c:pt>
                      <c:pt idx="254">
                        <c:v>3.4732586709720778E-2</c:v>
                      </c:pt>
                      <c:pt idx="255">
                        <c:v>3.4732586709720778E-2</c:v>
                      </c:pt>
                      <c:pt idx="256">
                        <c:v>3.4732586709720778E-2</c:v>
                      </c:pt>
                      <c:pt idx="257">
                        <c:v>3.4732586709720778E-2</c:v>
                      </c:pt>
                      <c:pt idx="258">
                        <c:v>3.4732586709720778E-2</c:v>
                      </c:pt>
                      <c:pt idx="259">
                        <c:v>3.4732586709720778E-2</c:v>
                      </c:pt>
                      <c:pt idx="260">
                        <c:v>3.4732586709720778E-2</c:v>
                      </c:pt>
                      <c:pt idx="261">
                        <c:v>3.4732586709720778E-2</c:v>
                      </c:pt>
                      <c:pt idx="262">
                        <c:v>3.4732586709720778E-2</c:v>
                      </c:pt>
                      <c:pt idx="263">
                        <c:v>3.4732586709720778E-2</c:v>
                      </c:pt>
                      <c:pt idx="264">
                        <c:v>3.4732586709720778E-2</c:v>
                      </c:pt>
                      <c:pt idx="265">
                        <c:v>3.4732586709720778E-2</c:v>
                      </c:pt>
                      <c:pt idx="266">
                        <c:v>3.4732586709720778E-2</c:v>
                      </c:pt>
                      <c:pt idx="267">
                        <c:v>3.4732586709720778E-2</c:v>
                      </c:pt>
                      <c:pt idx="268">
                        <c:v>3.4732586709720778E-2</c:v>
                      </c:pt>
                      <c:pt idx="269">
                        <c:v>3.4732586709720778E-2</c:v>
                      </c:pt>
                      <c:pt idx="270">
                        <c:v>3.4732586709720778E-2</c:v>
                      </c:pt>
                      <c:pt idx="271">
                        <c:v>3.4732586709720778E-2</c:v>
                      </c:pt>
                      <c:pt idx="272">
                        <c:v>3.4732586709720778E-2</c:v>
                      </c:pt>
                      <c:pt idx="273">
                        <c:v>3.4732586709720778E-2</c:v>
                      </c:pt>
                      <c:pt idx="274">
                        <c:v>3.4732586709720778E-2</c:v>
                      </c:pt>
                      <c:pt idx="275">
                        <c:v>3.4732586709720778E-2</c:v>
                      </c:pt>
                      <c:pt idx="276">
                        <c:v>3.4732586709720778E-2</c:v>
                      </c:pt>
                      <c:pt idx="277">
                        <c:v>3.4732586709720778E-2</c:v>
                      </c:pt>
                      <c:pt idx="278">
                        <c:v>3.4732586709720778E-2</c:v>
                      </c:pt>
                      <c:pt idx="279">
                        <c:v>3.4732586709720778E-2</c:v>
                      </c:pt>
                      <c:pt idx="280">
                        <c:v>3.4732586709720778E-2</c:v>
                      </c:pt>
                      <c:pt idx="281">
                        <c:v>3.4732586709720778E-2</c:v>
                      </c:pt>
                      <c:pt idx="282">
                        <c:v>3.4732586709720778E-2</c:v>
                      </c:pt>
                      <c:pt idx="283">
                        <c:v>3.4732586709720778E-2</c:v>
                      </c:pt>
                      <c:pt idx="284">
                        <c:v>3.4732586709720778E-2</c:v>
                      </c:pt>
                      <c:pt idx="285">
                        <c:v>3.4732586709720778E-2</c:v>
                      </c:pt>
                      <c:pt idx="286">
                        <c:v>3.4732586709720778E-2</c:v>
                      </c:pt>
                      <c:pt idx="287">
                        <c:v>3.4732586709720778E-2</c:v>
                      </c:pt>
                      <c:pt idx="288">
                        <c:v>3.4732586709720778E-2</c:v>
                      </c:pt>
                      <c:pt idx="289">
                        <c:v>3.4732586709720778E-2</c:v>
                      </c:pt>
                      <c:pt idx="290">
                        <c:v>3.4732586709720778E-2</c:v>
                      </c:pt>
                      <c:pt idx="291">
                        <c:v>3.4732586709720778E-2</c:v>
                      </c:pt>
                      <c:pt idx="292">
                        <c:v>3.4732586709720778E-2</c:v>
                      </c:pt>
                      <c:pt idx="293">
                        <c:v>3.4732586709720778E-2</c:v>
                      </c:pt>
                      <c:pt idx="294">
                        <c:v>3.4732586709720778E-2</c:v>
                      </c:pt>
                      <c:pt idx="295">
                        <c:v>3.4732586709720778E-2</c:v>
                      </c:pt>
                      <c:pt idx="296">
                        <c:v>3.4732586709720778E-2</c:v>
                      </c:pt>
                      <c:pt idx="297">
                        <c:v>3.4732586709720778E-2</c:v>
                      </c:pt>
                      <c:pt idx="298">
                        <c:v>3.4732586709720778E-2</c:v>
                      </c:pt>
                      <c:pt idx="299">
                        <c:v>3.4732586709720778E-2</c:v>
                      </c:pt>
                      <c:pt idx="300">
                        <c:v>3.4732586709720778E-2</c:v>
                      </c:pt>
                      <c:pt idx="301">
                        <c:v>3.4732586709720778E-2</c:v>
                      </c:pt>
                      <c:pt idx="302">
                        <c:v>3.4732586709720778E-2</c:v>
                      </c:pt>
                      <c:pt idx="303">
                        <c:v>3.4732586709720778E-2</c:v>
                      </c:pt>
                      <c:pt idx="304">
                        <c:v>3.4732586709720778E-2</c:v>
                      </c:pt>
                      <c:pt idx="305">
                        <c:v>3.4732586709720778E-2</c:v>
                      </c:pt>
                      <c:pt idx="306">
                        <c:v>3.4732586709720778E-2</c:v>
                      </c:pt>
                      <c:pt idx="307">
                        <c:v>3.4732586709720778E-2</c:v>
                      </c:pt>
                      <c:pt idx="308">
                        <c:v>3.4732586709720778E-2</c:v>
                      </c:pt>
                      <c:pt idx="309">
                        <c:v>3.4732586709720778E-2</c:v>
                      </c:pt>
                      <c:pt idx="310">
                        <c:v>3.4732586709720778E-2</c:v>
                      </c:pt>
                      <c:pt idx="311">
                        <c:v>3.4732586709720778E-2</c:v>
                      </c:pt>
                      <c:pt idx="312">
                        <c:v>3.4732586709720778E-2</c:v>
                      </c:pt>
                      <c:pt idx="313">
                        <c:v>3.4732586709720778E-2</c:v>
                      </c:pt>
                      <c:pt idx="314">
                        <c:v>3.4732586709720778E-2</c:v>
                      </c:pt>
                      <c:pt idx="315">
                        <c:v>3.4732586709720778E-2</c:v>
                      </c:pt>
                      <c:pt idx="316">
                        <c:v>3.4732586709720778E-2</c:v>
                      </c:pt>
                      <c:pt idx="317">
                        <c:v>3.4732586709720778E-2</c:v>
                      </c:pt>
                      <c:pt idx="318">
                        <c:v>3.4732586709720778E-2</c:v>
                      </c:pt>
                      <c:pt idx="319">
                        <c:v>3.4732586709720778E-2</c:v>
                      </c:pt>
                      <c:pt idx="320">
                        <c:v>3.4732586709720778E-2</c:v>
                      </c:pt>
                      <c:pt idx="321">
                        <c:v>3.4732586709720778E-2</c:v>
                      </c:pt>
                      <c:pt idx="322">
                        <c:v>3.4732586709720778E-2</c:v>
                      </c:pt>
                      <c:pt idx="323">
                        <c:v>3.4732586709720778E-2</c:v>
                      </c:pt>
                      <c:pt idx="324">
                        <c:v>3.4732586709720778E-2</c:v>
                      </c:pt>
                      <c:pt idx="325">
                        <c:v>3.4732586709720778E-2</c:v>
                      </c:pt>
                      <c:pt idx="326">
                        <c:v>3.4732586709720778E-2</c:v>
                      </c:pt>
                      <c:pt idx="327">
                        <c:v>3.4732586709720778E-2</c:v>
                      </c:pt>
                      <c:pt idx="328">
                        <c:v>3.4732586709720778E-2</c:v>
                      </c:pt>
                      <c:pt idx="329">
                        <c:v>3.4732586709720778E-2</c:v>
                      </c:pt>
                      <c:pt idx="330">
                        <c:v>3.4732586709720778E-2</c:v>
                      </c:pt>
                      <c:pt idx="331">
                        <c:v>3.4732586709720778E-2</c:v>
                      </c:pt>
                      <c:pt idx="332">
                        <c:v>3.4732586709720778E-2</c:v>
                      </c:pt>
                      <c:pt idx="333">
                        <c:v>3.4732586709720778E-2</c:v>
                      </c:pt>
                      <c:pt idx="334">
                        <c:v>3.4732586709720778E-2</c:v>
                      </c:pt>
                      <c:pt idx="335">
                        <c:v>3.4732586709720778E-2</c:v>
                      </c:pt>
                      <c:pt idx="336">
                        <c:v>3.4732586709720778E-2</c:v>
                      </c:pt>
                      <c:pt idx="337">
                        <c:v>3.4732586709720778E-2</c:v>
                      </c:pt>
                      <c:pt idx="338">
                        <c:v>3.4732586709720778E-2</c:v>
                      </c:pt>
                      <c:pt idx="339">
                        <c:v>3.4732586709720778E-2</c:v>
                      </c:pt>
                      <c:pt idx="340">
                        <c:v>3.4732586709720778E-2</c:v>
                      </c:pt>
                      <c:pt idx="341">
                        <c:v>3.4732586709720778E-2</c:v>
                      </c:pt>
                      <c:pt idx="342">
                        <c:v>3.4732586709720778E-2</c:v>
                      </c:pt>
                      <c:pt idx="343">
                        <c:v>3.4732586709720778E-2</c:v>
                      </c:pt>
                      <c:pt idx="344">
                        <c:v>3.4732586709720778E-2</c:v>
                      </c:pt>
                      <c:pt idx="345">
                        <c:v>3.4732586709720778E-2</c:v>
                      </c:pt>
                      <c:pt idx="346">
                        <c:v>3.4732586709720778E-2</c:v>
                      </c:pt>
                      <c:pt idx="347">
                        <c:v>3.4732586709720778E-2</c:v>
                      </c:pt>
                      <c:pt idx="348">
                        <c:v>3.4732586709720778E-2</c:v>
                      </c:pt>
                      <c:pt idx="349">
                        <c:v>3.4732586709720778E-2</c:v>
                      </c:pt>
                      <c:pt idx="350">
                        <c:v>3.4732586709720778E-2</c:v>
                      </c:pt>
                      <c:pt idx="351">
                        <c:v>3.4732586709720778E-2</c:v>
                      </c:pt>
                      <c:pt idx="352">
                        <c:v>3.4732586709720778E-2</c:v>
                      </c:pt>
                      <c:pt idx="353">
                        <c:v>3.4732586709720778E-2</c:v>
                      </c:pt>
                      <c:pt idx="354">
                        <c:v>3.4732586709720778E-2</c:v>
                      </c:pt>
                      <c:pt idx="355">
                        <c:v>3.4732586709720778E-2</c:v>
                      </c:pt>
                      <c:pt idx="356">
                        <c:v>3.4732586709720778E-2</c:v>
                      </c:pt>
                      <c:pt idx="357">
                        <c:v>3.4732586709720778E-2</c:v>
                      </c:pt>
                      <c:pt idx="358">
                        <c:v>3.4732586709720778E-2</c:v>
                      </c:pt>
                      <c:pt idx="359">
                        <c:v>3.4732586709720778E-2</c:v>
                      </c:pt>
                      <c:pt idx="360">
                        <c:v>3.4732586709720778E-2</c:v>
                      </c:pt>
                      <c:pt idx="361">
                        <c:v>3.4732586709720778E-2</c:v>
                      </c:pt>
                      <c:pt idx="362">
                        <c:v>3.4732586709720778E-2</c:v>
                      </c:pt>
                      <c:pt idx="363">
                        <c:v>3.4732586709720778E-2</c:v>
                      </c:pt>
                      <c:pt idx="364">
                        <c:v>3.4732586709720778E-2</c:v>
                      </c:pt>
                      <c:pt idx="365">
                        <c:v>3.4732586709720778E-2</c:v>
                      </c:pt>
                      <c:pt idx="366">
                        <c:v>3.4732586709720778E-2</c:v>
                      </c:pt>
                      <c:pt idx="367">
                        <c:v>3.4732586709720778E-2</c:v>
                      </c:pt>
                      <c:pt idx="368">
                        <c:v>3.4732586709720778E-2</c:v>
                      </c:pt>
                      <c:pt idx="369">
                        <c:v>3.4732586709720778E-2</c:v>
                      </c:pt>
                      <c:pt idx="370">
                        <c:v>3.4732586709720778E-2</c:v>
                      </c:pt>
                      <c:pt idx="371">
                        <c:v>3.4732586709720778E-2</c:v>
                      </c:pt>
                      <c:pt idx="372">
                        <c:v>3.4732586709720778E-2</c:v>
                      </c:pt>
                      <c:pt idx="373">
                        <c:v>3.4732586709720778E-2</c:v>
                      </c:pt>
                      <c:pt idx="374">
                        <c:v>3.4732586709720778E-2</c:v>
                      </c:pt>
                      <c:pt idx="375">
                        <c:v>3.4732586709720778E-2</c:v>
                      </c:pt>
                      <c:pt idx="376">
                        <c:v>3.4732586709720778E-2</c:v>
                      </c:pt>
                      <c:pt idx="377">
                        <c:v>3.4732586709720778E-2</c:v>
                      </c:pt>
                      <c:pt idx="378">
                        <c:v>3.4732586709720778E-2</c:v>
                      </c:pt>
                      <c:pt idx="379">
                        <c:v>3.4732586709720778E-2</c:v>
                      </c:pt>
                      <c:pt idx="380">
                        <c:v>3.4732586709720778E-2</c:v>
                      </c:pt>
                      <c:pt idx="381">
                        <c:v>3.4732586709720778E-2</c:v>
                      </c:pt>
                      <c:pt idx="382">
                        <c:v>3.4732586709720778E-2</c:v>
                      </c:pt>
                      <c:pt idx="383">
                        <c:v>3.4732586709720778E-2</c:v>
                      </c:pt>
                      <c:pt idx="384">
                        <c:v>3.4732586709720778E-2</c:v>
                      </c:pt>
                      <c:pt idx="385">
                        <c:v>3.4732586709720778E-2</c:v>
                      </c:pt>
                      <c:pt idx="386">
                        <c:v>3.4732586709720778E-2</c:v>
                      </c:pt>
                    </c:numCache>
                  </c:numRef>
                </c:val>
                <c:smooth val="0"/>
                <c:extLst xmlns:c15="http://schemas.microsoft.com/office/drawing/2012/chart">
                  <c:ext xmlns:c16="http://schemas.microsoft.com/office/drawing/2014/chart" uri="{C3380CC4-5D6E-409C-BE32-E72D297353CC}">
                    <c16:uniqueId val="{00000002-15F2-4C6D-B028-0A7DE9E5A23E}"/>
                  </c:ext>
                </c:extLst>
              </c15:ser>
            </c15:filteredLineSeries>
          </c:ext>
        </c:extLst>
      </c:lineChart>
      <c:dateAx>
        <c:axId val="1956241503"/>
        <c:scaling>
          <c:orientation val="minMax"/>
        </c:scaling>
        <c:delete val="0"/>
        <c:axPos val="b"/>
        <c:numFmt formatCode="yyyy"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97" b="0" i="0" u="none" strike="noStrike" kern="1200" baseline="0">
                <a:solidFill>
                  <a:srgbClr val="5C718F"/>
                </a:solidFill>
                <a:latin typeface="+mn-lt"/>
                <a:ea typeface="+mn-ea"/>
                <a:cs typeface="+mn-cs"/>
              </a:defRPr>
            </a:pPr>
            <a:endParaRPr lang="en-US"/>
          </a:p>
        </c:txPr>
        <c:crossAx val="1956230687"/>
        <c:crosses val="autoZero"/>
        <c:auto val="1"/>
        <c:lblOffset val="100"/>
        <c:baseTimeUnit val="months"/>
        <c:majorUnit val="1"/>
        <c:majorTimeUnit val="years"/>
      </c:dateAx>
      <c:valAx>
        <c:axId val="195623068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crossAx val="1956241503"/>
        <c:crosses val="autoZero"/>
        <c:crossBetween val="between"/>
      </c:valAx>
      <c:spPr>
        <a:noFill/>
        <a:ln>
          <a:noFill/>
        </a:ln>
        <a:effectLst/>
      </c:spPr>
    </c:plotArea>
    <c:legend>
      <c:legendPos val="b"/>
      <c:legendEntry>
        <c:idx val="0"/>
        <c:delete val="1"/>
      </c:legendEntry>
      <c:legendEntry>
        <c:idx val="2"/>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rgbClr val="5C718F"/>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5C718F"/>
                </a:solidFill>
                <a:latin typeface="+mn-lt"/>
                <a:ea typeface="+mn-ea"/>
                <a:cs typeface="+mn-cs"/>
              </a:defRPr>
            </a:pPr>
            <a:r>
              <a:rPr lang="en-US" dirty="0"/>
              <a:t>Countrywide* Med Mal Case Filings</a:t>
            </a:r>
          </a:p>
        </c:rich>
      </c:tx>
      <c:layout/>
      <c:overlay val="0"/>
      <c:spPr>
        <a:noFill/>
        <a:ln>
          <a:noFill/>
        </a:ln>
        <a:effectLst/>
      </c:spPr>
      <c:txPr>
        <a:bodyPr rot="0" spcFirstLastPara="1" vertOverflow="ellipsis" vert="horz" wrap="square" anchor="ctr" anchorCtr="1"/>
        <a:lstStyle/>
        <a:p>
          <a:pPr>
            <a:defRPr sz="1862" b="0" i="0" u="none" strike="noStrike" kern="1200" spc="0" baseline="0">
              <a:solidFill>
                <a:srgbClr val="5C718F"/>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Incoming Cases</c:v>
                </c:pt>
              </c:strCache>
            </c:strRef>
          </c:tx>
          <c:spPr>
            <a:solidFill>
              <a:schemeClr val="accent1"/>
            </a:solidFill>
            <a:ln>
              <a:noFill/>
            </a:ln>
            <a:effectLst/>
          </c:spPr>
          <c:invertIfNegative val="0"/>
          <c:cat>
            <c:strRef>
              <c:f>Sheet1!$A$2:$A$11</c:f>
              <c:strCache>
                <c:ptCount val="10"/>
                <c:pt idx="0">
                  <c:v>2012 (20)</c:v>
                </c:pt>
                <c:pt idx="1">
                  <c:v>2013 (23)</c:v>
                </c:pt>
                <c:pt idx="2">
                  <c:v>2014 (22)</c:v>
                </c:pt>
                <c:pt idx="3">
                  <c:v>2015 (28)</c:v>
                </c:pt>
                <c:pt idx="4">
                  <c:v>2016 (31)</c:v>
                </c:pt>
                <c:pt idx="5">
                  <c:v>2017 (33)</c:v>
                </c:pt>
                <c:pt idx="6">
                  <c:v>2018 (35)</c:v>
                </c:pt>
                <c:pt idx="7">
                  <c:v>2019 (33)</c:v>
                </c:pt>
                <c:pt idx="8">
                  <c:v>2020 (33)</c:v>
                </c:pt>
                <c:pt idx="9">
                  <c:v>2021 (31)</c:v>
                </c:pt>
              </c:strCache>
            </c:strRef>
          </c:cat>
          <c:val>
            <c:numRef>
              <c:f>Sheet1!$B$2:$B$11</c:f>
              <c:numCache>
                <c:formatCode>#,##0_);\(#,##0\)</c:formatCode>
                <c:ptCount val="10"/>
                <c:pt idx="0">
                  <c:v>12700</c:v>
                </c:pt>
                <c:pt idx="1">
                  <c:v>12638</c:v>
                </c:pt>
                <c:pt idx="2">
                  <c:v>13815</c:v>
                </c:pt>
                <c:pt idx="3">
                  <c:v>15809</c:v>
                </c:pt>
                <c:pt idx="4">
                  <c:v>15628</c:v>
                </c:pt>
                <c:pt idx="5">
                  <c:v>15623</c:v>
                </c:pt>
                <c:pt idx="6">
                  <c:v>16054</c:v>
                </c:pt>
                <c:pt idx="7">
                  <c:v>16089</c:v>
                </c:pt>
                <c:pt idx="8">
                  <c:v>14977</c:v>
                </c:pt>
                <c:pt idx="9">
                  <c:v>14036</c:v>
                </c:pt>
              </c:numCache>
            </c:numRef>
          </c:val>
          <c:extLst>
            <c:ext xmlns:c16="http://schemas.microsoft.com/office/drawing/2014/chart" uri="{C3380CC4-5D6E-409C-BE32-E72D297353CC}">
              <c16:uniqueId val="{00000000-CF03-4908-AD23-879F90CF9C46}"/>
            </c:ext>
          </c:extLst>
        </c:ser>
        <c:ser>
          <c:idx val="1"/>
          <c:order val="1"/>
          <c:tx>
            <c:strRef>
              <c:f>Sheet1!$C$1</c:f>
              <c:strCache>
                <c:ptCount val="1"/>
                <c:pt idx="0">
                  <c:v>Outgoing Cases</c:v>
                </c:pt>
              </c:strCache>
            </c:strRef>
          </c:tx>
          <c:spPr>
            <a:solidFill>
              <a:schemeClr val="accent2"/>
            </a:solidFill>
            <a:ln>
              <a:noFill/>
            </a:ln>
            <a:effectLst/>
          </c:spPr>
          <c:invertIfNegative val="0"/>
          <c:cat>
            <c:strRef>
              <c:f>Sheet1!$A$2:$A$11</c:f>
              <c:strCache>
                <c:ptCount val="10"/>
                <c:pt idx="0">
                  <c:v>2012 (20)</c:v>
                </c:pt>
                <c:pt idx="1">
                  <c:v>2013 (23)</c:v>
                </c:pt>
                <c:pt idx="2">
                  <c:v>2014 (22)</c:v>
                </c:pt>
                <c:pt idx="3">
                  <c:v>2015 (28)</c:v>
                </c:pt>
                <c:pt idx="4">
                  <c:v>2016 (31)</c:v>
                </c:pt>
                <c:pt idx="5">
                  <c:v>2017 (33)</c:v>
                </c:pt>
                <c:pt idx="6">
                  <c:v>2018 (35)</c:v>
                </c:pt>
                <c:pt idx="7">
                  <c:v>2019 (33)</c:v>
                </c:pt>
                <c:pt idx="8">
                  <c:v>2020 (33)</c:v>
                </c:pt>
                <c:pt idx="9">
                  <c:v>2021 (31)</c:v>
                </c:pt>
              </c:strCache>
            </c:strRef>
          </c:cat>
          <c:val>
            <c:numRef>
              <c:f>Sheet1!$C$2:$C$11</c:f>
              <c:numCache>
                <c:formatCode>#,##0_);\(#,##0\)</c:formatCode>
                <c:ptCount val="10"/>
                <c:pt idx="0">
                  <c:v>10624</c:v>
                </c:pt>
                <c:pt idx="1">
                  <c:v>11894</c:v>
                </c:pt>
                <c:pt idx="2">
                  <c:v>11018</c:v>
                </c:pt>
                <c:pt idx="3">
                  <c:v>11503</c:v>
                </c:pt>
                <c:pt idx="4">
                  <c:v>12757</c:v>
                </c:pt>
                <c:pt idx="5">
                  <c:v>12823</c:v>
                </c:pt>
                <c:pt idx="6">
                  <c:v>13534</c:v>
                </c:pt>
                <c:pt idx="7">
                  <c:v>13583</c:v>
                </c:pt>
                <c:pt idx="8">
                  <c:v>9315</c:v>
                </c:pt>
                <c:pt idx="9">
                  <c:v>9943</c:v>
                </c:pt>
              </c:numCache>
            </c:numRef>
          </c:val>
          <c:extLst>
            <c:ext xmlns:c16="http://schemas.microsoft.com/office/drawing/2014/chart" uri="{C3380CC4-5D6E-409C-BE32-E72D297353CC}">
              <c16:uniqueId val="{00000001-CF03-4908-AD23-879F90CF9C46}"/>
            </c:ext>
          </c:extLst>
        </c:ser>
        <c:dLbls>
          <c:showLegendKey val="0"/>
          <c:showVal val="0"/>
          <c:showCatName val="0"/>
          <c:showSerName val="0"/>
          <c:showPercent val="0"/>
          <c:showBubbleSize val="0"/>
        </c:dLbls>
        <c:gapWidth val="50"/>
        <c:axId val="558965103"/>
        <c:axId val="558975919"/>
      </c:barChart>
      <c:lineChart>
        <c:grouping val="standard"/>
        <c:varyColors val="0"/>
        <c:ser>
          <c:idx val="2"/>
          <c:order val="2"/>
          <c:tx>
            <c:strRef>
              <c:f>Sheet1!$D$1</c:f>
              <c:strCache>
                <c:ptCount val="1"/>
                <c:pt idx="0">
                  <c:v>Net Caseload Change</c:v>
                </c:pt>
              </c:strCache>
            </c:strRef>
          </c:tx>
          <c:spPr>
            <a:ln w="28575" cap="rnd">
              <a:solidFill>
                <a:schemeClr val="accent3"/>
              </a:solidFill>
              <a:round/>
            </a:ln>
            <a:effectLst/>
          </c:spPr>
          <c:marker>
            <c:symbol val="none"/>
          </c:marker>
          <c:cat>
            <c:strRef>
              <c:f>Sheet1!$A$2:$A$11</c:f>
              <c:strCache>
                <c:ptCount val="10"/>
                <c:pt idx="0">
                  <c:v>2012 (20)</c:v>
                </c:pt>
                <c:pt idx="1">
                  <c:v>2013 (23)</c:v>
                </c:pt>
                <c:pt idx="2">
                  <c:v>2014 (22)</c:v>
                </c:pt>
                <c:pt idx="3">
                  <c:v>2015 (28)</c:v>
                </c:pt>
                <c:pt idx="4">
                  <c:v>2016 (31)</c:v>
                </c:pt>
                <c:pt idx="5">
                  <c:v>2017 (33)</c:v>
                </c:pt>
                <c:pt idx="6">
                  <c:v>2018 (35)</c:v>
                </c:pt>
                <c:pt idx="7">
                  <c:v>2019 (33)</c:v>
                </c:pt>
                <c:pt idx="8">
                  <c:v>2020 (33)</c:v>
                </c:pt>
                <c:pt idx="9">
                  <c:v>2021 (31)</c:v>
                </c:pt>
              </c:strCache>
            </c:strRef>
          </c:cat>
          <c:val>
            <c:numRef>
              <c:f>Sheet1!$D$2:$D$11</c:f>
              <c:numCache>
                <c:formatCode>#,##0_);\(#,##0\)</c:formatCode>
                <c:ptCount val="10"/>
                <c:pt idx="0">
                  <c:v>2076</c:v>
                </c:pt>
                <c:pt idx="1">
                  <c:v>744</c:v>
                </c:pt>
                <c:pt idx="2">
                  <c:v>2797</c:v>
                </c:pt>
                <c:pt idx="3">
                  <c:v>4306</c:v>
                </c:pt>
                <c:pt idx="4">
                  <c:v>2871</c:v>
                </c:pt>
                <c:pt idx="5">
                  <c:v>2800</c:v>
                </c:pt>
                <c:pt idx="6">
                  <c:v>2520</c:v>
                </c:pt>
                <c:pt idx="7">
                  <c:v>2506</c:v>
                </c:pt>
                <c:pt idx="8">
                  <c:v>5662</c:v>
                </c:pt>
                <c:pt idx="9">
                  <c:v>4093</c:v>
                </c:pt>
              </c:numCache>
            </c:numRef>
          </c:val>
          <c:smooth val="0"/>
          <c:extLst>
            <c:ext xmlns:c16="http://schemas.microsoft.com/office/drawing/2014/chart" uri="{C3380CC4-5D6E-409C-BE32-E72D297353CC}">
              <c16:uniqueId val="{00000002-CF03-4908-AD23-879F90CF9C46}"/>
            </c:ext>
          </c:extLst>
        </c:ser>
        <c:dLbls>
          <c:showLegendKey val="0"/>
          <c:showVal val="0"/>
          <c:showCatName val="0"/>
          <c:showSerName val="0"/>
          <c:showPercent val="0"/>
          <c:showBubbleSize val="0"/>
        </c:dLbls>
        <c:marker val="1"/>
        <c:smooth val="0"/>
        <c:axId val="558965103"/>
        <c:axId val="558975919"/>
      </c:lineChart>
      <c:catAx>
        <c:axId val="558965103"/>
        <c:scaling>
          <c:orientation val="minMax"/>
        </c:scaling>
        <c:delete val="0"/>
        <c:axPos val="b"/>
        <c:title>
          <c:tx>
            <c:rich>
              <a:bodyPr rot="0" spcFirstLastPara="1" vertOverflow="ellipsis" vert="horz" wrap="square" anchor="ctr" anchorCtr="1"/>
              <a:lstStyle/>
              <a:p>
                <a:pPr>
                  <a:defRPr sz="1330" b="0" i="0" u="none" strike="noStrike" kern="1200" baseline="0">
                    <a:solidFill>
                      <a:srgbClr val="5C718F"/>
                    </a:solidFill>
                    <a:latin typeface="+mn-lt"/>
                    <a:ea typeface="+mn-ea"/>
                    <a:cs typeface="+mn-cs"/>
                  </a:defRPr>
                </a:pPr>
                <a:r>
                  <a:rPr lang="en-US" dirty="0"/>
                  <a:t>Year</a:t>
                </a:r>
              </a:p>
              <a:p>
                <a:pPr>
                  <a:defRPr/>
                </a:pPr>
                <a:r>
                  <a:rPr lang="en-US" dirty="0"/>
                  <a:t>(*number of states reporting)</a:t>
                </a:r>
              </a:p>
            </c:rich>
          </c:tx>
          <c:layout/>
          <c:overlay val="0"/>
          <c:spPr>
            <a:noFill/>
            <a:ln>
              <a:noFill/>
            </a:ln>
            <a:effectLst/>
          </c:spPr>
          <c:txPr>
            <a:bodyPr rot="0" spcFirstLastPara="1" vertOverflow="ellipsis" vert="horz" wrap="square" anchor="ctr" anchorCtr="1"/>
            <a:lstStyle/>
            <a:p>
              <a:pPr>
                <a:defRPr sz="1330" b="0" i="0" u="none" strike="noStrike" kern="1200" baseline="0">
                  <a:solidFill>
                    <a:srgbClr val="5C718F"/>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crossAx val="558975919"/>
        <c:crosses val="autoZero"/>
        <c:auto val="1"/>
        <c:lblAlgn val="ctr"/>
        <c:lblOffset val="100"/>
        <c:noMultiLvlLbl val="0"/>
      </c:catAx>
      <c:valAx>
        <c:axId val="558975919"/>
        <c:scaling>
          <c:orientation val="minMax"/>
        </c:scaling>
        <c:delete val="0"/>
        <c:axPos val="l"/>
        <c:numFmt formatCode="#,##0_);\(#,##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crossAx val="558965103"/>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rgbClr val="5C718F"/>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2"/>
          <c:order val="1"/>
          <c:tx>
            <c:strRef>
              <c:f>Sheet1!$C$1</c:f>
              <c:strCache>
                <c:ptCount val="1"/>
                <c:pt idx="0">
                  <c:v>Blank</c:v>
                </c:pt>
              </c:strCache>
            </c:strRef>
          </c:tx>
          <c:spPr>
            <a:noFill/>
            <a:ln>
              <a:noFill/>
            </a:ln>
            <a:effectLst/>
          </c:spPr>
          <c:invertIfNegative val="0"/>
          <c:cat>
            <c:strRef>
              <c:f>Sheet1!$A$2:$A$48</c:f>
              <c:strCache>
                <c:ptCount val="47"/>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e</c:v>
                </c:pt>
              </c:strCache>
            </c:strRef>
          </c:cat>
          <c:val>
            <c:numRef>
              <c:f>Sheet1!$C$2:$C$48</c:f>
              <c:numCache>
                <c:formatCode>0%</c:formatCode>
                <c:ptCount val="47"/>
                <c:pt idx="0">
                  <c:v>1</c:v>
                </c:pt>
                <c:pt idx="1">
                  <c:v>0.98699999999999999</c:v>
                </c:pt>
                <c:pt idx="2">
                  <c:v>1</c:v>
                </c:pt>
                <c:pt idx="3">
                  <c:v>1</c:v>
                </c:pt>
                <c:pt idx="4">
                  <c:v>1</c:v>
                </c:pt>
                <c:pt idx="5">
                  <c:v>1</c:v>
                </c:pt>
                <c:pt idx="6">
                  <c:v>1</c:v>
                </c:pt>
                <c:pt idx="7">
                  <c:v>1</c:v>
                </c:pt>
                <c:pt idx="8">
                  <c:v>1</c:v>
                </c:pt>
                <c:pt idx="9">
                  <c:v>1</c:v>
                </c:pt>
                <c:pt idx="10">
                  <c:v>1</c:v>
                </c:pt>
                <c:pt idx="11">
                  <c:v>1</c:v>
                </c:pt>
                <c:pt idx="12">
                  <c:v>1</c:v>
                </c:pt>
                <c:pt idx="13">
                  <c:v>0.89</c:v>
                </c:pt>
                <c:pt idx="14">
                  <c:v>1</c:v>
                </c:pt>
                <c:pt idx="15">
                  <c:v>1</c:v>
                </c:pt>
                <c:pt idx="16">
                  <c:v>1</c:v>
                </c:pt>
                <c:pt idx="17">
                  <c:v>1</c:v>
                </c:pt>
                <c:pt idx="18">
                  <c:v>0.96399999999999997</c:v>
                </c:pt>
                <c:pt idx="19">
                  <c:v>0.998</c:v>
                </c:pt>
                <c:pt idx="20">
                  <c:v>1</c:v>
                </c:pt>
                <c:pt idx="21">
                  <c:v>1</c:v>
                </c:pt>
                <c:pt idx="22">
                  <c:v>1</c:v>
                </c:pt>
                <c:pt idx="23">
                  <c:v>1</c:v>
                </c:pt>
                <c:pt idx="24">
                  <c:v>1</c:v>
                </c:pt>
                <c:pt idx="25">
                  <c:v>1</c:v>
                </c:pt>
                <c:pt idx="26">
                  <c:v>1</c:v>
                </c:pt>
                <c:pt idx="27">
                  <c:v>1</c:v>
                </c:pt>
                <c:pt idx="28">
                  <c:v>1</c:v>
                </c:pt>
                <c:pt idx="29">
                  <c:v>1</c:v>
                </c:pt>
                <c:pt idx="30">
                  <c:v>0.9123</c:v>
                </c:pt>
                <c:pt idx="31">
                  <c:v>0.84899999999999998</c:v>
                </c:pt>
                <c:pt idx="32">
                  <c:v>0.79</c:v>
                </c:pt>
                <c:pt idx="33">
                  <c:v>0.85399999999999998</c:v>
                </c:pt>
                <c:pt idx="34">
                  <c:v>0.88880000000000003</c:v>
                </c:pt>
                <c:pt idx="35">
                  <c:v>0.87919999999999998</c:v>
                </c:pt>
                <c:pt idx="36">
                  <c:v>0.92879999999999996</c:v>
                </c:pt>
                <c:pt idx="37">
                  <c:v>0.89139999999999997</c:v>
                </c:pt>
                <c:pt idx="38">
                  <c:v>1</c:v>
                </c:pt>
                <c:pt idx="39">
                  <c:v>1</c:v>
                </c:pt>
                <c:pt idx="40">
                  <c:v>1</c:v>
                </c:pt>
                <c:pt idx="41">
                  <c:v>1</c:v>
                </c:pt>
                <c:pt idx="42">
                  <c:v>1</c:v>
                </c:pt>
                <c:pt idx="43">
                  <c:v>1</c:v>
                </c:pt>
                <c:pt idx="44">
                  <c:v>1</c:v>
                </c:pt>
                <c:pt idx="45">
                  <c:v>1</c:v>
                </c:pt>
                <c:pt idx="46">
                  <c:v>1</c:v>
                </c:pt>
              </c:numCache>
            </c:numRef>
          </c:val>
          <c:extLst>
            <c:ext xmlns:c16="http://schemas.microsoft.com/office/drawing/2014/chart" uri="{C3380CC4-5D6E-409C-BE32-E72D297353CC}">
              <c16:uniqueId val="{00000002-6C10-4C14-B1AC-89439FD88245}"/>
            </c:ext>
          </c:extLst>
        </c:ser>
        <c:ser>
          <c:idx val="3"/>
          <c:order val="2"/>
          <c:tx>
            <c:strRef>
              <c:f>Sheet1!$D$1</c:f>
              <c:strCache>
                <c:ptCount val="1"/>
                <c:pt idx="0">
                  <c:v>Underwriting Profit</c:v>
                </c:pt>
              </c:strCache>
            </c:strRef>
          </c:tx>
          <c:spPr>
            <a:solidFill>
              <a:schemeClr val="accent5"/>
            </a:solidFill>
            <a:ln>
              <a:noFill/>
            </a:ln>
            <a:effectLst/>
          </c:spPr>
          <c:invertIfNegative val="0"/>
          <c:cat>
            <c:strRef>
              <c:f>Sheet1!$A$2:$A$48</c:f>
              <c:strCache>
                <c:ptCount val="47"/>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e</c:v>
                </c:pt>
              </c:strCache>
            </c:strRef>
          </c:cat>
          <c:val>
            <c:numRef>
              <c:f>Sheet1!$D$2:$D$48</c:f>
              <c:numCache>
                <c:formatCode>0%</c:formatCode>
                <c:ptCount val="47"/>
                <c:pt idx="0">
                  <c:v>0.10699999999999998</c:v>
                </c:pt>
                <c:pt idx="1">
                  <c:v>0</c:v>
                </c:pt>
                <c:pt idx="2">
                  <c:v>4.8999999999999932E-2</c:v>
                </c:pt>
                <c:pt idx="3">
                  <c:v>0.1379999999999999</c:v>
                </c:pt>
                <c:pt idx="4">
                  <c:v>0.29200000000000004</c:v>
                </c:pt>
                <c:pt idx="5">
                  <c:v>0.375</c:v>
                </c:pt>
                <c:pt idx="6">
                  <c:v>0.50800000000000001</c:v>
                </c:pt>
                <c:pt idx="7">
                  <c:v>0.5109999999999999</c:v>
                </c:pt>
                <c:pt idx="8">
                  <c:v>0.623</c:v>
                </c:pt>
                <c:pt idx="9">
                  <c:v>0.66999999999999993</c:v>
                </c:pt>
                <c:pt idx="10">
                  <c:v>0.39500000000000002</c:v>
                </c:pt>
                <c:pt idx="11">
                  <c:v>0.22500000000000009</c:v>
                </c:pt>
                <c:pt idx="12">
                  <c:v>0.19799999999999995</c:v>
                </c:pt>
                <c:pt idx="13">
                  <c:v>0</c:v>
                </c:pt>
                <c:pt idx="14">
                  <c:v>5.8000000000000052E-2</c:v>
                </c:pt>
                <c:pt idx="15">
                  <c:v>3.8000000000000034E-2</c:v>
                </c:pt>
                <c:pt idx="16">
                  <c:v>0.27800000000000002</c:v>
                </c:pt>
                <c:pt idx="17">
                  <c:v>8.0000000000000071E-2</c:v>
                </c:pt>
                <c:pt idx="18">
                  <c:v>0</c:v>
                </c:pt>
                <c:pt idx="19">
                  <c:v>0</c:v>
                </c:pt>
                <c:pt idx="20">
                  <c:v>0.10030000000000006</c:v>
                </c:pt>
                <c:pt idx="21">
                  <c:v>0.12490000000000001</c:v>
                </c:pt>
                <c:pt idx="22">
                  <c:v>0.1774</c:v>
                </c:pt>
                <c:pt idx="23">
                  <c:v>0.28269999999999995</c:v>
                </c:pt>
                <c:pt idx="24">
                  <c:v>0.3277000000000001</c:v>
                </c:pt>
                <c:pt idx="25">
                  <c:v>0.55079999999999996</c:v>
                </c:pt>
                <c:pt idx="26">
                  <c:v>0.43039999999999989</c:v>
                </c:pt>
                <c:pt idx="27">
                  <c:v>0.39620000000000011</c:v>
                </c:pt>
                <c:pt idx="28">
                  <c:v>0.10470000000000002</c:v>
                </c:pt>
                <c:pt idx="29">
                  <c:v>1.0000000000000009E-2</c:v>
                </c:pt>
                <c:pt idx="30">
                  <c:v>0</c:v>
                </c:pt>
                <c:pt idx="31">
                  <c:v>0</c:v>
                </c:pt>
                <c:pt idx="32">
                  <c:v>0</c:v>
                </c:pt>
                <c:pt idx="33">
                  <c:v>0</c:v>
                </c:pt>
                <c:pt idx="34">
                  <c:v>0</c:v>
                </c:pt>
                <c:pt idx="35">
                  <c:v>0</c:v>
                </c:pt>
                <c:pt idx="36">
                  <c:v>0</c:v>
                </c:pt>
                <c:pt idx="37">
                  <c:v>0</c:v>
                </c:pt>
                <c:pt idx="38">
                  <c:v>4.6499999999999986E-2</c:v>
                </c:pt>
                <c:pt idx="39">
                  <c:v>1.7400000000000082E-2</c:v>
                </c:pt>
                <c:pt idx="40">
                  <c:v>6.4999999999999947E-2</c:v>
                </c:pt>
                <c:pt idx="41">
                  <c:v>1.8699999999999939E-2</c:v>
                </c:pt>
                <c:pt idx="42">
                  <c:v>3.9700000000000069E-2</c:v>
                </c:pt>
                <c:pt idx="43">
                  <c:v>0.12519999999999998</c:v>
                </c:pt>
                <c:pt idx="44">
                  <c:v>0.13959999999999995</c:v>
                </c:pt>
                <c:pt idx="45">
                  <c:v>8.660000000000001E-2</c:v>
                </c:pt>
                <c:pt idx="46">
                  <c:v>0.10000000000000009</c:v>
                </c:pt>
              </c:numCache>
            </c:numRef>
          </c:val>
          <c:extLst>
            <c:ext xmlns:c16="http://schemas.microsoft.com/office/drawing/2014/chart" uri="{C3380CC4-5D6E-409C-BE32-E72D297353CC}">
              <c16:uniqueId val="{00000004-6C10-4C14-B1AC-89439FD88245}"/>
            </c:ext>
          </c:extLst>
        </c:ser>
        <c:ser>
          <c:idx val="4"/>
          <c:order val="3"/>
          <c:tx>
            <c:strRef>
              <c:f>Sheet1!$E$1</c:f>
              <c:strCache>
                <c:ptCount val="1"/>
                <c:pt idx="0">
                  <c:v>Underwriting Loss</c:v>
                </c:pt>
              </c:strCache>
            </c:strRef>
          </c:tx>
          <c:spPr>
            <a:solidFill>
              <a:srgbClr val="92D050"/>
            </a:solidFill>
            <a:ln>
              <a:noFill/>
            </a:ln>
            <a:effectLst/>
          </c:spPr>
          <c:invertIfNegative val="0"/>
          <c:cat>
            <c:strRef>
              <c:f>Sheet1!$A$2:$A$48</c:f>
              <c:strCache>
                <c:ptCount val="47"/>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e</c:v>
                </c:pt>
              </c:strCache>
            </c:strRef>
          </c:cat>
          <c:val>
            <c:numRef>
              <c:f>Sheet1!$E$2:$E$48</c:f>
              <c:numCache>
                <c:formatCode>0%</c:formatCode>
                <c:ptCount val="47"/>
                <c:pt idx="0">
                  <c:v>0</c:v>
                </c:pt>
                <c:pt idx="1">
                  <c:v>1.3000000000000012E-2</c:v>
                </c:pt>
                <c:pt idx="2">
                  <c:v>0</c:v>
                </c:pt>
                <c:pt idx="3">
                  <c:v>0</c:v>
                </c:pt>
                <c:pt idx="4">
                  <c:v>0</c:v>
                </c:pt>
                <c:pt idx="5">
                  <c:v>0</c:v>
                </c:pt>
                <c:pt idx="6">
                  <c:v>0</c:v>
                </c:pt>
                <c:pt idx="7">
                  <c:v>0</c:v>
                </c:pt>
                <c:pt idx="8">
                  <c:v>0</c:v>
                </c:pt>
                <c:pt idx="9">
                  <c:v>0</c:v>
                </c:pt>
                <c:pt idx="10">
                  <c:v>0</c:v>
                </c:pt>
                <c:pt idx="11">
                  <c:v>0</c:v>
                </c:pt>
                <c:pt idx="12">
                  <c:v>0</c:v>
                </c:pt>
                <c:pt idx="13">
                  <c:v>0.10999999999999999</c:v>
                </c:pt>
                <c:pt idx="14">
                  <c:v>0</c:v>
                </c:pt>
                <c:pt idx="15">
                  <c:v>0</c:v>
                </c:pt>
                <c:pt idx="16">
                  <c:v>0</c:v>
                </c:pt>
                <c:pt idx="17">
                  <c:v>0</c:v>
                </c:pt>
                <c:pt idx="18">
                  <c:v>3.6000000000000032E-2</c:v>
                </c:pt>
                <c:pt idx="19">
                  <c:v>2.0000000000000018E-3</c:v>
                </c:pt>
                <c:pt idx="20">
                  <c:v>0</c:v>
                </c:pt>
                <c:pt idx="21">
                  <c:v>0</c:v>
                </c:pt>
                <c:pt idx="22">
                  <c:v>0</c:v>
                </c:pt>
                <c:pt idx="23">
                  <c:v>0</c:v>
                </c:pt>
                <c:pt idx="24">
                  <c:v>0</c:v>
                </c:pt>
                <c:pt idx="25">
                  <c:v>0</c:v>
                </c:pt>
                <c:pt idx="26">
                  <c:v>0</c:v>
                </c:pt>
                <c:pt idx="27">
                  <c:v>0</c:v>
                </c:pt>
                <c:pt idx="28">
                  <c:v>0</c:v>
                </c:pt>
                <c:pt idx="29">
                  <c:v>0</c:v>
                </c:pt>
                <c:pt idx="30">
                  <c:v>8.77E-2</c:v>
                </c:pt>
                <c:pt idx="31">
                  <c:v>0.15100000000000002</c:v>
                </c:pt>
                <c:pt idx="32">
                  <c:v>0.20999999999999996</c:v>
                </c:pt>
                <c:pt idx="33">
                  <c:v>0.14600000000000002</c:v>
                </c:pt>
                <c:pt idx="34">
                  <c:v>0.11119999999999997</c:v>
                </c:pt>
                <c:pt idx="35">
                  <c:v>0.12080000000000002</c:v>
                </c:pt>
                <c:pt idx="36">
                  <c:v>7.1200000000000041E-2</c:v>
                </c:pt>
                <c:pt idx="37">
                  <c:v>0.10860000000000003</c:v>
                </c:pt>
                <c:pt idx="38">
                  <c:v>0</c:v>
                </c:pt>
                <c:pt idx="39">
                  <c:v>0</c:v>
                </c:pt>
                <c:pt idx="40">
                  <c:v>0</c:v>
                </c:pt>
                <c:pt idx="41">
                  <c:v>0</c:v>
                </c:pt>
                <c:pt idx="42">
                  <c:v>0</c:v>
                </c:pt>
                <c:pt idx="43">
                  <c:v>0</c:v>
                </c:pt>
                <c:pt idx="44">
                  <c:v>0</c:v>
                </c:pt>
                <c:pt idx="45">
                  <c:v>0</c:v>
                </c:pt>
                <c:pt idx="46">
                  <c:v>0</c:v>
                </c:pt>
              </c:numCache>
            </c:numRef>
          </c:val>
          <c:extLst xmlns:c15="http://schemas.microsoft.com/office/drawing/2012/chart">
            <c:ext xmlns:c16="http://schemas.microsoft.com/office/drawing/2014/chart" uri="{C3380CC4-5D6E-409C-BE32-E72D297353CC}">
              <c16:uniqueId val="{00000005-6C10-4C14-B1AC-89439FD88245}"/>
            </c:ext>
          </c:extLst>
        </c:ser>
        <c:dLbls>
          <c:showLegendKey val="0"/>
          <c:showVal val="0"/>
          <c:showCatName val="0"/>
          <c:showSerName val="0"/>
          <c:showPercent val="0"/>
          <c:showBubbleSize val="0"/>
        </c:dLbls>
        <c:gapWidth val="25"/>
        <c:overlap val="100"/>
        <c:axId val="1902913791"/>
        <c:axId val="1902924607"/>
        <c:extLst>
          <c:ext xmlns:c15="http://schemas.microsoft.com/office/drawing/2012/chart" uri="{02D57815-91ED-43cb-92C2-25804820EDAC}">
            <c15:filteredBarSeries>
              <c15:ser>
                <c:idx val="1"/>
                <c:order val="0"/>
                <c:tx>
                  <c:strRef>
                    <c:extLst>
                      <c:ext uri="{02D57815-91ED-43cb-92C2-25804820EDAC}">
                        <c15:formulaRef>
                          <c15:sqref>Sheet1!$B$1</c15:sqref>
                        </c15:formulaRef>
                      </c:ext>
                    </c:extLst>
                    <c:strCache>
                      <c:ptCount val="1"/>
                      <c:pt idx="0">
                        <c:v>Combined Ratio</c:v>
                      </c:pt>
                    </c:strCache>
                  </c:strRef>
                </c:tx>
                <c:spPr>
                  <a:solidFill>
                    <a:schemeClr val="accent2"/>
                  </a:solidFill>
                  <a:ln>
                    <a:noFill/>
                  </a:ln>
                  <a:effectLst/>
                </c:spPr>
                <c:invertIfNegative val="0"/>
                <c:cat>
                  <c:strRef>
                    <c:extLst>
                      <c:ext uri="{02D57815-91ED-43cb-92C2-25804820EDAC}">
                        <c15:formulaRef>
                          <c15:sqref>Sheet1!$A$2:$A$48</c15:sqref>
                        </c15:formulaRef>
                      </c:ext>
                    </c:extLst>
                    <c:strCache>
                      <c:ptCount val="47"/>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e</c:v>
                      </c:pt>
                    </c:strCache>
                  </c:strRef>
                </c:cat>
                <c:val>
                  <c:numRef>
                    <c:extLst>
                      <c:ext uri="{02D57815-91ED-43cb-92C2-25804820EDAC}">
                        <c15:formulaRef>
                          <c15:sqref>Sheet1!$B$2:$B$48</c15:sqref>
                        </c15:formulaRef>
                      </c:ext>
                    </c:extLst>
                    <c:numCache>
                      <c:formatCode>0%</c:formatCode>
                      <c:ptCount val="47"/>
                      <c:pt idx="0">
                        <c:v>1.107</c:v>
                      </c:pt>
                      <c:pt idx="1">
                        <c:v>0.98699999999999999</c:v>
                      </c:pt>
                      <c:pt idx="2">
                        <c:v>1.0489999999999999</c:v>
                      </c:pt>
                      <c:pt idx="3">
                        <c:v>1.1379999999999999</c:v>
                      </c:pt>
                      <c:pt idx="4">
                        <c:v>1.292</c:v>
                      </c:pt>
                      <c:pt idx="5">
                        <c:v>1.375</c:v>
                      </c:pt>
                      <c:pt idx="6">
                        <c:v>1.508</c:v>
                      </c:pt>
                      <c:pt idx="7">
                        <c:v>1.5109999999999999</c:v>
                      </c:pt>
                      <c:pt idx="8">
                        <c:v>1.623</c:v>
                      </c:pt>
                      <c:pt idx="9">
                        <c:v>1.67</c:v>
                      </c:pt>
                      <c:pt idx="10">
                        <c:v>1.395</c:v>
                      </c:pt>
                      <c:pt idx="11">
                        <c:v>1.2250000000000001</c:v>
                      </c:pt>
                      <c:pt idx="12">
                        <c:v>1.198</c:v>
                      </c:pt>
                      <c:pt idx="13">
                        <c:v>0.89</c:v>
                      </c:pt>
                      <c:pt idx="14">
                        <c:v>1.0580000000000001</c:v>
                      </c:pt>
                      <c:pt idx="15">
                        <c:v>1.038</c:v>
                      </c:pt>
                      <c:pt idx="16">
                        <c:v>1.278</c:v>
                      </c:pt>
                      <c:pt idx="17">
                        <c:v>1.08</c:v>
                      </c:pt>
                      <c:pt idx="18">
                        <c:v>0.96399999999999997</c:v>
                      </c:pt>
                      <c:pt idx="19">
                        <c:v>0.998</c:v>
                      </c:pt>
                      <c:pt idx="20">
                        <c:v>1.1003000000000001</c:v>
                      </c:pt>
                      <c:pt idx="21">
                        <c:v>1.1249</c:v>
                      </c:pt>
                      <c:pt idx="22">
                        <c:v>1.1774</c:v>
                      </c:pt>
                      <c:pt idx="23">
                        <c:v>1.2827</c:v>
                      </c:pt>
                      <c:pt idx="24">
                        <c:v>1.3277000000000001</c:v>
                      </c:pt>
                      <c:pt idx="25">
                        <c:v>1.5508</c:v>
                      </c:pt>
                      <c:pt idx="26">
                        <c:v>1.4303999999999999</c:v>
                      </c:pt>
                      <c:pt idx="27">
                        <c:v>1.3962000000000001</c:v>
                      </c:pt>
                      <c:pt idx="28">
                        <c:v>1.1047</c:v>
                      </c:pt>
                      <c:pt idx="29">
                        <c:v>1.01</c:v>
                      </c:pt>
                      <c:pt idx="30">
                        <c:v>0.9123</c:v>
                      </c:pt>
                      <c:pt idx="31">
                        <c:v>0.84899999999999998</c:v>
                      </c:pt>
                      <c:pt idx="32">
                        <c:v>0.79</c:v>
                      </c:pt>
                      <c:pt idx="33">
                        <c:v>0.85399999999999998</c:v>
                      </c:pt>
                      <c:pt idx="34">
                        <c:v>0.88880000000000003</c:v>
                      </c:pt>
                      <c:pt idx="35">
                        <c:v>0.87919999999999998</c:v>
                      </c:pt>
                      <c:pt idx="36">
                        <c:v>0.92879999999999996</c:v>
                      </c:pt>
                      <c:pt idx="37">
                        <c:v>0.89139999999999997</c:v>
                      </c:pt>
                      <c:pt idx="38">
                        <c:v>1.0465</c:v>
                      </c:pt>
                      <c:pt idx="39">
                        <c:v>1.0174000000000001</c:v>
                      </c:pt>
                      <c:pt idx="40">
                        <c:v>1.0649999999999999</c:v>
                      </c:pt>
                      <c:pt idx="41">
                        <c:v>1.0186999999999999</c:v>
                      </c:pt>
                      <c:pt idx="42">
                        <c:v>1.0397000000000001</c:v>
                      </c:pt>
                      <c:pt idx="43">
                        <c:v>1.1252</c:v>
                      </c:pt>
                      <c:pt idx="44">
                        <c:v>1.1395999999999999</c:v>
                      </c:pt>
                      <c:pt idx="45">
                        <c:v>1.0866</c:v>
                      </c:pt>
                      <c:pt idx="46">
                        <c:v>1.1000000000000001</c:v>
                      </c:pt>
                    </c:numCache>
                  </c:numRef>
                </c:val>
                <c:extLst>
                  <c:ext xmlns:c16="http://schemas.microsoft.com/office/drawing/2014/chart" uri="{C3380CC4-5D6E-409C-BE32-E72D297353CC}">
                    <c16:uniqueId val="{00000001-6C10-4C14-B1AC-89439FD88245}"/>
                  </c:ext>
                </c:extLst>
              </c15:ser>
            </c15:filteredBarSeries>
          </c:ext>
        </c:extLst>
      </c:barChart>
      <c:barChart>
        <c:barDir val="col"/>
        <c:grouping val="clustered"/>
        <c:varyColors val="0"/>
        <c:dLbls>
          <c:showLegendKey val="0"/>
          <c:showVal val="0"/>
          <c:showCatName val="0"/>
          <c:showSerName val="0"/>
          <c:showPercent val="0"/>
          <c:showBubbleSize val="0"/>
        </c:dLbls>
        <c:gapWidth val="0"/>
        <c:axId val="887445743"/>
        <c:axId val="887442831"/>
        <c:extLst>
          <c:ext xmlns:c15="http://schemas.microsoft.com/office/drawing/2012/chart" uri="{02D57815-91ED-43cb-92C2-25804820EDAC}">
            <c15:filteredBarSeries>
              <c15:ser>
                <c:idx val="0"/>
                <c:order val="4"/>
                <c:tx>
                  <c:strRef>
                    <c:extLst>
                      <c:ext uri="{02D57815-91ED-43cb-92C2-25804820EDAC}">
                        <c15:formulaRef>
                          <c15:sqref>Sheet1!$B$1</c15:sqref>
                        </c15:formulaRef>
                      </c:ext>
                    </c:extLst>
                    <c:strCache>
                      <c:ptCount val="1"/>
                      <c:pt idx="0">
                        <c:v>Combined Ratio</c:v>
                      </c:pt>
                    </c:strCache>
                  </c:strRef>
                </c:tx>
                <c:spPr>
                  <a:solidFill>
                    <a:schemeClr val="accent1"/>
                  </a:solidFill>
                  <a:ln>
                    <a:noFill/>
                  </a:ln>
                  <a:effectLst/>
                </c:spPr>
                <c:invertIfNegative val="0"/>
                <c:cat>
                  <c:strRef>
                    <c:extLst>
                      <c:ext uri="{02D57815-91ED-43cb-92C2-25804820EDAC}">
                        <c15:formulaRef>
                          <c15:sqref>Sheet1!$A$2:$A$48</c15:sqref>
                        </c15:formulaRef>
                      </c:ext>
                    </c:extLst>
                    <c:strCache>
                      <c:ptCount val="47"/>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e</c:v>
                      </c:pt>
                    </c:strCache>
                  </c:strRef>
                </c:cat>
                <c:val>
                  <c:numRef>
                    <c:extLst>
                      <c:ext uri="{02D57815-91ED-43cb-92C2-25804820EDAC}">
                        <c15:formulaRef>
                          <c15:sqref>Sheet1!$B$2:$B$48</c15:sqref>
                        </c15:formulaRef>
                      </c:ext>
                    </c:extLst>
                    <c:numCache>
                      <c:formatCode>0%</c:formatCode>
                      <c:ptCount val="47"/>
                      <c:pt idx="0">
                        <c:v>1.107</c:v>
                      </c:pt>
                      <c:pt idx="1">
                        <c:v>0.98699999999999999</c:v>
                      </c:pt>
                      <c:pt idx="2">
                        <c:v>1.0489999999999999</c:v>
                      </c:pt>
                      <c:pt idx="3">
                        <c:v>1.1379999999999999</c:v>
                      </c:pt>
                      <c:pt idx="4">
                        <c:v>1.292</c:v>
                      </c:pt>
                      <c:pt idx="5">
                        <c:v>1.375</c:v>
                      </c:pt>
                      <c:pt idx="6">
                        <c:v>1.508</c:v>
                      </c:pt>
                      <c:pt idx="7">
                        <c:v>1.5109999999999999</c:v>
                      </c:pt>
                      <c:pt idx="8">
                        <c:v>1.623</c:v>
                      </c:pt>
                      <c:pt idx="9">
                        <c:v>1.67</c:v>
                      </c:pt>
                      <c:pt idx="10">
                        <c:v>1.395</c:v>
                      </c:pt>
                      <c:pt idx="11">
                        <c:v>1.2250000000000001</c:v>
                      </c:pt>
                      <c:pt idx="12">
                        <c:v>1.198</c:v>
                      </c:pt>
                      <c:pt idx="13">
                        <c:v>0.89</c:v>
                      </c:pt>
                      <c:pt idx="14">
                        <c:v>1.0580000000000001</c:v>
                      </c:pt>
                      <c:pt idx="15">
                        <c:v>1.038</c:v>
                      </c:pt>
                      <c:pt idx="16">
                        <c:v>1.278</c:v>
                      </c:pt>
                      <c:pt idx="17">
                        <c:v>1.08</c:v>
                      </c:pt>
                      <c:pt idx="18">
                        <c:v>0.96399999999999997</c:v>
                      </c:pt>
                      <c:pt idx="19">
                        <c:v>0.998</c:v>
                      </c:pt>
                      <c:pt idx="20">
                        <c:v>1.1003000000000001</c:v>
                      </c:pt>
                      <c:pt idx="21">
                        <c:v>1.1249</c:v>
                      </c:pt>
                      <c:pt idx="22">
                        <c:v>1.1774</c:v>
                      </c:pt>
                      <c:pt idx="23">
                        <c:v>1.2827</c:v>
                      </c:pt>
                      <c:pt idx="24">
                        <c:v>1.3277000000000001</c:v>
                      </c:pt>
                      <c:pt idx="25">
                        <c:v>1.5508</c:v>
                      </c:pt>
                      <c:pt idx="26">
                        <c:v>1.4303999999999999</c:v>
                      </c:pt>
                      <c:pt idx="27">
                        <c:v>1.3962000000000001</c:v>
                      </c:pt>
                      <c:pt idx="28">
                        <c:v>1.1047</c:v>
                      </c:pt>
                      <c:pt idx="29">
                        <c:v>1.01</c:v>
                      </c:pt>
                      <c:pt idx="30">
                        <c:v>0.9123</c:v>
                      </c:pt>
                      <c:pt idx="31">
                        <c:v>0.84899999999999998</c:v>
                      </c:pt>
                      <c:pt idx="32">
                        <c:v>0.79</c:v>
                      </c:pt>
                      <c:pt idx="33">
                        <c:v>0.85399999999999998</c:v>
                      </c:pt>
                      <c:pt idx="34">
                        <c:v>0.88880000000000003</c:v>
                      </c:pt>
                      <c:pt idx="35">
                        <c:v>0.87919999999999998</c:v>
                      </c:pt>
                      <c:pt idx="36">
                        <c:v>0.92879999999999996</c:v>
                      </c:pt>
                      <c:pt idx="37">
                        <c:v>0.89139999999999997</c:v>
                      </c:pt>
                      <c:pt idx="38">
                        <c:v>1.0465</c:v>
                      </c:pt>
                      <c:pt idx="39">
                        <c:v>1.0174000000000001</c:v>
                      </c:pt>
                      <c:pt idx="40">
                        <c:v>1.0649999999999999</c:v>
                      </c:pt>
                      <c:pt idx="41">
                        <c:v>1.0186999999999999</c:v>
                      </c:pt>
                      <c:pt idx="42">
                        <c:v>1.0397000000000001</c:v>
                      </c:pt>
                      <c:pt idx="43">
                        <c:v>1.1252</c:v>
                      </c:pt>
                      <c:pt idx="44">
                        <c:v>1.1395999999999999</c:v>
                      </c:pt>
                      <c:pt idx="45">
                        <c:v>1.0866</c:v>
                      </c:pt>
                      <c:pt idx="46">
                        <c:v>1.1000000000000001</c:v>
                      </c:pt>
                    </c:numCache>
                  </c:numRef>
                </c:val>
                <c:extLst>
                  <c:ext xmlns:c16="http://schemas.microsoft.com/office/drawing/2014/chart" uri="{C3380CC4-5D6E-409C-BE32-E72D297353CC}">
                    <c16:uniqueId val="{00000001-3816-460B-8010-9B8140F42035}"/>
                  </c:ext>
                </c:extLst>
              </c15:ser>
            </c15:filteredBarSeries>
          </c:ext>
        </c:extLst>
      </c:barChart>
      <c:lineChart>
        <c:grouping val="standard"/>
        <c:varyColors val="0"/>
        <c:ser>
          <c:idx val="5"/>
          <c:order val="5"/>
          <c:tx>
            <c:strRef>
              <c:f>Sheet1!$F$1</c:f>
              <c:strCache>
                <c:ptCount val="1"/>
                <c:pt idx="0">
                  <c:v>DWP</c:v>
                </c:pt>
              </c:strCache>
            </c:strRef>
          </c:tx>
          <c:spPr>
            <a:ln w="28575" cap="rnd">
              <a:noFill/>
              <a:round/>
            </a:ln>
            <a:effectLst/>
          </c:spPr>
          <c:marker>
            <c:symbol val="none"/>
          </c:marker>
          <c:cat>
            <c:strRef>
              <c:f>Sheet1!$A$2:$A$48</c:f>
              <c:strCache>
                <c:ptCount val="47"/>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e</c:v>
                </c:pt>
              </c:strCache>
            </c:strRef>
          </c:cat>
          <c:val>
            <c:numRef>
              <c:f>Sheet1!$F$2:$F$48</c:f>
              <c:numCache>
                <c:formatCode>"$"#,##0</c:formatCode>
                <c:ptCount val="47"/>
                <c:pt idx="0">
                  <c:v>1342823250.2965598</c:v>
                </c:pt>
                <c:pt idx="1">
                  <c:v>1479240806.642942</c:v>
                </c:pt>
                <c:pt idx="2">
                  <c:v>1441281138.7900357</c:v>
                </c:pt>
                <c:pt idx="3">
                  <c:v>1428232502.9655991</c:v>
                </c:pt>
                <c:pt idx="4">
                  <c:v>1512455516.0142348</c:v>
                </c:pt>
                <c:pt idx="5">
                  <c:v>1587188612.0996442</c:v>
                </c:pt>
                <c:pt idx="6">
                  <c:v>1767497034.400949</c:v>
                </c:pt>
                <c:pt idx="7">
                  <c:v>1961154000</c:v>
                </c:pt>
                <c:pt idx="8">
                  <c:v>2255893000</c:v>
                </c:pt>
                <c:pt idx="9">
                  <c:v>3285594000</c:v>
                </c:pt>
                <c:pt idx="10">
                  <c:v>4135092000</c:v>
                </c:pt>
                <c:pt idx="11">
                  <c:v>4761311000</c:v>
                </c:pt>
                <c:pt idx="12">
                  <c:v>5060709000</c:v>
                </c:pt>
                <c:pt idx="13">
                  <c:v>5257155000</c:v>
                </c:pt>
                <c:pt idx="14">
                  <c:v>5184294000</c:v>
                </c:pt>
                <c:pt idx="15">
                  <c:v>5064203000</c:v>
                </c:pt>
                <c:pt idx="16">
                  <c:v>5209846000</c:v>
                </c:pt>
                <c:pt idx="17">
                  <c:v>5431408000</c:v>
                </c:pt>
                <c:pt idx="18">
                  <c:v>5844871000</c:v>
                </c:pt>
                <c:pt idx="19">
                  <c:v>5992131000</c:v>
                </c:pt>
                <c:pt idx="20">
                  <c:v>6028272380</c:v>
                </c:pt>
                <c:pt idx="21">
                  <c:v>5901812894</c:v>
                </c:pt>
                <c:pt idx="22">
                  <c:v>6172805013</c:v>
                </c:pt>
                <c:pt idx="23">
                  <c:v>6141952098</c:v>
                </c:pt>
                <c:pt idx="24">
                  <c:v>6423686084</c:v>
                </c:pt>
                <c:pt idx="25">
                  <c:v>7591200049.000001</c:v>
                </c:pt>
                <c:pt idx="26">
                  <c:v>9550820249</c:v>
                </c:pt>
                <c:pt idx="27">
                  <c:v>11103128724</c:v>
                </c:pt>
                <c:pt idx="28">
                  <c:v>11927831155</c:v>
                </c:pt>
                <c:pt idx="29">
                  <c:v>12727521099.999994</c:v>
                </c:pt>
                <c:pt idx="30">
                  <c:v>12853645100.00001</c:v>
                </c:pt>
                <c:pt idx="31">
                  <c:v>12158256100</c:v>
                </c:pt>
                <c:pt idx="32">
                  <c:v>11664891399.999989</c:v>
                </c:pt>
                <c:pt idx="33">
                  <c:v>11138136100.000029</c:v>
                </c:pt>
                <c:pt idx="34">
                  <c:v>10962306100.000004</c:v>
                </c:pt>
                <c:pt idx="35">
                  <c:v>10659906499.999973</c:v>
                </c:pt>
                <c:pt idx="36">
                  <c:v>10340329700.000008</c:v>
                </c:pt>
                <c:pt idx="37">
                  <c:v>10131106400</c:v>
                </c:pt>
                <c:pt idx="38">
                  <c:v>10061764800</c:v>
                </c:pt>
                <c:pt idx="39">
                  <c:v>9765591499.9999771</c:v>
                </c:pt>
                <c:pt idx="40">
                  <c:v>9789510800.0000114</c:v>
                </c:pt>
                <c:pt idx="41">
                  <c:v>9615041199.9999714</c:v>
                </c:pt>
                <c:pt idx="42">
                  <c:v>9793558200.0000057</c:v>
                </c:pt>
                <c:pt idx="43">
                  <c:v>10335715700.000061</c:v>
                </c:pt>
                <c:pt idx="44">
                  <c:v>10603025800.000038</c:v>
                </c:pt>
                <c:pt idx="45">
                  <c:v>11714083443</c:v>
                </c:pt>
                <c:pt idx="46">
                  <c:v>12312029705</c:v>
                </c:pt>
              </c:numCache>
            </c:numRef>
          </c:val>
          <c:smooth val="0"/>
          <c:extLst>
            <c:ext xmlns:c16="http://schemas.microsoft.com/office/drawing/2014/chart" uri="{C3380CC4-5D6E-409C-BE32-E72D297353CC}">
              <c16:uniqueId val="{00000000-10A6-43E0-9DD9-4D268187D3E0}"/>
            </c:ext>
          </c:extLst>
        </c:ser>
        <c:dLbls>
          <c:showLegendKey val="0"/>
          <c:showVal val="0"/>
          <c:showCatName val="0"/>
          <c:showSerName val="0"/>
          <c:showPercent val="0"/>
          <c:showBubbleSize val="0"/>
        </c:dLbls>
        <c:marker val="1"/>
        <c:smooth val="0"/>
        <c:axId val="887445743"/>
        <c:axId val="887442831"/>
      </c:lineChart>
      <c:catAx>
        <c:axId val="1902913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crossAx val="1902924607"/>
        <c:crosses val="autoZero"/>
        <c:auto val="1"/>
        <c:lblAlgn val="ctr"/>
        <c:lblOffset val="100"/>
        <c:noMultiLvlLbl val="0"/>
      </c:catAx>
      <c:valAx>
        <c:axId val="1902924607"/>
        <c:scaling>
          <c:orientation val="minMax"/>
          <c:max val="1.7500000000000002"/>
          <c:min val="0.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rgbClr val="5C718F"/>
                    </a:solidFill>
                    <a:latin typeface="+mn-lt"/>
                    <a:ea typeface="+mn-ea"/>
                    <a:cs typeface="+mn-cs"/>
                  </a:defRPr>
                </a:pPr>
                <a:r>
                  <a:rPr lang="en-US" dirty="0"/>
                  <a:t>Combined Ratio</a:t>
                </a:r>
              </a:p>
            </c:rich>
          </c:tx>
          <c:layout/>
          <c:overlay val="0"/>
          <c:spPr>
            <a:noFill/>
            <a:ln>
              <a:noFill/>
            </a:ln>
            <a:effectLst/>
          </c:spPr>
          <c:txPr>
            <a:bodyPr rot="-5400000" spcFirstLastPara="1" vertOverflow="ellipsis" vert="horz" wrap="square" anchor="ctr" anchorCtr="1"/>
            <a:lstStyle/>
            <a:p>
              <a:pPr>
                <a:defRPr sz="1330" b="0" i="0" u="none" strike="noStrike" kern="1200" baseline="0">
                  <a:solidFill>
                    <a:srgbClr val="5C718F"/>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crossAx val="1902913791"/>
        <c:crosses val="autoZero"/>
        <c:crossBetween val="between"/>
        <c:majorUnit val="0.25"/>
      </c:valAx>
      <c:valAx>
        <c:axId val="887442831"/>
        <c:scaling>
          <c:orientation val="minMax"/>
          <c:max val="15000000000"/>
          <c:min val="0"/>
        </c:scaling>
        <c:delete val="0"/>
        <c:axPos val="r"/>
        <c:title>
          <c:tx>
            <c:rich>
              <a:bodyPr rot="-5400000" spcFirstLastPara="1" vertOverflow="ellipsis" vert="horz" wrap="square" anchor="ctr" anchorCtr="1"/>
              <a:lstStyle/>
              <a:p>
                <a:pPr>
                  <a:defRPr sz="1330" b="0" i="0" u="none" strike="noStrike" kern="1200" baseline="0">
                    <a:solidFill>
                      <a:schemeClr val="bg1"/>
                    </a:solidFill>
                    <a:latin typeface="+mn-lt"/>
                    <a:ea typeface="+mn-ea"/>
                    <a:cs typeface="+mn-cs"/>
                  </a:defRPr>
                </a:pPr>
                <a:r>
                  <a:rPr lang="en-US" dirty="0">
                    <a:solidFill>
                      <a:schemeClr val="bg1"/>
                    </a:solidFill>
                  </a:rPr>
                  <a:t>Direct Written Premium</a:t>
                </a:r>
              </a:p>
            </c:rich>
          </c:tx>
          <c:layout/>
          <c:overlay val="0"/>
          <c:spPr>
            <a:noFill/>
            <a:ln>
              <a:noFill/>
            </a:ln>
            <a:effectLst/>
          </c:spPr>
          <c:txPr>
            <a:bodyPr rot="-5400000" spcFirstLastPara="1" vertOverflow="ellipsis" vert="horz" wrap="square" anchor="ctr" anchorCtr="1"/>
            <a:lstStyle/>
            <a:p>
              <a:pPr>
                <a:defRPr sz="1330" b="0" i="0" u="none" strike="noStrike" kern="1200" baseline="0">
                  <a:solidFill>
                    <a:schemeClr val="bg1"/>
                  </a:solidFill>
                  <a:latin typeface="+mn-lt"/>
                  <a:ea typeface="+mn-ea"/>
                  <a:cs typeface="+mn-cs"/>
                </a:defRPr>
              </a:pPr>
              <a:endParaRPr lang="en-US"/>
            </a:p>
          </c:txPr>
        </c:title>
        <c:numFmt formatCode="&quot;$&quot;#,##0"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887445743"/>
        <c:crosses val="max"/>
        <c:crossBetween val="between"/>
        <c:majorUnit val="3000000000"/>
        <c:dispUnits>
          <c:builtInUnit val="billions"/>
          <c:dispUnitsLbl>
            <c:layout/>
            <c:spPr>
              <a:noFill/>
              <a:ln>
                <a:noFill/>
              </a:ln>
              <a:effectLst/>
            </c:spPr>
            <c:txPr>
              <a:bodyPr rot="-5400000" spcFirstLastPara="1" vertOverflow="ellipsis" vert="horz" wrap="square" anchor="ctr" anchorCtr="1"/>
              <a:lstStyle/>
              <a:p>
                <a:pPr>
                  <a:defRPr sz="1330" b="0" i="0" u="none" strike="noStrike" kern="1200" baseline="0">
                    <a:solidFill>
                      <a:schemeClr val="bg1"/>
                    </a:solidFill>
                    <a:latin typeface="+mn-lt"/>
                    <a:ea typeface="+mn-ea"/>
                    <a:cs typeface="+mn-cs"/>
                  </a:defRPr>
                </a:pPr>
                <a:endParaRPr lang="en-US"/>
              </a:p>
            </c:txPr>
          </c:dispUnitsLbl>
        </c:dispUnits>
      </c:valAx>
      <c:catAx>
        <c:axId val="887445743"/>
        <c:scaling>
          <c:orientation val="minMax"/>
        </c:scaling>
        <c:delete val="1"/>
        <c:axPos val="b"/>
        <c:numFmt formatCode="General" sourceLinked="1"/>
        <c:majorTickMark val="out"/>
        <c:minorTickMark val="none"/>
        <c:tickLblPos val="nextTo"/>
        <c:crossAx val="887442831"/>
        <c:crosses val="autoZero"/>
        <c:auto val="1"/>
        <c:lblAlgn val="ctr"/>
        <c:lblOffset val="100"/>
        <c:noMultiLvlLbl val="0"/>
      </c:catAx>
      <c:spPr>
        <a:noFill/>
        <a:ln>
          <a:noFill/>
        </a:ln>
        <a:effectLst/>
      </c:spPr>
    </c:plotArea>
    <c:legend>
      <c:legendPos val="b"/>
      <c:legendEntry>
        <c:idx val="0"/>
        <c:delete val="1"/>
      </c:legendEntry>
      <c:legendEntry>
        <c:idx val="3"/>
        <c:txPr>
          <a:bodyPr rot="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legendEntry>
      <c:layout/>
      <c:overlay val="0"/>
      <c:spPr>
        <a:noFill/>
        <a:ln>
          <a:noFill/>
        </a:ln>
        <a:effectLst/>
      </c:spPr>
      <c:txPr>
        <a:bodyPr rot="0" spcFirstLastPara="1" vertOverflow="ellipsis" vert="horz" wrap="square" anchor="ctr" anchorCtr="1"/>
        <a:lstStyle/>
        <a:p>
          <a:pPr>
            <a:defRPr sz="1197" b="0" i="0" u="none" strike="noStrike" kern="1200" baseline="0">
              <a:solidFill>
                <a:srgbClr val="5C718F"/>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rgbClr val="5C718F"/>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4.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6486283-7F49-4775-B215-C39BB889D5A4}"/>
              </a:ext>
            </a:extLst>
          </p:cNvPr>
          <p:cNvSpPr>
            <a:spLocks noGrp="1"/>
          </p:cNvSpPr>
          <p:nvPr>
            <p:ph type="hdr" sz="quarter"/>
          </p:nvPr>
        </p:nvSpPr>
        <p:spPr>
          <a:xfrm>
            <a:off x="0" y="0"/>
            <a:ext cx="2971800" cy="253093"/>
          </a:xfrm>
          <a:prstGeom prst="rect">
            <a:avLst/>
          </a:prstGeom>
        </p:spPr>
        <p:txBody>
          <a:bodyPr vert="horz" lIns="91440" tIns="45720" rIns="91440" bIns="45720" rtlCol="0"/>
          <a:lstStyle>
            <a:lvl1pPr algn="l">
              <a:defRPr sz="1200"/>
            </a:lvl1pPr>
          </a:lstStyle>
          <a:p>
            <a:endParaRPr lang="en-US" sz="900" dirty="0"/>
          </a:p>
        </p:txBody>
      </p:sp>
      <p:sp>
        <p:nvSpPr>
          <p:cNvPr id="3" name="Date Placeholder 2">
            <a:extLst>
              <a:ext uri="{FF2B5EF4-FFF2-40B4-BE49-F238E27FC236}">
                <a16:creationId xmlns:a16="http://schemas.microsoft.com/office/drawing/2014/main" id="{83A3154E-2908-471F-AD8A-822C565F1A55}"/>
              </a:ext>
            </a:extLst>
          </p:cNvPr>
          <p:cNvSpPr>
            <a:spLocks noGrp="1"/>
          </p:cNvSpPr>
          <p:nvPr>
            <p:ph type="dt" sz="quarter" idx="1"/>
          </p:nvPr>
        </p:nvSpPr>
        <p:spPr>
          <a:xfrm>
            <a:off x="3884613" y="0"/>
            <a:ext cx="2971800" cy="253093"/>
          </a:xfrm>
          <a:prstGeom prst="rect">
            <a:avLst/>
          </a:prstGeom>
        </p:spPr>
        <p:txBody>
          <a:bodyPr vert="horz" lIns="91440" tIns="45720" rIns="91440" bIns="45720" rtlCol="0"/>
          <a:lstStyle>
            <a:lvl1pPr algn="r">
              <a:defRPr sz="1200"/>
            </a:lvl1pPr>
          </a:lstStyle>
          <a:p>
            <a:fld id="{44E45FBC-1A76-485F-9804-7A00B1BAA837}" type="datetimeFigureOut">
              <a:rPr lang="en-US" sz="900" smtClean="0"/>
              <a:t>4/23/2023</a:t>
            </a:fld>
            <a:endParaRPr lang="en-US" sz="900" dirty="0"/>
          </a:p>
        </p:txBody>
      </p:sp>
      <p:sp>
        <p:nvSpPr>
          <p:cNvPr id="6" name="Rectangle 5">
            <a:extLst>
              <a:ext uri="{FF2B5EF4-FFF2-40B4-BE49-F238E27FC236}">
                <a16:creationId xmlns:a16="http://schemas.microsoft.com/office/drawing/2014/main" id="{B17F67F9-0243-456D-846A-E8B0F12A6C3D}"/>
              </a:ext>
            </a:extLst>
          </p:cNvPr>
          <p:cNvSpPr/>
          <p:nvPr/>
        </p:nvSpPr>
        <p:spPr>
          <a:xfrm>
            <a:off x="0" y="8614228"/>
            <a:ext cx="6856413" cy="52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3" dirty="0"/>
          </a:p>
        </p:txBody>
      </p:sp>
      <p:sp>
        <p:nvSpPr>
          <p:cNvPr id="7" name="Footer Placeholder 5">
            <a:extLst>
              <a:ext uri="{FF2B5EF4-FFF2-40B4-BE49-F238E27FC236}">
                <a16:creationId xmlns:a16="http://schemas.microsoft.com/office/drawing/2014/main" id="{E64CE49E-A88D-4C98-90E0-F2CD59CBCE64}"/>
              </a:ext>
            </a:extLst>
          </p:cNvPr>
          <p:cNvSpPr>
            <a:spLocks noGrp="1"/>
          </p:cNvSpPr>
          <p:nvPr>
            <p:ph type="ftr" sz="quarter" idx="2"/>
          </p:nvPr>
        </p:nvSpPr>
        <p:spPr>
          <a:xfrm>
            <a:off x="1045029" y="8685213"/>
            <a:ext cx="5339441" cy="458787"/>
          </a:xfrm>
          <a:prstGeom prst="rect">
            <a:avLst/>
          </a:prstGeom>
        </p:spPr>
        <p:txBody>
          <a:bodyPr vert="horz" lIns="91440" tIns="45720" rIns="91440" bIns="45720" rtlCol="0" anchor="ctr"/>
          <a:lstStyle>
            <a:lvl1pPr algn="r">
              <a:defRPr sz="1200">
                <a:solidFill>
                  <a:schemeClr val="tx2"/>
                </a:solidFill>
              </a:defRPr>
            </a:lvl1pPr>
          </a:lstStyle>
          <a:p>
            <a:endParaRPr lang="en-US" dirty="0"/>
          </a:p>
        </p:txBody>
      </p:sp>
      <p:sp>
        <p:nvSpPr>
          <p:cNvPr id="8" name="Slide Number Placeholder 6">
            <a:extLst>
              <a:ext uri="{FF2B5EF4-FFF2-40B4-BE49-F238E27FC236}">
                <a16:creationId xmlns:a16="http://schemas.microsoft.com/office/drawing/2014/main" id="{3313E8C8-41BB-444D-B721-B0765FFB52B4}"/>
              </a:ext>
            </a:extLst>
          </p:cNvPr>
          <p:cNvSpPr>
            <a:spLocks noGrp="1"/>
          </p:cNvSpPr>
          <p:nvPr>
            <p:ph type="sldNum" sz="quarter" idx="3"/>
          </p:nvPr>
        </p:nvSpPr>
        <p:spPr>
          <a:xfrm>
            <a:off x="6384471" y="8685213"/>
            <a:ext cx="471942" cy="458787"/>
          </a:xfrm>
          <a:prstGeom prst="rect">
            <a:avLst/>
          </a:prstGeom>
        </p:spPr>
        <p:txBody>
          <a:bodyPr vert="horz" lIns="91440" tIns="45720" rIns="91440" bIns="45720" rtlCol="0" anchor="ctr"/>
          <a:lstStyle>
            <a:lvl1pPr algn="r">
              <a:defRPr sz="1200">
                <a:solidFill>
                  <a:schemeClr val="tx2"/>
                </a:solidFill>
              </a:defRPr>
            </a:lvl1pPr>
          </a:lstStyle>
          <a:p>
            <a:fld id="{9359093C-2330-49BE-94AF-5A246B0DCEF8}" type="slidenum">
              <a:rPr lang="en-US" smtClean="0"/>
              <a:pPr/>
              <a:t>‹#›</a:t>
            </a:fld>
            <a:endParaRPr lang="en-US" dirty="0"/>
          </a:p>
        </p:txBody>
      </p:sp>
      <p:pic>
        <p:nvPicPr>
          <p:cNvPr id="9" name="Picture 16">
            <a:extLst>
              <a:ext uri="{FF2B5EF4-FFF2-40B4-BE49-F238E27FC236}">
                <a16:creationId xmlns:a16="http://schemas.microsoft.com/office/drawing/2014/main" id="{42EA84BB-003E-4BFB-8365-D331BC4B924D}"/>
              </a:ext>
            </a:extLst>
          </p:cNvPr>
          <p:cNvPicPr>
            <a:picLocks noChangeAspect="1"/>
          </p:cNvPicPr>
          <p:nvPr/>
        </p:nvPicPr>
        <p:blipFill>
          <a:blip r:embed="rId2">
            <a:extLst>
              <a:ext uri="{96DAC541-7B7A-43D3-8B79-37D633B846F1}">
                <asvg:svgBlip xmlns="" xmlns:asvg="http://schemas.microsoft.com/office/drawing/2016/SVG/main" r:embed="rId3"/>
              </a:ext>
            </a:extLst>
          </a:blip>
          <a:srcRect/>
          <a:stretch/>
        </p:blipFill>
        <p:spPr>
          <a:xfrm>
            <a:off x="183314" y="8785688"/>
            <a:ext cx="190005" cy="190005"/>
          </a:xfrm>
          <a:prstGeom prst="rect">
            <a:avLst/>
          </a:prstGeom>
        </p:spPr>
      </p:pic>
    </p:spTree>
    <p:extLst>
      <p:ext uri="{BB962C8B-B14F-4D97-AF65-F5344CB8AC3E}">
        <p14:creationId xmlns:p14="http://schemas.microsoft.com/office/powerpoint/2010/main" val="6312557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A38D2AD-A542-4120-AF8A-3FA3B7386966}"/>
              </a:ext>
            </a:extLst>
          </p:cNvPr>
          <p:cNvSpPr/>
          <p:nvPr userDrawn="1"/>
        </p:nvSpPr>
        <p:spPr>
          <a:xfrm>
            <a:off x="0" y="8614228"/>
            <a:ext cx="6856413" cy="52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3" dirty="0"/>
          </a:p>
        </p:txBody>
      </p:sp>
      <p:sp>
        <p:nvSpPr>
          <p:cNvPr id="2" name="Header Placeholder 1"/>
          <p:cNvSpPr>
            <a:spLocks noGrp="1"/>
          </p:cNvSpPr>
          <p:nvPr>
            <p:ph type="hdr" sz="quarter"/>
          </p:nvPr>
        </p:nvSpPr>
        <p:spPr>
          <a:xfrm>
            <a:off x="0" y="0"/>
            <a:ext cx="2971800" cy="228600"/>
          </a:xfrm>
          <a:prstGeom prst="rect">
            <a:avLst/>
          </a:prstGeom>
        </p:spPr>
        <p:txBody>
          <a:bodyPr vert="horz" lIns="91440" tIns="45720" rIns="91440" bIns="45720" rtlCol="0"/>
          <a:lstStyle>
            <a:lvl1pPr algn="l">
              <a:defRPr sz="900"/>
            </a:lvl1pPr>
          </a:lstStyle>
          <a:p>
            <a:endParaRPr lang="en-US" sz="900" dirty="0"/>
          </a:p>
        </p:txBody>
      </p:sp>
      <p:sp>
        <p:nvSpPr>
          <p:cNvPr id="3" name="Date Placeholder 2"/>
          <p:cNvSpPr>
            <a:spLocks noGrp="1"/>
          </p:cNvSpPr>
          <p:nvPr>
            <p:ph type="dt" idx="1"/>
          </p:nvPr>
        </p:nvSpPr>
        <p:spPr>
          <a:xfrm>
            <a:off x="3884613" y="0"/>
            <a:ext cx="2971800" cy="228600"/>
          </a:xfrm>
          <a:prstGeom prst="rect">
            <a:avLst/>
          </a:prstGeom>
        </p:spPr>
        <p:txBody>
          <a:bodyPr vert="horz" lIns="91440" tIns="45720" rIns="91440" bIns="45720" rtlCol="0"/>
          <a:lstStyle>
            <a:lvl1pPr algn="r">
              <a:defRPr sz="900"/>
            </a:lvl1pPr>
          </a:lstStyle>
          <a:p>
            <a:fld id="{FC5059F3-5585-4074-AACE-66FADE6D996E}" type="datetimeFigureOut">
              <a:rPr lang="en-US" smtClean="0"/>
              <a:pPr/>
              <a:t>4/23/2023</a:t>
            </a:fld>
            <a:endParaRPr lang="en-US" dirty="0"/>
          </a:p>
        </p:txBody>
      </p:sp>
      <p:sp>
        <p:nvSpPr>
          <p:cNvPr id="4" name="Slide Image Placeholder 3"/>
          <p:cNvSpPr>
            <a:spLocks noGrp="1" noRot="1" noChangeAspect="1"/>
          </p:cNvSpPr>
          <p:nvPr>
            <p:ph type="sldImg" idx="2"/>
          </p:nvPr>
        </p:nvSpPr>
        <p:spPr>
          <a:xfrm>
            <a:off x="473075" y="473529"/>
            <a:ext cx="4972050" cy="2796778"/>
          </a:xfrm>
          <a:prstGeom prst="rect">
            <a:avLst/>
          </a:prstGeom>
          <a:noFill/>
          <a:ln w="3175">
            <a:solidFill>
              <a:schemeClr val="tx2"/>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473529" y="3429000"/>
            <a:ext cx="5910940" cy="45720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45029" y="8685213"/>
            <a:ext cx="5339441" cy="458787"/>
          </a:xfrm>
          <a:prstGeom prst="rect">
            <a:avLst/>
          </a:prstGeom>
        </p:spPr>
        <p:txBody>
          <a:bodyPr vert="horz" lIns="91440" tIns="45720" rIns="91440" bIns="45720" rtlCol="0" anchor="ctr"/>
          <a:lstStyle>
            <a:lvl1pPr algn="r">
              <a:defRPr sz="1200">
                <a:solidFill>
                  <a:schemeClr val="tx2"/>
                </a:solidFill>
              </a:defRPr>
            </a:lvl1pPr>
          </a:lstStyle>
          <a:p>
            <a:endParaRPr lang="en-US" dirty="0"/>
          </a:p>
        </p:txBody>
      </p:sp>
      <p:sp>
        <p:nvSpPr>
          <p:cNvPr id="7" name="Slide Number Placeholder 6"/>
          <p:cNvSpPr>
            <a:spLocks noGrp="1"/>
          </p:cNvSpPr>
          <p:nvPr>
            <p:ph type="sldNum" sz="quarter" idx="5"/>
          </p:nvPr>
        </p:nvSpPr>
        <p:spPr>
          <a:xfrm>
            <a:off x="6384471" y="8685213"/>
            <a:ext cx="471942" cy="458787"/>
          </a:xfrm>
          <a:prstGeom prst="rect">
            <a:avLst/>
          </a:prstGeom>
        </p:spPr>
        <p:txBody>
          <a:bodyPr vert="horz" lIns="91440" tIns="45720" rIns="91440" bIns="45720" rtlCol="0" anchor="ctr"/>
          <a:lstStyle>
            <a:lvl1pPr algn="r">
              <a:defRPr sz="1200">
                <a:solidFill>
                  <a:schemeClr val="tx2"/>
                </a:solidFill>
              </a:defRPr>
            </a:lvl1pPr>
          </a:lstStyle>
          <a:p>
            <a:fld id="{9359093C-2330-49BE-94AF-5A246B0DCEF8}" type="slidenum">
              <a:rPr lang="en-US" smtClean="0"/>
              <a:pPr/>
              <a:t>‹#›</a:t>
            </a:fld>
            <a:endParaRPr lang="en-US" dirty="0"/>
          </a:p>
        </p:txBody>
      </p:sp>
      <p:pic>
        <p:nvPicPr>
          <p:cNvPr id="11" name="Picture 16">
            <a:extLst>
              <a:ext uri="{FF2B5EF4-FFF2-40B4-BE49-F238E27FC236}">
                <a16:creationId xmlns:a16="http://schemas.microsoft.com/office/drawing/2014/main" id="{B9127272-6F66-40A1-A6EC-425235BA0C46}"/>
              </a:ext>
            </a:extLst>
          </p:cNvPr>
          <p:cNvPicPr>
            <a:picLocks noChangeAspect="1"/>
          </p:cNvPicPr>
          <p:nvPr userDrawn="1"/>
        </p:nvPicPr>
        <p:blipFill>
          <a:blip r:embed="rId2">
            <a:extLst>
              <a:ext uri="{96DAC541-7B7A-43D3-8B79-37D633B846F1}">
                <asvg:svgBlip xmlns="" xmlns:asvg="http://schemas.microsoft.com/office/drawing/2016/SVG/main" r:embed="rId3"/>
              </a:ext>
            </a:extLst>
          </a:blip>
          <a:srcRect/>
          <a:stretch/>
        </p:blipFill>
        <p:spPr>
          <a:xfrm>
            <a:off x="183314" y="8785688"/>
            <a:ext cx="190005" cy="190005"/>
          </a:xfrm>
          <a:prstGeom prst="rect">
            <a:avLst/>
          </a:prstGeom>
        </p:spPr>
      </p:pic>
    </p:spTree>
    <p:extLst>
      <p:ext uri="{BB962C8B-B14F-4D97-AF65-F5344CB8AC3E}">
        <p14:creationId xmlns:p14="http://schemas.microsoft.com/office/powerpoint/2010/main" val="3916786237"/>
      </p:ext>
    </p:extLst>
  </p:cSld>
  <p:clrMap bg1="lt1" tx1="dk1" bg2="lt2" tx2="dk2" accent1="accent1" accent2="accent2" accent3="accent3" accent4="accent4" accent5="accent5" accent6="accent6" hlink="hlink" folHlink="folHlink"/>
  <p:notesStyle>
    <a:lvl1pPr marL="0" algn="l" defTabSz="892432" rtl="0" eaLnBrk="1" latinLnBrk="0" hangingPunct="1">
      <a:defRPr sz="1050" kern="1200">
        <a:solidFill>
          <a:schemeClr val="tx2"/>
        </a:solidFill>
        <a:latin typeface="+mn-lt"/>
        <a:ea typeface="+mn-ea"/>
        <a:cs typeface="+mn-cs"/>
      </a:defRPr>
    </a:lvl1pPr>
    <a:lvl2pPr marL="114300" indent="0" algn="l" defTabSz="892432" rtl="0" eaLnBrk="1" latinLnBrk="0" hangingPunct="1">
      <a:defRPr sz="1050" kern="1200">
        <a:solidFill>
          <a:schemeClr val="tx2"/>
        </a:solidFill>
        <a:latin typeface="+mn-lt"/>
        <a:ea typeface="+mn-ea"/>
        <a:cs typeface="+mn-cs"/>
      </a:defRPr>
    </a:lvl2pPr>
    <a:lvl3pPr marL="228600" indent="0" algn="l" defTabSz="892432" rtl="0" eaLnBrk="1" latinLnBrk="0" hangingPunct="1">
      <a:defRPr sz="1050" kern="1200">
        <a:solidFill>
          <a:schemeClr val="tx2"/>
        </a:solidFill>
        <a:latin typeface="+mn-lt"/>
        <a:ea typeface="+mn-ea"/>
        <a:cs typeface="+mn-cs"/>
      </a:defRPr>
    </a:lvl3pPr>
    <a:lvl4pPr marL="342900" indent="0" algn="l" defTabSz="892432" rtl="0" eaLnBrk="1" latinLnBrk="0" hangingPunct="1">
      <a:defRPr sz="1050" kern="1200">
        <a:solidFill>
          <a:schemeClr val="tx2"/>
        </a:solidFill>
        <a:latin typeface="+mn-lt"/>
        <a:ea typeface="+mn-ea"/>
        <a:cs typeface="+mn-cs"/>
      </a:defRPr>
    </a:lvl4pPr>
    <a:lvl5pPr marL="457200" indent="0" algn="l" defTabSz="892432" rtl="0" eaLnBrk="1" latinLnBrk="0" hangingPunct="1">
      <a:defRPr sz="1050" kern="1200">
        <a:solidFill>
          <a:schemeClr val="tx2"/>
        </a:solidFill>
        <a:latin typeface="+mn-lt"/>
        <a:ea typeface="+mn-ea"/>
        <a:cs typeface="+mn-cs"/>
      </a:defRPr>
    </a:lvl5pPr>
    <a:lvl6pPr marL="2231080" algn="l" defTabSz="892432" rtl="0" eaLnBrk="1" latinLnBrk="0" hangingPunct="1">
      <a:defRPr sz="1171" kern="1200">
        <a:solidFill>
          <a:schemeClr val="tx1"/>
        </a:solidFill>
        <a:latin typeface="+mn-lt"/>
        <a:ea typeface="+mn-ea"/>
        <a:cs typeface="+mn-cs"/>
      </a:defRPr>
    </a:lvl6pPr>
    <a:lvl7pPr marL="2677296" algn="l" defTabSz="892432" rtl="0" eaLnBrk="1" latinLnBrk="0" hangingPunct="1">
      <a:defRPr sz="1171" kern="1200">
        <a:solidFill>
          <a:schemeClr val="tx1"/>
        </a:solidFill>
        <a:latin typeface="+mn-lt"/>
        <a:ea typeface="+mn-ea"/>
        <a:cs typeface="+mn-cs"/>
      </a:defRPr>
    </a:lvl7pPr>
    <a:lvl8pPr marL="3123513" algn="l" defTabSz="892432" rtl="0" eaLnBrk="1" latinLnBrk="0" hangingPunct="1">
      <a:defRPr sz="1171" kern="1200">
        <a:solidFill>
          <a:schemeClr val="tx1"/>
        </a:solidFill>
        <a:latin typeface="+mn-lt"/>
        <a:ea typeface="+mn-ea"/>
        <a:cs typeface="+mn-cs"/>
      </a:defRPr>
    </a:lvl8pPr>
    <a:lvl9pPr marL="3569728" algn="l" defTabSz="892432" rtl="0" eaLnBrk="1" latinLnBrk="0" hangingPunct="1">
      <a:defRPr sz="1171" kern="1200">
        <a:solidFill>
          <a:schemeClr val="tx1"/>
        </a:solidFill>
        <a:latin typeface="+mn-lt"/>
        <a:ea typeface="+mn-ea"/>
        <a:cs typeface="+mn-cs"/>
      </a:defRPr>
    </a:lvl9pPr>
  </p:notesStyle>
  <p:extLst>
    <p:ext uri="{620B2872-D7B9-4A21-9093-7833F8D536E1}">
      <p15:sldGuideLst xmlns:p15="http://schemas.microsoft.com/office/powerpoint/2012/main">
        <p15:guide id="2" pos="4022" userDrawn="1">
          <p15:clr>
            <a:srgbClr val="F26B43"/>
          </p15:clr>
        </p15:guide>
        <p15:guide id="3" pos="298" userDrawn="1">
          <p15:clr>
            <a:srgbClr val="F26B43"/>
          </p15:clr>
        </p15:guide>
        <p15:guide id="4" orient="horz"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9093C-2330-49BE-94AF-5A246B0DCEF8}" type="slidenum">
              <a:rPr lang="en-US" smtClean="0"/>
              <a:t>1</a:t>
            </a:fld>
            <a:endParaRPr lang="en-US" dirty="0"/>
          </a:p>
        </p:txBody>
      </p:sp>
    </p:spTree>
    <p:extLst>
      <p:ext uri="{BB962C8B-B14F-4D97-AF65-F5344CB8AC3E}">
        <p14:creationId xmlns:p14="http://schemas.microsoft.com/office/powerpoint/2010/main" val="26342502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0938" y="361950"/>
            <a:ext cx="3795712" cy="21351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722218">
              <a:defRPr/>
            </a:pPr>
            <a:fld id="{A47B4903-1C04-F648-99EE-1E11746CF12C}" type="slidenum">
              <a:rPr lang="en-US">
                <a:solidFill>
                  <a:prstClr val="black"/>
                </a:solidFill>
                <a:latin typeface="Calibri" panose="020F0502020204030204"/>
              </a:rPr>
              <a:pPr defTabSz="722218">
                <a:defRPr/>
              </a:pPr>
              <a:t>4</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187920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8050" y="366713"/>
            <a:ext cx="3846513" cy="21637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7B4903-1C04-F648-99EE-1E11746CF12C}" type="slidenum">
              <a:rPr lang="en-US" smtClean="0"/>
              <a:t>5</a:t>
            </a:fld>
            <a:endParaRPr lang="en-US" dirty="0"/>
          </a:p>
        </p:txBody>
      </p:sp>
    </p:spTree>
    <p:extLst>
      <p:ext uri="{BB962C8B-B14F-4D97-AF65-F5344CB8AC3E}">
        <p14:creationId xmlns:p14="http://schemas.microsoft.com/office/powerpoint/2010/main" val="4135326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0885EA-6B18-4D71-972A-068FF78F5987}"/>
              </a:ext>
            </a:extLst>
          </p:cNvPr>
          <p:cNvSpPr/>
          <p:nvPr userDrawn="1"/>
        </p:nvSpPr>
        <p:spPr>
          <a:xfrm>
            <a:off x="0" y="894"/>
            <a:ext cx="12192000" cy="6856214"/>
          </a:xfrm>
          <a:prstGeom prst="rect">
            <a:avLst/>
          </a:prstGeom>
          <a:gradFill>
            <a:gsLst>
              <a:gs pos="16000">
                <a:srgbClr val="002A88"/>
              </a:gs>
              <a:gs pos="79000">
                <a:srgbClr val="04003C"/>
              </a:gs>
            </a:gsLst>
            <a:lin ang="4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A2215121-CA48-4D4D-B0FD-1D3BD52AFD4B}"/>
              </a:ext>
            </a:extLst>
          </p:cNvPr>
          <p:cNvSpPr>
            <a:spLocks noGrp="1"/>
          </p:cNvSpPr>
          <p:nvPr>
            <p:ph type="ctrTitle"/>
          </p:nvPr>
        </p:nvSpPr>
        <p:spPr>
          <a:xfrm>
            <a:off x="736600" y="1364718"/>
            <a:ext cx="10710333" cy="1859147"/>
          </a:xfrm>
        </p:spPr>
        <p:txBody>
          <a:bodyPr anchor="b">
            <a:noAutofit/>
          </a:bodyPr>
          <a:lstStyle>
            <a:lvl1pPr algn="ctr">
              <a:defRPr sz="4400">
                <a:solidFill>
                  <a:schemeClr val="bg1"/>
                </a:solidFill>
              </a:defRPr>
            </a:lvl1pPr>
          </a:lstStyle>
          <a:p>
            <a:r>
              <a:rPr lang="en-US" smtClean="0"/>
              <a:t>Click to edit Master title style</a:t>
            </a:r>
            <a:endParaRPr lang="en-US" dirty="0"/>
          </a:p>
        </p:txBody>
      </p:sp>
      <p:sp>
        <p:nvSpPr>
          <p:cNvPr id="3" name="Subtitle 2">
            <a:extLst>
              <a:ext uri="{FF2B5EF4-FFF2-40B4-BE49-F238E27FC236}">
                <a16:creationId xmlns:a16="http://schemas.microsoft.com/office/drawing/2014/main" id="{62AD32F7-9D35-AB44-A743-E08C4C051515}"/>
              </a:ext>
            </a:extLst>
          </p:cNvPr>
          <p:cNvSpPr>
            <a:spLocks noGrp="1"/>
          </p:cNvSpPr>
          <p:nvPr>
            <p:ph type="subTitle" idx="1"/>
          </p:nvPr>
        </p:nvSpPr>
        <p:spPr>
          <a:xfrm>
            <a:off x="736600" y="3223865"/>
            <a:ext cx="10710333" cy="1332480"/>
          </a:xfrm>
        </p:spPr>
        <p:txBody>
          <a:bodyPr>
            <a:normAutofit/>
          </a:bodyPr>
          <a:lstStyle>
            <a:lvl1pPr marL="0" indent="0" algn="ctr">
              <a:buNone/>
              <a:defRPr sz="2400" b="1">
                <a:solidFill>
                  <a:schemeClr val="accent3"/>
                </a:solidFill>
                <a:latin typeface="+mj-lt"/>
              </a:defRPr>
            </a:lvl1pPr>
            <a:lvl2pPr marL="653109" indent="0" algn="ctr">
              <a:buNone/>
              <a:defRPr sz="2857"/>
            </a:lvl2pPr>
            <a:lvl3pPr marL="1306218" indent="0" algn="ctr">
              <a:buNone/>
              <a:defRPr sz="2572"/>
            </a:lvl3pPr>
            <a:lvl4pPr marL="1959327" indent="0" algn="ctr">
              <a:buNone/>
              <a:defRPr sz="2285"/>
            </a:lvl4pPr>
            <a:lvl5pPr marL="2612436" indent="0" algn="ctr">
              <a:buNone/>
              <a:defRPr sz="2285"/>
            </a:lvl5pPr>
            <a:lvl6pPr marL="3265545" indent="0" algn="ctr">
              <a:buNone/>
              <a:defRPr sz="2285"/>
            </a:lvl6pPr>
            <a:lvl7pPr marL="3918654" indent="0" algn="ctr">
              <a:buNone/>
              <a:defRPr sz="2285"/>
            </a:lvl7pPr>
            <a:lvl8pPr marL="4571764" indent="0" algn="ctr">
              <a:buNone/>
              <a:defRPr sz="2285"/>
            </a:lvl8pPr>
            <a:lvl9pPr marL="5224873" indent="0" algn="ctr">
              <a:buNone/>
              <a:defRPr sz="2285"/>
            </a:lvl9pPr>
          </a:lstStyle>
          <a:p>
            <a:r>
              <a:rPr lang="en-US" smtClean="0"/>
              <a:t>Click to edit Master subtitle style</a:t>
            </a:r>
            <a:endParaRPr lang="en-US" dirty="0"/>
          </a:p>
        </p:txBody>
      </p:sp>
      <p:pic>
        <p:nvPicPr>
          <p:cNvPr id="5" name="Graphic 4">
            <a:extLst>
              <a:ext uri="{FF2B5EF4-FFF2-40B4-BE49-F238E27FC236}">
                <a16:creationId xmlns:a16="http://schemas.microsoft.com/office/drawing/2014/main" id="{72E510C9-7083-4F5A-A5CD-A1358F6AE3EA}"/>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569020" y="5500998"/>
            <a:ext cx="3389521" cy="847380"/>
          </a:xfrm>
          <a:prstGeom prst="rect">
            <a:avLst/>
          </a:prstGeom>
        </p:spPr>
      </p:pic>
      <p:sp>
        <p:nvSpPr>
          <p:cNvPr id="4" name="Rectangle 3" hidden="1">
            <a:extLst>
              <a:ext uri="{FF2B5EF4-FFF2-40B4-BE49-F238E27FC236}">
                <a16:creationId xmlns:a16="http://schemas.microsoft.com/office/drawing/2014/main" id="{96E70CF6-21FD-499A-98E7-A525C7362B0A}"/>
              </a:ext>
            </a:extLst>
          </p:cNvPr>
          <p:cNvSpPr/>
          <p:nvPr userDrawn="1">
            <p:custDataLst>
              <p:tags r:id="rId1"/>
            </p:custDataLst>
          </p:nvPr>
        </p:nvSpPr>
        <p:spPr>
          <a:xfrm>
            <a:off x="723900" y="5500998"/>
            <a:ext cx="3302410" cy="8473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543166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Comment &amp; Comparison (w/Source)">
    <p:spTree>
      <p:nvGrpSpPr>
        <p:cNvPr id="1" name=""/>
        <p:cNvGrpSpPr/>
        <p:nvPr/>
      </p:nvGrpSpPr>
      <p:grpSpPr>
        <a:xfrm>
          <a:off x="0" y="0"/>
          <a:ext cx="0" cy="0"/>
          <a:chOff x="0" y="0"/>
          <a:chExt cx="0" cy="0"/>
        </a:xfrm>
      </p:grpSpPr>
      <p:sp>
        <p:nvSpPr>
          <p:cNvPr id="12" name="Text Placeholder 9">
            <a:extLst>
              <a:ext uri="{FF2B5EF4-FFF2-40B4-BE49-F238E27FC236}">
                <a16:creationId xmlns:a16="http://schemas.microsoft.com/office/drawing/2014/main" id="{4465E02A-1C50-44D6-BD76-6238A6CB0FAE}"/>
              </a:ext>
            </a:extLst>
          </p:cNvPr>
          <p:cNvSpPr>
            <a:spLocks noGrp="1"/>
          </p:cNvSpPr>
          <p:nvPr>
            <p:ph type="body" sz="quarter" idx="13" hasCustomPrompt="1"/>
          </p:nvPr>
        </p:nvSpPr>
        <p:spPr>
          <a:xfrm>
            <a:off x="731600" y="864051"/>
            <a:ext cx="10735733" cy="621792"/>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3" name="Text Placeholder 2">
            <a:extLst>
              <a:ext uri="{FF2B5EF4-FFF2-40B4-BE49-F238E27FC236}">
                <a16:creationId xmlns:a16="http://schemas.microsoft.com/office/drawing/2014/main" id="{27FB66FA-9E82-8F4C-902B-D968EBD0072D}"/>
              </a:ext>
            </a:extLst>
          </p:cNvPr>
          <p:cNvSpPr>
            <a:spLocks noGrp="1"/>
          </p:cNvSpPr>
          <p:nvPr>
            <p:ph type="body" idx="1"/>
          </p:nvPr>
        </p:nvSpPr>
        <p:spPr>
          <a:xfrm>
            <a:off x="726569" y="1602223"/>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smtClean="0"/>
              <a:t>Edit Master text styles</a:t>
            </a:r>
          </a:p>
        </p:txBody>
      </p:sp>
      <p:sp>
        <p:nvSpPr>
          <p:cNvPr id="4" name="Content Placeholder 3">
            <a:extLst>
              <a:ext uri="{FF2B5EF4-FFF2-40B4-BE49-F238E27FC236}">
                <a16:creationId xmlns:a16="http://schemas.microsoft.com/office/drawing/2014/main" id="{53E423E8-A085-594A-8DB0-B04EE30ADC4D}"/>
              </a:ext>
            </a:extLst>
          </p:cNvPr>
          <p:cNvSpPr>
            <a:spLocks noGrp="1"/>
          </p:cNvSpPr>
          <p:nvPr>
            <p:ph sz="half" idx="2"/>
          </p:nvPr>
        </p:nvSpPr>
        <p:spPr>
          <a:xfrm>
            <a:off x="726569" y="2367827"/>
            <a:ext cx="5285232" cy="3394417"/>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a:extLst>
              <a:ext uri="{FF2B5EF4-FFF2-40B4-BE49-F238E27FC236}">
                <a16:creationId xmlns:a16="http://schemas.microsoft.com/office/drawing/2014/main" id="{53A97721-B828-5F49-9ECE-3D1CE066C8DF}"/>
              </a:ext>
            </a:extLst>
          </p:cNvPr>
          <p:cNvSpPr>
            <a:spLocks noGrp="1"/>
          </p:cNvSpPr>
          <p:nvPr>
            <p:ph type="body" sz="quarter" idx="3"/>
          </p:nvPr>
        </p:nvSpPr>
        <p:spPr>
          <a:xfrm>
            <a:off x="6187631" y="1602223"/>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smtClean="0"/>
              <a:t>Edit Master text styles</a:t>
            </a:r>
          </a:p>
        </p:txBody>
      </p:sp>
      <p:sp>
        <p:nvSpPr>
          <p:cNvPr id="6" name="Content Placeholder 5">
            <a:extLst>
              <a:ext uri="{FF2B5EF4-FFF2-40B4-BE49-F238E27FC236}">
                <a16:creationId xmlns:a16="http://schemas.microsoft.com/office/drawing/2014/main" id="{FA9BD7FE-E79D-8C4D-8814-8B397878DBF5}"/>
              </a:ext>
            </a:extLst>
          </p:cNvPr>
          <p:cNvSpPr>
            <a:spLocks noGrp="1"/>
          </p:cNvSpPr>
          <p:nvPr>
            <p:ph sz="quarter" idx="4"/>
          </p:nvPr>
        </p:nvSpPr>
        <p:spPr>
          <a:xfrm>
            <a:off x="6187631" y="2367827"/>
            <a:ext cx="5285232" cy="3394417"/>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a:extLst>
              <a:ext uri="{FF2B5EF4-FFF2-40B4-BE49-F238E27FC236}">
                <a16:creationId xmlns:a16="http://schemas.microsoft.com/office/drawing/2014/main" id="{747A3AA7-B6AF-F040-9CFC-AF513FBC68DF}"/>
              </a:ext>
            </a:extLst>
          </p:cNvPr>
          <p:cNvSpPr>
            <a:spLocks noGrp="1"/>
          </p:cNvSpPr>
          <p:nvPr>
            <p:ph type="dt" sz="half" idx="10"/>
          </p:nvPr>
        </p:nvSpPr>
        <p:spPr/>
        <p:txBody>
          <a:bodyPr/>
          <a:lstStyle/>
          <a:p>
            <a:fld id="{54837CB5-678C-49D9-AAD0-CEAADF85A933}" type="datetime1">
              <a:rPr lang="en-US" smtClean="0"/>
              <a:t>4/23/2023</a:t>
            </a:fld>
            <a:endParaRPr lang="en-US" dirty="0"/>
          </a:p>
        </p:txBody>
      </p:sp>
      <p:sp>
        <p:nvSpPr>
          <p:cNvPr id="8" name="Footer Placeholder 7">
            <a:extLst>
              <a:ext uri="{FF2B5EF4-FFF2-40B4-BE49-F238E27FC236}">
                <a16:creationId xmlns:a16="http://schemas.microsoft.com/office/drawing/2014/main" id="{70C5EF70-7E06-D24A-9577-EFEF1CCFECA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F9B6EAC-EAE4-D54B-89FA-D3C309D978F8}"/>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10" name="Title 9">
            <a:extLst>
              <a:ext uri="{FF2B5EF4-FFF2-40B4-BE49-F238E27FC236}">
                <a16:creationId xmlns:a16="http://schemas.microsoft.com/office/drawing/2014/main" id="{94433DBB-F96C-4821-AF9A-C30C09039B1E}"/>
              </a:ext>
            </a:extLst>
          </p:cNvPr>
          <p:cNvSpPr>
            <a:spLocks noGrp="1"/>
          </p:cNvSpPr>
          <p:nvPr>
            <p:ph type="title"/>
          </p:nvPr>
        </p:nvSpPr>
        <p:spPr/>
        <p:txBody>
          <a:bodyPr/>
          <a:lstStyle/>
          <a:p>
            <a:r>
              <a:rPr lang="en-US" smtClean="0"/>
              <a:t>Click to edit Master title style</a:t>
            </a:r>
            <a:endParaRPr lang="en-US" dirty="0"/>
          </a:p>
        </p:txBody>
      </p:sp>
      <p:sp>
        <p:nvSpPr>
          <p:cNvPr id="11" name="Rectangle 10" hidden="1">
            <a:extLst>
              <a:ext uri="{FF2B5EF4-FFF2-40B4-BE49-F238E27FC236}">
                <a16:creationId xmlns:a16="http://schemas.microsoft.com/office/drawing/2014/main" id="{B9BA8268-5A7D-424D-A57A-7813D1343759}"/>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 Placeholder 5">
            <a:extLst>
              <a:ext uri="{FF2B5EF4-FFF2-40B4-BE49-F238E27FC236}">
                <a16:creationId xmlns:a16="http://schemas.microsoft.com/office/drawing/2014/main" id="{9F3882CE-D352-4072-9736-590FC0EDD23C}"/>
              </a:ext>
            </a:extLst>
          </p:cNvPr>
          <p:cNvSpPr>
            <a:spLocks noGrp="1"/>
          </p:cNvSpPr>
          <p:nvPr>
            <p:ph type="body" sz="quarter" idx="14" hasCustomPrompt="1"/>
          </p:nvPr>
        </p:nvSpPr>
        <p:spPr>
          <a:xfrm>
            <a:off x="723900" y="5872381"/>
            <a:ext cx="10748963" cy="338554"/>
          </a:xfrm>
          <a:solidFill>
            <a:schemeClr val="accent3"/>
          </a:solidFill>
          <a:ln>
            <a:noFill/>
          </a:ln>
        </p:spPr>
        <p:txBody>
          <a:bodyPr anchor="b">
            <a:spAutoFit/>
          </a:bodyPr>
          <a:lstStyle>
            <a:lvl1pPr marL="0" indent="0" algn="ctr">
              <a:buNone/>
              <a:defRPr sz="1600" b="1">
                <a:solidFill>
                  <a:schemeClr val="bg1"/>
                </a:solidFill>
              </a:defRPr>
            </a:lvl1pPr>
          </a:lstStyle>
          <a:p>
            <a:pPr lvl="0"/>
            <a:r>
              <a:rPr lang="en-US" dirty="0"/>
              <a:t>Click to add brief takeaway comment </a:t>
            </a:r>
          </a:p>
        </p:txBody>
      </p:sp>
      <p:sp>
        <p:nvSpPr>
          <p:cNvPr id="14" name="Text Placeholder 9">
            <a:extLst>
              <a:ext uri="{FF2B5EF4-FFF2-40B4-BE49-F238E27FC236}">
                <a16:creationId xmlns:a16="http://schemas.microsoft.com/office/drawing/2014/main" id="{BE632803-C69C-4636-8FA3-6A7EEDDAC7BC}"/>
              </a:ext>
            </a:extLst>
          </p:cNvPr>
          <p:cNvSpPr>
            <a:spLocks noGrp="1"/>
          </p:cNvSpPr>
          <p:nvPr>
            <p:ph type="body" sz="quarter" idx="16"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176571315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B1B1A-193A-1F40-B2AB-0A9D2F74DF8D}"/>
              </a:ext>
            </a:extLst>
          </p:cNvPr>
          <p:cNvSpPr>
            <a:spLocks noGrp="1"/>
          </p:cNvSpPr>
          <p:nvPr>
            <p:ph type="title"/>
          </p:nvPr>
        </p:nvSpPr>
        <p:spPr/>
        <p:txBody>
          <a:bodyPr/>
          <a:lstStyle/>
          <a:p>
            <a:r>
              <a:rPr lang="en-US" smtClean="0"/>
              <a:t>Click to edit Master title style</a:t>
            </a:r>
            <a:endParaRPr lang="en-US" dirty="0"/>
          </a:p>
        </p:txBody>
      </p:sp>
      <p:sp>
        <p:nvSpPr>
          <p:cNvPr id="3" name="Content Placeholder 2">
            <a:extLst>
              <a:ext uri="{FF2B5EF4-FFF2-40B4-BE49-F238E27FC236}">
                <a16:creationId xmlns:a16="http://schemas.microsoft.com/office/drawing/2014/main" id="{0E4FCD71-99E5-D846-AD43-7B056FE628C6}"/>
              </a:ext>
            </a:extLst>
          </p:cNvPr>
          <p:cNvSpPr>
            <a:spLocks noGrp="1"/>
          </p:cNvSpPr>
          <p:nvPr>
            <p:ph sz="half" idx="1"/>
          </p:nvPr>
        </p:nvSpPr>
        <p:spPr>
          <a:xfrm>
            <a:off x="726570" y="855664"/>
            <a:ext cx="5281633" cy="535886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a:extLst>
              <a:ext uri="{FF2B5EF4-FFF2-40B4-BE49-F238E27FC236}">
                <a16:creationId xmlns:a16="http://schemas.microsoft.com/office/drawing/2014/main" id="{8A06A599-343C-AF48-9F5E-ED2800F22C6D}"/>
              </a:ext>
            </a:extLst>
          </p:cNvPr>
          <p:cNvSpPr>
            <a:spLocks noGrp="1"/>
          </p:cNvSpPr>
          <p:nvPr>
            <p:ph sz="half" idx="2"/>
          </p:nvPr>
        </p:nvSpPr>
        <p:spPr>
          <a:xfrm>
            <a:off x="6191230" y="855664"/>
            <a:ext cx="5281633" cy="535886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a:extLst>
              <a:ext uri="{FF2B5EF4-FFF2-40B4-BE49-F238E27FC236}">
                <a16:creationId xmlns:a16="http://schemas.microsoft.com/office/drawing/2014/main" id="{74FA09E3-6341-2840-B4B2-446CB6BCD3DE}"/>
              </a:ext>
            </a:extLst>
          </p:cNvPr>
          <p:cNvSpPr>
            <a:spLocks noGrp="1"/>
          </p:cNvSpPr>
          <p:nvPr>
            <p:ph type="dt" sz="half" idx="10"/>
          </p:nvPr>
        </p:nvSpPr>
        <p:spPr/>
        <p:txBody>
          <a:bodyPr/>
          <a:lstStyle/>
          <a:p>
            <a:fld id="{932DD1C2-B208-4562-B8B9-3E9E71B15AEB}" type="datetime1">
              <a:rPr lang="en-US" smtClean="0"/>
              <a:t>4/23/2023</a:t>
            </a:fld>
            <a:endParaRPr lang="en-US" dirty="0"/>
          </a:p>
        </p:txBody>
      </p:sp>
      <p:sp>
        <p:nvSpPr>
          <p:cNvPr id="6" name="Footer Placeholder 5">
            <a:extLst>
              <a:ext uri="{FF2B5EF4-FFF2-40B4-BE49-F238E27FC236}">
                <a16:creationId xmlns:a16="http://schemas.microsoft.com/office/drawing/2014/main" id="{B061B294-4D04-E746-8221-395BE429F51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5E9DF78-5CB3-4849-B9FC-1F1763722B41}"/>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8" name="Rectangle 7" hidden="1">
            <a:extLst>
              <a:ext uri="{FF2B5EF4-FFF2-40B4-BE49-F238E27FC236}">
                <a16:creationId xmlns:a16="http://schemas.microsoft.com/office/drawing/2014/main" id="{6B12440B-82B8-49BB-A179-16B2998F8E4C}"/>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769412"/>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Comment, &amp; Content (w/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B1B1A-193A-1F40-B2AB-0A9D2F74DF8D}"/>
              </a:ext>
            </a:extLst>
          </p:cNvPr>
          <p:cNvSpPr>
            <a:spLocks noGrp="1"/>
          </p:cNvSpPr>
          <p:nvPr>
            <p:ph type="title"/>
          </p:nvPr>
        </p:nvSpPr>
        <p:spPr/>
        <p:txBody>
          <a:bodyPr/>
          <a:lstStyle/>
          <a:p>
            <a:r>
              <a:rPr lang="en-US" smtClean="0"/>
              <a:t>Click to edit Master title style</a:t>
            </a:r>
            <a:endParaRPr lang="en-US" dirty="0"/>
          </a:p>
        </p:txBody>
      </p:sp>
      <p:sp>
        <p:nvSpPr>
          <p:cNvPr id="3" name="Content Placeholder 2">
            <a:extLst>
              <a:ext uri="{FF2B5EF4-FFF2-40B4-BE49-F238E27FC236}">
                <a16:creationId xmlns:a16="http://schemas.microsoft.com/office/drawing/2014/main" id="{0E4FCD71-99E5-D846-AD43-7B056FE628C6}"/>
              </a:ext>
            </a:extLst>
          </p:cNvPr>
          <p:cNvSpPr>
            <a:spLocks noGrp="1"/>
          </p:cNvSpPr>
          <p:nvPr>
            <p:ph sz="half" idx="1"/>
          </p:nvPr>
        </p:nvSpPr>
        <p:spPr>
          <a:xfrm>
            <a:off x="726570" y="1602223"/>
            <a:ext cx="5281633" cy="416002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a:extLst>
              <a:ext uri="{FF2B5EF4-FFF2-40B4-BE49-F238E27FC236}">
                <a16:creationId xmlns:a16="http://schemas.microsoft.com/office/drawing/2014/main" id="{8A06A599-343C-AF48-9F5E-ED2800F22C6D}"/>
              </a:ext>
            </a:extLst>
          </p:cNvPr>
          <p:cNvSpPr>
            <a:spLocks noGrp="1"/>
          </p:cNvSpPr>
          <p:nvPr>
            <p:ph sz="half" idx="2"/>
          </p:nvPr>
        </p:nvSpPr>
        <p:spPr>
          <a:xfrm>
            <a:off x="6191230" y="1602223"/>
            <a:ext cx="5281633" cy="416002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a:extLst>
              <a:ext uri="{FF2B5EF4-FFF2-40B4-BE49-F238E27FC236}">
                <a16:creationId xmlns:a16="http://schemas.microsoft.com/office/drawing/2014/main" id="{74FA09E3-6341-2840-B4B2-446CB6BCD3DE}"/>
              </a:ext>
            </a:extLst>
          </p:cNvPr>
          <p:cNvSpPr>
            <a:spLocks noGrp="1"/>
          </p:cNvSpPr>
          <p:nvPr>
            <p:ph type="dt" sz="half" idx="10"/>
          </p:nvPr>
        </p:nvSpPr>
        <p:spPr/>
        <p:txBody>
          <a:bodyPr/>
          <a:lstStyle/>
          <a:p>
            <a:fld id="{932DD1C2-B208-4562-B8B9-3E9E71B15AEB}" type="datetime1">
              <a:rPr lang="en-US" smtClean="0"/>
              <a:t>4/23/2023</a:t>
            </a:fld>
            <a:endParaRPr lang="en-US" dirty="0"/>
          </a:p>
        </p:txBody>
      </p:sp>
      <p:sp>
        <p:nvSpPr>
          <p:cNvPr id="6" name="Footer Placeholder 5">
            <a:extLst>
              <a:ext uri="{FF2B5EF4-FFF2-40B4-BE49-F238E27FC236}">
                <a16:creationId xmlns:a16="http://schemas.microsoft.com/office/drawing/2014/main" id="{B061B294-4D04-E746-8221-395BE429F51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5E9DF78-5CB3-4849-B9FC-1F1763722B41}"/>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8" name="Rectangle 7" hidden="1">
            <a:extLst>
              <a:ext uri="{FF2B5EF4-FFF2-40B4-BE49-F238E27FC236}">
                <a16:creationId xmlns:a16="http://schemas.microsoft.com/office/drawing/2014/main" id="{6B12440B-82B8-49BB-A179-16B2998F8E4C}"/>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9">
            <a:extLst>
              <a:ext uri="{FF2B5EF4-FFF2-40B4-BE49-F238E27FC236}">
                <a16:creationId xmlns:a16="http://schemas.microsoft.com/office/drawing/2014/main" id="{315F1D87-7831-4D2D-9DA6-A760B546056E}"/>
              </a:ext>
            </a:extLst>
          </p:cNvPr>
          <p:cNvSpPr>
            <a:spLocks noGrp="1"/>
          </p:cNvSpPr>
          <p:nvPr>
            <p:ph type="body" sz="quarter" idx="13" hasCustomPrompt="1"/>
          </p:nvPr>
        </p:nvSpPr>
        <p:spPr>
          <a:xfrm>
            <a:off x="731600" y="864051"/>
            <a:ext cx="10735733" cy="621792"/>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10" name="Text Placeholder 5">
            <a:extLst>
              <a:ext uri="{FF2B5EF4-FFF2-40B4-BE49-F238E27FC236}">
                <a16:creationId xmlns:a16="http://schemas.microsoft.com/office/drawing/2014/main" id="{4ACB66DD-01F4-4483-964A-54D437BC7301}"/>
              </a:ext>
            </a:extLst>
          </p:cNvPr>
          <p:cNvSpPr>
            <a:spLocks noGrp="1"/>
          </p:cNvSpPr>
          <p:nvPr>
            <p:ph type="body" sz="quarter" idx="14" hasCustomPrompt="1"/>
          </p:nvPr>
        </p:nvSpPr>
        <p:spPr>
          <a:xfrm>
            <a:off x="723900" y="5872381"/>
            <a:ext cx="10748963" cy="338554"/>
          </a:xfrm>
          <a:solidFill>
            <a:schemeClr val="accent3"/>
          </a:solidFill>
          <a:ln>
            <a:noFill/>
          </a:ln>
        </p:spPr>
        <p:txBody>
          <a:bodyPr anchor="b">
            <a:spAutoFit/>
          </a:bodyPr>
          <a:lstStyle>
            <a:lvl1pPr marL="0" indent="0" algn="ctr">
              <a:buNone/>
              <a:defRPr sz="1600" b="1">
                <a:solidFill>
                  <a:schemeClr val="bg1"/>
                </a:solidFill>
              </a:defRPr>
            </a:lvl1pPr>
          </a:lstStyle>
          <a:p>
            <a:pPr lvl="0"/>
            <a:r>
              <a:rPr lang="en-US" dirty="0"/>
              <a:t>Click to add brief takeaway comment </a:t>
            </a:r>
          </a:p>
        </p:txBody>
      </p:sp>
      <p:sp>
        <p:nvSpPr>
          <p:cNvPr id="11" name="Text Placeholder 9">
            <a:extLst>
              <a:ext uri="{FF2B5EF4-FFF2-40B4-BE49-F238E27FC236}">
                <a16:creationId xmlns:a16="http://schemas.microsoft.com/office/drawing/2014/main" id="{EBC4CDB1-2973-4634-9CBF-FD6988734697}"/>
              </a:ext>
            </a:extLst>
          </p:cNvPr>
          <p:cNvSpPr>
            <a:spLocks noGrp="1"/>
          </p:cNvSpPr>
          <p:nvPr>
            <p:ph type="body" sz="quarter" idx="16"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3159642828"/>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Comment, &amp; 4-blocker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B1B1A-193A-1F40-B2AB-0A9D2F74DF8D}"/>
              </a:ext>
            </a:extLst>
          </p:cNvPr>
          <p:cNvSpPr>
            <a:spLocks noGrp="1"/>
          </p:cNvSpPr>
          <p:nvPr>
            <p:ph type="title"/>
          </p:nvPr>
        </p:nvSpPr>
        <p:spPr/>
        <p:txBody>
          <a:bodyPr/>
          <a:lstStyle/>
          <a:p>
            <a:r>
              <a:rPr lang="en-US" smtClean="0"/>
              <a:t>Click to edit Master title style</a:t>
            </a:r>
            <a:endParaRPr lang="en-US" dirty="0"/>
          </a:p>
        </p:txBody>
      </p:sp>
      <p:sp>
        <p:nvSpPr>
          <p:cNvPr id="3" name="Content Placeholder 2">
            <a:extLst>
              <a:ext uri="{FF2B5EF4-FFF2-40B4-BE49-F238E27FC236}">
                <a16:creationId xmlns:a16="http://schemas.microsoft.com/office/drawing/2014/main" id="{0E4FCD71-99E5-D846-AD43-7B056FE628C6}"/>
              </a:ext>
            </a:extLst>
          </p:cNvPr>
          <p:cNvSpPr>
            <a:spLocks noGrp="1"/>
          </p:cNvSpPr>
          <p:nvPr>
            <p:ph sz="half" idx="1"/>
          </p:nvPr>
        </p:nvSpPr>
        <p:spPr>
          <a:xfrm>
            <a:off x="726570" y="1602222"/>
            <a:ext cx="5281633" cy="19933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a:extLst>
              <a:ext uri="{FF2B5EF4-FFF2-40B4-BE49-F238E27FC236}">
                <a16:creationId xmlns:a16="http://schemas.microsoft.com/office/drawing/2014/main" id="{8A06A599-343C-AF48-9F5E-ED2800F22C6D}"/>
              </a:ext>
            </a:extLst>
          </p:cNvPr>
          <p:cNvSpPr>
            <a:spLocks noGrp="1"/>
          </p:cNvSpPr>
          <p:nvPr>
            <p:ph sz="half" idx="2"/>
          </p:nvPr>
        </p:nvSpPr>
        <p:spPr>
          <a:xfrm>
            <a:off x="6191230" y="1602222"/>
            <a:ext cx="5281633" cy="19933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a:extLst>
              <a:ext uri="{FF2B5EF4-FFF2-40B4-BE49-F238E27FC236}">
                <a16:creationId xmlns:a16="http://schemas.microsoft.com/office/drawing/2014/main" id="{74FA09E3-6341-2840-B4B2-446CB6BCD3DE}"/>
              </a:ext>
            </a:extLst>
          </p:cNvPr>
          <p:cNvSpPr>
            <a:spLocks noGrp="1"/>
          </p:cNvSpPr>
          <p:nvPr>
            <p:ph type="dt" sz="half" idx="10"/>
          </p:nvPr>
        </p:nvSpPr>
        <p:spPr/>
        <p:txBody>
          <a:bodyPr/>
          <a:lstStyle/>
          <a:p>
            <a:fld id="{932DD1C2-B208-4562-B8B9-3E9E71B15AEB}" type="datetime1">
              <a:rPr lang="en-US" smtClean="0"/>
              <a:t>4/23/2023</a:t>
            </a:fld>
            <a:endParaRPr lang="en-US" dirty="0"/>
          </a:p>
        </p:txBody>
      </p:sp>
      <p:sp>
        <p:nvSpPr>
          <p:cNvPr id="6" name="Footer Placeholder 5">
            <a:extLst>
              <a:ext uri="{FF2B5EF4-FFF2-40B4-BE49-F238E27FC236}">
                <a16:creationId xmlns:a16="http://schemas.microsoft.com/office/drawing/2014/main" id="{B061B294-4D04-E746-8221-395BE429F51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5E9DF78-5CB3-4849-B9FC-1F1763722B41}"/>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8" name="Rectangle 7" hidden="1">
            <a:extLst>
              <a:ext uri="{FF2B5EF4-FFF2-40B4-BE49-F238E27FC236}">
                <a16:creationId xmlns:a16="http://schemas.microsoft.com/office/drawing/2014/main" id="{6B12440B-82B8-49BB-A179-16B2998F8E4C}"/>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9">
            <a:extLst>
              <a:ext uri="{FF2B5EF4-FFF2-40B4-BE49-F238E27FC236}">
                <a16:creationId xmlns:a16="http://schemas.microsoft.com/office/drawing/2014/main" id="{315F1D87-7831-4D2D-9DA6-A760B546056E}"/>
              </a:ext>
            </a:extLst>
          </p:cNvPr>
          <p:cNvSpPr>
            <a:spLocks noGrp="1"/>
          </p:cNvSpPr>
          <p:nvPr>
            <p:ph type="body" sz="quarter" idx="13" hasCustomPrompt="1"/>
          </p:nvPr>
        </p:nvSpPr>
        <p:spPr>
          <a:xfrm>
            <a:off x="731600" y="864051"/>
            <a:ext cx="10735733" cy="621792"/>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10" name="Text Placeholder 5">
            <a:extLst>
              <a:ext uri="{FF2B5EF4-FFF2-40B4-BE49-F238E27FC236}">
                <a16:creationId xmlns:a16="http://schemas.microsoft.com/office/drawing/2014/main" id="{4ACB66DD-01F4-4483-964A-54D437BC7301}"/>
              </a:ext>
            </a:extLst>
          </p:cNvPr>
          <p:cNvSpPr>
            <a:spLocks noGrp="1"/>
          </p:cNvSpPr>
          <p:nvPr>
            <p:ph type="body" sz="quarter" idx="14" hasCustomPrompt="1"/>
          </p:nvPr>
        </p:nvSpPr>
        <p:spPr>
          <a:xfrm>
            <a:off x="723900" y="5872381"/>
            <a:ext cx="10748963" cy="338554"/>
          </a:xfrm>
          <a:solidFill>
            <a:schemeClr val="accent3"/>
          </a:solidFill>
          <a:ln>
            <a:noFill/>
          </a:ln>
        </p:spPr>
        <p:txBody>
          <a:bodyPr anchor="b">
            <a:spAutoFit/>
          </a:bodyPr>
          <a:lstStyle>
            <a:lvl1pPr marL="0" indent="0" algn="ctr">
              <a:buNone/>
              <a:defRPr sz="1600" b="1">
                <a:solidFill>
                  <a:schemeClr val="bg1"/>
                </a:solidFill>
              </a:defRPr>
            </a:lvl1pPr>
          </a:lstStyle>
          <a:p>
            <a:pPr lvl="0"/>
            <a:r>
              <a:rPr lang="en-US" dirty="0"/>
              <a:t>Click to add brief takeaway comment </a:t>
            </a:r>
          </a:p>
        </p:txBody>
      </p:sp>
      <p:sp>
        <p:nvSpPr>
          <p:cNvPr id="11" name="Text Placeholder 9">
            <a:extLst>
              <a:ext uri="{FF2B5EF4-FFF2-40B4-BE49-F238E27FC236}">
                <a16:creationId xmlns:a16="http://schemas.microsoft.com/office/drawing/2014/main" id="{EBC4CDB1-2973-4634-9CBF-FD6988734697}"/>
              </a:ext>
            </a:extLst>
          </p:cNvPr>
          <p:cNvSpPr>
            <a:spLocks noGrp="1"/>
          </p:cNvSpPr>
          <p:nvPr>
            <p:ph type="body" sz="quarter" idx="16"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
        <p:nvSpPr>
          <p:cNvPr id="13" name="Content Placeholder 12">
            <a:extLst>
              <a:ext uri="{FF2B5EF4-FFF2-40B4-BE49-F238E27FC236}">
                <a16:creationId xmlns:a16="http://schemas.microsoft.com/office/drawing/2014/main" id="{634ADE0D-AE89-42D5-ADDD-0A828DF2787E}"/>
              </a:ext>
            </a:extLst>
          </p:cNvPr>
          <p:cNvSpPr>
            <a:spLocks noGrp="1"/>
          </p:cNvSpPr>
          <p:nvPr>
            <p:ph sz="quarter" idx="17"/>
          </p:nvPr>
        </p:nvSpPr>
        <p:spPr>
          <a:xfrm>
            <a:off x="723900" y="3762202"/>
            <a:ext cx="5281613" cy="19933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14">
            <a:extLst>
              <a:ext uri="{FF2B5EF4-FFF2-40B4-BE49-F238E27FC236}">
                <a16:creationId xmlns:a16="http://schemas.microsoft.com/office/drawing/2014/main" id="{ADF0BFA2-9BEC-47F4-B97D-B271D223D004}"/>
              </a:ext>
            </a:extLst>
          </p:cNvPr>
          <p:cNvSpPr>
            <a:spLocks noGrp="1"/>
          </p:cNvSpPr>
          <p:nvPr>
            <p:ph sz="quarter" idx="18"/>
          </p:nvPr>
        </p:nvSpPr>
        <p:spPr>
          <a:xfrm>
            <a:off x="6191250" y="3759028"/>
            <a:ext cx="5276850" cy="199339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0522948"/>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Comment, &amp; 4-blocker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B1B1A-193A-1F40-B2AB-0A9D2F74DF8D}"/>
              </a:ext>
            </a:extLst>
          </p:cNvPr>
          <p:cNvSpPr>
            <a:spLocks noGrp="1"/>
          </p:cNvSpPr>
          <p:nvPr>
            <p:ph type="title"/>
          </p:nvPr>
        </p:nvSpPr>
        <p:spPr/>
        <p:txBody>
          <a:bodyPr/>
          <a:lstStyle/>
          <a:p>
            <a:r>
              <a:rPr lang="en-US" smtClean="0"/>
              <a:t>Click to edit Master title style</a:t>
            </a:r>
            <a:endParaRPr lang="en-US" dirty="0"/>
          </a:p>
        </p:txBody>
      </p:sp>
      <p:sp>
        <p:nvSpPr>
          <p:cNvPr id="3" name="Content Placeholder 2">
            <a:extLst>
              <a:ext uri="{FF2B5EF4-FFF2-40B4-BE49-F238E27FC236}">
                <a16:creationId xmlns:a16="http://schemas.microsoft.com/office/drawing/2014/main" id="{0E4FCD71-99E5-D846-AD43-7B056FE628C6}"/>
              </a:ext>
            </a:extLst>
          </p:cNvPr>
          <p:cNvSpPr>
            <a:spLocks noGrp="1"/>
          </p:cNvSpPr>
          <p:nvPr>
            <p:ph sz="half" idx="1"/>
          </p:nvPr>
        </p:nvSpPr>
        <p:spPr>
          <a:xfrm>
            <a:off x="726570" y="851049"/>
            <a:ext cx="5281633" cy="257860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a:extLst>
              <a:ext uri="{FF2B5EF4-FFF2-40B4-BE49-F238E27FC236}">
                <a16:creationId xmlns:a16="http://schemas.microsoft.com/office/drawing/2014/main" id="{8A06A599-343C-AF48-9F5E-ED2800F22C6D}"/>
              </a:ext>
            </a:extLst>
          </p:cNvPr>
          <p:cNvSpPr>
            <a:spLocks noGrp="1"/>
          </p:cNvSpPr>
          <p:nvPr>
            <p:ph sz="half" idx="2"/>
          </p:nvPr>
        </p:nvSpPr>
        <p:spPr>
          <a:xfrm>
            <a:off x="6191230" y="851049"/>
            <a:ext cx="5281633" cy="257860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a:extLst>
              <a:ext uri="{FF2B5EF4-FFF2-40B4-BE49-F238E27FC236}">
                <a16:creationId xmlns:a16="http://schemas.microsoft.com/office/drawing/2014/main" id="{74FA09E3-6341-2840-B4B2-446CB6BCD3DE}"/>
              </a:ext>
            </a:extLst>
          </p:cNvPr>
          <p:cNvSpPr>
            <a:spLocks noGrp="1"/>
          </p:cNvSpPr>
          <p:nvPr>
            <p:ph type="dt" sz="half" idx="10"/>
          </p:nvPr>
        </p:nvSpPr>
        <p:spPr/>
        <p:txBody>
          <a:bodyPr/>
          <a:lstStyle/>
          <a:p>
            <a:fld id="{932DD1C2-B208-4562-B8B9-3E9E71B15AEB}" type="datetime1">
              <a:rPr lang="en-US" smtClean="0"/>
              <a:t>4/23/2023</a:t>
            </a:fld>
            <a:endParaRPr lang="en-US" dirty="0"/>
          </a:p>
        </p:txBody>
      </p:sp>
      <p:sp>
        <p:nvSpPr>
          <p:cNvPr id="6" name="Footer Placeholder 5">
            <a:extLst>
              <a:ext uri="{FF2B5EF4-FFF2-40B4-BE49-F238E27FC236}">
                <a16:creationId xmlns:a16="http://schemas.microsoft.com/office/drawing/2014/main" id="{B061B294-4D04-E746-8221-395BE429F51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5E9DF78-5CB3-4849-B9FC-1F1763722B41}"/>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8" name="Rectangle 7" hidden="1">
            <a:extLst>
              <a:ext uri="{FF2B5EF4-FFF2-40B4-BE49-F238E27FC236}">
                <a16:creationId xmlns:a16="http://schemas.microsoft.com/office/drawing/2014/main" id="{6B12440B-82B8-49BB-A179-16B2998F8E4C}"/>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9">
            <a:extLst>
              <a:ext uri="{FF2B5EF4-FFF2-40B4-BE49-F238E27FC236}">
                <a16:creationId xmlns:a16="http://schemas.microsoft.com/office/drawing/2014/main" id="{EBC4CDB1-2973-4634-9CBF-FD6988734697}"/>
              </a:ext>
            </a:extLst>
          </p:cNvPr>
          <p:cNvSpPr>
            <a:spLocks noGrp="1"/>
          </p:cNvSpPr>
          <p:nvPr>
            <p:ph type="body" sz="quarter" idx="16"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
        <p:nvSpPr>
          <p:cNvPr id="13" name="Content Placeholder 12">
            <a:extLst>
              <a:ext uri="{FF2B5EF4-FFF2-40B4-BE49-F238E27FC236}">
                <a16:creationId xmlns:a16="http://schemas.microsoft.com/office/drawing/2014/main" id="{634ADE0D-AE89-42D5-ADDD-0A828DF2787E}"/>
              </a:ext>
            </a:extLst>
          </p:cNvPr>
          <p:cNvSpPr>
            <a:spLocks noGrp="1"/>
          </p:cNvSpPr>
          <p:nvPr>
            <p:ph sz="quarter" idx="17"/>
          </p:nvPr>
        </p:nvSpPr>
        <p:spPr>
          <a:xfrm>
            <a:off x="723900" y="3638865"/>
            <a:ext cx="5281613" cy="257860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Content Placeholder 14">
            <a:extLst>
              <a:ext uri="{FF2B5EF4-FFF2-40B4-BE49-F238E27FC236}">
                <a16:creationId xmlns:a16="http://schemas.microsoft.com/office/drawing/2014/main" id="{ADF0BFA2-9BEC-47F4-B97D-B271D223D004}"/>
              </a:ext>
            </a:extLst>
          </p:cNvPr>
          <p:cNvSpPr>
            <a:spLocks noGrp="1"/>
          </p:cNvSpPr>
          <p:nvPr>
            <p:ph sz="quarter" idx="18"/>
          </p:nvPr>
        </p:nvSpPr>
        <p:spPr>
          <a:xfrm>
            <a:off x="6191250" y="3638581"/>
            <a:ext cx="5276850" cy="257860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824470"/>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ain Point / Quot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6453C17-7258-4AD7-9BE0-96A1045478F3}"/>
              </a:ext>
            </a:extLst>
          </p:cNvPr>
          <p:cNvSpPr>
            <a:spLocks noGrp="1"/>
          </p:cNvSpPr>
          <p:nvPr>
            <p:ph type="dt" sz="half" idx="10"/>
          </p:nvPr>
        </p:nvSpPr>
        <p:spPr/>
        <p:txBody>
          <a:bodyPr/>
          <a:lstStyle/>
          <a:p>
            <a:fld id="{CF1D6321-93FB-4F05-956E-95304BDC80A3}" type="datetime1">
              <a:rPr lang="en-US" smtClean="0"/>
              <a:t>4/23/2023</a:t>
            </a:fld>
            <a:endParaRPr lang="en-US" dirty="0"/>
          </a:p>
        </p:txBody>
      </p:sp>
      <p:sp>
        <p:nvSpPr>
          <p:cNvPr id="4" name="Footer Placeholder 3">
            <a:extLst>
              <a:ext uri="{FF2B5EF4-FFF2-40B4-BE49-F238E27FC236}">
                <a16:creationId xmlns:a16="http://schemas.microsoft.com/office/drawing/2014/main" id="{424D930B-8A9B-465E-92CD-75EB247A0B7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0157046-792A-4788-B5CA-E9C55F23CA39}"/>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7" name="Text Placeholder 6">
            <a:extLst>
              <a:ext uri="{FF2B5EF4-FFF2-40B4-BE49-F238E27FC236}">
                <a16:creationId xmlns:a16="http://schemas.microsoft.com/office/drawing/2014/main" id="{3133373C-0DC7-4594-8F56-DA0E5C7B4D20}"/>
              </a:ext>
            </a:extLst>
          </p:cNvPr>
          <p:cNvSpPr>
            <a:spLocks noGrp="1"/>
          </p:cNvSpPr>
          <p:nvPr>
            <p:ph type="body" sz="quarter" idx="13" hasCustomPrompt="1"/>
          </p:nvPr>
        </p:nvSpPr>
        <p:spPr>
          <a:xfrm>
            <a:off x="723899" y="2025017"/>
            <a:ext cx="10744200" cy="2807966"/>
          </a:xfrm>
          <a:solidFill>
            <a:schemeClr val="accent1"/>
          </a:solidFill>
        </p:spPr>
        <p:txBody>
          <a:bodyPr anchor="ctr">
            <a:normAutofit/>
          </a:bodyPr>
          <a:lstStyle>
            <a:lvl1pPr marL="0" indent="0" algn="ctr">
              <a:buNone/>
              <a:defRPr sz="3600" b="1">
                <a:solidFill>
                  <a:schemeClr val="bg1"/>
                </a:solidFill>
                <a:latin typeface="+mj-lt"/>
              </a:defRPr>
            </a:lvl1pPr>
            <a:lvl2pPr algn="ctr">
              <a:defRPr/>
            </a:lvl2pPr>
            <a:lvl3pPr algn="ctr">
              <a:defRPr/>
            </a:lvl3pPr>
            <a:lvl4pPr algn="ctr">
              <a:defRPr/>
            </a:lvl4pPr>
            <a:lvl5pPr algn="ctr">
              <a:defRPr/>
            </a:lvl5pPr>
          </a:lstStyle>
          <a:p>
            <a:pPr lvl="0"/>
            <a:r>
              <a:rPr lang="en-US" dirty="0"/>
              <a:t>Add takeaway / quote / statement / stat and change color of textbox as needed </a:t>
            </a:r>
          </a:p>
        </p:txBody>
      </p:sp>
      <p:sp>
        <p:nvSpPr>
          <p:cNvPr id="10" name="Rectangle 9" hidden="1">
            <a:extLst>
              <a:ext uri="{FF2B5EF4-FFF2-40B4-BE49-F238E27FC236}">
                <a16:creationId xmlns:a16="http://schemas.microsoft.com/office/drawing/2014/main" id="{DFFA4450-53A1-4811-94EB-744A6A99036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99851315"/>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BFF83D-86B2-B744-9C83-3DB29D769510}"/>
              </a:ext>
            </a:extLst>
          </p:cNvPr>
          <p:cNvSpPr>
            <a:spLocks noGrp="1"/>
          </p:cNvSpPr>
          <p:nvPr>
            <p:ph idx="1"/>
          </p:nvPr>
        </p:nvSpPr>
        <p:spPr>
          <a:xfrm>
            <a:off x="726569" y="855407"/>
            <a:ext cx="7661771" cy="5350686"/>
          </a:xfrm>
        </p:spPr>
        <p:txBody>
          <a:bodyPr/>
          <a:lstStyle>
            <a:lvl1pPr>
              <a:defRPr sz="2000"/>
            </a:lvl1pPr>
            <a:lvl2pPr>
              <a:defRPr sz="1800"/>
            </a:lvl2pPr>
            <a:lvl3pPr>
              <a:defRPr sz="1800"/>
            </a:lvl3pPr>
            <a:lvl4pPr>
              <a:defRPr sz="1600"/>
            </a:lvl4pPr>
            <a:lvl5pPr>
              <a:defRPr sz="1600"/>
            </a:lvl5pPr>
            <a:lvl6pPr>
              <a:defRPr sz="2857"/>
            </a:lvl6pPr>
            <a:lvl7pPr>
              <a:defRPr sz="2857"/>
            </a:lvl7pPr>
            <a:lvl8pPr>
              <a:defRPr sz="2857"/>
            </a:lvl8pPr>
            <a:lvl9pPr>
              <a:defRPr sz="2857"/>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a:extLst>
              <a:ext uri="{FF2B5EF4-FFF2-40B4-BE49-F238E27FC236}">
                <a16:creationId xmlns:a16="http://schemas.microsoft.com/office/drawing/2014/main" id="{E8D613F3-BF58-724B-9FC3-AA157BAE9F36}"/>
              </a:ext>
            </a:extLst>
          </p:cNvPr>
          <p:cNvSpPr>
            <a:spLocks noGrp="1"/>
          </p:cNvSpPr>
          <p:nvPr>
            <p:ph type="body" sz="half" idx="2"/>
          </p:nvPr>
        </p:nvSpPr>
        <p:spPr>
          <a:xfrm>
            <a:off x="8487177" y="855662"/>
            <a:ext cx="2979397" cy="5362575"/>
          </a:xfrm>
          <a:solidFill>
            <a:schemeClr val="tx2"/>
          </a:solidFill>
        </p:spPr>
        <p:txBody>
          <a:bodyPr anchor="ctr">
            <a:normAutofit/>
          </a:bodyPr>
          <a:lstStyle>
            <a:lvl1pPr marL="0" indent="0" algn="ctr">
              <a:buNone/>
              <a:defRPr sz="1800" b="1">
                <a:solidFill>
                  <a:schemeClr val="bg1"/>
                </a:solidFill>
                <a:latin typeface="+mj-lt"/>
              </a:defRPr>
            </a:lvl1pPr>
            <a:lvl2pPr marL="653109" indent="0">
              <a:buNone/>
              <a:defRPr sz="2000"/>
            </a:lvl2pPr>
            <a:lvl3pPr marL="1306218" indent="0">
              <a:buNone/>
              <a:defRPr sz="1715"/>
            </a:lvl3pPr>
            <a:lvl4pPr marL="1959327" indent="0">
              <a:buNone/>
              <a:defRPr sz="1428"/>
            </a:lvl4pPr>
            <a:lvl5pPr marL="2612436" indent="0">
              <a:buNone/>
              <a:defRPr sz="1428"/>
            </a:lvl5pPr>
            <a:lvl6pPr marL="3265545" indent="0">
              <a:buNone/>
              <a:defRPr sz="1428"/>
            </a:lvl6pPr>
            <a:lvl7pPr marL="3918654" indent="0">
              <a:buNone/>
              <a:defRPr sz="1428"/>
            </a:lvl7pPr>
            <a:lvl8pPr marL="4571764" indent="0">
              <a:buNone/>
              <a:defRPr sz="1428"/>
            </a:lvl8pPr>
            <a:lvl9pPr marL="5224873" indent="0">
              <a:buNone/>
              <a:defRPr sz="1428"/>
            </a:lvl9pPr>
          </a:lstStyle>
          <a:p>
            <a:pPr lvl="0"/>
            <a:r>
              <a:rPr lang="en-US" smtClean="0"/>
              <a:t>Edit Master text styles</a:t>
            </a:r>
          </a:p>
        </p:txBody>
      </p:sp>
      <p:sp>
        <p:nvSpPr>
          <p:cNvPr id="5" name="Date Placeholder 4">
            <a:extLst>
              <a:ext uri="{FF2B5EF4-FFF2-40B4-BE49-F238E27FC236}">
                <a16:creationId xmlns:a16="http://schemas.microsoft.com/office/drawing/2014/main" id="{C33984B2-B9A6-BB42-BB99-BB239974F7EC}"/>
              </a:ext>
            </a:extLst>
          </p:cNvPr>
          <p:cNvSpPr>
            <a:spLocks noGrp="1"/>
          </p:cNvSpPr>
          <p:nvPr>
            <p:ph type="dt" sz="half" idx="10"/>
          </p:nvPr>
        </p:nvSpPr>
        <p:spPr/>
        <p:txBody>
          <a:bodyPr/>
          <a:lstStyle/>
          <a:p>
            <a:fld id="{DAF5B2D5-28BB-4232-A525-B24A04EE71CB}" type="datetime1">
              <a:rPr lang="en-US" smtClean="0"/>
              <a:t>4/23/2023</a:t>
            </a:fld>
            <a:endParaRPr lang="en-US" dirty="0"/>
          </a:p>
        </p:txBody>
      </p:sp>
      <p:sp>
        <p:nvSpPr>
          <p:cNvPr id="6" name="Footer Placeholder 5">
            <a:extLst>
              <a:ext uri="{FF2B5EF4-FFF2-40B4-BE49-F238E27FC236}">
                <a16:creationId xmlns:a16="http://schemas.microsoft.com/office/drawing/2014/main" id="{5B5E69B3-56DA-944E-9F0B-8E52A16DF7B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ACDF43D-6601-6248-AA5E-FC6E72A5A8F2}"/>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8" name="Title 7">
            <a:extLst>
              <a:ext uri="{FF2B5EF4-FFF2-40B4-BE49-F238E27FC236}">
                <a16:creationId xmlns:a16="http://schemas.microsoft.com/office/drawing/2014/main" id="{11367FFD-A968-49DF-AC50-8C55CD8A0C90}"/>
              </a:ext>
            </a:extLst>
          </p:cNvPr>
          <p:cNvSpPr>
            <a:spLocks noGrp="1"/>
          </p:cNvSpPr>
          <p:nvPr>
            <p:ph type="title"/>
          </p:nvPr>
        </p:nvSpPr>
        <p:spPr/>
        <p:txBody>
          <a:bodyPr/>
          <a:lstStyle/>
          <a:p>
            <a:r>
              <a:rPr lang="en-US" smtClean="0"/>
              <a:t>Click to edit Master title style</a:t>
            </a:r>
            <a:endParaRPr lang="en-US"/>
          </a:p>
        </p:txBody>
      </p:sp>
      <p:sp>
        <p:nvSpPr>
          <p:cNvPr id="9" name="Rectangle 8" hidden="1">
            <a:extLst>
              <a:ext uri="{FF2B5EF4-FFF2-40B4-BE49-F238E27FC236}">
                <a16:creationId xmlns:a16="http://schemas.microsoft.com/office/drawing/2014/main" id="{82F75050-2159-4314-A8A6-F31BFBC46EA2}"/>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6925169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586A1E-9049-0F43-BE0A-906179F5CE15}"/>
              </a:ext>
            </a:extLst>
          </p:cNvPr>
          <p:cNvSpPr>
            <a:spLocks noGrp="1"/>
          </p:cNvSpPr>
          <p:nvPr>
            <p:ph type="dt" sz="half" idx="10"/>
          </p:nvPr>
        </p:nvSpPr>
        <p:spPr/>
        <p:txBody>
          <a:bodyPr/>
          <a:lstStyle/>
          <a:p>
            <a:fld id="{708111A3-0FE3-4FBC-BE91-E192DED52CB4}" type="datetime1">
              <a:rPr lang="en-US" smtClean="0"/>
              <a:t>4/23/2023</a:t>
            </a:fld>
            <a:endParaRPr lang="en-US" dirty="0"/>
          </a:p>
        </p:txBody>
      </p:sp>
      <p:sp>
        <p:nvSpPr>
          <p:cNvPr id="3" name="Footer Placeholder 2">
            <a:extLst>
              <a:ext uri="{FF2B5EF4-FFF2-40B4-BE49-F238E27FC236}">
                <a16:creationId xmlns:a16="http://schemas.microsoft.com/office/drawing/2014/main" id="{1434A5AD-F092-F342-A9CB-26ADA6CAC85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4DCB0A3B-B17C-C643-8EA2-B56455436C8C}"/>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7" name="Rectangle 6" hidden="1">
            <a:extLst>
              <a:ext uri="{FF2B5EF4-FFF2-40B4-BE49-F238E27FC236}">
                <a16:creationId xmlns:a16="http://schemas.microsoft.com/office/drawing/2014/main" id="{BDB5A986-3CC4-4068-9673-999468AFDB9F}"/>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7412994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B41EC-0138-4DE4-AE99-9A5220A5A794}"/>
              </a:ext>
            </a:extLst>
          </p:cNvPr>
          <p:cNvSpPr>
            <a:spLocks noGrp="1"/>
          </p:cNvSpPr>
          <p:nvPr>
            <p:ph type="title"/>
          </p:nvPr>
        </p:nvSpPr>
        <p:spPr/>
        <p:txBody>
          <a:bodyPr/>
          <a:lstStyle/>
          <a:p>
            <a:r>
              <a:rPr lang="en-US" smtClean="0"/>
              <a:t>Click to edit Master title style</a:t>
            </a:r>
            <a:endParaRPr lang="en-US"/>
          </a:p>
        </p:txBody>
      </p:sp>
      <p:sp>
        <p:nvSpPr>
          <p:cNvPr id="7" name="Picture Placeholder 6">
            <a:extLst>
              <a:ext uri="{FF2B5EF4-FFF2-40B4-BE49-F238E27FC236}">
                <a16:creationId xmlns:a16="http://schemas.microsoft.com/office/drawing/2014/main" id="{02091DE6-9757-4FF4-B09E-C0013B9D7A91}"/>
              </a:ext>
            </a:extLst>
          </p:cNvPr>
          <p:cNvSpPr>
            <a:spLocks noGrp="1"/>
          </p:cNvSpPr>
          <p:nvPr>
            <p:ph type="pic" sz="quarter" idx="13" hasCustomPrompt="1"/>
          </p:nvPr>
        </p:nvSpPr>
        <p:spPr>
          <a:xfrm>
            <a:off x="736603" y="1193105"/>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4" name="Picture Placeholder 13">
            <a:extLst>
              <a:ext uri="{FF2B5EF4-FFF2-40B4-BE49-F238E27FC236}">
                <a16:creationId xmlns:a16="http://schemas.microsoft.com/office/drawing/2014/main" id="{B7AD1791-C116-44D1-8342-307A77972B2F}"/>
              </a:ext>
            </a:extLst>
          </p:cNvPr>
          <p:cNvSpPr>
            <a:spLocks noGrp="1"/>
          </p:cNvSpPr>
          <p:nvPr>
            <p:ph type="pic" sz="quarter" idx="14" hasCustomPrompt="1"/>
          </p:nvPr>
        </p:nvSpPr>
        <p:spPr>
          <a:xfrm>
            <a:off x="735757" y="2436317"/>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6" name="Picture Placeholder 15">
            <a:extLst>
              <a:ext uri="{FF2B5EF4-FFF2-40B4-BE49-F238E27FC236}">
                <a16:creationId xmlns:a16="http://schemas.microsoft.com/office/drawing/2014/main" id="{A624C46F-9E17-4F79-AA19-1EEFE78D3ED6}"/>
              </a:ext>
            </a:extLst>
          </p:cNvPr>
          <p:cNvSpPr>
            <a:spLocks noGrp="1"/>
          </p:cNvSpPr>
          <p:nvPr>
            <p:ph type="pic" sz="quarter" idx="15" hasCustomPrompt="1"/>
          </p:nvPr>
        </p:nvSpPr>
        <p:spPr>
          <a:xfrm>
            <a:off x="735757" y="3683793"/>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8" name="Picture Placeholder 17">
            <a:extLst>
              <a:ext uri="{FF2B5EF4-FFF2-40B4-BE49-F238E27FC236}">
                <a16:creationId xmlns:a16="http://schemas.microsoft.com/office/drawing/2014/main" id="{E6F49704-7B4C-435B-B0A9-B43AD0E00B70}"/>
              </a:ext>
            </a:extLst>
          </p:cNvPr>
          <p:cNvSpPr>
            <a:spLocks noGrp="1"/>
          </p:cNvSpPr>
          <p:nvPr>
            <p:ph type="pic" sz="quarter" idx="16" hasCustomPrompt="1"/>
          </p:nvPr>
        </p:nvSpPr>
        <p:spPr>
          <a:xfrm>
            <a:off x="735757" y="4931269"/>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20" name="Text Placeholder 19">
            <a:extLst>
              <a:ext uri="{FF2B5EF4-FFF2-40B4-BE49-F238E27FC236}">
                <a16:creationId xmlns:a16="http://schemas.microsoft.com/office/drawing/2014/main" id="{048EBB51-3DD1-43E0-85E4-BBAF9815846F}"/>
              </a:ext>
            </a:extLst>
          </p:cNvPr>
          <p:cNvSpPr>
            <a:spLocks noGrp="1"/>
          </p:cNvSpPr>
          <p:nvPr>
            <p:ph type="body" sz="quarter" idx="17" hasCustomPrompt="1"/>
          </p:nvPr>
        </p:nvSpPr>
        <p:spPr>
          <a:xfrm>
            <a:off x="1784988" y="1453659"/>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2" name="Text Placeholder 21">
            <a:extLst>
              <a:ext uri="{FF2B5EF4-FFF2-40B4-BE49-F238E27FC236}">
                <a16:creationId xmlns:a16="http://schemas.microsoft.com/office/drawing/2014/main" id="{B652FA6D-B8C8-4A78-82B7-708F6D21C27B}"/>
              </a:ext>
            </a:extLst>
          </p:cNvPr>
          <p:cNvSpPr>
            <a:spLocks noGrp="1"/>
          </p:cNvSpPr>
          <p:nvPr>
            <p:ph type="body" sz="quarter" idx="18" hasCustomPrompt="1"/>
          </p:nvPr>
        </p:nvSpPr>
        <p:spPr>
          <a:xfrm>
            <a:off x="1784989" y="2696871"/>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4" name="Text Placeholder 23">
            <a:extLst>
              <a:ext uri="{FF2B5EF4-FFF2-40B4-BE49-F238E27FC236}">
                <a16:creationId xmlns:a16="http://schemas.microsoft.com/office/drawing/2014/main" id="{EA753D7B-98DC-479D-9880-76B797956B40}"/>
              </a:ext>
            </a:extLst>
          </p:cNvPr>
          <p:cNvSpPr>
            <a:spLocks noGrp="1"/>
          </p:cNvSpPr>
          <p:nvPr>
            <p:ph type="body" sz="quarter" idx="19" hasCustomPrompt="1"/>
          </p:nvPr>
        </p:nvSpPr>
        <p:spPr>
          <a:xfrm>
            <a:off x="1784989" y="3944347"/>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6" name="Text Placeholder 25">
            <a:extLst>
              <a:ext uri="{FF2B5EF4-FFF2-40B4-BE49-F238E27FC236}">
                <a16:creationId xmlns:a16="http://schemas.microsoft.com/office/drawing/2014/main" id="{BE1FCCB2-14A7-45A9-B19B-0EA3718AF12A}"/>
              </a:ext>
            </a:extLst>
          </p:cNvPr>
          <p:cNvSpPr>
            <a:spLocks noGrp="1"/>
          </p:cNvSpPr>
          <p:nvPr>
            <p:ph type="body" sz="quarter" idx="20" hasCustomPrompt="1"/>
          </p:nvPr>
        </p:nvSpPr>
        <p:spPr>
          <a:xfrm>
            <a:off x="1784989" y="5191823"/>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8" name="Picture Placeholder 27">
            <a:extLst>
              <a:ext uri="{FF2B5EF4-FFF2-40B4-BE49-F238E27FC236}">
                <a16:creationId xmlns:a16="http://schemas.microsoft.com/office/drawing/2014/main" id="{0A7B97EF-654A-4399-922B-00908C0B894F}"/>
              </a:ext>
            </a:extLst>
          </p:cNvPr>
          <p:cNvSpPr>
            <a:spLocks noGrp="1"/>
          </p:cNvSpPr>
          <p:nvPr>
            <p:ph type="pic" sz="quarter" idx="21" hasCustomPrompt="1"/>
          </p:nvPr>
        </p:nvSpPr>
        <p:spPr>
          <a:xfrm>
            <a:off x="6281696" y="1193105"/>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0" name="Picture Placeholder 29">
            <a:extLst>
              <a:ext uri="{FF2B5EF4-FFF2-40B4-BE49-F238E27FC236}">
                <a16:creationId xmlns:a16="http://schemas.microsoft.com/office/drawing/2014/main" id="{04370EF0-E179-46C9-9E26-7F3862BC11C7}"/>
              </a:ext>
            </a:extLst>
          </p:cNvPr>
          <p:cNvSpPr>
            <a:spLocks noGrp="1"/>
          </p:cNvSpPr>
          <p:nvPr>
            <p:ph type="pic" sz="quarter" idx="22" hasCustomPrompt="1"/>
          </p:nvPr>
        </p:nvSpPr>
        <p:spPr>
          <a:xfrm>
            <a:off x="6281696" y="2436317"/>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2" name="Picture Placeholder 31">
            <a:extLst>
              <a:ext uri="{FF2B5EF4-FFF2-40B4-BE49-F238E27FC236}">
                <a16:creationId xmlns:a16="http://schemas.microsoft.com/office/drawing/2014/main" id="{B22EA77D-2B89-48F1-809A-21A7443F39CB}"/>
              </a:ext>
            </a:extLst>
          </p:cNvPr>
          <p:cNvSpPr>
            <a:spLocks noGrp="1"/>
          </p:cNvSpPr>
          <p:nvPr>
            <p:ph type="pic" sz="quarter" idx="23" hasCustomPrompt="1"/>
          </p:nvPr>
        </p:nvSpPr>
        <p:spPr>
          <a:xfrm>
            <a:off x="6281696" y="3688670"/>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4" name="Picture Placeholder 33">
            <a:extLst>
              <a:ext uri="{FF2B5EF4-FFF2-40B4-BE49-F238E27FC236}">
                <a16:creationId xmlns:a16="http://schemas.microsoft.com/office/drawing/2014/main" id="{90B09503-3FEF-4CCF-9778-B379C442CEA3}"/>
              </a:ext>
            </a:extLst>
          </p:cNvPr>
          <p:cNvSpPr>
            <a:spLocks noGrp="1"/>
          </p:cNvSpPr>
          <p:nvPr>
            <p:ph type="pic" sz="quarter" idx="24" hasCustomPrompt="1"/>
          </p:nvPr>
        </p:nvSpPr>
        <p:spPr>
          <a:xfrm>
            <a:off x="6281696" y="4931271"/>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6" name="Text Placeholder 35">
            <a:extLst>
              <a:ext uri="{FF2B5EF4-FFF2-40B4-BE49-F238E27FC236}">
                <a16:creationId xmlns:a16="http://schemas.microsoft.com/office/drawing/2014/main" id="{E4204AE6-3065-4932-9FF7-460921375E64}"/>
              </a:ext>
            </a:extLst>
          </p:cNvPr>
          <p:cNvSpPr>
            <a:spLocks noGrp="1"/>
          </p:cNvSpPr>
          <p:nvPr>
            <p:ph type="body" sz="quarter" idx="25" hasCustomPrompt="1"/>
          </p:nvPr>
        </p:nvSpPr>
        <p:spPr>
          <a:xfrm>
            <a:off x="7360901" y="1453659"/>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38" name="Text Placeholder 37">
            <a:extLst>
              <a:ext uri="{FF2B5EF4-FFF2-40B4-BE49-F238E27FC236}">
                <a16:creationId xmlns:a16="http://schemas.microsoft.com/office/drawing/2014/main" id="{EC258CB3-809B-4E55-9D97-E236614394CF}"/>
              </a:ext>
            </a:extLst>
          </p:cNvPr>
          <p:cNvSpPr>
            <a:spLocks noGrp="1"/>
          </p:cNvSpPr>
          <p:nvPr>
            <p:ph type="body" sz="quarter" idx="26" hasCustomPrompt="1"/>
          </p:nvPr>
        </p:nvSpPr>
        <p:spPr>
          <a:xfrm>
            <a:off x="7360901" y="2696871"/>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40" name="Text Placeholder 39">
            <a:extLst>
              <a:ext uri="{FF2B5EF4-FFF2-40B4-BE49-F238E27FC236}">
                <a16:creationId xmlns:a16="http://schemas.microsoft.com/office/drawing/2014/main" id="{F8D6D001-984E-4D2F-8FDA-6F3F609E8063}"/>
              </a:ext>
            </a:extLst>
          </p:cNvPr>
          <p:cNvSpPr>
            <a:spLocks noGrp="1"/>
          </p:cNvSpPr>
          <p:nvPr>
            <p:ph type="body" sz="quarter" idx="27" hasCustomPrompt="1"/>
          </p:nvPr>
        </p:nvSpPr>
        <p:spPr>
          <a:xfrm>
            <a:off x="7360901" y="3944347"/>
            <a:ext cx="4084959" cy="173736"/>
          </a:xfrm>
        </p:spPr>
        <p:txBody>
          <a:bodyPr anchor="ctr">
            <a:noAutofit/>
          </a:bodyPr>
          <a:lstStyle>
            <a:lvl1pPr marL="0" indent="0">
              <a:buNone/>
              <a:defRPr sz="1600" b="1">
                <a:solidFill>
                  <a:schemeClr val="tx2"/>
                </a:solidFill>
                <a:latin typeface="+mj-lt"/>
              </a:defRPr>
            </a:lvl1pPr>
            <a:lvl2pPr marL="112711" indent="0">
              <a:buNone/>
              <a:defRPr/>
            </a:lvl2pPr>
          </a:lstStyle>
          <a:p>
            <a:pPr lvl="0"/>
            <a:r>
              <a:rPr lang="en-US" dirty="0"/>
              <a:t>Click to insert name</a:t>
            </a:r>
          </a:p>
        </p:txBody>
      </p:sp>
      <p:sp>
        <p:nvSpPr>
          <p:cNvPr id="42" name="Text Placeholder 41">
            <a:extLst>
              <a:ext uri="{FF2B5EF4-FFF2-40B4-BE49-F238E27FC236}">
                <a16:creationId xmlns:a16="http://schemas.microsoft.com/office/drawing/2014/main" id="{0275046B-85D4-40B0-974A-EC444D6C6133}"/>
              </a:ext>
            </a:extLst>
          </p:cNvPr>
          <p:cNvSpPr>
            <a:spLocks noGrp="1"/>
          </p:cNvSpPr>
          <p:nvPr>
            <p:ph type="body" sz="quarter" idx="28" hasCustomPrompt="1"/>
          </p:nvPr>
        </p:nvSpPr>
        <p:spPr>
          <a:xfrm>
            <a:off x="7360901" y="5191823"/>
            <a:ext cx="4084959" cy="173736"/>
          </a:xfrm>
        </p:spPr>
        <p:txBody>
          <a:bodyPr anchor="ctr">
            <a:noAutofit/>
          </a:bodyPr>
          <a:lstStyle>
            <a:lvl1pPr marL="0" indent="0">
              <a:buNone/>
              <a:defRPr sz="1600" b="1">
                <a:solidFill>
                  <a:schemeClr val="tx2"/>
                </a:solidFill>
                <a:latin typeface="+mj-lt"/>
              </a:defRPr>
            </a:lvl1pPr>
            <a:lvl2pPr marL="112711" indent="0">
              <a:buNone/>
              <a:defRPr/>
            </a:lvl2pPr>
          </a:lstStyle>
          <a:p>
            <a:pPr lvl="0"/>
            <a:r>
              <a:rPr lang="en-US" dirty="0"/>
              <a:t>Click to insert name</a:t>
            </a:r>
          </a:p>
        </p:txBody>
      </p:sp>
      <p:sp>
        <p:nvSpPr>
          <p:cNvPr id="44" name="Text Placeholder 43">
            <a:extLst>
              <a:ext uri="{FF2B5EF4-FFF2-40B4-BE49-F238E27FC236}">
                <a16:creationId xmlns:a16="http://schemas.microsoft.com/office/drawing/2014/main" id="{F18208AC-A0A1-40B9-92BE-7A9902664863}"/>
              </a:ext>
            </a:extLst>
          </p:cNvPr>
          <p:cNvSpPr>
            <a:spLocks noGrp="1"/>
          </p:cNvSpPr>
          <p:nvPr>
            <p:ph type="body" sz="quarter" idx="29" hasCustomPrompt="1"/>
          </p:nvPr>
        </p:nvSpPr>
        <p:spPr>
          <a:xfrm>
            <a:off x="1784988" y="1659239"/>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46" name="Text Placeholder 45">
            <a:extLst>
              <a:ext uri="{FF2B5EF4-FFF2-40B4-BE49-F238E27FC236}">
                <a16:creationId xmlns:a16="http://schemas.microsoft.com/office/drawing/2014/main" id="{BE580B3F-D345-409E-A1E3-D30B57D2A3F7}"/>
              </a:ext>
            </a:extLst>
          </p:cNvPr>
          <p:cNvSpPr>
            <a:spLocks noGrp="1"/>
          </p:cNvSpPr>
          <p:nvPr>
            <p:ph type="body" sz="quarter" idx="30" hasCustomPrompt="1"/>
          </p:nvPr>
        </p:nvSpPr>
        <p:spPr>
          <a:xfrm>
            <a:off x="1784989" y="2906327"/>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48" name="Text Placeholder 47">
            <a:extLst>
              <a:ext uri="{FF2B5EF4-FFF2-40B4-BE49-F238E27FC236}">
                <a16:creationId xmlns:a16="http://schemas.microsoft.com/office/drawing/2014/main" id="{4EFA9CFB-0285-4E07-8E72-0E78463D1A25}"/>
              </a:ext>
            </a:extLst>
          </p:cNvPr>
          <p:cNvSpPr>
            <a:spLocks noGrp="1"/>
          </p:cNvSpPr>
          <p:nvPr>
            <p:ph type="body" sz="quarter" idx="31" hasCustomPrompt="1"/>
          </p:nvPr>
        </p:nvSpPr>
        <p:spPr>
          <a:xfrm>
            <a:off x="1784989" y="4143553"/>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0" name="Text Placeholder 49">
            <a:extLst>
              <a:ext uri="{FF2B5EF4-FFF2-40B4-BE49-F238E27FC236}">
                <a16:creationId xmlns:a16="http://schemas.microsoft.com/office/drawing/2014/main" id="{0ACE9153-8BF7-4F98-A1F0-9C7C3A1A0457}"/>
              </a:ext>
            </a:extLst>
          </p:cNvPr>
          <p:cNvSpPr>
            <a:spLocks noGrp="1"/>
          </p:cNvSpPr>
          <p:nvPr>
            <p:ph type="body" sz="quarter" idx="32" hasCustomPrompt="1"/>
          </p:nvPr>
        </p:nvSpPr>
        <p:spPr>
          <a:xfrm>
            <a:off x="1784989" y="5395962"/>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52" name="Text Placeholder 51">
            <a:extLst>
              <a:ext uri="{FF2B5EF4-FFF2-40B4-BE49-F238E27FC236}">
                <a16:creationId xmlns:a16="http://schemas.microsoft.com/office/drawing/2014/main" id="{204D67AE-9D0B-4C5D-A014-244BFEA1C4FE}"/>
              </a:ext>
            </a:extLst>
          </p:cNvPr>
          <p:cNvSpPr>
            <a:spLocks noGrp="1"/>
          </p:cNvSpPr>
          <p:nvPr>
            <p:ph type="body" sz="quarter" idx="33" hasCustomPrompt="1"/>
          </p:nvPr>
        </p:nvSpPr>
        <p:spPr>
          <a:xfrm>
            <a:off x="7360901" y="1659239"/>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4" name="Text Placeholder 53">
            <a:extLst>
              <a:ext uri="{FF2B5EF4-FFF2-40B4-BE49-F238E27FC236}">
                <a16:creationId xmlns:a16="http://schemas.microsoft.com/office/drawing/2014/main" id="{4AC9D7EE-310E-477E-A612-53CF908A2BC6}"/>
              </a:ext>
            </a:extLst>
          </p:cNvPr>
          <p:cNvSpPr>
            <a:spLocks noGrp="1"/>
          </p:cNvSpPr>
          <p:nvPr>
            <p:ph type="body" sz="quarter" idx="34" hasCustomPrompt="1"/>
          </p:nvPr>
        </p:nvSpPr>
        <p:spPr>
          <a:xfrm>
            <a:off x="7360901" y="2908441"/>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56" name="Text Placeholder 55">
            <a:extLst>
              <a:ext uri="{FF2B5EF4-FFF2-40B4-BE49-F238E27FC236}">
                <a16:creationId xmlns:a16="http://schemas.microsoft.com/office/drawing/2014/main" id="{B0585990-F104-450D-AEC0-B8D5EBCD73FD}"/>
              </a:ext>
            </a:extLst>
          </p:cNvPr>
          <p:cNvSpPr>
            <a:spLocks noGrp="1"/>
          </p:cNvSpPr>
          <p:nvPr>
            <p:ph type="body" sz="quarter" idx="35" hasCustomPrompt="1"/>
          </p:nvPr>
        </p:nvSpPr>
        <p:spPr>
          <a:xfrm>
            <a:off x="7360901" y="4141964"/>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8" name="Text Placeholder 57">
            <a:extLst>
              <a:ext uri="{FF2B5EF4-FFF2-40B4-BE49-F238E27FC236}">
                <a16:creationId xmlns:a16="http://schemas.microsoft.com/office/drawing/2014/main" id="{AF51DC81-E1CE-4439-A97C-6BF06C65561A}"/>
              </a:ext>
            </a:extLst>
          </p:cNvPr>
          <p:cNvSpPr>
            <a:spLocks noGrp="1"/>
          </p:cNvSpPr>
          <p:nvPr>
            <p:ph type="body" sz="quarter" idx="36" hasCustomPrompt="1"/>
          </p:nvPr>
        </p:nvSpPr>
        <p:spPr>
          <a:xfrm>
            <a:off x="7360901" y="5397702"/>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60" name="Text Placeholder 59">
            <a:extLst>
              <a:ext uri="{FF2B5EF4-FFF2-40B4-BE49-F238E27FC236}">
                <a16:creationId xmlns:a16="http://schemas.microsoft.com/office/drawing/2014/main" id="{1C0B8854-C98C-4016-93D9-7B45F5F49115}"/>
              </a:ext>
            </a:extLst>
          </p:cNvPr>
          <p:cNvSpPr>
            <a:spLocks noGrp="1"/>
          </p:cNvSpPr>
          <p:nvPr>
            <p:ph type="body" sz="quarter" idx="37" hasCustomPrompt="1"/>
          </p:nvPr>
        </p:nvSpPr>
        <p:spPr>
          <a:xfrm>
            <a:off x="1784988" y="1876077"/>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62" name="Text Placeholder 61">
            <a:extLst>
              <a:ext uri="{FF2B5EF4-FFF2-40B4-BE49-F238E27FC236}">
                <a16:creationId xmlns:a16="http://schemas.microsoft.com/office/drawing/2014/main" id="{6BB922AC-171B-49A5-A24B-5CBB848D8D0B}"/>
              </a:ext>
            </a:extLst>
          </p:cNvPr>
          <p:cNvSpPr>
            <a:spLocks noGrp="1"/>
          </p:cNvSpPr>
          <p:nvPr>
            <p:ph type="body" sz="quarter" idx="38" hasCustomPrompt="1"/>
          </p:nvPr>
        </p:nvSpPr>
        <p:spPr>
          <a:xfrm>
            <a:off x="1784989" y="3121060"/>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64" name="Text Placeholder 63">
            <a:extLst>
              <a:ext uri="{FF2B5EF4-FFF2-40B4-BE49-F238E27FC236}">
                <a16:creationId xmlns:a16="http://schemas.microsoft.com/office/drawing/2014/main" id="{912EDFC7-7B53-466B-8746-73E9FA503805}"/>
              </a:ext>
            </a:extLst>
          </p:cNvPr>
          <p:cNvSpPr>
            <a:spLocks noGrp="1"/>
          </p:cNvSpPr>
          <p:nvPr>
            <p:ph type="body" sz="quarter" idx="39" hasCustomPrompt="1"/>
          </p:nvPr>
        </p:nvSpPr>
        <p:spPr>
          <a:xfrm>
            <a:off x="1784989" y="4356201"/>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66" name="Text Placeholder 65">
            <a:extLst>
              <a:ext uri="{FF2B5EF4-FFF2-40B4-BE49-F238E27FC236}">
                <a16:creationId xmlns:a16="http://schemas.microsoft.com/office/drawing/2014/main" id="{DCB8EC18-185E-4715-A73D-AA3567290238}"/>
              </a:ext>
            </a:extLst>
          </p:cNvPr>
          <p:cNvSpPr>
            <a:spLocks noGrp="1"/>
          </p:cNvSpPr>
          <p:nvPr>
            <p:ph type="body" sz="quarter" idx="40" hasCustomPrompt="1"/>
          </p:nvPr>
        </p:nvSpPr>
        <p:spPr>
          <a:xfrm>
            <a:off x="1784989" y="5611100"/>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68" name="Text Placeholder 67">
            <a:extLst>
              <a:ext uri="{FF2B5EF4-FFF2-40B4-BE49-F238E27FC236}">
                <a16:creationId xmlns:a16="http://schemas.microsoft.com/office/drawing/2014/main" id="{F78B8A35-681B-4736-A327-9D2574C68DE1}"/>
              </a:ext>
            </a:extLst>
          </p:cNvPr>
          <p:cNvSpPr>
            <a:spLocks noGrp="1"/>
          </p:cNvSpPr>
          <p:nvPr>
            <p:ph type="body" sz="quarter" idx="41" hasCustomPrompt="1"/>
          </p:nvPr>
        </p:nvSpPr>
        <p:spPr>
          <a:xfrm>
            <a:off x="7360901" y="1876077"/>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70" name="Text Placeholder 69">
            <a:extLst>
              <a:ext uri="{FF2B5EF4-FFF2-40B4-BE49-F238E27FC236}">
                <a16:creationId xmlns:a16="http://schemas.microsoft.com/office/drawing/2014/main" id="{72417CE2-C254-41A4-8610-B95F2F18C25C}"/>
              </a:ext>
            </a:extLst>
          </p:cNvPr>
          <p:cNvSpPr>
            <a:spLocks noGrp="1"/>
          </p:cNvSpPr>
          <p:nvPr>
            <p:ph type="body" sz="quarter" idx="42" hasCustomPrompt="1"/>
          </p:nvPr>
        </p:nvSpPr>
        <p:spPr>
          <a:xfrm>
            <a:off x="7360901" y="3121239"/>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72" name="Text Placeholder 71">
            <a:extLst>
              <a:ext uri="{FF2B5EF4-FFF2-40B4-BE49-F238E27FC236}">
                <a16:creationId xmlns:a16="http://schemas.microsoft.com/office/drawing/2014/main" id="{84D74EAC-1C95-445A-9F25-CFA3545F368B}"/>
              </a:ext>
            </a:extLst>
          </p:cNvPr>
          <p:cNvSpPr>
            <a:spLocks noGrp="1"/>
          </p:cNvSpPr>
          <p:nvPr>
            <p:ph type="body" sz="quarter" idx="43" hasCustomPrompt="1"/>
          </p:nvPr>
        </p:nvSpPr>
        <p:spPr>
          <a:xfrm>
            <a:off x="7360901" y="4355619"/>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74" name="Text Placeholder 73">
            <a:extLst>
              <a:ext uri="{FF2B5EF4-FFF2-40B4-BE49-F238E27FC236}">
                <a16:creationId xmlns:a16="http://schemas.microsoft.com/office/drawing/2014/main" id="{8B0E9BE7-6753-43A9-9234-A942A389C87F}"/>
              </a:ext>
            </a:extLst>
          </p:cNvPr>
          <p:cNvSpPr>
            <a:spLocks noGrp="1"/>
          </p:cNvSpPr>
          <p:nvPr>
            <p:ph type="body" sz="quarter" idx="44" hasCustomPrompt="1"/>
          </p:nvPr>
        </p:nvSpPr>
        <p:spPr>
          <a:xfrm>
            <a:off x="7360901" y="5612040"/>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45" name="Rectangle 44" hidden="1">
            <a:extLst>
              <a:ext uri="{FF2B5EF4-FFF2-40B4-BE49-F238E27FC236}">
                <a16:creationId xmlns:a16="http://schemas.microsoft.com/office/drawing/2014/main" id="{EA15195B-B4BB-4536-81F2-3D8922482441}"/>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Date Placeholder 5">
            <a:extLst>
              <a:ext uri="{FF2B5EF4-FFF2-40B4-BE49-F238E27FC236}">
                <a16:creationId xmlns:a16="http://schemas.microsoft.com/office/drawing/2014/main" id="{E7541D32-1BAC-4EDC-BD30-0617FF0B32F1}"/>
              </a:ext>
            </a:extLst>
          </p:cNvPr>
          <p:cNvSpPr>
            <a:spLocks noGrp="1"/>
          </p:cNvSpPr>
          <p:nvPr>
            <p:ph type="dt" sz="half" idx="45"/>
          </p:nvPr>
        </p:nvSpPr>
        <p:spPr/>
        <p:txBody>
          <a:bodyPr/>
          <a:lstStyle/>
          <a:p>
            <a:fld id="{0CA7E49E-8520-48E1-8F47-DB7F5A59BF68}" type="datetime1">
              <a:rPr lang="en-US" smtClean="0"/>
              <a:t>4/23/2023</a:t>
            </a:fld>
            <a:endParaRPr lang="en-US" dirty="0"/>
          </a:p>
        </p:txBody>
      </p:sp>
      <p:sp>
        <p:nvSpPr>
          <p:cNvPr id="8" name="Footer Placeholder 7">
            <a:extLst>
              <a:ext uri="{FF2B5EF4-FFF2-40B4-BE49-F238E27FC236}">
                <a16:creationId xmlns:a16="http://schemas.microsoft.com/office/drawing/2014/main" id="{ED8629CF-1C4F-401F-ADC7-50A5C0528419}"/>
              </a:ext>
            </a:extLst>
          </p:cNvPr>
          <p:cNvSpPr>
            <a:spLocks noGrp="1"/>
          </p:cNvSpPr>
          <p:nvPr>
            <p:ph type="ftr" sz="quarter" idx="46"/>
          </p:nvPr>
        </p:nvSpPr>
        <p:spPr/>
        <p:txBody>
          <a:bodyPr/>
          <a:lstStyle/>
          <a:p>
            <a:endParaRPr lang="en-US" dirty="0"/>
          </a:p>
        </p:txBody>
      </p:sp>
      <p:sp>
        <p:nvSpPr>
          <p:cNvPr id="9" name="Slide Number Placeholder 8">
            <a:extLst>
              <a:ext uri="{FF2B5EF4-FFF2-40B4-BE49-F238E27FC236}">
                <a16:creationId xmlns:a16="http://schemas.microsoft.com/office/drawing/2014/main" id="{A93B827B-4009-4143-A167-2AC2C612B9E0}"/>
              </a:ext>
            </a:extLst>
          </p:cNvPr>
          <p:cNvSpPr>
            <a:spLocks noGrp="1"/>
          </p:cNvSpPr>
          <p:nvPr>
            <p:ph type="sldNum" sz="quarter" idx="47"/>
          </p:nvPr>
        </p:nvSpPr>
        <p:spPr/>
        <p:txBody>
          <a:bodyPr/>
          <a:lstStyle/>
          <a:p>
            <a:fld id="{DA135043-C596-1A48-8BDA-03EB29A64DF4}" type="slidenum">
              <a:rPr lang="en-US" smtClean="0"/>
              <a:pPr/>
              <a:t>‹#›</a:t>
            </a:fld>
            <a:endParaRPr lang="en-US" dirty="0"/>
          </a:p>
        </p:txBody>
      </p:sp>
    </p:spTree>
    <p:extLst>
      <p:ext uri="{BB962C8B-B14F-4D97-AF65-F5344CB8AC3E}">
        <p14:creationId xmlns:p14="http://schemas.microsoft.com/office/powerpoint/2010/main" val="2913665223"/>
      </p:ext>
    </p:extLst>
  </p:cSld>
  <p:clrMapOvr>
    <a:masterClrMapping/>
  </p:clrMapOvr>
  <p:hf hdr="0" ftr="0" dt="0"/>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D34561-0681-4E2B-B130-79743C773DA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C19E50F-F813-0E46-B0DD-139F991618E4}"/>
              </a:ext>
            </a:extLst>
          </p:cNvPr>
          <p:cNvSpPr>
            <a:spLocks noGrp="1"/>
          </p:cNvSpPr>
          <p:nvPr>
            <p:ph type="title"/>
          </p:nvPr>
        </p:nvSpPr>
        <p:spPr>
          <a:xfrm>
            <a:off x="929325" y="3223246"/>
            <a:ext cx="10333351" cy="537385"/>
          </a:xfrm>
        </p:spPr>
        <p:txBody>
          <a:bodyPr anchor="t">
            <a:noAutofit/>
          </a:bodyPr>
          <a:lstStyle>
            <a:lvl1pPr algn="ctr">
              <a:defRPr sz="3200"/>
            </a:lvl1pPr>
          </a:lstStyle>
          <a:p>
            <a:r>
              <a:rPr lang="en-US" smtClean="0"/>
              <a:t>Click to edit Master title style</a:t>
            </a:r>
            <a:endParaRPr lang="en-US" dirty="0"/>
          </a:p>
        </p:txBody>
      </p:sp>
      <p:sp>
        <p:nvSpPr>
          <p:cNvPr id="3" name="Text Placeholder 2">
            <a:extLst>
              <a:ext uri="{FF2B5EF4-FFF2-40B4-BE49-F238E27FC236}">
                <a16:creationId xmlns:a16="http://schemas.microsoft.com/office/drawing/2014/main" id="{611AB694-189D-4B40-B2F6-6650BB218A3E}"/>
              </a:ext>
            </a:extLst>
          </p:cNvPr>
          <p:cNvSpPr>
            <a:spLocks noGrp="1"/>
          </p:cNvSpPr>
          <p:nvPr>
            <p:ph type="body" idx="1"/>
          </p:nvPr>
        </p:nvSpPr>
        <p:spPr>
          <a:xfrm>
            <a:off x="929326" y="3768007"/>
            <a:ext cx="10333349" cy="539496"/>
          </a:xfrm>
        </p:spPr>
        <p:txBody>
          <a:bodyPr>
            <a:noAutofit/>
          </a:bodyPr>
          <a:lstStyle>
            <a:lvl1pPr marL="0" indent="0" algn="ctr">
              <a:buNone/>
              <a:defRPr sz="1800" b="0">
                <a:solidFill>
                  <a:schemeClr val="tx2"/>
                </a:solidFill>
                <a:latin typeface="+mj-lt"/>
              </a:defRPr>
            </a:lvl1pPr>
            <a:lvl2pPr marL="653109" indent="0">
              <a:buNone/>
              <a:defRPr sz="2857">
                <a:solidFill>
                  <a:schemeClr val="tx1">
                    <a:tint val="75000"/>
                  </a:schemeClr>
                </a:solidFill>
              </a:defRPr>
            </a:lvl2pPr>
            <a:lvl3pPr marL="1306218" indent="0">
              <a:buNone/>
              <a:defRPr sz="2572">
                <a:solidFill>
                  <a:schemeClr val="tx1">
                    <a:tint val="75000"/>
                  </a:schemeClr>
                </a:solidFill>
              </a:defRPr>
            </a:lvl3pPr>
            <a:lvl4pPr marL="1959327" indent="0">
              <a:buNone/>
              <a:defRPr sz="2285">
                <a:solidFill>
                  <a:schemeClr val="tx1">
                    <a:tint val="75000"/>
                  </a:schemeClr>
                </a:solidFill>
              </a:defRPr>
            </a:lvl4pPr>
            <a:lvl5pPr marL="2612436" indent="0">
              <a:buNone/>
              <a:defRPr sz="2285">
                <a:solidFill>
                  <a:schemeClr val="tx1">
                    <a:tint val="75000"/>
                  </a:schemeClr>
                </a:solidFill>
              </a:defRPr>
            </a:lvl5pPr>
            <a:lvl6pPr marL="3265545" indent="0">
              <a:buNone/>
              <a:defRPr sz="2285">
                <a:solidFill>
                  <a:schemeClr val="tx1">
                    <a:tint val="75000"/>
                  </a:schemeClr>
                </a:solidFill>
              </a:defRPr>
            </a:lvl6pPr>
            <a:lvl7pPr marL="3918654" indent="0">
              <a:buNone/>
              <a:defRPr sz="2285">
                <a:solidFill>
                  <a:schemeClr val="tx1">
                    <a:tint val="75000"/>
                  </a:schemeClr>
                </a:solidFill>
              </a:defRPr>
            </a:lvl7pPr>
            <a:lvl8pPr marL="4571764" indent="0">
              <a:buNone/>
              <a:defRPr sz="2285">
                <a:solidFill>
                  <a:schemeClr val="tx1">
                    <a:tint val="75000"/>
                  </a:schemeClr>
                </a:solidFill>
              </a:defRPr>
            </a:lvl8pPr>
            <a:lvl9pPr marL="5224873" indent="0">
              <a:buNone/>
              <a:defRPr sz="2285">
                <a:solidFill>
                  <a:schemeClr val="tx1">
                    <a:tint val="75000"/>
                  </a:schemeClr>
                </a:solidFill>
              </a:defRPr>
            </a:lvl9pPr>
          </a:lstStyle>
          <a:p>
            <a:pPr lvl="0"/>
            <a:r>
              <a:rPr lang="en-US" smtClean="0"/>
              <a:t>Edit Master text styles</a:t>
            </a:r>
          </a:p>
        </p:txBody>
      </p:sp>
      <p:grpSp>
        <p:nvGrpSpPr>
          <p:cNvPr id="5" name="Group 4">
            <a:extLst>
              <a:ext uri="{FF2B5EF4-FFF2-40B4-BE49-F238E27FC236}">
                <a16:creationId xmlns:a16="http://schemas.microsoft.com/office/drawing/2014/main" id="{89210167-FC07-4257-BD6C-BF347C91A48C}"/>
              </a:ext>
            </a:extLst>
          </p:cNvPr>
          <p:cNvGrpSpPr/>
          <p:nvPr userDrawn="1"/>
        </p:nvGrpSpPr>
        <p:grpSpPr>
          <a:xfrm>
            <a:off x="5625591" y="1900916"/>
            <a:ext cx="954371" cy="954371"/>
            <a:chOff x="5625591" y="1900916"/>
            <a:chExt cx="954371" cy="954371"/>
          </a:xfrm>
        </p:grpSpPr>
        <p:sp>
          <p:nvSpPr>
            <p:cNvPr id="9" name="Oval 8">
              <a:extLst>
                <a:ext uri="{FF2B5EF4-FFF2-40B4-BE49-F238E27FC236}">
                  <a16:creationId xmlns:a16="http://schemas.microsoft.com/office/drawing/2014/main" id="{989EA6DE-6D29-4D20-B3D5-029821251A2D}"/>
                </a:ext>
              </a:extLst>
            </p:cNvPr>
            <p:cNvSpPr/>
            <p:nvPr userDrawn="1"/>
          </p:nvSpPr>
          <p:spPr>
            <a:xfrm>
              <a:off x="5625591" y="1900916"/>
              <a:ext cx="954371" cy="954371"/>
            </a:xfrm>
            <a:prstGeom prst="ellipse">
              <a:avLst/>
            </a:prstGeom>
            <a:gradFill>
              <a:gsLst>
                <a:gs pos="28000">
                  <a:srgbClr val="002A88"/>
                </a:gs>
                <a:gs pos="77000">
                  <a:srgbClr val="04003C"/>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pic>
          <p:nvPicPr>
            <p:cNvPr id="10" name="Picture 9">
              <a:extLst>
                <a:ext uri="{FF2B5EF4-FFF2-40B4-BE49-F238E27FC236}">
                  <a16:creationId xmlns:a16="http://schemas.microsoft.com/office/drawing/2014/main" id="{98E2E84E-4386-4106-8859-0CACC15B77FE}"/>
                </a:ext>
              </a:extLst>
            </p:cNvPr>
            <p:cNvPicPr>
              <a:picLocks noChangeAspect="1"/>
            </p:cNvPicPr>
            <p:nvPr userDrawn="1"/>
          </p:nvPicPr>
          <p:blipFill>
            <a:blip r:embed="rId2"/>
            <a:stretch>
              <a:fillRect/>
            </a:stretch>
          </p:blipFill>
          <p:spPr>
            <a:xfrm>
              <a:off x="5993549" y="2268875"/>
              <a:ext cx="218454" cy="218454"/>
            </a:xfrm>
            <a:prstGeom prst="rect">
              <a:avLst/>
            </a:prstGeom>
          </p:spPr>
        </p:pic>
      </p:grpSp>
    </p:spTree>
    <p:extLst>
      <p:ext uri="{BB962C8B-B14F-4D97-AF65-F5344CB8AC3E}">
        <p14:creationId xmlns:p14="http://schemas.microsoft.com/office/powerpoint/2010/main" val="19252885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2A654-5A66-DB47-A306-CA1C8D90C406}"/>
              </a:ext>
            </a:extLst>
          </p:cNvPr>
          <p:cNvSpPr>
            <a:spLocks noGrp="1"/>
          </p:cNvSpPr>
          <p:nvPr>
            <p:ph type="title"/>
          </p:nvPr>
        </p:nvSpPr>
        <p:spPr/>
        <p:txBody>
          <a:bodyPr/>
          <a:lstStyle/>
          <a:p>
            <a:r>
              <a:rPr lang="en-US" smtClean="0"/>
              <a:t>Click to edit Master title style</a:t>
            </a:r>
            <a:endParaRPr lang="en-US"/>
          </a:p>
        </p:txBody>
      </p:sp>
      <p:sp>
        <p:nvSpPr>
          <p:cNvPr id="4" name="Date Placeholder 3">
            <a:extLst>
              <a:ext uri="{FF2B5EF4-FFF2-40B4-BE49-F238E27FC236}">
                <a16:creationId xmlns:a16="http://schemas.microsoft.com/office/drawing/2014/main" id="{D1169908-6866-BF45-A163-2917514D7756}"/>
              </a:ext>
            </a:extLst>
          </p:cNvPr>
          <p:cNvSpPr>
            <a:spLocks noGrp="1"/>
          </p:cNvSpPr>
          <p:nvPr>
            <p:ph type="dt" sz="half" idx="10"/>
          </p:nvPr>
        </p:nvSpPr>
        <p:spPr/>
        <p:txBody>
          <a:bodyPr/>
          <a:lstStyle/>
          <a:p>
            <a:fld id="{2A0070D2-5A30-47BC-889E-F074FC1575FD}" type="datetime1">
              <a:rPr lang="en-US" smtClean="0"/>
              <a:t>4/23/2023</a:t>
            </a:fld>
            <a:endParaRPr lang="en-US" dirty="0"/>
          </a:p>
        </p:txBody>
      </p:sp>
      <p:sp>
        <p:nvSpPr>
          <p:cNvPr id="5" name="Footer Placeholder 4">
            <a:extLst>
              <a:ext uri="{FF2B5EF4-FFF2-40B4-BE49-F238E27FC236}">
                <a16:creationId xmlns:a16="http://schemas.microsoft.com/office/drawing/2014/main" id="{4FE15BA4-9DA7-724F-8EC0-695948888FD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575D79-B164-A94A-9F5D-872532B3A4DA}"/>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7" name="Rectangle 6" hidden="1">
            <a:extLst>
              <a:ext uri="{FF2B5EF4-FFF2-40B4-BE49-F238E27FC236}">
                <a16:creationId xmlns:a16="http://schemas.microsoft.com/office/drawing/2014/main" id="{8CEB951C-E846-4E05-9350-2D86FA13F8FA}"/>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2">
            <a:extLst>
              <a:ext uri="{FF2B5EF4-FFF2-40B4-BE49-F238E27FC236}">
                <a16:creationId xmlns:a16="http://schemas.microsoft.com/office/drawing/2014/main" id="{15F528EC-DA70-F144-9189-347F3B9E5B1B}"/>
              </a:ext>
            </a:extLst>
          </p:cNvPr>
          <p:cNvSpPr>
            <a:spLocks noGrp="1"/>
          </p:cNvSpPr>
          <p:nvPr>
            <p:ph idx="1"/>
          </p:nvPr>
        </p:nvSpPr>
        <p:spPr>
          <a:xfrm>
            <a:off x="726440" y="864066"/>
            <a:ext cx="10746423" cy="5350092"/>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8532935"/>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w/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DDDA848-F86A-4B69-A832-5DC49C205D6F}"/>
              </a:ext>
            </a:extLst>
          </p:cNvPr>
          <p:cNvSpPr/>
          <p:nvPr userDrawn="1"/>
        </p:nvSpPr>
        <p:spPr>
          <a:xfrm>
            <a:off x="-1" y="894"/>
            <a:ext cx="6096001" cy="68562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6C19E50F-F813-0E46-B0DD-139F991618E4}"/>
              </a:ext>
            </a:extLst>
          </p:cNvPr>
          <p:cNvSpPr>
            <a:spLocks noGrp="1"/>
          </p:cNvSpPr>
          <p:nvPr>
            <p:ph type="title" hasCustomPrompt="1"/>
          </p:nvPr>
        </p:nvSpPr>
        <p:spPr>
          <a:xfrm>
            <a:off x="723900" y="3217738"/>
            <a:ext cx="4716740" cy="550269"/>
          </a:xfrm>
        </p:spPr>
        <p:txBody>
          <a:bodyPr anchor="t">
            <a:noAutofit/>
          </a:bodyPr>
          <a:lstStyle>
            <a:lvl1pPr algn="ctr">
              <a:defRPr sz="3200">
                <a:solidFill>
                  <a:schemeClr val="tx2"/>
                </a:solidFill>
              </a:defRPr>
            </a:lvl1pPr>
          </a:lstStyle>
          <a:p>
            <a:r>
              <a:rPr lang="en-US" dirty="0"/>
              <a:t>Add title</a:t>
            </a:r>
          </a:p>
        </p:txBody>
      </p:sp>
      <p:sp>
        <p:nvSpPr>
          <p:cNvPr id="3" name="Text Placeholder 2">
            <a:extLst>
              <a:ext uri="{FF2B5EF4-FFF2-40B4-BE49-F238E27FC236}">
                <a16:creationId xmlns:a16="http://schemas.microsoft.com/office/drawing/2014/main" id="{611AB694-189D-4B40-B2F6-6650BB218A3E}"/>
              </a:ext>
            </a:extLst>
          </p:cNvPr>
          <p:cNvSpPr>
            <a:spLocks noGrp="1"/>
          </p:cNvSpPr>
          <p:nvPr>
            <p:ph type="body" idx="1"/>
          </p:nvPr>
        </p:nvSpPr>
        <p:spPr>
          <a:xfrm>
            <a:off x="723900" y="3768007"/>
            <a:ext cx="4716740" cy="1046357"/>
          </a:xfrm>
        </p:spPr>
        <p:txBody>
          <a:bodyPr>
            <a:normAutofit/>
          </a:bodyPr>
          <a:lstStyle>
            <a:lvl1pPr marL="0" indent="0" algn="ctr">
              <a:buNone/>
              <a:defRPr sz="1800" b="0">
                <a:solidFill>
                  <a:schemeClr val="tx2"/>
                </a:solidFill>
                <a:latin typeface="+mj-lt"/>
              </a:defRPr>
            </a:lvl1pPr>
            <a:lvl2pPr marL="653109" indent="0">
              <a:buNone/>
              <a:defRPr sz="2857">
                <a:solidFill>
                  <a:schemeClr val="tx1">
                    <a:tint val="75000"/>
                  </a:schemeClr>
                </a:solidFill>
              </a:defRPr>
            </a:lvl2pPr>
            <a:lvl3pPr marL="1306218" indent="0">
              <a:buNone/>
              <a:defRPr sz="2572">
                <a:solidFill>
                  <a:schemeClr val="tx1">
                    <a:tint val="75000"/>
                  </a:schemeClr>
                </a:solidFill>
              </a:defRPr>
            </a:lvl3pPr>
            <a:lvl4pPr marL="1959327" indent="0">
              <a:buNone/>
              <a:defRPr sz="2285">
                <a:solidFill>
                  <a:schemeClr val="tx1">
                    <a:tint val="75000"/>
                  </a:schemeClr>
                </a:solidFill>
              </a:defRPr>
            </a:lvl4pPr>
            <a:lvl5pPr marL="2612436" indent="0">
              <a:buNone/>
              <a:defRPr sz="2285">
                <a:solidFill>
                  <a:schemeClr val="tx1">
                    <a:tint val="75000"/>
                  </a:schemeClr>
                </a:solidFill>
              </a:defRPr>
            </a:lvl5pPr>
            <a:lvl6pPr marL="3265545" indent="0">
              <a:buNone/>
              <a:defRPr sz="2285">
                <a:solidFill>
                  <a:schemeClr val="tx1">
                    <a:tint val="75000"/>
                  </a:schemeClr>
                </a:solidFill>
              </a:defRPr>
            </a:lvl6pPr>
            <a:lvl7pPr marL="3918654" indent="0">
              <a:buNone/>
              <a:defRPr sz="2285">
                <a:solidFill>
                  <a:schemeClr val="tx1">
                    <a:tint val="75000"/>
                  </a:schemeClr>
                </a:solidFill>
              </a:defRPr>
            </a:lvl7pPr>
            <a:lvl8pPr marL="4571764" indent="0">
              <a:buNone/>
              <a:defRPr sz="2285">
                <a:solidFill>
                  <a:schemeClr val="tx1">
                    <a:tint val="75000"/>
                  </a:schemeClr>
                </a:solidFill>
              </a:defRPr>
            </a:lvl8pPr>
            <a:lvl9pPr marL="5224873" indent="0">
              <a:buNone/>
              <a:defRPr sz="2285">
                <a:solidFill>
                  <a:schemeClr val="tx1">
                    <a:tint val="75000"/>
                  </a:schemeClr>
                </a:solidFill>
              </a:defRPr>
            </a:lvl9pPr>
          </a:lstStyle>
          <a:p>
            <a:pPr lvl="0"/>
            <a:r>
              <a:rPr lang="en-US" smtClean="0"/>
              <a:t>Edit Master text styles</a:t>
            </a:r>
          </a:p>
        </p:txBody>
      </p:sp>
      <p:sp>
        <p:nvSpPr>
          <p:cNvPr id="5" name="Picture Placeholder 4">
            <a:extLst>
              <a:ext uri="{FF2B5EF4-FFF2-40B4-BE49-F238E27FC236}">
                <a16:creationId xmlns:a16="http://schemas.microsoft.com/office/drawing/2014/main" id="{AE20D14C-55D0-4086-83C1-A2D58509AC55}"/>
              </a:ext>
            </a:extLst>
          </p:cNvPr>
          <p:cNvSpPr>
            <a:spLocks noGrp="1"/>
          </p:cNvSpPr>
          <p:nvPr>
            <p:ph type="pic" sz="quarter" idx="10" hasCustomPrompt="1"/>
          </p:nvPr>
        </p:nvSpPr>
        <p:spPr>
          <a:xfrm>
            <a:off x="6096000" y="894"/>
            <a:ext cx="6092824" cy="6856211"/>
          </a:xfrm>
        </p:spPr>
        <p:txBody>
          <a:bodyPr anchor="ctr"/>
          <a:lstStyle>
            <a:lvl1pPr marL="0" indent="0" algn="ctr">
              <a:buNone/>
              <a:defRPr>
                <a:solidFill>
                  <a:schemeClr val="tx2"/>
                </a:solidFill>
              </a:defRPr>
            </a:lvl1pPr>
          </a:lstStyle>
          <a:p>
            <a:r>
              <a:rPr lang="en-US" dirty="0"/>
              <a:t>Click icon to insert image</a:t>
            </a:r>
          </a:p>
        </p:txBody>
      </p:sp>
      <p:grpSp>
        <p:nvGrpSpPr>
          <p:cNvPr id="16" name="Group 15">
            <a:extLst>
              <a:ext uri="{FF2B5EF4-FFF2-40B4-BE49-F238E27FC236}">
                <a16:creationId xmlns:a16="http://schemas.microsoft.com/office/drawing/2014/main" id="{7EEAEBB0-A9EF-4629-A74D-A6299E135D13}"/>
              </a:ext>
            </a:extLst>
          </p:cNvPr>
          <p:cNvGrpSpPr/>
          <p:nvPr userDrawn="1"/>
        </p:nvGrpSpPr>
        <p:grpSpPr>
          <a:xfrm>
            <a:off x="2570814" y="1900916"/>
            <a:ext cx="954371" cy="954371"/>
            <a:chOff x="5625591" y="1900916"/>
            <a:chExt cx="954371" cy="954371"/>
          </a:xfrm>
        </p:grpSpPr>
        <p:sp>
          <p:nvSpPr>
            <p:cNvPr id="17" name="Oval 16">
              <a:extLst>
                <a:ext uri="{FF2B5EF4-FFF2-40B4-BE49-F238E27FC236}">
                  <a16:creationId xmlns:a16="http://schemas.microsoft.com/office/drawing/2014/main" id="{8E6A1AF4-D111-497C-91A2-C508E8673407}"/>
                </a:ext>
              </a:extLst>
            </p:cNvPr>
            <p:cNvSpPr/>
            <p:nvPr userDrawn="1"/>
          </p:nvSpPr>
          <p:spPr>
            <a:xfrm>
              <a:off x="5625591" y="1900916"/>
              <a:ext cx="954371" cy="954371"/>
            </a:xfrm>
            <a:prstGeom prst="ellipse">
              <a:avLst/>
            </a:prstGeom>
            <a:gradFill>
              <a:gsLst>
                <a:gs pos="28000">
                  <a:srgbClr val="002A88"/>
                </a:gs>
                <a:gs pos="77000">
                  <a:srgbClr val="04003C"/>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pic>
          <p:nvPicPr>
            <p:cNvPr id="18" name="Picture 17">
              <a:extLst>
                <a:ext uri="{FF2B5EF4-FFF2-40B4-BE49-F238E27FC236}">
                  <a16:creationId xmlns:a16="http://schemas.microsoft.com/office/drawing/2014/main" id="{2FB1BD11-062F-4425-A925-621810D2C9C5}"/>
                </a:ext>
              </a:extLst>
            </p:cNvPr>
            <p:cNvPicPr>
              <a:picLocks noChangeAspect="1"/>
            </p:cNvPicPr>
            <p:nvPr userDrawn="1"/>
          </p:nvPicPr>
          <p:blipFill>
            <a:blip r:embed="rId2"/>
            <a:stretch>
              <a:fillRect/>
            </a:stretch>
          </p:blipFill>
          <p:spPr>
            <a:xfrm>
              <a:off x="5993549" y="2268875"/>
              <a:ext cx="218454" cy="218454"/>
            </a:xfrm>
            <a:prstGeom prst="rect">
              <a:avLst/>
            </a:prstGeom>
          </p:spPr>
        </p:pic>
      </p:grpSp>
    </p:spTree>
    <p:extLst>
      <p:ext uri="{BB962C8B-B14F-4D97-AF65-F5344CB8AC3E}">
        <p14:creationId xmlns:p14="http://schemas.microsoft.com/office/powerpoint/2010/main" val="1144488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B2C7F7-1B07-4F56-8EB7-0A869CE92866}"/>
              </a:ext>
            </a:extLst>
          </p:cNvPr>
          <p:cNvSpPr/>
          <p:nvPr userDrawn="1"/>
        </p:nvSpPr>
        <p:spPr>
          <a:xfrm>
            <a:off x="0" y="0"/>
            <a:ext cx="12192000" cy="6858000"/>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500" b="1" dirty="0">
                <a:solidFill>
                  <a:schemeClr val="tx2"/>
                </a:solidFill>
              </a:rPr>
              <a:t>Do not use slide layouts after this</a:t>
            </a:r>
          </a:p>
        </p:txBody>
      </p:sp>
      <p:sp>
        <p:nvSpPr>
          <p:cNvPr id="7" name="TextBox 6">
            <a:extLst>
              <a:ext uri="{FF2B5EF4-FFF2-40B4-BE49-F238E27FC236}">
                <a16:creationId xmlns:a16="http://schemas.microsoft.com/office/drawing/2014/main" id="{B826545F-C200-4030-B63A-BBD4CEB5C28D}"/>
              </a:ext>
            </a:extLst>
          </p:cNvPr>
          <p:cNvSpPr txBox="1"/>
          <p:nvPr userDrawn="1"/>
        </p:nvSpPr>
        <p:spPr>
          <a:xfrm>
            <a:off x="4447151" y="6020345"/>
            <a:ext cx="3297698" cy="276999"/>
          </a:xfrm>
          <a:prstGeom prst="rect">
            <a:avLst/>
          </a:prstGeom>
          <a:noFill/>
        </p:spPr>
        <p:txBody>
          <a:bodyPr wrap="none" rtlCol="0">
            <a:spAutoFit/>
          </a:bodyPr>
          <a:lstStyle/>
          <a:p>
            <a:pPr algn="ctr"/>
            <a:r>
              <a:rPr lang="en-US" sz="1200" dirty="0"/>
              <a:t>This is a placeholder slide layout  - do not use</a:t>
            </a:r>
          </a:p>
        </p:txBody>
      </p:sp>
    </p:spTree>
    <p:extLst>
      <p:ext uri="{BB962C8B-B14F-4D97-AF65-F5344CB8AC3E}">
        <p14:creationId xmlns:p14="http://schemas.microsoft.com/office/powerpoint/2010/main" val="31312395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mment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58EE8-51DA-439F-8424-CB384B43747F}"/>
              </a:ext>
            </a:extLst>
          </p:cNvPr>
          <p:cNvSpPr>
            <a:spLocks noGrp="1"/>
          </p:cNvSpPr>
          <p:nvPr>
            <p:ph type="title"/>
          </p:nvPr>
        </p:nvSpPr>
        <p:spPr/>
        <p:txBody>
          <a:bodyPr/>
          <a:lstStyle/>
          <a:p>
            <a:r>
              <a:rPr lang="en-US" smtClean="0"/>
              <a:t>Click to edit Master title style</a:t>
            </a:r>
            <a:endParaRPr lang="en-US"/>
          </a:p>
        </p:txBody>
      </p:sp>
      <p:sp>
        <p:nvSpPr>
          <p:cNvPr id="3" name="Date Placeholder 2">
            <a:extLst>
              <a:ext uri="{FF2B5EF4-FFF2-40B4-BE49-F238E27FC236}">
                <a16:creationId xmlns:a16="http://schemas.microsoft.com/office/drawing/2014/main" id="{A0E4FD04-ABE3-42D4-9E42-83FCD857202F}"/>
              </a:ext>
            </a:extLst>
          </p:cNvPr>
          <p:cNvSpPr>
            <a:spLocks noGrp="1"/>
          </p:cNvSpPr>
          <p:nvPr>
            <p:ph type="dt" sz="half" idx="10"/>
          </p:nvPr>
        </p:nvSpPr>
        <p:spPr/>
        <p:txBody>
          <a:bodyPr/>
          <a:lstStyle/>
          <a:p>
            <a:fld id="{0CA7E49E-8520-48E1-8F47-DB7F5A59BF68}" type="datetime1">
              <a:rPr lang="en-US" smtClean="0"/>
              <a:t>4/23/2023</a:t>
            </a:fld>
            <a:endParaRPr lang="en-US" dirty="0"/>
          </a:p>
        </p:txBody>
      </p:sp>
      <p:sp>
        <p:nvSpPr>
          <p:cNvPr id="4" name="Footer Placeholder 3">
            <a:extLst>
              <a:ext uri="{FF2B5EF4-FFF2-40B4-BE49-F238E27FC236}">
                <a16:creationId xmlns:a16="http://schemas.microsoft.com/office/drawing/2014/main" id="{094B1AC1-114C-47C8-8B05-E7A4B92F385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95B66EA-3775-4C5D-A804-019F66978B8C}"/>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10" name="Text Placeholder 9">
            <a:extLst>
              <a:ext uri="{FF2B5EF4-FFF2-40B4-BE49-F238E27FC236}">
                <a16:creationId xmlns:a16="http://schemas.microsoft.com/office/drawing/2014/main" id="{E68FCAA4-2BEA-4E30-95B2-27477AD99DA3}"/>
              </a:ext>
            </a:extLst>
          </p:cNvPr>
          <p:cNvSpPr>
            <a:spLocks noGrp="1"/>
          </p:cNvSpPr>
          <p:nvPr>
            <p:ph type="body" sz="quarter" idx="14" hasCustomPrompt="1"/>
          </p:nvPr>
        </p:nvSpPr>
        <p:spPr>
          <a:xfrm>
            <a:off x="414731" y="6487405"/>
            <a:ext cx="11062326" cy="229289"/>
          </a:xfrm>
        </p:spPr>
        <p:txBody>
          <a:bodyPr anchor="ctr">
            <a:noAutofit/>
          </a:bodyPr>
          <a:lstStyle>
            <a:lvl1pPr marL="0" indent="0">
              <a:buNone/>
              <a:defRPr sz="900"/>
            </a:lvl1pPr>
          </a:lstStyle>
          <a:p>
            <a:pPr lvl="0"/>
            <a:r>
              <a:rPr lang="en-US" dirty="0"/>
              <a:t>Click to insert source</a:t>
            </a:r>
          </a:p>
        </p:txBody>
      </p:sp>
      <p:sp>
        <p:nvSpPr>
          <p:cNvPr id="8" name="Text Placeholder 2">
            <a:extLst>
              <a:ext uri="{FF2B5EF4-FFF2-40B4-BE49-F238E27FC236}">
                <a16:creationId xmlns:a16="http://schemas.microsoft.com/office/drawing/2014/main" id="{80574371-2155-7B46-B76D-196C2BBAF7E1}"/>
              </a:ext>
            </a:extLst>
          </p:cNvPr>
          <p:cNvSpPr>
            <a:spLocks noGrp="1"/>
          </p:cNvSpPr>
          <p:nvPr>
            <p:ph idx="1"/>
          </p:nvPr>
        </p:nvSpPr>
        <p:spPr>
          <a:xfrm>
            <a:off x="726440" y="864066"/>
            <a:ext cx="10746423" cy="5350092"/>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129930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mment &amp; Conten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18760"/>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smtClean="0"/>
              <a:t>Click to edit Master title style</a:t>
            </a:r>
            <a:endParaRPr lang="en-US"/>
          </a:p>
        </p:txBody>
      </p:sp>
      <p:sp>
        <p:nvSpPr>
          <p:cNvPr id="4" name="Content Placeholder 3">
            <a:extLst>
              <a:ext uri="{FF2B5EF4-FFF2-40B4-BE49-F238E27FC236}">
                <a16:creationId xmlns:a16="http://schemas.microsoft.com/office/drawing/2014/main" id="{C1F9908A-F45E-4536-A66F-C17019D0FB1B}"/>
              </a:ext>
            </a:extLst>
          </p:cNvPr>
          <p:cNvSpPr>
            <a:spLocks noGrp="1"/>
          </p:cNvSpPr>
          <p:nvPr>
            <p:ph sz="quarter" idx="11"/>
          </p:nvPr>
        </p:nvSpPr>
        <p:spPr>
          <a:xfrm>
            <a:off x="723900" y="1594023"/>
            <a:ext cx="10736263" cy="462002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a:extLst>
              <a:ext uri="{FF2B5EF4-FFF2-40B4-BE49-F238E27FC236}">
                <a16:creationId xmlns:a16="http://schemas.microsoft.com/office/drawing/2014/main" id="{F3765AD5-5DCF-4357-911E-7ABA137D46F7}"/>
              </a:ext>
            </a:extLst>
          </p:cNvPr>
          <p:cNvSpPr>
            <a:spLocks noGrp="1"/>
          </p:cNvSpPr>
          <p:nvPr>
            <p:ph type="dt" sz="half" idx="12"/>
          </p:nvPr>
        </p:nvSpPr>
        <p:spPr/>
        <p:txBody>
          <a:bodyPr/>
          <a:lstStyle/>
          <a:p>
            <a:fld id="{0CA7E49E-8520-48E1-8F47-DB7F5A59BF68}" type="datetime1">
              <a:rPr lang="en-US" smtClean="0"/>
              <a:t>4/23/2023</a:t>
            </a:fld>
            <a:endParaRPr lang="en-US" dirty="0"/>
          </a:p>
        </p:txBody>
      </p:sp>
      <p:sp>
        <p:nvSpPr>
          <p:cNvPr id="9" name="Footer Placeholder 8">
            <a:extLst>
              <a:ext uri="{FF2B5EF4-FFF2-40B4-BE49-F238E27FC236}">
                <a16:creationId xmlns:a16="http://schemas.microsoft.com/office/drawing/2014/main" id="{D384960A-D1FE-41FC-BB73-F25235116EDF}"/>
              </a:ext>
            </a:extLst>
          </p:cNvPr>
          <p:cNvSpPr>
            <a:spLocks noGrp="1"/>
          </p:cNvSpPr>
          <p:nvPr>
            <p:ph type="ftr" sz="quarter" idx="13"/>
          </p:nvPr>
        </p:nvSpPr>
        <p:spPr/>
        <p:txBody>
          <a:bodyPr/>
          <a:lstStyle/>
          <a:p>
            <a:endParaRPr lang="en-US" dirty="0"/>
          </a:p>
        </p:txBody>
      </p:sp>
      <p:sp>
        <p:nvSpPr>
          <p:cNvPr id="12" name="Slide Number Placeholder 11">
            <a:extLst>
              <a:ext uri="{FF2B5EF4-FFF2-40B4-BE49-F238E27FC236}">
                <a16:creationId xmlns:a16="http://schemas.microsoft.com/office/drawing/2014/main" id="{747A08FA-ED7A-4AC7-9BE4-0887710F9CA3}"/>
              </a:ext>
            </a:extLst>
          </p:cNvPr>
          <p:cNvSpPr>
            <a:spLocks noGrp="1"/>
          </p:cNvSpPr>
          <p:nvPr>
            <p:ph type="sldNum" sz="quarter" idx="14"/>
          </p:nvPr>
        </p:nvSpPr>
        <p:spPr/>
        <p:txBody>
          <a:bodyPr/>
          <a:lstStyle/>
          <a:p>
            <a:fld id="{DA135043-C596-1A48-8BDA-03EB29A64DF4}" type="slidenum">
              <a:rPr lang="en-US" smtClean="0"/>
              <a:pPr/>
              <a:t>‹#›</a:t>
            </a:fld>
            <a:endParaRPr lang="en-US" dirty="0"/>
          </a:p>
        </p:txBody>
      </p:sp>
      <p:sp>
        <p:nvSpPr>
          <p:cNvPr id="13" name="Text Placeholder 9">
            <a:extLst>
              <a:ext uri="{FF2B5EF4-FFF2-40B4-BE49-F238E27FC236}">
                <a16:creationId xmlns:a16="http://schemas.microsoft.com/office/drawing/2014/main" id="{861152F1-393A-49AB-BEC8-F522A9F48D02}"/>
              </a:ext>
            </a:extLst>
          </p:cNvPr>
          <p:cNvSpPr>
            <a:spLocks noGrp="1"/>
          </p:cNvSpPr>
          <p:nvPr>
            <p:ph type="body" sz="quarter" idx="15"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2971571145"/>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mment ">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18760"/>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smtClean="0"/>
              <a:t>Click to edit Master title style</a:t>
            </a:r>
            <a:endParaRPr lang="en-US"/>
          </a:p>
        </p:txBody>
      </p:sp>
      <p:sp>
        <p:nvSpPr>
          <p:cNvPr id="5" name="Date Placeholder 4">
            <a:extLst>
              <a:ext uri="{FF2B5EF4-FFF2-40B4-BE49-F238E27FC236}">
                <a16:creationId xmlns:a16="http://schemas.microsoft.com/office/drawing/2014/main" id="{F3765AD5-5DCF-4357-911E-7ABA137D46F7}"/>
              </a:ext>
            </a:extLst>
          </p:cNvPr>
          <p:cNvSpPr>
            <a:spLocks noGrp="1"/>
          </p:cNvSpPr>
          <p:nvPr>
            <p:ph type="dt" sz="half" idx="12"/>
          </p:nvPr>
        </p:nvSpPr>
        <p:spPr/>
        <p:txBody>
          <a:bodyPr/>
          <a:lstStyle/>
          <a:p>
            <a:fld id="{0CA7E49E-8520-48E1-8F47-DB7F5A59BF68}" type="datetime1">
              <a:rPr lang="en-US" smtClean="0"/>
              <a:t>4/23/2023</a:t>
            </a:fld>
            <a:endParaRPr lang="en-US" dirty="0"/>
          </a:p>
        </p:txBody>
      </p:sp>
      <p:sp>
        <p:nvSpPr>
          <p:cNvPr id="9" name="Footer Placeholder 8">
            <a:extLst>
              <a:ext uri="{FF2B5EF4-FFF2-40B4-BE49-F238E27FC236}">
                <a16:creationId xmlns:a16="http://schemas.microsoft.com/office/drawing/2014/main" id="{D384960A-D1FE-41FC-BB73-F25235116EDF}"/>
              </a:ext>
            </a:extLst>
          </p:cNvPr>
          <p:cNvSpPr>
            <a:spLocks noGrp="1"/>
          </p:cNvSpPr>
          <p:nvPr>
            <p:ph type="ftr" sz="quarter" idx="13"/>
          </p:nvPr>
        </p:nvSpPr>
        <p:spPr/>
        <p:txBody>
          <a:bodyPr/>
          <a:lstStyle/>
          <a:p>
            <a:endParaRPr lang="en-US" dirty="0"/>
          </a:p>
        </p:txBody>
      </p:sp>
      <p:sp>
        <p:nvSpPr>
          <p:cNvPr id="12" name="Slide Number Placeholder 11">
            <a:extLst>
              <a:ext uri="{FF2B5EF4-FFF2-40B4-BE49-F238E27FC236}">
                <a16:creationId xmlns:a16="http://schemas.microsoft.com/office/drawing/2014/main" id="{747A08FA-ED7A-4AC7-9BE4-0887710F9CA3}"/>
              </a:ext>
            </a:extLst>
          </p:cNvPr>
          <p:cNvSpPr>
            <a:spLocks noGrp="1"/>
          </p:cNvSpPr>
          <p:nvPr>
            <p:ph type="sldNum" sz="quarter" idx="14"/>
          </p:nvPr>
        </p:nvSpPr>
        <p:spPr/>
        <p:txBody>
          <a:bodyPr/>
          <a:lstStyle/>
          <a:p>
            <a:fld id="{DA135043-C596-1A48-8BDA-03EB29A64DF4}" type="slidenum">
              <a:rPr lang="en-US" smtClean="0"/>
              <a:pPr/>
              <a:t>‹#›</a:t>
            </a:fld>
            <a:endParaRPr lang="en-US" dirty="0"/>
          </a:p>
        </p:txBody>
      </p:sp>
      <p:sp>
        <p:nvSpPr>
          <p:cNvPr id="13" name="Text Placeholder 9">
            <a:extLst>
              <a:ext uri="{FF2B5EF4-FFF2-40B4-BE49-F238E27FC236}">
                <a16:creationId xmlns:a16="http://schemas.microsoft.com/office/drawing/2014/main" id="{861152F1-393A-49AB-BEC8-F522A9F48D02}"/>
              </a:ext>
            </a:extLst>
          </p:cNvPr>
          <p:cNvSpPr>
            <a:spLocks noGrp="1"/>
          </p:cNvSpPr>
          <p:nvPr>
            <p:ph type="body" sz="quarter" idx="15"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2585388074"/>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mment, Content &amp; Takeawa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21792"/>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smtClean="0"/>
              <a:t>Click to edit Master title style</a:t>
            </a:r>
            <a:endParaRPr lang="en-US"/>
          </a:p>
        </p:txBody>
      </p:sp>
      <p:sp>
        <p:nvSpPr>
          <p:cNvPr id="4" name="Content Placeholder 3">
            <a:extLst>
              <a:ext uri="{FF2B5EF4-FFF2-40B4-BE49-F238E27FC236}">
                <a16:creationId xmlns:a16="http://schemas.microsoft.com/office/drawing/2014/main" id="{C1F9908A-F45E-4536-A66F-C17019D0FB1B}"/>
              </a:ext>
            </a:extLst>
          </p:cNvPr>
          <p:cNvSpPr>
            <a:spLocks noGrp="1"/>
          </p:cNvSpPr>
          <p:nvPr>
            <p:ph sz="quarter" idx="11"/>
          </p:nvPr>
        </p:nvSpPr>
        <p:spPr>
          <a:xfrm>
            <a:off x="723900" y="1594024"/>
            <a:ext cx="10736263" cy="416204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a:extLst>
              <a:ext uri="{FF2B5EF4-FFF2-40B4-BE49-F238E27FC236}">
                <a16:creationId xmlns:a16="http://schemas.microsoft.com/office/drawing/2014/main" id="{559A12B2-10CC-4DF5-85A0-4C50A7F73830}"/>
              </a:ext>
            </a:extLst>
          </p:cNvPr>
          <p:cNvSpPr>
            <a:spLocks noGrp="1"/>
          </p:cNvSpPr>
          <p:nvPr>
            <p:ph type="body" sz="quarter" idx="12" hasCustomPrompt="1"/>
          </p:nvPr>
        </p:nvSpPr>
        <p:spPr>
          <a:xfrm>
            <a:off x="723900" y="5872381"/>
            <a:ext cx="10748963" cy="338554"/>
          </a:xfrm>
          <a:solidFill>
            <a:schemeClr val="accent3"/>
          </a:solidFill>
          <a:ln>
            <a:noFill/>
          </a:ln>
        </p:spPr>
        <p:txBody>
          <a:bodyPr anchor="b">
            <a:spAutoFit/>
          </a:bodyPr>
          <a:lstStyle>
            <a:lvl1pPr marL="0" indent="0" algn="ctr">
              <a:buNone/>
              <a:defRPr sz="1600" b="1">
                <a:solidFill>
                  <a:schemeClr val="bg1"/>
                </a:solidFill>
              </a:defRPr>
            </a:lvl1pPr>
          </a:lstStyle>
          <a:p>
            <a:pPr lvl="0"/>
            <a:r>
              <a:rPr lang="en-US" dirty="0"/>
              <a:t>Click to add brief takeaway comment </a:t>
            </a:r>
          </a:p>
        </p:txBody>
      </p:sp>
      <p:sp>
        <p:nvSpPr>
          <p:cNvPr id="7" name="Date Placeholder 6">
            <a:extLst>
              <a:ext uri="{FF2B5EF4-FFF2-40B4-BE49-F238E27FC236}">
                <a16:creationId xmlns:a16="http://schemas.microsoft.com/office/drawing/2014/main" id="{7CDC5C61-014B-44AC-BEC8-4673574A5BD7}"/>
              </a:ext>
            </a:extLst>
          </p:cNvPr>
          <p:cNvSpPr>
            <a:spLocks noGrp="1"/>
          </p:cNvSpPr>
          <p:nvPr>
            <p:ph type="dt" sz="half" idx="13"/>
          </p:nvPr>
        </p:nvSpPr>
        <p:spPr/>
        <p:txBody>
          <a:bodyPr/>
          <a:lstStyle/>
          <a:p>
            <a:fld id="{0CA7E49E-8520-48E1-8F47-DB7F5A59BF68}" type="datetime1">
              <a:rPr lang="en-US" smtClean="0"/>
              <a:t>4/23/2023</a:t>
            </a:fld>
            <a:endParaRPr lang="en-US" dirty="0"/>
          </a:p>
        </p:txBody>
      </p:sp>
      <p:sp>
        <p:nvSpPr>
          <p:cNvPr id="8" name="Footer Placeholder 7">
            <a:extLst>
              <a:ext uri="{FF2B5EF4-FFF2-40B4-BE49-F238E27FC236}">
                <a16:creationId xmlns:a16="http://schemas.microsoft.com/office/drawing/2014/main" id="{E3FAED47-4BF3-4E47-901A-B7F7785EFA48}"/>
              </a:ext>
            </a:extLst>
          </p:cNvPr>
          <p:cNvSpPr>
            <a:spLocks noGrp="1"/>
          </p:cNvSpPr>
          <p:nvPr>
            <p:ph type="ftr" sz="quarter" idx="14"/>
          </p:nvPr>
        </p:nvSpPr>
        <p:spPr/>
        <p:txBody>
          <a:bodyPr/>
          <a:lstStyle/>
          <a:p>
            <a:endParaRPr lang="en-US" dirty="0"/>
          </a:p>
        </p:txBody>
      </p:sp>
      <p:sp>
        <p:nvSpPr>
          <p:cNvPr id="9" name="Slide Number Placeholder 8">
            <a:extLst>
              <a:ext uri="{FF2B5EF4-FFF2-40B4-BE49-F238E27FC236}">
                <a16:creationId xmlns:a16="http://schemas.microsoft.com/office/drawing/2014/main" id="{86BB173D-9D21-4D8B-8CC4-23166ACB2E20}"/>
              </a:ext>
            </a:extLst>
          </p:cNvPr>
          <p:cNvSpPr>
            <a:spLocks noGrp="1"/>
          </p:cNvSpPr>
          <p:nvPr>
            <p:ph type="sldNum" sz="quarter" idx="15"/>
          </p:nvPr>
        </p:nvSpPr>
        <p:spPr/>
        <p:txBody>
          <a:bodyPr/>
          <a:lstStyle/>
          <a:p>
            <a:fld id="{DA135043-C596-1A48-8BDA-03EB29A64DF4}" type="slidenum">
              <a:rPr lang="en-US" smtClean="0"/>
              <a:pPr/>
              <a:t>‹#›</a:t>
            </a:fld>
            <a:endParaRPr lang="en-US" dirty="0"/>
          </a:p>
        </p:txBody>
      </p:sp>
      <p:sp>
        <p:nvSpPr>
          <p:cNvPr id="11" name="Text Placeholder 9">
            <a:extLst>
              <a:ext uri="{FF2B5EF4-FFF2-40B4-BE49-F238E27FC236}">
                <a16:creationId xmlns:a16="http://schemas.microsoft.com/office/drawing/2014/main" id="{5AB74AC9-F2E1-4039-B804-AD25D459466C}"/>
              </a:ext>
            </a:extLst>
          </p:cNvPr>
          <p:cNvSpPr>
            <a:spLocks noGrp="1"/>
          </p:cNvSpPr>
          <p:nvPr>
            <p:ph type="body" sz="quarter" idx="16"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3634821354"/>
      </p:ext>
    </p:extLst>
  </p:cSld>
  <p:clrMapOvr>
    <a:masterClrMapping/>
  </p:clrMapOvr>
  <p:hf hdr="0" ftr="0" dt="0"/>
  <p:extLst>
    <p:ext uri="{DCECCB84-F9BA-43D5-87BE-67443E8EF086}">
      <p15:sldGuideLst xmlns:p15="http://schemas.microsoft.com/office/powerpoint/2012/main">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8C14-DF60-0E40-9330-77B6B8D71A97}"/>
              </a:ext>
            </a:extLst>
          </p:cNvPr>
          <p:cNvSpPr>
            <a:spLocks noGrp="1"/>
          </p:cNvSpPr>
          <p:nvPr>
            <p:ph type="title"/>
          </p:nvPr>
        </p:nvSpPr>
        <p:spPr/>
        <p:txBody>
          <a:bodyPr/>
          <a:lstStyle/>
          <a:p>
            <a:r>
              <a:rPr lang="en-US" smtClean="0"/>
              <a:t>Click to edit Master title style</a:t>
            </a:r>
            <a:endParaRPr lang="en-US"/>
          </a:p>
        </p:txBody>
      </p:sp>
      <p:sp>
        <p:nvSpPr>
          <p:cNvPr id="3" name="Date Placeholder 2">
            <a:extLst>
              <a:ext uri="{FF2B5EF4-FFF2-40B4-BE49-F238E27FC236}">
                <a16:creationId xmlns:a16="http://schemas.microsoft.com/office/drawing/2014/main" id="{CEB4787D-6832-7F4C-9B09-AD04F6AF8FF3}"/>
              </a:ext>
            </a:extLst>
          </p:cNvPr>
          <p:cNvSpPr>
            <a:spLocks noGrp="1"/>
          </p:cNvSpPr>
          <p:nvPr>
            <p:ph type="dt" sz="half" idx="10"/>
          </p:nvPr>
        </p:nvSpPr>
        <p:spPr/>
        <p:txBody>
          <a:bodyPr/>
          <a:lstStyle/>
          <a:p>
            <a:fld id="{C51F7E7B-293E-4B5F-8863-9F9AB32DCF23}" type="datetime1">
              <a:rPr lang="en-US" smtClean="0"/>
              <a:t>4/23/2023</a:t>
            </a:fld>
            <a:endParaRPr lang="en-US" dirty="0"/>
          </a:p>
        </p:txBody>
      </p:sp>
      <p:sp>
        <p:nvSpPr>
          <p:cNvPr id="4" name="Footer Placeholder 3">
            <a:extLst>
              <a:ext uri="{FF2B5EF4-FFF2-40B4-BE49-F238E27FC236}">
                <a16:creationId xmlns:a16="http://schemas.microsoft.com/office/drawing/2014/main" id="{3E4BDD90-4276-8045-BFBE-5971D9862E6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63D4DE35-E35E-DB4E-85F2-587208CA69F3}"/>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6" name="Rectangle 5" hidden="1">
            <a:extLst>
              <a:ext uri="{FF2B5EF4-FFF2-40B4-BE49-F238E27FC236}">
                <a16:creationId xmlns:a16="http://schemas.microsoft.com/office/drawing/2014/main" id="{655C45BA-3E16-4DCE-B3EB-40CABD42A12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47800525"/>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8C14-DF60-0E40-9330-77B6B8D71A97}"/>
              </a:ext>
            </a:extLst>
          </p:cNvPr>
          <p:cNvSpPr>
            <a:spLocks noGrp="1"/>
          </p:cNvSpPr>
          <p:nvPr>
            <p:ph type="title"/>
          </p:nvPr>
        </p:nvSpPr>
        <p:spPr/>
        <p:txBody>
          <a:bodyPr/>
          <a:lstStyle/>
          <a:p>
            <a:r>
              <a:rPr lang="en-US" smtClean="0"/>
              <a:t>Click to edit Master title style</a:t>
            </a:r>
            <a:endParaRPr lang="en-US"/>
          </a:p>
        </p:txBody>
      </p:sp>
      <p:sp>
        <p:nvSpPr>
          <p:cNvPr id="3" name="Date Placeholder 2">
            <a:extLst>
              <a:ext uri="{FF2B5EF4-FFF2-40B4-BE49-F238E27FC236}">
                <a16:creationId xmlns:a16="http://schemas.microsoft.com/office/drawing/2014/main" id="{CEB4787D-6832-7F4C-9B09-AD04F6AF8FF3}"/>
              </a:ext>
            </a:extLst>
          </p:cNvPr>
          <p:cNvSpPr>
            <a:spLocks noGrp="1"/>
          </p:cNvSpPr>
          <p:nvPr>
            <p:ph type="dt" sz="half" idx="10"/>
          </p:nvPr>
        </p:nvSpPr>
        <p:spPr/>
        <p:txBody>
          <a:bodyPr/>
          <a:lstStyle/>
          <a:p>
            <a:fld id="{C51F7E7B-293E-4B5F-8863-9F9AB32DCF23}" type="datetime1">
              <a:rPr lang="en-US" smtClean="0"/>
              <a:t>4/23/2023</a:t>
            </a:fld>
            <a:endParaRPr lang="en-US" dirty="0"/>
          </a:p>
        </p:txBody>
      </p:sp>
      <p:sp>
        <p:nvSpPr>
          <p:cNvPr id="4" name="Footer Placeholder 3">
            <a:extLst>
              <a:ext uri="{FF2B5EF4-FFF2-40B4-BE49-F238E27FC236}">
                <a16:creationId xmlns:a16="http://schemas.microsoft.com/office/drawing/2014/main" id="{3E4BDD90-4276-8045-BFBE-5971D9862E6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63D4DE35-E35E-DB4E-85F2-587208CA69F3}"/>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6" name="Rectangle 5" hidden="1">
            <a:extLst>
              <a:ext uri="{FF2B5EF4-FFF2-40B4-BE49-F238E27FC236}">
                <a16:creationId xmlns:a16="http://schemas.microsoft.com/office/drawing/2014/main" id="{655C45BA-3E16-4DCE-B3EB-40CABD42A12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9">
            <a:extLst>
              <a:ext uri="{FF2B5EF4-FFF2-40B4-BE49-F238E27FC236}">
                <a16:creationId xmlns:a16="http://schemas.microsoft.com/office/drawing/2014/main" id="{D2EA2D54-068C-4D76-A569-C2F6D589C735}"/>
              </a:ext>
            </a:extLst>
          </p:cNvPr>
          <p:cNvSpPr>
            <a:spLocks noGrp="1"/>
          </p:cNvSpPr>
          <p:nvPr>
            <p:ph type="body" sz="quarter" idx="14"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83555181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7FB66FA-9E82-8F4C-902B-D968EBD0072D}"/>
              </a:ext>
            </a:extLst>
          </p:cNvPr>
          <p:cNvSpPr>
            <a:spLocks noGrp="1"/>
          </p:cNvSpPr>
          <p:nvPr>
            <p:ph type="body" idx="1"/>
          </p:nvPr>
        </p:nvSpPr>
        <p:spPr>
          <a:xfrm>
            <a:off x="726569" y="860815"/>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smtClean="0"/>
              <a:t>Edit Master text styles</a:t>
            </a:r>
          </a:p>
        </p:txBody>
      </p:sp>
      <p:sp>
        <p:nvSpPr>
          <p:cNvPr id="4" name="Content Placeholder 3">
            <a:extLst>
              <a:ext uri="{FF2B5EF4-FFF2-40B4-BE49-F238E27FC236}">
                <a16:creationId xmlns:a16="http://schemas.microsoft.com/office/drawing/2014/main" id="{53E423E8-A085-594A-8DB0-B04EE30ADC4D}"/>
              </a:ext>
            </a:extLst>
          </p:cNvPr>
          <p:cNvSpPr>
            <a:spLocks noGrp="1"/>
          </p:cNvSpPr>
          <p:nvPr>
            <p:ph sz="half" idx="2"/>
          </p:nvPr>
        </p:nvSpPr>
        <p:spPr>
          <a:xfrm>
            <a:off x="726569" y="1641987"/>
            <a:ext cx="5285232" cy="4572547"/>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a:extLst>
              <a:ext uri="{FF2B5EF4-FFF2-40B4-BE49-F238E27FC236}">
                <a16:creationId xmlns:a16="http://schemas.microsoft.com/office/drawing/2014/main" id="{53A97721-B828-5F49-9ECE-3D1CE066C8DF}"/>
              </a:ext>
            </a:extLst>
          </p:cNvPr>
          <p:cNvSpPr>
            <a:spLocks noGrp="1"/>
          </p:cNvSpPr>
          <p:nvPr>
            <p:ph type="body" sz="quarter" idx="3"/>
          </p:nvPr>
        </p:nvSpPr>
        <p:spPr>
          <a:xfrm>
            <a:off x="6187631" y="860815"/>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smtClean="0"/>
              <a:t>Edit Master text styles</a:t>
            </a:r>
          </a:p>
        </p:txBody>
      </p:sp>
      <p:sp>
        <p:nvSpPr>
          <p:cNvPr id="6" name="Content Placeholder 5">
            <a:extLst>
              <a:ext uri="{FF2B5EF4-FFF2-40B4-BE49-F238E27FC236}">
                <a16:creationId xmlns:a16="http://schemas.microsoft.com/office/drawing/2014/main" id="{FA9BD7FE-E79D-8C4D-8814-8B397878DBF5}"/>
              </a:ext>
            </a:extLst>
          </p:cNvPr>
          <p:cNvSpPr>
            <a:spLocks noGrp="1"/>
          </p:cNvSpPr>
          <p:nvPr>
            <p:ph sz="quarter" idx="4"/>
          </p:nvPr>
        </p:nvSpPr>
        <p:spPr>
          <a:xfrm>
            <a:off x="6187631" y="1641987"/>
            <a:ext cx="5285232" cy="4572547"/>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a:extLst>
              <a:ext uri="{FF2B5EF4-FFF2-40B4-BE49-F238E27FC236}">
                <a16:creationId xmlns:a16="http://schemas.microsoft.com/office/drawing/2014/main" id="{747A3AA7-B6AF-F040-9CFC-AF513FBC68DF}"/>
              </a:ext>
            </a:extLst>
          </p:cNvPr>
          <p:cNvSpPr>
            <a:spLocks noGrp="1"/>
          </p:cNvSpPr>
          <p:nvPr>
            <p:ph type="dt" sz="half" idx="10"/>
          </p:nvPr>
        </p:nvSpPr>
        <p:spPr/>
        <p:txBody>
          <a:bodyPr/>
          <a:lstStyle/>
          <a:p>
            <a:fld id="{54837CB5-678C-49D9-AAD0-CEAADF85A933}" type="datetime1">
              <a:rPr lang="en-US" smtClean="0"/>
              <a:t>4/23/2023</a:t>
            </a:fld>
            <a:endParaRPr lang="en-US" dirty="0"/>
          </a:p>
        </p:txBody>
      </p:sp>
      <p:sp>
        <p:nvSpPr>
          <p:cNvPr id="8" name="Footer Placeholder 7">
            <a:extLst>
              <a:ext uri="{FF2B5EF4-FFF2-40B4-BE49-F238E27FC236}">
                <a16:creationId xmlns:a16="http://schemas.microsoft.com/office/drawing/2014/main" id="{70C5EF70-7E06-D24A-9577-EFEF1CCFECA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F9B6EAC-EAE4-D54B-89FA-D3C309D978F8}"/>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10" name="Title 9">
            <a:extLst>
              <a:ext uri="{FF2B5EF4-FFF2-40B4-BE49-F238E27FC236}">
                <a16:creationId xmlns:a16="http://schemas.microsoft.com/office/drawing/2014/main" id="{94433DBB-F96C-4821-AF9A-C30C09039B1E}"/>
              </a:ext>
            </a:extLst>
          </p:cNvPr>
          <p:cNvSpPr>
            <a:spLocks noGrp="1"/>
          </p:cNvSpPr>
          <p:nvPr>
            <p:ph type="title"/>
          </p:nvPr>
        </p:nvSpPr>
        <p:spPr/>
        <p:txBody>
          <a:bodyPr/>
          <a:lstStyle/>
          <a:p>
            <a:r>
              <a:rPr lang="en-US" smtClean="0"/>
              <a:t>Click to edit Master title style</a:t>
            </a:r>
            <a:endParaRPr lang="en-US" dirty="0"/>
          </a:p>
        </p:txBody>
      </p:sp>
      <p:sp>
        <p:nvSpPr>
          <p:cNvPr id="11" name="Rectangle 10" hidden="1">
            <a:extLst>
              <a:ext uri="{FF2B5EF4-FFF2-40B4-BE49-F238E27FC236}">
                <a16:creationId xmlns:a16="http://schemas.microsoft.com/office/drawing/2014/main" id="{B9BA8268-5A7D-424D-A57A-7813D1343759}"/>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60407916"/>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177D9A-72FE-46B9-AEBD-B5A3F8C28AB8}"/>
              </a:ext>
            </a:extLst>
          </p:cNvPr>
          <p:cNvSpPr/>
          <p:nvPr userDrawn="1"/>
        </p:nvSpPr>
        <p:spPr>
          <a:xfrm>
            <a:off x="0" y="6328227"/>
            <a:ext cx="12192000" cy="52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3" dirty="0"/>
          </a:p>
        </p:txBody>
      </p:sp>
      <p:sp>
        <p:nvSpPr>
          <p:cNvPr id="2" name="Title Placeholder 1">
            <a:extLst>
              <a:ext uri="{FF2B5EF4-FFF2-40B4-BE49-F238E27FC236}">
                <a16:creationId xmlns:a16="http://schemas.microsoft.com/office/drawing/2014/main" id="{2BEF78B0-9B63-B343-8CF8-D6FA3E653D6E}"/>
              </a:ext>
            </a:extLst>
          </p:cNvPr>
          <p:cNvSpPr>
            <a:spLocks noGrp="1"/>
          </p:cNvSpPr>
          <p:nvPr>
            <p:ph type="title"/>
          </p:nvPr>
        </p:nvSpPr>
        <p:spPr>
          <a:xfrm>
            <a:off x="414731" y="141306"/>
            <a:ext cx="11058132" cy="70974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a:extLst>
              <a:ext uri="{FF2B5EF4-FFF2-40B4-BE49-F238E27FC236}">
                <a16:creationId xmlns:a16="http://schemas.microsoft.com/office/drawing/2014/main" id="{C8CBED13-B6F8-5141-B58F-050DF52B712F}"/>
              </a:ext>
            </a:extLst>
          </p:cNvPr>
          <p:cNvSpPr>
            <a:spLocks noGrp="1"/>
          </p:cNvSpPr>
          <p:nvPr>
            <p:ph type="body"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198F29A0-61BB-E44C-B7FF-5C16AD3EB125}"/>
              </a:ext>
            </a:extLst>
          </p:cNvPr>
          <p:cNvSpPr>
            <a:spLocks noGrp="1"/>
          </p:cNvSpPr>
          <p:nvPr>
            <p:ph type="dt" sz="half" idx="2"/>
          </p:nvPr>
        </p:nvSpPr>
        <p:spPr>
          <a:xfrm>
            <a:off x="10647680" y="1"/>
            <a:ext cx="1544320" cy="139700"/>
          </a:xfrm>
          <a:prstGeom prst="rect">
            <a:avLst/>
          </a:prstGeom>
        </p:spPr>
        <p:txBody>
          <a:bodyPr vert="horz" lIns="45720" tIns="45720" rIns="45720" bIns="45720" rtlCol="0" anchor="ctr"/>
          <a:lstStyle>
            <a:lvl1pPr algn="r">
              <a:defRPr sz="667">
                <a:solidFill>
                  <a:schemeClr val="tx1">
                    <a:tint val="75000"/>
                  </a:schemeClr>
                </a:solidFill>
              </a:defRPr>
            </a:lvl1pPr>
          </a:lstStyle>
          <a:p>
            <a:fld id="{0CA7E49E-8520-48E1-8F47-DB7F5A59BF68}" type="datetime1">
              <a:rPr lang="en-US" smtClean="0"/>
              <a:t>4/23/2023</a:t>
            </a:fld>
            <a:endParaRPr lang="en-US" dirty="0"/>
          </a:p>
        </p:txBody>
      </p:sp>
      <p:sp>
        <p:nvSpPr>
          <p:cNvPr id="5" name="Footer Placeholder 4">
            <a:extLst>
              <a:ext uri="{FF2B5EF4-FFF2-40B4-BE49-F238E27FC236}">
                <a16:creationId xmlns:a16="http://schemas.microsoft.com/office/drawing/2014/main" id="{3AD0F4D9-A547-4F4E-AC0F-5C399BC3B033}"/>
              </a:ext>
            </a:extLst>
          </p:cNvPr>
          <p:cNvSpPr>
            <a:spLocks noGrp="1"/>
          </p:cNvSpPr>
          <p:nvPr>
            <p:ph type="ftr" sz="quarter" idx="3"/>
          </p:nvPr>
        </p:nvSpPr>
        <p:spPr>
          <a:xfrm>
            <a:off x="6191624" y="6422472"/>
            <a:ext cx="5403475" cy="365125"/>
          </a:xfrm>
          <a:prstGeom prst="rect">
            <a:avLst/>
          </a:prstGeom>
        </p:spPr>
        <p:txBody>
          <a:bodyPr vert="horz" lIns="91440" tIns="45720" rIns="91440" bIns="45720" rtlCol="0" anchor="ctr"/>
          <a:lstStyle>
            <a:lvl1pPr algn="r">
              <a:defRPr sz="1200">
                <a:solidFill>
                  <a:schemeClr val="tx2"/>
                </a:solidFill>
              </a:defRPr>
            </a:lvl1pPr>
          </a:lstStyle>
          <a:p>
            <a:endParaRPr lang="en-US" dirty="0"/>
          </a:p>
        </p:txBody>
      </p:sp>
      <p:sp>
        <p:nvSpPr>
          <p:cNvPr id="6" name="Slide Number Placeholder 5">
            <a:extLst>
              <a:ext uri="{FF2B5EF4-FFF2-40B4-BE49-F238E27FC236}">
                <a16:creationId xmlns:a16="http://schemas.microsoft.com/office/drawing/2014/main" id="{731F5B58-7BDD-B045-BC56-8AAF9C6490B8}"/>
              </a:ext>
            </a:extLst>
          </p:cNvPr>
          <p:cNvSpPr>
            <a:spLocks noGrp="1"/>
          </p:cNvSpPr>
          <p:nvPr>
            <p:ph type="sldNum" sz="quarter" idx="4"/>
          </p:nvPr>
        </p:nvSpPr>
        <p:spPr>
          <a:xfrm>
            <a:off x="11595099" y="6422472"/>
            <a:ext cx="556260" cy="365125"/>
          </a:xfrm>
          <a:prstGeom prst="rect">
            <a:avLst/>
          </a:prstGeom>
        </p:spPr>
        <p:txBody>
          <a:bodyPr vert="horz" lIns="91440" tIns="45720" rIns="91440" bIns="45720" rtlCol="0" anchor="ctr"/>
          <a:lstStyle>
            <a:lvl1pPr algn="ctr">
              <a:defRPr sz="1200" b="0">
                <a:solidFill>
                  <a:schemeClr val="tx2"/>
                </a:solidFill>
                <a:latin typeface="+mj-lt"/>
              </a:defRPr>
            </a:lvl1pPr>
          </a:lstStyle>
          <a:p>
            <a:fld id="{DA135043-C596-1A48-8BDA-03EB29A64DF4}" type="slidenum">
              <a:rPr lang="en-US" smtClean="0"/>
              <a:pPr/>
              <a:t>‹#›</a:t>
            </a:fld>
            <a:endParaRPr lang="en-US" dirty="0"/>
          </a:p>
        </p:txBody>
      </p:sp>
      <p:pic>
        <p:nvPicPr>
          <p:cNvPr id="17" name="Picture 16">
            <a:extLst>
              <a:ext uri="{FF2B5EF4-FFF2-40B4-BE49-F238E27FC236}">
                <a16:creationId xmlns:a16="http://schemas.microsoft.com/office/drawing/2014/main" id="{69842886-E591-4C2B-B61D-2C79206FA1DC}"/>
              </a:ext>
            </a:extLst>
          </p:cNvPr>
          <p:cNvPicPr>
            <a:picLocks noChangeAspect="1"/>
          </p:cNvPicPr>
          <p:nvPr userDrawn="1"/>
        </p:nvPicPr>
        <p:blipFill>
          <a:blip r:embed="rId24">
            <a:extLst>
              <a:ext uri="{96DAC541-7B7A-43D3-8B79-37D633B846F1}">
                <asvg:svgBlip xmlns="" xmlns:asvg="http://schemas.microsoft.com/office/drawing/2016/SVG/main" r:embed="rId25"/>
              </a:ext>
            </a:extLst>
          </a:blip>
          <a:srcRect/>
          <a:stretch/>
        </p:blipFill>
        <p:spPr>
          <a:xfrm>
            <a:off x="183314" y="6499687"/>
            <a:ext cx="190005" cy="190005"/>
          </a:xfrm>
          <a:prstGeom prst="rect">
            <a:avLst/>
          </a:prstGeom>
        </p:spPr>
      </p:pic>
      <p:sp>
        <p:nvSpPr>
          <p:cNvPr id="7" name="empower - DO NOT DELETE!!!" hidden="1">
            <a:extLst>
              <a:ext uri="{FF2B5EF4-FFF2-40B4-BE49-F238E27FC236}">
                <a16:creationId xmlns:a16="http://schemas.microsoft.com/office/drawing/2014/main" id="{5EC7EF95-615C-41BB-A2AA-2C599AE68A6C}"/>
              </a:ext>
            </a:extLst>
          </p:cNvPr>
          <p:cNvSpPr/>
          <p:nvPr userDrawn="1">
            <p:custDataLst>
              <p:tags r:id="rId23"/>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749588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6" r:id="rId3"/>
    <p:sldLayoutId id="2147483684" r:id="rId4"/>
    <p:sldLayoutId id="2147483688" r:id="rId5"/>
    <p:sldLayoutId id="2147483685" r:id="rId6"/>
    <p:sldLayoutId id="2147483666" r:id="rId7"/>
    <p:sldLayoutId id="2147483687" r:id="rId8"/>
    <p:sldLayoutId id="2147483665" r:id="rId9"/>
    <p:sldLayoutId id="2147483689" r:id="rId10"/>
    <p:sldLayoutId id="2147483664" r:id="rId11"/>
    <p:sldLayoutId id="2147483690" r:id="rId12"/>
    <p:sldLayoutId id="2147483691" r:id="rId13"/>
    <p:sldLayoutId id="2147483692" r:id="rId14"/>
    <p:sldLayoutId id="2147483679" r:id="rId15"/>
    <p:sldLayoutId id="2147483668" r:id="rId16"/>
    <p:sldLayoutId id="2147483667" r:id="rId17"/>
    <p:sldLayoutId id="2147483680" r:id="rId18"/>
    <p:sldLayoutId id="2147483663" r:id="rId19"/>
    <p:sldLayoutId id="2147483677" r:id="rId20"/>
    <p:sldLayoutId id="2147483683" r:id="rId21"/>
  </p:sldLayoutIdLst>
  <p:hf hdr="0" ftr="0" dt="0"/>
  <p:txStyles>
    <p:titleStyle>
      <a:lvl1pPr algn="l" defTabSz="1306218"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230188" indent="-230188" algn="l" defTabSz="1306218" rtl="0" eaLnBrk="1" latinLnBrk="0" hangingPunct="1">
        <a:lnSpc>
          <a:spcPct val="90000"/>
        </a:lnSpc>
        <a:spcBef>
          <a:spcPts val="0"/>
        </a:spcBef>
        <a:spcAft>
          <a:spcPts val="800"/>
        </a:spcAft>
        <a:buFont typeface="Arial" panose="020B0604020202020204" pitchFamily="34" charset="0"/>
        <a:buChar char="•"/>
        <a:defRPr sz="2000" b="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306218" rtl="0" eaLnBrk="1" latinLnBrk="0" hangingPunct="1">
        <a:defRPr sz="1200" kern="1200">
          <a:solidFill>
            <a:schemeClr val="tx1"/>
          </a:solidFill>
          <a:latin typeface="+mn-lt"/>
          <a:ea typeface="+mn-ea"/>
          <a:cs typeface="+mn-cs"/>
        </a:defRPr>
      </a:lvl1pPr>
      <a:lvl2pPr marL="653109" algn="l" defTabSz="1306218" rtl="0" eaLnBrk="1" latinLnBrk="0" hangingPunct="1">
        <a:defRPr sz="1200" kern="1200">
          <a:solidFill>
            <a:schemeClr val="tx1"/>
          </a:solidFill>
          <a:latin typeface="+mn-lt"/>
          <a:ea typeface="+mn-ea"/>
          <a:cs typeface="+mn-cs"/>
        </a:defRPr>
      </a:lvl2pPr>
      <a:lvl3pPr marL="1306218" algn="l" defTabSz="1306218" rtl="0" eaLnBrk="1" latinLnBrk="0" hangingPunct="1">
        <a:defRPr sz="1200" kern="1200">
          <a:solidFill>
            <a:schemeClr val="tx1"/>
          </a:solidFill>
          <a:latin typeface="+mn-lt"/>
          <a:ea typeface="+mn-ea"/>
          <a:cs typeface="+mn-cs"/>
        </a:defRPr>
      </a:lvl3pPr>
      <a:lvl4pPr marL="1959327" algn="l" defTabSz="1306218" rtl="0" eaLnBrk="1" latinLnBrk="0" hangingPunct="1">
        <a:defRPr sz="1200" kern="1200">
          <a:solidFill>
            <a:schemeClr val="tx1"/>
          </a:solidFill>
          <a:latin typeface="+mn-lt"/>
          <a:ea typeface="+mn-ea"/>
          <a:cs typeface="+mn-cs"/>
        </a:defRPr>
      </a:lvl4pPr>
      <a:lvl5pPr marL="2612436" algn="l" defTabSz="1306218" rtl="0" eaLnBrk="1" latinLnBrk="0" hangingPunct="1">
        <a:defRPr sz="1200" kern="1200">
          <a:solidFill>
            <a:schemeClr val="tx1"/>
          </a:solidFill>
          <a:latin typeface="+mn-lt"/>
          <a:ea typeface="+mn-ea"/>
          <a:cs typeface="+mn-cs"/>
        </a:defRPr>
      </a:lvl5pPr>
      <a:lvl6pPr marL="3265545" algn="l" defTabSz="1306218" rtl="0" eaLnBrk="1" latinLnBrk="0" hangingPunct="1">
        <a:defRPr sz="1200" kern="1200">
          <a:solidFill>
            <a:schemeClr val="tx1"/>
          </a:solidFill>
          <a:latin typeface="+mn-lt"/>
          <a:ea typeface="+mn-ea"/>
          <a:cs typeface="+mn-cs"/>
        </a:defRPr>
      </a:lvl6pPr>
      <a:lvl7pPr marL="3918654" algn="l" defTabSz="1306218" rtl="0" eaLnBrk="1" latinLnBrk="0" hangingPunct="1">
        <a:defRPr sz="1200" kern="1200">
          <a:solidFill>
            <a:schemeClr val="tx1"/>
          </a:solidFill>
          <a:latin typeface="+mn-lt"/>
          <a:ea typeface="+mn-ea"/>
          <a:cs typeface="+mn-cs"/>
        </a:defRPr>
      </a:lvl7pPr>
      <a:lvl8pPr marL="4571764" algn="l" defTabSz="1306218" rtl="0" eaLnBrk="1" latinLnBrk="0" hangingPunct="1">
        <a:defRPr sz="1200" kern="1200">
          <a:solidFill>
            <a:schemeClr val="tx1"/>
          </a:solidFill>
          <a:latin typeface="+mn-lt"/>
          <a:ea typeface="+mn-ea"/>
          <a:cs typeface="+mn-cs"/>
        </a:defRPr>
      </a:lvl8pPr>
      <a:lvl9pPr marL="5224873" algn="l" defTabSz="1306218"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hyperlink" Target="https://data.bls.gov/timeseries/CUUR0000SA0" TargetMode="External"/><Relationship Id="rId2" Type="http://schemas.openxmlformats.org/officeDocument/2006/relationships/chart" Target="../charts/chart7.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8.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523D09-4BDB-4B89-A357-2428A735D2C8}"/>
              </a:ext>
            </a:extLst>
          </p:cNvPr>
          <p:cNvSpPr>
            <a:spLocks noGrp="1"/>
          </p:cNvSpPr>
          <p:nvPr>
            <p:ph type="ctrTitle"/>
          </p:nvPr>
        </p:nvSpPr>
        <p:spPr/>
        <p:txBody>
          <a:bodyPr/>
          <a:lstStyle/>
          <a:p>
            <a:r>
              <a:rPr lang="en-US" u="sng" dirty="0"/>
              <a:t>AEIX Claims Caucus </a:t>
            </a:r>
            <a:r>
              <a:rPr lang="en-US" u="sng" dirty="0" smtClean="0"/>
              <a:t>Workshop</a:t>
            </a:r>
            <a:br>
              <a:rPr lang="en-US" u="sng" dirty="0" smtClean="0"/>
            </a:br>
            <a:r>
              <a:rPr lang="en-US" dirty="0" smtClean="0"/>
              <a:t>Numbers Don't Lie:</a:t>
            </a:r>
            <a:br>
              <a:rPr lang="en-US" dirty="0" smtClean="0"/>
            </a:br>
            <a:r>
              <a:rPr lang="en-US" dirty="0" smtClean="0"/>
              <a:t>Dramatic Increases in Medical Liability Settlements and Verdicts</a:t>
            </a:r>
            <a:endParaRPr lang="en-US" dirty="0"/>
          </a:p>
        </p:txBody>
      </p:sp>
      <p:sp>
        <p:nvSpPr>
          <p:cNvPr id="3" name="Subtitle 2">
            <a:extLst>
              <a:ext uri="{FF2B5EF4-FFF2-40B4-BE49-F238E27FC236}">
                <a16:creationId xmlns:a16="http://schemas.microsoft.com/office/drawing/2014/main" id="{CEAFEAC3-DBB1-4810-B2D5-0E1CDDC1AAD6}"/>
              </a:ext>
            </a:extLst>
          </p:cNvPr>
          <p:cNvSpPr>
            <a:spLocks noGrp="1"/>
          </p:cNvSpPr>
          <p:nvPr>
            <p:ph type="subTitle" idx="1"/>
          </p:nvPr>
        </p:nvSpPr>
        <p:spPr/>
        <p:txBody>
          <a:bodyPr>
            <a:normAutofit fontScale="85000" lnSpcReduction="20000"/>
          </a:bodyPr>
          <a:lstStyle/>
          <a:p>
            <a:endParaRPr lang="en-US" dirty="0" smtClean="0"/>
          </a:p>
          <a:p>
            <a:endParaRPr lang="en-US" dirty="0" smtClean="0"/>
          </a:p>
          <a:p>
            <a:r>
              <a:rPr lang="en-US" dirty="0" smtClean="0"/>
              <a:t>Jean-Paul A Rebillard, President, MedPro Specialty</a:t>
            </a:r>
          </a:p>
          <a:p>
            <a:r>
              <a:rPr lang="en-US" dirty="0" smtClean="0"/>
              <a:t>April 26 2022 · Houston TX</a:t>
            </a:r>
          </a:p>
        </p:txBody>
      </p:sp>
    </p:spTree>
    <p:extLst>
      <p:ext uri="{BB962C8B-B14F-4D97-AF65-F5344CB8AC3E}">
        <p14:creationId xmlns:p14="http://schemas.microsoft.com/office/powerpoint/2010/main" val="39908339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itle 65"/>
          <p:cNvSpPr>
            <a:spLocks noGrp="1"/>
          </p:cNvSpPr>
          <p:nvPr>
            <p:ph type="title"/>
          </p:nvPr>
        </p:nvSpPr>
        <p:spPr/>
        <p:txBody>
          <a:bodyPr/>
          <a:lstStyle/>
          <a:p>
            <a:r>
              <a:rPr lang="en-US" dirty="0"/>
              <a:t>$10M+ verdicts increasing in frequency</a:t>
            </a:r>
          </a:p>
        </p:txBody>
      </p:sp>
      <p:sp>
        <p:nvSpPr>
          <p:cNvPr id="2" name="Slide Number Placeholder 1">
            <a:extLst>
              <a:ext uri="{FF2B5EF4-FFF2-40B4-BE49-F238E27FC236}">
                <a16:creationId xmlns:a16="http://schemas.microsoft.com/office/drawing/2014/main" id="{2BF9AD12-F58A-2B4A-A760-E6A417F6255A}"/>
              </a:ext>
            </a:extLst>
          </p:cNvPr>
          <p:cNvSpPr>
            <a:spLocks noGrp="1"/>
          </p:cNvSpPr>
          <p:nvPr>
            <p:ph type="sldNum" sz="quarter" idx="14"/>
          </p:nvPr>
        </p:nvSpPr>
        <p:spPr/>
        <p:txBody>
          <a:bodyPr/>
          <a:lstStyle/>
          <a:p>
            <a:fld id="{DA135043-C596-1A48-8BDA-03EB29A64DF4}" type="slidenum">
              <a:rPr lang="en-US" smtClean="0"/>
              <a:t>10</a:t>
            </a:fld>
            <a:endParaRPr lang="en-US" dirty="0"/>
          </a:p>
        </p:txBody>
      </p:sp>
      <p:sp>
        <p:nvSpPr>
          <p:cNvPr id="69" name="Text Placeholder 68"/>
          <p:cNvSpPr>
            <a:spLocks noGrp="1"/>
          </p:cNvSpPr>
          <p:nvPr>
            <p:ph type="body" sz="quarter" idx="15"/>
          </p:nvPr>
        </p:nvSpPr>
        <p:spPr/>
        <p:txBody>
          <a:bodyPr/>
          <a:lstStyle/>
          <a:p>
            <a:r>
              <a:rPr lang="en-US" dirty="0"/>
              <a:t>Source: Trans Re and various internet articles with publication dates between </a:t>
            </a:r>
            <a:r>
              <a:rPr lang="en-US" dirty="0" smtClean="0"/>
              <a:t>1/1/2016 </a:t>
            </a:r>
            <a:r>
              <a:rPr lang="en-US" dirty="0"/>
              <a:t>and </a:t>
            </a:r>
            <a:r>
              <a:rPr lang="en-US" dirty="0" smtClean="0"/>
              <a:t>4/12/2023</a:t>
            </a:r>
            <a:endParaRPr lang="en-US" dirty="0"/>
          </a:p>
        </p:txBody>
      </p:sp>
      <p:grpSp>
        <p:nvGrpSpPr>
          <p:cNvPr id="55" name="Group 54">
            <a:extLst>
              <a:ext uri="{FF2B5EF4-FFF2-40B4-BE49-F238E27FC236}">
                <a16:creationId xmlns:a16="http://schemas.microsoft.com/office/drawing/2014/main" id="{C7214CD3-358B-A1AE-C5DD-AE28387C5C65}"/>
              </a:ext>
            </a:extLst>
          </p:cNvPr>
          <p:cNvGrpSpPr/>
          <p:nvPr/>
        </p:nvGrpSpPr>
        <p:grpSpPr>
          <a:xfrm>
            <a:off x="2152351" y="1572544"/>
            <a:ext cx="7894229" cy="4639475"/>
            <a:chOff x="2519767" y="877246"/>
            <a:chExt cx="7894229" cy="4639475"/>
          </a:xfrm>
        </p:grpSpPr>
        <p:sp>
          <p:nvSpPr>
            <p:cNvPr id="5" name="Freeform 8">
              <a:extLst>
                <a:ext uri="{FF2B5EF4-FFF2-40B4-BE49-F238E27FC236}">
                  <a16:creationId xmlns:a16="http://schemas.microsoft.com/office/drawing/2014/main" id="{2B7F8873-DB9C-E7B9-DC1C-63836E6BCDDE}"/>
                </a:ext>
              </a:extLst>
            </p:cNvPr>
            <p:cNvSpPr>
              <a:spLocks/>
            </p:cNvSpPr>
            <p:nvPr/>
          </p:nvSpPr>
          <p:spPr bwMode="auto">
            <a:xfrm>
              <a:off x="4390062" y="1762828"/>
              <a:ext cx="958278" cy="748448"/>
            </a:xfrm>
            <a:custGeom>
              <a:avLst/>
              <a:gdLst>
                <a:gd name="T0" fmla="*/ 0 w 580"/>
                <a:gd name="T1" fmla="*/ 0 h 453"/>
                <a:gd name="T2" fmla="*/ 0 w 580"/>
                <a:gd name="T3" fmla="*/ 343 h 453"/>
                <a:gd name="T4" fmla="*/ 0 w 580"/>
                <a:gd name="T5" fmla="*/ 453 h 453"/>
                <a:gd name="T6" fmla="*/ 580 w 580"/>
                <a:gd name="T7" fmla="*/ 453 h 453"/>
                <a:gd name="T8" fmla="*/ 580 w 580"/>
                <a:gd name="T9" fmla="*/ 0 h 453"/>
                <a:gd name="T10" fmla="*/ 0 w 580"/>
                <a:gd name="T11" fmla="*/ 0 h 453"/>
              </a:gdLst>
              <a:ahLst/>
              <a:cxnLst>
                <a:cxn ang="0">
                  <a:pos x="T0" y="T1"/>
                </a:cxn>
                <a:cxn ang="0">
                  <a:pos x="T2" y="T3"/>
                </a:cxn>
                <a:cxn ang="0">
                  <a:pos x="T4" y="T5"/>
                </a:cxn>
                <a:cxn ang="0">
                  <a:pos x="T6" y="T7"/>
                </a:cxn>
                <a:cxn ang="0">
                  <a:pos x="T8" y="T9"/>
                </a:cxn>
                <a:cxn ang="0">
                  <a:pos x="T10" y="T11"/>
                </a:cxn>
              </a:cxnLst>
              <a:rect l="0" t="0" r="r" b="b"/>
              <a:pathLst>
                <a:path w="580" h="453">
                  <a:moveTo>
                    <a:pt x="0" y="0"/>
                  </a:moveTo>
                  <a:lnTo>
                    <a:pt x="0" y="343"/>
                  </a:lnTo>
                  <a:lnTo>
                    <a:pt x="0" y="453"/>
                  </a:lnTo>
                  <a:lnTo>
                    <a:pt x="580" y="453"/>
                  </a:lnTo>
                  <a:lnTo>
                    <a:pt x="580" y="0"/>
                  </a:lnTo>
                  <a:lnTo>
                    <a:pt x="0" y="0"/>
                  </a:lnTo>
                  <a:close/>
                </a:path>
              </a:pathLst>
            </a:custGeom>
            <a:solidFill>
              <a:srgbClr val="FFFF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 name="Freeform 9">
              <a:extLst>
                <a:ext uri="{FF2B5EF4-FFF2-40B4-BE49-F238E27FC236}">
                  <a16:creationId xmlns:a16="http://schemas.microsoft.com/office/drawing/2014/main" id="{70B4918B-45FF-2AD1-95F6-C6F3D0626766}"/>
                </a:ext>
              </a:extLst>
            </p:cNvPr>
            <p:cNvSpPr>
              <a:spLocks noEditPoints="1"/>
            </p:cNvSpPr>
            <p:nvPr/>
          </p:nvSpPr>
          <p:spPr bwMode="auto">
            <a:xfrm>
              <a:off x="6873324" y="1377864"/>
              <a:ext cx="827755" cy="855842"/>
            </a:xfrm>
            <a:custGeom>
              <a:avLst/>
              <a:gdLst>
                <a:gd name="T0" fmla="*/ 79 w 209"/>
                <a:gd name="T1" fmla="*/ 5 h 216"/>
                <a:gd name="T2" fmla="*/ 76 w 209"/>
                <a:gd name="T3" fmla="*/ 10 h 216"/>
                <a:gd name="T4" fmla="*/ 82 w 209"/>
                <a:gd name="T5" fmla="*/ 1 h 216"/>
                <a:gd name="T6" fmla="*/ 79 w 209"/>
                <a:gd name="T7" fmla="*/ 2 h 216"/>
                <a:gd name="T8" fmla="*/ 208 w 209"/>
                <a:gd name="T9" fmla="*/ 81 h 216"/>
                <a:gd name="T10" fmla="*/ 206 w 209"/>
                <a:gd name="T11" fmla="*/ 81 h 216"/>
                <a:gd name="T12" fmla="*/ 202 w 209"/>
                <a:gd name="T13" fmla="*/ 89 h 216"/>
                <a:gd name="T14" fmla="*/ 199 w 209"/>
                <a:gd name="T15" fmla="*/ 97 h 216"/>
                <a:gd name="T16" fmla="*/ 197 w 209"/>
                <a:gd name="T17" fmla="*/ 103 h 216"/>
                <a:gd name="T18" fmla="*/ 190 w 209"/>
                <a:gd name="T19" fmla="*/ 115 h 216"/>
                <a:gd name="T20" fmla="*/ 186 w 209"/>
                <a:gd name="T21" fmla="*/ 125 h 216"/>
                <a:gd name="T22" fmla="*/ 186 w 209"/>
                <a:gd name="T23" fmla="*/ 133 h 216"/>
                <a:gd name="T24" fmla="*/ 184 w 209"/>
                <a:gd name="T25" fmla="*/ 138 h 216"/>
                <a:gd name="T26" fmla="*/ 180 w 209"/>
                <a:gd name="T27" fmla="*/ 147 h 216"/>
                <a:gd name="T28" fmla="*/ 179 w 209"/>
                <a:gd name="T29" fmla="*/ 155 h 216"/>
                <a:gd name="T30" fmla="*/ 179 w 209"/>
                <a:gd name="T31" fmla="*/ 164 h 216"/>
                <a:gd name="T32" fmla="*/ 175 w 209"/>
                <a:gd name="T33" fmla="*/ 174 h 216"/>
                <a:gd name="T34" fmla="*/ 173 w 209"/>
                <a:gd name="T35" fmla="*/ 181 h 216"/>
                <a:gd name="T36" fmla="*/ 173 w 209"/>
                <a:gd name="T37" fmla="*/ 193 h 216"/>
                <a:gd name="T38" fmla="*/ 176 w 209"/>
                <a:gd name="T39" fmla="*/ 202 h 216"/>
                <a:gd name="T40" fmla="*/ 177 w 209"/>
                <a:gd name="T41" fmla="*/ 207 h 216"/>
                <a:gd name="T42" fmla="*/ 176 w 209"/>
                <a:gd name="T43" fmla="*/ 216 h 216"/>
                <a:gd name="T44" fmla="*/ 74 w 209"/>
                <a:gd name="T45" fmla="*/ 210 h 216"/>
                <a:gd name="T46" fmla="*/ 63 w 209"/>
                <a:gd name="T47" fmla="*/ 201 h 216"/>
                <a:gd name="T48" fmla="*/ 60 w 209"/>
                <a:gd name="T49" fmla="*/ 189 h 216"/>
                <a:gd name="T50" fmla="*/ 58 w 209"/>
                <a:gd name="T51" fmla="*/ 176 h 216"/>
                <a:gd name="T52" fmla="*/ 56 w 209"/>
                <a:gd name="T53" fmla="*/ 162 h 216"/>
                <a:gd name="T54" fmla="*/ 46 w 209"/>
                <a:gd name="T55" fmla="*/ 145 h 216"/>
                <a:gd name="T56" fmla="*/ 32 w 209"/>
                <a:gd name="T57" fmla="*/ 127 h 216"/>
                <a:gd name="T58" fmla="*/ 13 w 209"/>
                <a:gd name="T59" fmla="*/ 118 h 216"/>
                <a:gd name="T60" fmla="*/ 5 w 209"/>
                <a:gd name="T61" fmla="*/ 100 h 216"/>
                <a:gd name="T62" fmla="*/ 5 w 209"/>
                <a:gd name="T63" fmla="*/ 87 h 216"/>
                <a:gd name="T64" fmla="*/ 5 w 209"/>
                <a:gd name="T65" fmla="*/ 69 h 216"/>
                <a:gd name="T66" fmla="*/ 5 w 209"/>
                <a:gd name="T67" fmla="*/ 56 h 216"/>
                <a:gd name="T68" fmla="*/ 17 w 209"/>
                <a:gd name="T69" fmla="*/ 47 h 216"/>
                <a:gd name="T70" fmla="*/ 24 w 209"/>
                <a:gd name="T71" fmla="*/ 15 h 216"/>
                <a:gd name="T72" fmla="*/ 31 w 209"/>
                <a:gd name="T73" fmla="*/ 14 h 216"/>
                <a:gd name="T74" fmla="*/ 47 w 209"/>
                <a:gd name="T75" fmla="*/ 10 h 216"/>
                <a:gd name="T76" fmla="*/ 64 w 209"/>
                <a:gd name="T77" fmla="*/ 4 h 216"/>
                <a:gd name="T78" fmla="*/ 74 w 209"/>
                <a:gd name="T79" fmla="*/ 3 h 216"/>
                <a:gd name="T80" fmla="*/ 70 w 209"/>
                <a:gd name="T81" fmla="*/ 14 h 216"/>
                <a:gd name="T82" fmla="*/ 71 w 209"/>
                <a:gd name="T83" fmla="*/ 18 h 216"/>
                <a:gd name="T84" fmla="*/ 83 w 209"/>
                <a:gd name="T85" fmla="*/ 19 h 216"/>
                <a:gd name="T86" fmla="*/ 89 w 209"/>
                <a:gd name="T87" fmla="*/ 22 h 216"/>
                <a:gd name="T88" fmla="*/ 141 w 209"/>
                <a:gd name="T89" fmla="*/ 47 h 216"/>
                <a:gd name="T90" fmla="*/ 153 w 209"/>
                <a:gd name="T91" fmla="*/ 48 h 216"/>
                <a:gd name="T92" fmla="*/ 162 w 209"/>
                <a:gd name="T93" fmla="*/ 50 h 216"/>
                <a:gd name="T94" fmla="*/ 165 w 209"/>
                <a:gd name="T95" fmla="*/ 57 h 216"/>
                <a:gd name="T96" fmla="*/ 174 w 209"/>
                <a:gd name="T97" fmla="*/ 60 h 216"/>
                <a:gd name="T98" fmla="*/ 177 w 209"/>
                <a:gd name="T99" fmla="*/ 69 h 216"/>
                <a:gd name="T100" fmla="*/ 174 w 209"/>
                <a:gd name="T101" fmla="*/ 76 h 216"/>
                <a:gd name="T102" fmla="*/ 181 w 209"/>
                <a:gd name="T103" fmla="*/ 78 h 216"/>
                <a:gd name="T104" fmla="*/ 181 w 209"/>
                <a:gd name="T105" fmla="*/ 91 h 216"/>
                <a:gd name="T106" fmla="*/ 177 w 209"/>
                <a:gd name="T107" fmla="*/ 100 h 216"/>
                <a:gd name="T108" fmla="*/ 170 w 209"/>
                <a:gd name="T109" fmla="*/ 113 h 216"/>
                <a:gd name="T110" fmla="*/ 172 w 209"/>
                <a:gd name="T111" fmla="*/ 119 h 216"/>
                <a:gd name="T112" fmla="*/ 180 w 209"/>
                <a:gd name="T113" fmla="*/ 109 h 216"/>
                <a:gd name="T114" fmla="*/ 190 w 209"/>
                <a:gd name="T115" fmla="*/ 104 h 216"/>
                <a:gd name="T116" fmla="*/ 194 w 209"/>
                <a:gd name="T117" fmla="*/ 95 h 216"/>
                <a:gd name="T118" fmla="*/ 201 w 209"/>
                <a:gd name="T119" fmla="*/ 8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 h="216">
                  <a:moveTo>
                    <a:pt x="74" y="9"/>
                  </a:moveTo>
                  <a:cubicBezTo>
                    <a:pt x="74" y="9"/>
                    <a:pt x="74" y="8"/>
                    <a:pt x="74" y="8"/>
                  </a:cubicBezTo>
                  <a:cubicBezTo>
                    <a:pt x="75" y="7"/>
                    <a:pt x="75" y="7"/>
                    <a:pt x="76" y="7"/>
                  </a:cubicBezTo>
                  <a:cubicBezTo>
                    <a:pt x="76" y="7"/>
                    <a:pt x="77" y="6"/>
                    <a:pt x="77" y="6"/>
                  </a:cubicBezTo>
                  <a:cubicBezTo>
                    <a:pt x="78" y="6"/>
                    <a:pt x="78" y="5"/>
                    <a:pt x="79" y="5"/>
                  </a:cubicBezTo>
                  <a:cubicBezTo>
                    <a:pt x="79" y="5"/>
                    <a:pt x="80" y="4"/>
                    <a:pt x="80" y="5"/>
                  </a:cubicBezTo>
                  <a:cubicBezTo>
                    <a:pt x="80" y="5"/>
                    <a:pt x="81" y="6"/>
                    <a:pt x="80" y="6"/>
                  </a:cubicBezTo>
                  <a:cubicBezTo>
                    <a:pt x="80" y="6"/>
                    <a:pt x="79" y="7"/>
                    <a:pt x="79" y="7"/>
                  </a:cubicBezTo>
                  <a:cubicBezTo>
                    <a:pt x="78" y="7"/>
                    <a:pt x="77" y="8"/>
                    <a:pt x="77" y="9"/>
                  </a:cubicBezTo>
                  <a:cubicBezTo>
                    <a:pt x="76" y="9"/>
                    <a:pt x="76" y="9"/>
                    <a:pt x="76" y="10"/>
                  </a:cubicBezTo>
                  <a:cubicBezTo>
                    <a:pt x="75" y="10"/>
                    <a:pt x="75" y="10"/>
                    <a:pt x="75" y="10"/>
                  </a:cubicBezTo>
                  <a:cubicBezTo>
                    <a:pt x="75" y="10"/>
                    <a:pt x="74" y="10"/>
                    <a:pt x="74" y="10"/>
                  </a:cubicBezTo>
                  <a:cubicBezTo>
                    <a:pt x="74" y="10"/>
                    <a:pt x="74" y="10"/>
                    <a:pt x="74" y="9"/>
                  </a:cubicBezTo>
                  <a:close/>
                  <a:moveTo>
                    <a:pt x="81" y="2"/>
                  </a:moveTo>
                  <a:cubicBezTo>
                    <a:pt x="82" y="2"/>
                    <a:pt x="82" y="2"/>
                    <a:pt x="82" y="1"/>
                  </a:cubicBezTo>
                  <a:cubicBezTo>
                    <a:pt x="82" y="1"/>
                    <a:pt x="82" y="1"/>
                    <a:pt x="82" y="1"/>
                  </a:cubicBezTo>
                  <a:cubicBezTo>
                    <a:pt x="82" y="0"/>
                    <a:pt x="81" y="0"/>
                    <a:pt x="81" y="0"/>
                  </a:cubicBezTo>
                  <a:cubicBezTo>
                    <a:pt x="80" y="0"/>
                    <a:pt x="80" y="0"/>
                    <a:pt x="80" y="0"/>
                  </a:cubicBezTo>
                  <a:cubicBezTo>
                    <a:pt x="79" y="1"/>
                    <a:pt x="79" y="1"/>
                    <a:pt x="79" y="1"/>
                  </a:cubicBezTo>
                  <a:cubicBezTo>
                    <a:pt x="79" y="1"/>
                    <a:pt x="79" y="1"/>
                    <a:pt x="79" y="2"/>
                  </a:cubicBezTo>
                  <a:cubicBezTo>
                    <a:pt x="79" y="2"/>
                    <a:pt x="79" y="2"/>
                    <a:pt x="79" y="2"/>
                  </a:cubicBezTo>
                  <a:cubicBezTo>
                    <a:pt x="80" y="2"/>
                    <a:pt x="81" y="3"/>
                    <a:pt x="81" y="2"/>
                  </a:cubicBezTo>
                  <a:close/>
                  <a:moveTo>
                    <a:pt x="206" y="81"/>
                  </a:moveTo>
                  <a:cubicBezTo>
                    <a:pt x="207" y="81"/>
                    <a:pt x="207" y="81"/>
                    <a:pt x="208" y="81"/>
                  </a:cubicBezTo>
                  <a:cubicBezTo>
                    <a:pt x="208" y="81"/>
                    <a:pt x="208" y="81"/>
                    <a:pt x="208" y="81"/>
                  </a:cubicBezTo>
                  <a:cubicBezTo>
                    <a:pt x="209" y="81"/>
                    <a:pt x="209" y="80"/>
                    <a:pt x="209" y="80"/>
                  </a:cubicBezTo>
                  <a:cubicBezTo>
                    <a:pt x="208" y="79"/>
                    <a:pt x="208" y="79"/>
                    <a:pt x="207" y="78"/>
                  </a:cubicBezTo>
                  <a:cubicBezTo>
                    <a:pt x="207" y="78"/>
                    <a:pt x="207" y="77"/>
                    <a:pt x="206" y="77"/>
                  </a:cubicBezTo>
                  <a:cubicBezTo>
                    <a:pt x="205" y="78"/>
                    <a:pt x="205" y="79"/>
                    <a:pt x="206" y="79"/>
                  </a:cubicBezTo>
                  <a:cubicBezTo>
                    <a:pt x="206" y="80"/>
                    <a:pt x="206" y="81"/>
                    <a:pt x="206" y="81"/>
                  </a:cubicBezTo>
                  <a:close/>
                  <a:moveTo>
                    <a:pt x="205" y="84"/>
                  </a:moveTo>
                  <a:cubicBezTo>
                    <a:pt x="205" y="85"/>
                    <a:pt x="204" y="85"/>
                    <a:pt x="204" y="86"/>
                  </a:cubicBezTo>
                  <a:cubicBezTo>
                    <a:pt x="204" y="86"/>
                    <a:pt x="204" y="86"/>
                    <a:pt x="203" y="86"/>
                  </a:cubicBezTo>
                  <a:cubicBezTo>
                    <a:pt x="203" y="86"/>
                    <a:pt x="202" y="86"/>
                    <a:pt x="202" y="87"/>
                  </a:cubicBezTo>
                  <a:cubicBezTo>
                    <a:pt x="202" y="88"/>
                    <a:pt x="202" y="88"/>
                    <a:pt x="202" y="89"/>
                  </a:cubicBezTo>
                  <a:cubicBezTo>
                    <a:pt x="202" y="89"/>
                    <a:pt x="202" y="90"/>
                    <a:pt x="202" y="90"/>
                  </a:cubicBezTo>
                  <a:cubicBezTo>
                    <a:pt x="202" y="91"/>
                    <a:pt x="202" y="91"/>
                    <a:pt x="202" y="92"/>
                  </a:cubicBezTo>
                  <a:cubicBezTo>
                    <a:pt x="202" y="92"/>
                    <a:pt x="202" y="93"/>
                    <a:pt x="202" y="93"/>
                  </a:cubicBezTo>
                  <a:cubicBezTo>
                    <a:pt x="201" y="94"/>
                    <a:pt x="201" y="95"/>
                    <a:pt x="200" y="96"/>
                  </a:cubicBezTo>
                  <a:cubicBezTo>
                    <a:pt x="200" y="96"/>
                    <a:pt x="199" y="97"/>
                    <a:pt x="199" y="97"/>
                  </a:cubicBezTo>
                  <a:cubicBezTo>
                    <a:pt x="199" y="97"/>
                    <a:pt x="199" y="98"/>
                    <a:pt x="199" y="98"/>
                  </a:cubicBezTo>
                  <a:cubicBezTo>
                    <a:pt x="198" y="99"/>
                    <a:pt x="198" y="99"/>
                    <a:pt x="197" y="99"/>
                  </a:cubicBezTo>
                  <a:cubicBezTo>
                    <a:pt x="197" y="100"/>
                    <a:pt x="197" y="100"/>
                    <a:pt x="197" y="101"/>
                  </a:cubicBezTo>
                  <a:cubicBezTo>
                    <a:pt x="197" y="101"/>
                    <a:pt x="197" y="102"/>
                    <a:pt x="197" y="102"/>
                  </a:cubicBezTo>
                  <a:cubicBezTo>
                    <a:pt x="197" y="102"/>
                    <a:pt x="197" y="103"/>
                    <a:pt x="197" y="103"/>
                  </a:cubicBezTo>
                  <a:cubicBezTo>
                    <a:pt x="197" y="104"/>
                    <a:pt x="196" y="105"/>
                    <a:pt x="196" y="105"/>
                  </a:cubicBezTo>
                  <a:cubicBezTo>
                    <a:pt x="194" y="106"/>
                    <a:pt x="192" y="108"/>
                    <a:pt x="192" y="110"/>
                  </a:cubicBezTo>
                  <a:cubicBezTo>
                    <a:pt x="192" y="110"/>
                    <a:pt x="192" y="111"/>
                    <a:pt x="192" y="111"/>
                  </a:cubicBezTo>
                  <a:cubicBezTo>
                    <a:pt x="191" y="112"/>
                    <a:pt x="191" y="113"/>
                    <a:pt x="191" y="113"/>
                  </a:cubicBezTo>
                  <a:cubicBezTo>
                    <a:pt x="190" y="114"/>
                    <a:pt x="190" y="115"/>
                    <a:pt x="190" y="115"/>
                  </a:cubicBezTo>
                  <a:cubicBezTo>
                    <a:pt x="189" y="116"/>
                    <a:pt x="189" y="116"/>
                    <a:pt x="189" y="117"/>
                  </a:cubicBezTo>
                  <a:cubicBezTo>
                    <a:pt x="189" y="118"/>
                    <a:pt x="189" y="118"/>
                    <a:pt x="188" y="119"/>
                  </a:cubicBezTo>
                  <a:cubicBezTo>
                    <a:pt x="188" y="120"/>
                    <a:pt x="188" y="120"/>
                    <a:pt x="188" y="121"/>
                  </a:cubicBezTo>
                  <a:cubicBezTo>
                    <a:pt x="187" y="122"/>
                    <a:pt x="187" y="123"/>
                    <a:pt x="187" y="124"/>
                  </a:cubicBezTo>
                  <a:cubicBezTo>
                    <a:pt x="187" y="124"/>
                    <a:pt x="186" y="124"/>
                    <a:pt x="186" y="125"/>
                  </a:cubicBezTo>
                  <a:cubicBezTo>
                    <a:pt x="186" y="125"/>
                    <a:pt x="186" y="126"/>
                    <a:pt x="186" y="126"/>
                  </a:cubicBezTo>
                  <a:cubicBezTo>
                    <a:pt x="186" y="127"/>
                    <a:pt x="186" y="128"/>
                    <a:pt x="186" y="128"/>
                  </a:cubicBezTo>
                  <a:cubicBezTo>
                    <a:pt x="186" y="129"/>
                    <a:pt x="185" y="129"/>
                    <a:pt x="185" y="129"/>
                  </a:cubicBezTo>
                  <a:cubicBezTo>
                    <a:pt x="185" y="130"/>
                    <a:pt x="185" y="130"/>
                    <a:pt x="185" y="131"/>
                  </a:cubicBezTo>
                  <a:cubicBezTo>
                    <a:pt x="185" y="131"/>
                    <a:pt x="186" y="132"/>
                    <a:pt x="186" y="133"/>
                  </a:cubicBezTo>
                  <a:cubicBezTo>
                    <a:pt x="186" y="133"/>
                    <a:pt x="186" y="134"/>
                    <a:pt x="186" y="134"/>
                  </a:cubicBezTo>
                  <a:cubicBezTo>
                    <a:pt x="186" y="135"/>
                    <a:pt x="187" y="135"/>
                    <a:pt x="187" y="135"/>
                  </a:cubicBezTo>
                  <a:cubicBezTo>
                    <a:pt x="187" y="136"/>
                    <a:pt x="186" y="136"/>
                    <a:pt x="186" y="136"/>
                  </a:cubicBezTo>
                  <a:cubicBezTo>
                    <a:pt x="186" y="136"/>
                    <a:pt x="186" y="136"/>
                    <a:pt x="185" y="137"/>
                  </a:cubicBezTo>
                  <a:cubicBezTo>
                    <a:pt x="185" y="137"/>
                    <a:pt x="185" y="137"/>
                    <a:pt x="184" y="138"/>
                  </a:cubicBezTo>
                  <a:cubicBezTo>
                    <a:pt x="184" y="138"/>
                    <a:pt x="183" y="139"/>
                    <a:pt x="183" y="140"/>
                  </a:cubicBezTo>
                  <a:cubicBezTo>
                    <a:pt x="182" y="141"/>
                    <a:pt x="182" y="142"/>
                    <a:pt x="182" y="143"/>
                  </a:cubicBezTo>
                  <a:cubicBezTo>
                    <a:pt x="182" y="143"/>
                    <a:pt x="181" y="144"/>
                    <a:pt x="181" y="144"/>
                  </a:cubicBezTo>
                  <a:cubicBezTo>
                    <a:pt x="181" y="145"/>
                    <a:pt x="181" y="145"/>
                    <a:pt x="181" y="146"/>
                  </a:cubicBezTo>
                  <a:cubicBezTo>
                    <a:pt x="180" y="146"/>
                    <a:pt x="180" y="146"/>
                    <a:pt x="180" y="147"/>
                  </a:cubicBezTo>
                  <a:cubicBezTo>
                    <a:pt x="180" y="147"/>
                    <a:pt x="180" y="147"/>
                    <a:pt x="180" y="147"/>
                  </a:cubicBezTo>
                  <a:cubicBezTo>
                    <a:pt x="180" y="148"/>
                    <a:pt x="180" y="149"/>
                    <a:pt x="179" y="149"/>
                  </a:cubicBezTo>
                  <a:cubicBezTo>
                    <a:pt x="179" y="150"/>
                    <a:pt x="179" y="151"/>
                    <a:pt x="179" y="152"/>
                  </a:cubicBezTo>
                  <a:cubicBezTo>
                    <a:pt x="179" y="153"/>
                    <a:pt x="179" y="153"/>
                    <a:pt x="179" y="154"/>
                  </a:cubicBezTo>
                  <a:cubicBezTo>
                    <a:pt x="179" y="154"/>
                    <a:pt x="179" y="154"/>
                    <a:pt x="179" y="155"/>
                  </a:cubicBezTo>
                  <a:cubicBezTo>
                    <a:pt x="179" y="155"/>
                    <a:pt x="179" y="155"/>
                    <a:pt x="179" y="156"/>
                  </a:cubicBezTo>
                  <a:cubicBezTo>
                    <a:pt x="179" y="157"/>
                    <a:pt x="179" y="157"/>
                    <a:pt x="179" y="158"/>
                  </a:cubicBezTo>
                  <a:cubicBezTo>
                    <a:pt x="179" y="159"/>
                    <a:pt x="179" y="160"/>
                    <a:pt x="179" y="161"/>
                  </a:cubicBezTo>
                  <a:cubicBezTo>
                    <a:pt x="179" y="162"/>
                    <a:pt x="179" y="162"/>
                    <a:pt x="179" y="162"/>
                  </a:cubicBezTo>
                  <a:cubicBezTo>
                    <a:pt x="179" y="163"/>
                    <a:pt x="179" y="163"/>
                    <a:pt x="179" y="164"/>
                  </a:cubicBezTo>
                  <a:cubicBezTo>
                    <a:pt x="178" y="164"/>
                    <a:pt x="178" y="165"/>
                    <a:pt x="178" y="165"/>
                  </a:cubicBezTo>
                  <a:cubicBezTo>
                    <a:pt x="178" y="166"/>
                    <a:pt x="177" y="166"/>
                    <a:pt x="177" y="167"/>
                  </a:cubicBezTo>
                  <a:cubicBezTo>
                    <a:pt x="177" y="168"/>
                    <a:pt x="177" y="168"/>
                    <a:pt x="177" y="169"/>
                  </a:cubicBezTo>
                  <a:cubicBezTo>
                    <a:pt x="176" y="170"/>
                    <a:pt x="176" y="171"/>
                    <a:pt x="176" y="171"/>
                  </a:cubicBezTo>
                  <a:cubicBezTo>
                    <a:pt x="175" y="172"/>
                    <a:pt x="175" y="173"/>
                    <a:pt x="175" y="174"/>
                  </a:cubicBezTo>
                  <a:cubicBezTo>
                    <a:pt x="174" y="174"/>
                    <a:pt x="174" y="175"/>
                    <a:pt x="174" y="176"/>
                  </a:cubicBezTo>
                  <a:cubicBezTo>
                    <a:pt x="174" y="176"/>
                    <a:pt x="174" y="176"/>
                    <a:pt x="174" y="177"/>
                  </a:cubicBezTo>
                  <a:cubicBezTo>
                    <a:pt x="173" y="178"/>
                    <a:pt x="174" y="178"/>
                    <a:pt x="173" y="179"/>
                  </a:cubicBezTo>
                  <a:cubicBezTo>
                    <a:pt x="173" y="179"/>
                    <a:pt x="173" y="180"/>
                    <a:pt x="173" y="180"/>
                  </a:cubicBezTo>
                  <a:cubicBezTo>
                    <a:pt x="173" y="181"/>
                    <a:pt x="173" y="181"/>
                    <a:pt x="173" y="181"/>
                  </a:cubicBezTo>
                  <a:cubicBezTo>
                    <a:pt x="173" y="182"/>
                    <a:pt x="173" y="183"/>
                    <a:pt x="173" y="184"/>
                  </a:cubicBezTo>
                  <a:cubicBezTo>
                    <a:pt x="173" y="185"/>
                    <a:pt x="173" y="186"/>
                    <a:pt x="174" y="187"/>
                  </a:cubicBezTo>
                  <a:cubicBezTo>
                    <a:pt x="174" y="188"/>
                    <a:pt x="174" y="189"/>
                    <a:pt x="174" y="190"/>
                  </a:cubicBezTo>
                  <a:cubicBezTo>
                    <a:pt x="174" y="190"/>
                    <a:pt x="174" y="191"/>
                    <a:pt x="173" y="192"/>
                  </a:cubicBezTo>
                  <a:cubicBezTo>
                    <a:pt x="173" y="192"/>
                    <a:pt x="173" y="192"/>
                    <a:pt x="173" y="193"/>
                  </a:cubicBezTo>
                  <a:cubicBezTo>
                    <a:pt x="174" y="193"/>
                    <a:pt x="174" y="194"/>
                    <a:pt x="174" y="194"/>
                  </a:cubicBezTo>
                  <a:cubicBezTo>
                    <a:pt x="174" y="195"/>
                    <a:pt x="175" y="195"/>
                    <a:pt x="175" y="196"/>
                  </a:cubicBezTo>
                  <a:cubicBezTo>
                    <a:pt x="175" y="197"/>
                    <a:pt x="175" y="197"/>
                    <a:pt x="175" y="198"/>
                  </a:cubicBezTo>
                  <a:cubicBezTo>
                    <a:pt x="175" y="199"/>
                    <a:pt x="175" y="200"/>
                    <a:pt x="175" y="201"/>
                  </a:cubicBezTo>
                  <a:cubicBezTo>
                    <a:pt x="175" y="201"/>
                    <a:pt x="176" y="201"/>
                    <a:pt x="176" y="202"/>
                  </a:cubicBezTo>
                  <a:cubicBezTo>
                    <a:pt x="176" y="202"/>
                    <a:pt x="176" y="203"/>
                    <a:pt x="176" y="203"/>
                  </a:cubicBezTo>
                  <a:cubicBezTo>
                    <a:pt x="176" y="203"/>
                    <a:pt x="176" y="203"/>
                    <a:pt x="177" y="204"/>
                  </a:cubicBezTo>
                  <a:cubicBezTo>
                    <a:pt x="177" y="204"/>
                    <a:pt x="177" y="204"/>
                    <a:pt x="177" y="204"/>
                  </a:cubicBezTo>
                  <a:cubicBezTo>
                    <a:pt x="177" y="205"/>
                    <a:pt x="177" y="205"/>
                    <a:pt x="177" y="205"/>
                  </a:cubicBezTo>
                  <a:cubicBezTo>
                    <a:pt x="177" y="206"/>
                    <a:pt x="177" y="206"/>
                    <a:pt x="177" y="207"/>
                  </a:cubicBezTo>
                  <a:cubicBezTo>
                    <a:pt x="177" y="207"/>
                    <a:pt x="177" y="208"/>
                    <a:pt x="177" y="208"/>
                  </a:cubicBezTo>
                  <a:cubicBezTo>
                    <a:pt x="177" y="208"/>
                    <a:pt x="176" y="209"/>
                    <a:pt x="176" y="209"/>
                  </a:cubicBezTo>
                  <a:cubicBezTo>
                    <a:pt x="176" y="210"/>
                    <a:pt x="176" y="211"/>
                    <a:pt x="176" y="212"/>
                  </a:cubicBezTo>
                  <a:cubicBezTo>
                    <a:pt x="176" y="213"/>
                    <a:pt x="176" y="214"/>
                    <a:pt x="176" y="215"/>
                  </a:cubicBezTo>
                  <a:cubicBezTo>
                    <a:pt x="176" y="215"/>
                    <a:pt x="176" y="216"/>
                    <a:pt x="176" y="216"/>
                  </a:cubicBezTo>
                  <a:cubicBezTo>
                    <a:pt x="176" y="216"/>
                    <a:pt x="176" y="216"/>
                    <a:pt x="176" y="216"/>
                  </a:cubicBezTo>
                  <a:cubicBezTo>
                    <a:pt x="78" y="216"/>
                    <a:pt x="78" y="216"/>
                    <a:pt x="78" y="216"/>
                  </a:cubicBezTo>
                  <a:cubicBezTo>
                    <a:pt x="77" y="215"/>
                    <a:pt x="77" y="214"/>
                    <a:pt x="77" y="213"/>
                  </a:cubicBezTo>
                  <a:cubicBezTo>
                    <a:pt x="76" y="213"/>
                    <a:pt x="76" y="212"/>
                    <a:pt x="76" y="211"/>
                  </a:cubicBezTo>
                  <a:cubicBezTo>
                    <a:pt x="75" y="211"/>
                    <a:pt x="75" y="210"/>
                    <a:pt x="74" y="210"/>
                  </a:cubicBezTo>
                  <a:cubicBezTo>
                    <a:pt x="73" y="209"/>
                    <a:pt x="72" y="209"/>
                    <a:pt x="71" y="209"/>
                  </a:cubicBezTo>
                  <a:cubicBezTo>
                    <a:pt x="70" y="209"/>
                    <a:pt x="70" y="209"/>
                    <a:pt x="69" y="208"/>
                  </a:cubicBezTo>
                  <a:cubicBezTo>
                    <a:pt x="69" y="208"/>
                    <a:pt x="68" y="208"/>
                    <a:pt x="67" y="208"/>
                  </a:cubicBezTo>
                  <a:cubicBezTo>
                    <a:pt x="66" y="208"/>
                    <a:pt x="66" y="207"/>
                    <a:pt x="65" y="207"/>
                  </a:cubicBezTo>
                  <a:cubicBezTo>
                    <a:pt x="63" y="205"/>
                    <a:pt x="63" y="203"/>
                    <a:pt x="63" y="201"/>
                  </a:cubicBezTo>
                  <a:cubicBezTo>
                    <a:pt x="63" y="200"/>
                    <a:pt x="63" y="199"/>
                    <a:pt x="62" y="199"/>
                  </a:cubicBezTo>
                  <a:cubicBezTo>
                    <a:pt x="62" y="198"/>
                    <a:pt x="61" y="197"/>
                    <a:pt x="61" y="197"/>
                  </a:cubicBezTo>
                  <a:cubicBezTo>
                    <a:pt x="61" y="196"/>
                    <a:pt x="60" y="196"/>
                    <a:pt x="60" y="195"/>
                  </a:cubicBezTo>
                  <a:cubicBezTo>
                    <a:pt x="60" y="194"/>
                    <a:pt x="60" y="194"/>
                    <a:pt x="60" y="193"/>
                  </a:cubicBezTo>
                  <a:cubicBezTo>
                    <a:pt x="59" y="192"/>
                    <a:pt x="60" y="190"/>
                    <a:pt x="60" y="189"/>
                  </a:cubicBezTo>
                  <a:cubicBezTo>
                    <a:pt x="60" y="188"/>
                    <a:pt x="59" y="187"/>
                    <a:pt x="60" y="186"/>
                  </a:cubicBezTo>
                  <a:cubicBezTo>
                    <a:pt x="60" y="185"/>
                    <a:pt x="61" y="184"/>
                    <a:pt x="61" y="184"/>
                  </a:cubicBezTo>
                  <a:cubicBezTo>
                    <a:pt x="62" y="183"/>
                    <a:pt x="63" y="182"/>
                    <a:pt x="63" y="182"/>
                  </a:cubicBezTo>
                  <a:cubicBezTo>
                    <a:pt x="64" y="179"/>
                    <a:pt x="61" y="178"/>
                    <a:pt x="59" y="177"/>
                  </a:cubicBezTo>
                  <a:cubicBezTo>
                    <a:pt x="59" y="177"/>
                    <a:pt x="58" y="176"/>
                    <a:pt x="58" y="176"/>
                  </a:cubicBezTo>
                  <a:cubicBezTo>
                    <a:pt x="58" y="175"/>
                    <a:pt x="58" y="175"/>
                    <a:pt x="58" y="174"/>
                  </a:cubicBezTo>
                  <a:cubicBezTo>
                    <a:pt x="58" y="173"/>
                    <a:pt x="58" y="173"/>
                    <a:pt x="58" y="172"/>
                  </a:cubicBezTo>
                  <a:cubicBezTo>
                    <a:pt x="58" y="169"/>
                    <a:pt x="58" y="169"/>
                    <a:pt x="58" y="169"/>
                  </a:cubicBezTo>
                  <a:cubicBezTo>
                    <a:pt x="58" y="169"/>
                    <a:pt x="57" y="166"/>
                    <a:pt x="57" y="165"/>
                  </a:cubicBezTo>
                  <a:cubicBezTo>
                    <a:pt x="57" y="165"/>
                    <a:pt x="56" y="163"/>
                    <a:pt x="56" y="162"/>
                  </a:cubicBezTo>
                  <a:cubicBezTo>
                    <a:pt x="56" y="161"/>
                    <a:pt x="57" y="159"/>
                    <a:pt x="57" y="158"/>
                  </a:cubicBezTo>
                  <a:cubicBezTo>
                    <a:pt x="57" y="157"/>
                    <a:pt x="56" y="154"/>
                    <a:pt x="56" y="153"/>
                  </a:cubicBezTo>
                  <a:cubicBezTo>
                    <a:pt x="55" y="153"/>
                    <a:pt x="53" y="149"/>
                    <a:pt x="52" y="149"/>
                  </a:cubicBezTo>
                  <a:cubicBezTo>
                    <a:pt x="52" y="148"/>
                    <a:pt x="52" y="147"/>
                    <a:pt x="51" y="146"/>
                  </a:cubicBezTo>
                  <a:cubicBezTo>
                    <a:pt x="50" y="146"/>
                    <a:pt x="47" y="145"/>
                    <a:pt x="46" y="145"/>
                  </a:cubicBezTo>
                  <a:cubicBezTo>
                    <a:pt x="45" y="144"/>
                    <a:pt x="45" y="143"/>
                    <a:pt x="44" y="142"/>
                  </a:cubicBezTo>
                  <a:cubicBezTo>
                    <a:pt x="43" y="142"/>
                    <a:pt x="40" y="139"/>
                    <a:pt x="39" y="138"/>
                  </a:cubicBezTo>
                  <a:cubicBezTo>
                    <a:pt x="38" y="138"/>
                    <a:pt x="37" y="137"/>
                    <a:pt x="36" y="136"/>
                  </a:cubicBezTo>
                  <a:cubicBezTo>
                    <a:pt x="35" y="136"/>
                    <a:pt x="35" y="136"/>
                    <a:pt x="35" y="134"/>
                  </a:cubicBezTo>
                  <a:cubicBezTo>
                    <a:pt x="35" y="133"/>
                    <a:pt x="33" y="128"/>
                    <a:pt x="32" y="127"/>
                  </a:cubicBezTo>
                  <a:cubicBezTo>
                    <a:pt x="30" y="126"/>
                    <a:pt x="29" y="127"/>
                    <a:pt x="28" y="126"/>
                  </a:cubicBezTo>
                  <a:cubicBezTo>
                    <a:pt x="27" y="125"/>
                    <a:pt x="24" y="124"/>
                    <a:pt x="23" y="124"/>
                  </a:cubicBezTo>
                  <a:cubicBezTo>
                    <a:pt x="22" y="123"/>
                    <a:pt x="21" y="121"/>
                    <a:pt x="20" y="120"/>
                  </a:cubicBezTo>
                  <a:cubicBezTo>
                    <a:pt x="20" y="120"/>
                    <a:pt x="20" y="119"/>
                    <a:pt x="18" y="118"/>
                  </a:cubicBezTo>
                  <a:cubicBezTo>
                    <a:pt x="17" y="118"/>
                    <a:pt x="15" y="118"/>
                    <a:pt x="13" y="118"/>
                  </a:cubicBezTo>
                  <a:cubicBezTo>
                    <a:pt x="12" y="118"/>
                    <a:pt x="11" y="118"/>
                    <a:pt x="11" y="117"/>
                  </a:cubicBezTo>
                  <a:cubicBezTo>
                    <a:pt x="11" y="116"/>
                    <a:pt x="9" y="114"/>
                    <a:pt x="8" y="113"/>
                  </a:cubicBezTo>
                  <a:cubicBezTo>
                    <a:pt x="7" y="112"/>
                    <a:pt x="4" y="110"/>
                    <a:pt x="4" y="110"/>
                  </a:cubicBezTo>
                  <a:cubicBezTo>
                    <a:pt x="3" y="109"/>
                    <a:pt x="4" y="106"/>
                    <a:pt x="4" y="105"/>
                  </a:cubicBezTo>
                  <a:cubicBezTo>
                    <a:pt x="4" y="105"/>
                    <a:pt x="5" y="101"/>
                    <a:pt x="5" y="100"/>
                  </a:cubicBezTo>
                  <a:cubicBezTo>
                    <a:pt x="5" y="99"/>
                    <a:pt x="5" y="97"/>
                    <a:pt x="5" y="96"/>
                  </a:cubicBezTo>
                  <a:cubicBezTo>
                    <a:pt x="4" y="95"/>
                    <a:pt x="4" y="95"/>
                    <a:pt x="4" y="94"/>
                  </a:cubicBezTo>
                  <a:cubicBezTo>
                    <a:pt x="4" y="94"/>
                    <a:pt x="4" y="93"/>
                    <a:pt x="4" y="92"/>
                  </a:cubicBezTo>
                  <a:cubicBezTo>
                    <a:pt x="5" y="92"/>
                    <a:pt x="5" y="91"/>
                    <a:pt x="5" y="90"/>
                  </a:cubicBezTo>
                  <a:cubicBezTo>
                    <a:pt x="5" y="89"/>
                    <a:pt x="5" y="88"/>
                    <a:pt x="5" y="87"/>
                  </a:cubicBezTo>
                  <a:cubicBezTo>
                    <a:pt x="5" y="86"/>
                    <a:pt x="4" y="84"/>
                    <a:pt x="5" y="83"/>
                  </a:cubicBezTo>
                  <a:cubicBezTo>
                    <a:pt x="5" y="82"/>
                    <a:pt x="7" y="80"/>
                    <a:pt x="7" y="79"/>
                  </a:cubicBezTo>
                  <a:cubicBezTo>
                    <a:pt x="8" y="78"/>
                    <a:pt x="9" y="78"/>
                    <a:pt x="9" y="77"/>
                  </a:cubicBezTo>
                  <a:cubicBezTo>
                    <a:pt x="9" y="76"/>
                    <a:pt x="7" y="73"/>
                    <a:pt x="6" y="72"/>
                  </a:cubicBezTo>
                  <a:cubicBezTo>
                    <a:pt x="6" y="71"/>
                    <a:pt x="6" y="70"/>
                    <a:pt x="5" y="69"/>
                  </a:cubicBezTo>
                  <a:cubicBezTo>
                    <a:pt x="4" y="69"/>
                    <a:pt x="1" y="69"/>
                    <a:pt x="1" y="69"/>
                  </a:cubicBezTo>
                  <a:cubicBezTo>
                    <a:pt x="0" y="68"/>
                    <a:pt x="0" y="67"/>
                    <a:pt x="0" y="66"/>
                  </a:cubicBezTo>
                  <a:cubicBezTo>
                    <a:pt x="1" y="65"/>
                    <a:pt x="0" y="63"/>
                    <a:pt x="1" y="62"/>
                  </a:cubicBezTo>
                  <a:cubicBezTo>
                    <a:pt x="1" y="62"/>
                    <a:pt x="3" y="61"/>
                    <a:pt x="4" y="60"/>
                  </a:cubicBezTo>
                  <a:cubicBezTo>
                    <a:pt x="4" y="59"/>
                    <a:pt x="5" y="57"/>
                    <a:pt x="5" y="56"/>
                  </a:cubicBezTo>
                  <a:cubicBezTo>
                    <a:pt x="6" y="55"/>
                    <a:pt x="6" y="54"/>
                    <a:pt x="7" y="53"/>
                  </a:cubicBezTo>
                  <a:cubicBezTo>
                    <a:pt x="8" y="52"/>
                    <a:pt x="10" y="51"/>
                    <a:pt x="11" y="51"/>
                  </a:cubicBezTo>
                  <a:cubicBezTo>
                    <a:pt x="12" y="50"/>
                    <a:pt x="12" y="49"/>
                    <a:pt x="13" y="49"/>
                  </a:cubicBezTo>
                  <a:cubicBezTo>
                    <a:pt x="13" y="48"/>
                    <a:pt x="14" y="49"/>
                    <a:pt x="15" y="49"/>
                  </a:cubicBezTo>
                  <a:cubicBezTo>
                    <a:pt x="15" y="49"/>
                    <a:pt x="16" y="47"/>
                    <a:pt x="17" y="47"/>
                  </a:cubicBezTo>
                  <a:cubicBezTo>
                    <a:pt x="17" y="46"/>
                    <a:pt x="19" y="47"/>
                    <a:pt x="19" y="47"/>
                  </a:cubicBezTo>
                  <a:cubicBezTo>
                    <a:pt x="19" y="46"/>
                    <a:pt x="20" y="45"/>
                    <a:pt x="20" y="45"/>
                  </a:cubicBezTo>
                  <a:cubicBezTo>
                    <a:pt x="20" y="44"/>
                    <a:pt x="21" y="43"/>
                    <a:pt x="21" y="43"/>
                  </a:cubicBezTo>
                  <a:cubicBezTo>
                    <a:pt x="21" y="43"/>
                    <a:pt x="21" y="14"/>
                    <a:pt x="21" y="14"/>
                  </a:cubicBezTo>
                  <a:cubicBezTo>
                    <a:pt x="21" y="14"/>
                    <a:pt x="24" y="15"/>
                    <a:pt x="24" y="15"/>
                  </a:cubicBezTo>
                  <a:cubicBezTo>
                    <a:pt x="25" y="13"/>
                    <a:pt x="25" y="13"/>
                    <a:pt x="25" y="13"/>
                  </a:cubicBezTo>
                  <a:cubicBezTo>
                    <a:pt x="25" y="13"/>
                    <a:pt x="27" y="12"/>
                    <a:pt x="27" y="12"/>
                  </a:cubicBezTo>
                  <a:cubicBezTo>
                    <a:pt x="27" y="12"/>
                    <a:pt x="28" y="11"/>
                    <a:pt x="29" y="11"/>
                  </a:cubicBezTo>
                  <a:cubicBezTo>
                    <a:pt x="30" y="11"/>
                    <a:pt x="31" y="13"/>
                    <a:pt x="31" y="13"/>
                  </a:cubicBezTo>
                  <a:cubicBezTo>
                    <a:pt x="31" y="13"/>
                    <a:pt x="31" y="14"/>
                    <a:pt x="31" y="14"/>
                  </a:cubicBezTo>
                  <a:cubicBezTo>
                    <a:pt x="31" y="14"/>
                    <a:pt x="34" y="14"/>
                    <a:pt x="35" y="14"/>
                  </a:cubicBezTo>
                  <a:cubicBezTo>
                    <a:pt x="35" y="14"/>
                    <a:pt x="37" y="14"/>
                    <a:pt x="37" y="14"/>
                  </a:cubicBezTo>
                  <a:cubicBezTo>
                    <a:pt x="38" y="13"/>
                    <a:pt x="40" y="12"/>
                    <a:pt x="41" y="12"/>
                  </a:cubicBezTo>
                  <a:cubicBezTo>
                    <a:pt x="41" y="12"/>
                    <a:pt x="43" y="11"/>
                    <a:pt x="44" y="11"/>
                  </a:cubicBezTo>
                  <a:cubicBezTo>
                    <a:pt x="45" y="11"/>
                    <a:pt x="46" y="11"/>
                    <a:pt x="47" y="10"/>
                  </a:cubicBezTo>
                  <a:cubicBezTo>
                    <a:pt x="48" y="10"/>
                    <a:pt x="51" y="9"/>
                    <a:pt x="52" y="9"/>
                  </a:cubicBezTo>
                  <a:cubicBezTo>
                    <a:pt x="53" y="9"/>
                    <a:pt x="56" y="7"/>
                    <a:pt x="57" y="6"/>
                  </a:cubicBezTo>
                  <a:cubicBezTo>
                    <a:pt x="58" y="5"/>
                    <a:pt x="59" y="5"/>
                    <a:pt x="59" y="4"/>
                  </a:cubicBezTo>
                  <a:cubicBezTo>
                    <a:pt x="60" y="4"/>
                    <a:pt x="60" y="4"/>
                    <a:pt x="61" y="4"/>
                  </a:cubicBezTo>
                  <a:cubicBezTo>
                    <a:pt x="61" y="4"/>
                    <a:pt x="62" y="4"/>
                    <a:pt x="64" y="4"/>
                  </a:cubicBezTo>
                  <a:cubicBezTo>
                    <a:pt x="65" y="3"/>
                    <a:pt x="67" y="2"/>
                    <a:pt x="68" y="1"/>
                  </a:cubicBezTo>
                  <a:cubicBezTo>
                    <a:pt x="69" y="1"/>
                    <a:pt x="70" y="1"/>
                    <a:pt x="71" y="0"/>
                  </a:cubicBezTo>
                  <a:cubicBezTo>
                    <a:pt x="71" y="0"/>
                    <a:pt x="72" y="0"/>
                    <a:pt x="72" y="0"/>
                  </a:cubicBezTo>
                  <a:cubicBezTo>
                    <a:pt x="72" y="1"/>
                    <a:pt x="72" y="2"/>
                    <a:pt x="73" y="2"/>
                  </a:cubicBezTo>
                  <a:cubicBezTo>
                    <a:pt x="74" y="3"/>
                    <a:pt x="74" y="3"/>
                    <a:pt x="74" y="3"/>
                  </a:cubicBezTo>
                  <a:cubicBezTo>
                    <a:pt x="74" y="4"/>
                    <a:pt x="74" y="5"/>
                    <a:pt x="73" y="6"/>
                  </a:cubicBezTo>
                  <a:cubicBezTo>
                    <a:pt x="73" y="7"/>
                    <a:pt x="72" y="8"/>
                    <a:pt x="71" y="8"/>
                  </a:cubicBezTo>
                  <a:cubicBezTo>
                    <a:pt x="71" y="9"/>
                    <a:pt x="70" y="9"/>
                    <a:pt x="70" y="10"/>
                  </a:cubicBezTo>
                  <a:cubicBezTo>
                    <a:pt x="70" y="11"/>
                    <a:pt x="70" y="13"/>
                    <a:pt x="70" y="14"/>
                  </a:cubicBezTo>
                  <a:cubicBezTo>
                    <a:pt x="70" y="14"/>
                    <a:pt x="70" y="14"/>
                    <a:pt x="70" y="14"/>
                  </a:cubicBezTo>
                  <a:cubicBezTo>
                    <a:pt x="70" y="15"/>
                    <a:pt x="69" y="15"/>
                    <a:pt x="69" y="15"/>
                  </a:cubicBezTo>
                  <a:cubicBezTo>
                    <a:pt x="69" y="15"/>
                    <a:pt x="69" y="16"/>
                    <a:pt x="69" y="16"/>
                  </a:cubicBezTo>
                  <a:cubicBezTo>
                    <a:pt x="69" y="17"/>
                    <a:pt x="69" y="17"/>
                    <a:pt x="68" y="17"/>
                  </a:cubicBezTo>
                  <a:cubicBezTo>
                    <a:pt x="68" y="18"/>
                    <a:pt x="68" y="18"/>
                    <a:pt x="68" y="19"/>
                  </a:cubicBezTo>
                  <a:cubicBezTo>
                    <a:pt x="69" y="19"/>
                    <a:pt x="70" y="18"/>
                    <a:pt x="71" y="18"/>
                  </a:cubicBezTo>
                  <a:cubicBezTo>
                    <a:pt x="72" y="17"/>
                    <a:pt x="74" y="16"/>
                    <a:pt x="74" y="16"/>
                  </a:cubicBezTo>
                  <a:cubicBezTo>
                    <a:pt x="75" y="16"/>
                    <a:pt x="76" y="15"/>
                    <a:pt x="76" y="15"/>
                  </a:cubicBezTo>
                  <a:cubicBezTo>
                    <a:pt x="76" y="15"/>
                    <a:pt x="77" y="15"/>
                    <a:pt x="77" y="16"/>
                  </a:cubicBezTo>
                  <a:cubicBezTo>
                    <a:pt x="78" y="16"/>
                    <a:pt x="79" y="17"/>
                    <a:pt x="80" y="18"/>
                  </a:cubicBezTo>
                  <a:cubicBezTo>
                    <a:pt x="81" y="18"/>
                    <a:pt x="82" y="18"/>
                    <a:pt x="83" y="19"/>
                  </a:cubicBezTo>
                  <a:cubicBezTo>
                    <a:pt x="83" y="19"/>
                    <a:pt x="84" y="20"/>
                    <a:pt x="85" y="20"/>
                  </a:cubicBezTo>
                  <a:cubicBezTo>
                    <a:pt x="85" y="20"/>
                    <a:pt x="86" y="19"/>
                    <a:pt x="86" y="19"/>
                  </a:cubicBezTo>
                  <a:cubicBezTo>
                    <a:pt x="86" y="21"/>
                    <a:pt x="86" y="21"/>
                    <a:pt x="86" y="21"/>
                  </a:cubicBezTo>
                  <a:cubicBezTo>
                    <a:pt x="89" y="21"/>
                    <a:pt x="89" y="21"/>
                    <a:pt x="89" y="21"/>
                  </a:cubicBezTo>
                  <a:cubicBezTo>
                    <a:pt x="89" y="21"/>
                    <a:pt x="89" y="22"/>
                    <a:pt x="89" y="22"/>
                  </a:cubicBezTo>
                  <a:cubicBezTo>
                    <a:pt x="89" y="22"/>
                    <a:pt x="93" y="23"/>
                    <a:pt x="93" y="23"/>
                  </a:cubicBezTo>
                  <a:cubicBezTo>
                    <a:pt x="96" y="30"/>
                    <a:pt x="96" y="30"/>
                    <a:pt x="96" y="30"/>
                  </a:cubicBezTo>
                  <a:cubicBezTo>
                    <a:pt x="128" y="40"/>
                    <a:pt x="128" y="40"/>
                    <a:pt x="128" y="40"/>
                  </a:cubicBezTo>
                  <a:cubicBezTo>
                    <a:pt x="132" y="41"/>
                    <a:pt x="132" y="41"/>
                    <a:pt x="132" y="41"/>
                  </a:cubicBezTo>
                  <a:cubicBezTo>
                    <a:pt x="141" y="47"/>
                    <a:pt x="141" y="47"/>
                    <a:pt x="141" y="47"/>
                  </a:cubicBezTo>
                  <a:cubicBezTo>
                    <a:pt x="144" y="47"/>
                    <a:pt x="144" y="47"/>
                    <a:pt x="144" y="47"/>
                  </a:cubicBezTo>
                  <a:cubicBezTo>
                    <a:pt x="147" y="48"/>
                    <a:pt x="147" y="48"/>
                    <a:pt x="147" y="48"/>
                  </a:cubicBezTo>
                  <a:cubicBezTo>
                    <a:pt x="147" y="48"/>
                    <a:pt x="148" y="47"/>
                    <a:pt x="148" y="47"/>
                  </a:cubicBezTo>
                  <a:cubicBezTo>
                    <a:pt x="149" y="47"/>
                    <a:pt x="151" y="47"/>
                    <a:pt x="151" y="47"/>
                  </a:cubicBezTo>
                  <a:cubicBezTo>
                    <a:pt x="151" y="47"/>
                    <a:pt x="153" y="48"/>
                    <a:pt x="153" y="48"/>
                  </a:cubicBezTo>
                  <a:cubicBezTo>
                    <a:pt x="154" y="48"/>
                    <a:pt x="154" y="48"/>
                    <a:pt x="154" y="48"/>
                  </a:cubicBezTo>
                  <a:cubicBezTo>
                    <a:pt x="154" y="48"/>
                    <a:pt x="155" y="49"/>
                    <a:pt x="155" y="49"/>
                  </a:cubicBezTo>
                  <a:cubicBezTo>
                    <a:pt x="155" y="49"/>
                    <a:pt x="156" y="48"/>
                    <a:pt x="156" y="49"/>
                  </a:cubicBezTo>
                  <a:cubicBezTo>
                    <a:pt x="156" y="49"/>
                    <a:pt x="158" y="50"/>
                    <a:pt x="158" y="50"/>
                  </a:cubicBezTo>
                  <a:cubicBezTo>
                    <a:pt x="158" y="50"/>
                    <a:pt x="161" y="50"/>
                    <a:pt x="162" y="50"/>
                  </a:cubicBezTo>
                  <a:cubicBezTo>
                    <a:pt x="163" y="50"/>
                    <a:pt x="164" y="51"/>
                    <a:pt x="165" y="51"/>
                  </a:cubicBezTo>
                  <a:cubicBezTo>
                    <a:pt x="165" y="51"/>
                    <a:pt x="166" y="52"/>
                    <a:pt x="166" y="52"/>
                  </a:cubicBezTo>
                  <a:cubicBezTo>
                    <a:pt x="166" y="53"/>
                    <a:pt x="166" y="54"/>
                    <a:pt x="166" y="55"/>
                  </a:cubicBezTo>
                  <a:cubicBezTo>
                    <a:pt x="166" y="55"/>
                    <a:pt x="165" y="56"/>
                    <a:pt x="165" y="56"/>
                  </a:cubicBezTo>
                  <a:cubicBezTo>
                    <a:pt x="165" y="56"/>
                    <a:pt x="165" y="57"/>
                    <a:pt x="165" y="57"/>
                  </a:cubicBezTo>
                  <a:cubicBezTo>
                    <a:pt x="165" y="58"/>
                    <a:pt x="166" y="58"/>
                    <a:pt x="167" y="58"/>
                  </a:cubicBezTo>
                  <a:cubicBezTo>
                    <a:pt x="167" y="59"/>
                    <a:pt x="169" y="58"/>
                    <a:pt x="169" y="58"/>
                  </a:cubicBezTo>
                  <a:cubicBezTo>
                    <a:pt x="170" y="58"/>
                    <a:pt x="170" y="58"/>
                    <a:pt x="170" y="59"/>
                  </a:cubicBezTo>
                  <a:cubicBezTo>
                    <a:pt x="170" y="59"/>
                    <a:pt x="171" y="60"/>
                    <a:pt x="171" y="60"/>
                  </a:cubicBezTo>
                  <a:cubicBezTo>
                    <a:pt x="171" y="60"/>
                    <a:pt x="174" y="60"/>
                    <a:pt x="174" y="60"/>
                  </a:cubicBezTo>
                  <a:cubicBezTo>
                    <a:pt x="174" y="60"/>
                    <a:pt x="177" y="63"/>
                    <a:pt x="177" y="63"/>
                  </a:cubicBezTo>
                  <a:cubicBezTo>
                    <a:pt x="177" y="64"/>
                    <a:pt x="176" y="64"/>
                    <a:pt x="176" y="65"/>
                  </a:cubicBezTo>
                  <a:cubicBezTo>
                    <a:pt x="176" y="65"/>
                    <a:pt x="175" y="66"/>
                    <a:pt x="176" y="66"/>
                  </a:cubicBezTo>
                  <a:cubicBezTo>
                    <a:pt x="176" y="66"/>
                    <a:pt x="176" y="67"/>
                    <a:pt x="176" y="68"/>
                  </a:cubicBezTo>
                  <a:cubicBezTo>
                    <a:pt x="177" y="68"/>
                    <a:pt x="177" y="69"/>
                    <a:pt x="177" y="69"/>
                  </a:cubicBezTo>
                  <a:cubicBezTo>
                    <a:pt x="176" y="69"/>
                    <a:pt x="175" y="70"/>
                    <a:pt x="175" y="70"/>
                  </a:cubicBezTo>
                  <a:cubicBezTo>
                    <a:pt x="175" y="70"/>
                    <a:pt x="175" y="70"/>
                    <a:pt x="175" y="71"/>
                  </a:cubicBezTo>
                  <a:cubicBezTo>
                    <a:pt x="175" y="71"/>
                    <a:pt x="176" y="72"/>
                    <a:pt x="176" y="72"/>
                  </a:cubicBezTo>
                  <a:cubicBezTo>
                    <a:pt x="176" y="72"/>
                    <a:pt x="175" y="74"/>
                    <a:pt x="175" y="74"/>
                  </a:cubicBezTo>
                  <a:cubicBezTo>
                    <a:pt x="175" y="74"/>
                    <a:pt x="174" y="76"/>
                    <a:pt x="174" y="76"/>
                  </a:cubicBezTo>
                  <a:cubicBezTo>
                    <a:pt x="174" y="77"/>
                    <a:pt x="173" y="78"/>
                    <a:pt x="173" y="79"/>
                  </a:cubicBezTo>
                  <a:cubicBezTo>
                    <a:pt x="173" y="79"/>
                    <a:pt x="173" y="79"/>
                    <a:pt x="174" y="79"/>
                  </a:cubicBezTo>
                  <a:cubicBezTo>
                    <a:pt x="174" y="80"/>
                    <a:pt x="177" y="80"/>
                    <a:pt x="177" y="80"/>
                  </a:cubicBezTo>
                  <a:cubicBezTo>
                    <a:pt x="177" y="80"/>
                    <a:pt x="179" y="78"/>
                    <a:pt x="179" y="78"/>
                  </a:cubicBezTo>
                  <a:cubicBezTo>
                    <a:pt x="179" y="78"/>
                    <a:pt x="181" y="78"/>
                    <a:pt x="181" y="78"/>
                  </a:cubicBezTo>
                  <a:cubicBezTo>
                    <a:pt x="181" y="79"/>
                    <a:pt x="181" y="79"/>
                    <a:pt x="181" y="80"/>
                  </a:cubicBezTo>
                  <a:cubicBezTo>
                    <a:pt x="181" y="80"/>
                    <a:pt x="179" y="85"/>
                    <a:pt x="179" y="86"/>
                  </a:cubicBezTo>
                  <a:cubicBezTo>
                    <a:pt x="179" y="86"/>
                    <a:pt x="178" y="88"/>
                    <a:pt x="178" y="88"/>
                  </a:cubicBezTo>
                  <a:cubicBezTo>
                    <a:pt x="178" y="88"/>
                    <a:pt x="179" y="90"/>
                    <a:pt x="180" y="90"/>
                  </a:cubicBezTo>
                  <a:cubicBezTo>
                    <a:pt x="180" y="90"/>
                    <a:pt x="181" y="91"/>
                    <a:pt x="181" y="91"/>
                  </a:cubicBezTo>
                  <a:cubicBezTo>
                    <a:pt x="181" y="91"/>
                    <a:pt x="182" y="92"/>
                    <a:pt x="183" y="92"/>
                  </a:cubicBezTo>
                  <a:cubicBezTo>
                    <a:pt x="183" y="93"/>
                    <a:pt x="183" y="95"/>
                    <a:pt x="183" y="96"/>
                  </a:cubicBezTo>
                  <a:cubicBezTo>
                    <a:pt x="183" y="97"/>
                    <a:pt x="183" y="97"/>
                    <a:pt x="182" y="98"/>
                  </a:cubicBezTo>
                  <a:cubicBezTo>
                    <a:pt x="182" y="99"/>
                    <a:pt x="181" y="99"/>
                    <a:pt x="180" y="99"/>
                  </a:cubicBezTo>
                  <a:cubicBezTo>
                    <a:pt x="179" y="99"/>
                    <a:pt x="178" y="99"/>
                    <a:pt x="177" y="100"/>
                  </a:cubicBezTo>
                  <a:cubicBezTo>
                    <a:pt x="176" y="100"/>
                    <a:pt x="176" y="100"/>
                    <a:pt x="175" y="101"/>
                  </a:cubicBezTo>
                  <a:cubicBezTo>
                    <a:pt x="175" y="101"/>
                    <a:pt x="175" y="102"/>
                    <a:pt x="175" y="102"/>
                  </a:cubicBezTo>
                  <a:cubicBezTo>
                    <a:pt x="175" y="103"/>
                    <a:pt x="175" y="104"/>
                    <a:pt x="175" y="104"/>
                  </a:cubicBezTo>
                  <a:cubicBezTo>
                    <a:pt x="174" y="105"/>
                    <a:pt x="174" y="106"/>
                    <a:pt x="173" y="107"/>
                  </a:cubicBezTo>
                  <a:cubicBezTo>
                    <a:pt x="172" y="109"/>
                    <a:pt x="170" y="110"/>
                    <a:pt x="170" y="113"/>
                  </a:cubicBezTo>
                  <a:cubicBezTo>
                    <a:pt x="170" y="114"/>
                    <a:pt x="169" y="114"/>
                    <a:pt x="169" y="115"/>
                  </a:cubicBezTo>
                  <a:cubicBezTo>
                    <a:pt x="169" y="116"/>
                    <a:pt x="169" y="116"/>
                    <a:pt x="169" y="117"/>
                  </a:cubicBezTo>
                  <a:cubicBezTo>
                    <a:pt x="169" y="118"/>
                    <a:pt x="169" y="118"/>
                    <a:pt x="170" y="119"/>
                  </a:cubicBezTo>
                  <a:cubicBezTo>
                    <a:pt x="170" y="119"/>
                    <a:pt x="170" y="120"/>
                    <a:pt x="171" y="119"/>
                  </a:cubicBezTo>
                  <a:cubicBezTo>
                    <a:pt x="171" y="119"/>
                    <a:pt x="172" y="119"/>
                    <a:pt x="172" y="119"/>
                  </a:cubicBezTo>
                  <a:cubicBezTo>
                    <a:pt x="172" y="118"/>
                    <a:pt x="173" y="118"/>
                    <a:pt x="173" y="118"/>
                  </a:cubicBezTo>
                  <a:cubicBezTo>
                    <a:pt x="174" y="117"/>
                    <a:pt x="175" y="116"/>
                    <a:pt x="177" y="115"/>
                  </a:cubicBezTo>
                  <a:cubicBezTo>
                    <a:pt x="177" y="115"/>
                    <a:pt x="179" y="114"/>
                    <a:pt x="179" y="113"/>
                  </a:cubicBezTo>
                  <a:cubicBezTo>
                    <a:pt x="179" y="112"/>
                    <a:pt x="179" y="111"/>
                    <a:pt x="179" y="111"/>
                  </a:cubicBezTo>
                  <a:cubicBezTo>
                    <a:pt x="179" y="110"/>
                    <a:pt x="180" y="110"/>
                    <a:pt x="180" y="109"/>
                  </a:cubicBezTo>
                  <a:cubicBezTo>
                    <a:pt x="180" y="109"/>
                    <a:pt x="181" y="108"/>
                    <a:pt x="181" y="108"/>
                  </a:cubicBezTo>
                  <a:cubicBezTo>
                    <a:pt x="181" y="107"/>
                    <a:pt x="182" y="107"/>
                    <a:pt x="182" y="106"/>
                  </a:cubicBezTo>
                  <a:cubicBezTo>
                    <a:pt x="183" y="106"/>
                    <a:pt x="183" y="105"/>
                    <a:pt x="183" y="105"/>
                  </a:cubicBezTo>
                  <a:cubicBezTo>
                    <a:pt x="184" y="105"/>
                    <a:pt x="184" y="105"/>
                    <a:pt x="185" y="105"/>
                  </a:cubicBezTo>
                  <a:cubicBezTo>
                    <a:pt x="186" y="105"/>
                    <a:pt x="188" y="105"/>
                    <a:pt x="190" y="104"/>
                  </a:cubicBezTo>
                  <a:cubicBezTo>
                    <a:pt x="190" y="104"/>
                    <a:pt x="191" y="103"/>
                    <a:pt x="191" y="103"/>
                  </a:cubicBezTo>
                  <a:cubicBezTo>
                    <a:pt x="190" y="102"/>
                    <a:pt x="190" y="101"/>
                    <a:pt x="191" y="100"/>
                  </a:cubicBezTo>
                  <a:cubicBezTo>
                    <a:pt x="191" y="99"/>
                    <a:pt x="192" y="99"/>
                    <a:pt x="192" y="98"/>
                  </a:cubicBezTo>
                  <a:cubicBezTo>
                    <a:pt x="192" y="98"/>
                    <a:pt x="192" y="97"/>
                    <a:pt x="193" y="96"/>
                  </a:cubicBezTo>
                  <a:cubicBezTo>
                    <a:pt x="193" y="96"/>
                    <a:pt x="193" y="96"/>
                    <a:pt x="194" y="95"/>
                  </a:cubicBezTo>
                  <a:cubicBezTo>
                    <a:pt x="194" y="95"/>
                    <a:pt x="194" y="95"/>
                    <a:pt x="194" y="94"/>
                  </a:cubicBezTo>
                  <a:cubicBezTo>
                    <a:pt x="195" y="93"/>
                    <a:pt x="195" y="93"/>
                    <a:pt x="195" y="92"/>
                  </a:cubicBezTo>
                  <a:cubicBezTo>
                    <a:pt x="196" y="91"/>
                    <a:pt x="196" y="90"/>
                    <a:pt x="196" y="89"/>
                  </a:cubicBezTo>
                  <a:cubicBezTo>
                    <a:pt x="197" y="89"/>
                    <a:pt x="198" y="89"/>
                    <a:pt x="199" y="88"/>
                  </a:cubicBezTo>
                  <a:cubicBezTo>
                    <a:pt x="199" y="88"/>
                    <a:pt x="200" y="87"/>
                    <a:pt x="201" y="86"/>
                  </a:cubicBezTo>
                  <a:cubicBezTo>
                    <a:pt x="201" y="86"/>
                    <a:pt x="201" y="85"/>
                    <a:pt x="201" y="84"/>
                  </a:cubicBezTo>
                  <a:cubicBezTo>
                    <a:pt x="202" y="83"/>
                    <a:pt x="202" y="83"/>
                    <a:pt x="203" y="83"/>
                  </a:cubicBezTo>
                  <a:cubicBezTo>
                    <a:pt x="204" y="83"/>
                    <a:pt x="204" y="83"/>
                    <a:pt x="204" y="83"/>
                  </a:cubicBezTo>
                  <a:cubicBezTo>
                    <a:pt x="205" y="83"/>
                    <a:pt x="205" y="84"/>
                    <a:pt x="205" y="84"/>
                  </a:cubicBezTo>
                  <a:close/>
                </a:path>
              </a:pathLst>
            </a:custGeom>
            <a:solidFill>
              <a:srgbClr val="FFFF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 name="Freeform 10">
              <a:extLst>
                <a:ext uri="{FF2B5EF4-FFF2-40B4-BE49-F238E27FC236}">
                  <a16:creationId xmlns:a16="http://schemas.microsoft.com/office/drawing/2014/main" id="{0C1A94A7-71F4-011C-6BA8-A7939CC312A2}"/>
                </a:ext>
              </a:extLst>
            </p:cNvPr>
            <p:cNvSpPr>
              <a:spLocks/>
            </p:cNvSpPr>
            <p:nvPr/>
          </p:nvSpPr>
          <p:spPr bwMode="auto">
            <a:xfrm>
              <a:off x="8274393" y="2579017"/>
              <a:ext cx="674099" cy="606359"/>
            </a:xfrm>
            <a:custGeom>
              <a:avLst/>
              <a:gdLst>
                <a:gd name="T0" fmla="*/ 168 w 170"/>
                <a:gd name="T1" fmla="*/ 51 h 153"/>
                <a:gd name="T2" fmla="*/ 165 w 170"/>
                <a:gd name="T3" fmla="*/ 47 h 153"/>
                <a:gd name="T4" fmla="*/ 162 w 170"/>
                <a:gd name="T5" fmla="*/ 46 h 153"/>
                <a:gd name="T6" fmla="*/ 151 w 170"/>
                <a:gd name="T7" fmla="*/ 45 h 153"/>
                <a:gd name="T8" fmla="*/ 146 w 170"/>
                <a:gd name="T9" fmla="*/ 47 h 153"/>
                <a:gd name="T10" fmla="*/ 144 w 170"/>
                <a:gd name="T11" fmla="*/ 50 h 153"/>
                <a:gd name="T12" fmla="*/ 135 w 170"/>
                <a:gd name="T13" fmla="*/ 48 h 153"/>
                <a:gd name="T14" fmla="*/ 132 w 170"/>
                <a:gd name="T15" fmla="*/ 48 h 153"/>
                <a:gd name="T16" fmla="*/ 127 w 170"/>
                <a:gd name="T17" fmla="*/ 53 h 153"/>
                <a:gd name="T18" fmla="*/ 122 w 170"/>
                <a:gd name="T19" fmla="*/ 53 h 153"/>
                <a:gd name="T20" fmla="*/ 116 w 170"/>
                <a:gd name="T21" fmla="*/ 59 h 153"/>
                <a:gd name="T22" fmla="*/ 74 w 170"/>
                <a:gd name="T23" fmla="*/ 41 h 153"/>
                <a:gd name="T24" fmla="*/ 69 w 170"/>
                <a:gd name="T25" fmla="*/ 0 h 153"/>
                <a:gd name="T26" fmla="*/ 70 w 170"/>
                <a:gd name="T27" fmla="*/ 9 h 153"/>
                <a:gd name="T28" fmla="*/ 66 w 170"/>
                <a:gd name="T29" fmla="*/ 28 h 153"/>
                <a:gd name="T30" fmla="*/ 63 w 170"/>
                <a:gd name="T31" fmla="*/ 37 h 153"/>
                <a:gd name="T32" fmla="*/ 61 w 170"/>
                <a:gd name="T33" fmla="*/ 46 h 153"/>
                <a:gd name="T34" fmla="*/ 46 w 170"/>
                <a:gd name="T35" fmla="*/ 58 h 153"/>
                <a:gd name="T36" fmla="*/ 39 w 170"/>
                <a:gd name="T37" fmla="*/ 57 h 153"/>
                <a:gd name="T38" fmla="*/ 34 w 170"/>
                <a:gd name="T39" fmla="*/ 61 h 153"/>
                <a:gd name="T40" fmla="*/ 30 w 170"/>
                <a:gd name="T41" fmla="*/ 70 h 153"/>
                <a:gd name="T42" fmla="*/ 28 w 170"/>
                <a:gd name="T43" fmla="*/ 76 h 153"/>
                <a:gd name="T44" fmla="*/ 25 w 170"/>
                <a:gd name="T45" fmla="*/ 77 h 153"/>
                <a:gd name="T46" fmla="*/ 22 w 170"/>
                <a:gd name="T47" fmla="*/ 72 h 153"/>
                <a:gd name="T48" fmla="*/ 17 w 170"/>
                <a:gd name="T49" fmla="*/ 81 h 153"/>
                <a:gd name="T50" fmla="*/ 14 w 170"/>
                <a:gd name="T51" fmla="*/ 91 h 153"/>
                <a:gd name="T52" fmla="*/ 10 w 170"/>
                <a:gd name="T53" fmla="*/ 98 h 153"/>
                <a:gd name="T54" fmla="*/ 2 w 170"/>
                <a:gd name="T55" fmla="*/ 106 h 153"/>
                <a:gd name="T56" fmla="*/ 0 w 170"/>
                <a:gd name="T57" fmla="*/ 112 h 153"/>
                <a:gd name="T58" fmla="*/ 6 w 170"/>
                <a:gd name="T59" fmla="*/ 118 h 153"/>
                <a:gd name="T60" fmla="*/ 9 w 170"/>
                <a:gd name="T61" fmla="*/ 126 h 153"/>
                <a:gd name="T62" fmla="*/ 15 w 170"/>
                <a:gd name="T63" fmla="*/ 134 h 153"/>
                <a:gd name="T64" fmla="*/ 23 w 170"/>
                <a:gd name="T65" fmla="*/ 138 h 153"/>
                <a:gd name="T66" fmla="*/ 24 w 170"/>
                <a:gd name="T67" fmla="*/ 142 h 153"/>
                <a:gd name="T68" fmla="*/ 30 w 170"/>
                <a:gd name="T69" fmla="*/ 149 h 153"/>
                <a:gd name="T70" fmla="*/ 44 w 170"/>
                <a:gd name="T71" fmla="*/ 146 h 153"/>
                <a:gd name="T72" fmla="*/ 61 w 170"/>
                <a:gd name="T73" fmla="*/ 148 h 153"/>
                <a:gd name="T74" fmla="*/ 63 w 170"/>
                <a:gd name="T75" fmla="*/ 144 h 153"/>
                <a:gd name="T76" fmla="*/ 75 w 170"/>
                <a:gd name="T77" fmla="*/ 143 h 153"/>
                <a:gd name="T78" fmla="*/ 83 w 170"/>
                <a:gd name="T79" fmla="*/ 135 h 153"/>
                <a:gd name="T80" fmla="*/ 84 w 170"/>
                <a:gd name="T81" fmla="*/ 125 h 153"/>
                <a:gd name="T82" fmla="*/ 93 w 170"/>
                <a:gd name="T83" fmla="*/ 115 h 153"/>
                <a:gd name="T84" fmla="*/ 95 w 170"/>
                <a:gd name="T85" fmla="*/ 108 h 153"/>
                <a:gd name="T86" fmla="*/ 101 w 170"/>
                <a:gd name="T87" fmla="*/ 101 h 153"/>
                <a:gd name="T88" fmla="*/ 106 w 170"/>
                <a:gd name="T89" fmla="*/ 92 h 153"/>
                <a:gd name="T90" fmla="*/ 121 w 170"/>
                <a:gd name="T91" fmla="*/ 89 h 153"/>
                <a:gd name="T92" fmla="*/ 130 w 170"/>
                <a:gd name="T93" fmla="*/ 84 h 153"/>
                <a:gd name="T94" fmla="*/ 135 w 170"/>
                <a:gd name="T95" fmla="*/ 78 h 153"/>
                <a:gd name="T96" fmla="*/ 141 w 170"/>
                <a:gd name="T97" fmla="*/ 72 h 153"/>
                <a:gd name="T98" fmla="*/ 147 w 170"/>
                <a:gd name="T99" fmla="*/ 61 h 153"/>
                <a:gd name="T100" fmla="*/ 166 w 170"/>
                <a:gd name="T101"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0" h="153">
                  <a:moveTo>
                    <a:pt x="169" y="54"/>
                  </a:moveTo>
                  <a:cubicBezTo>
                    <a:pt x="167" y="54"/>
                    <a:pt x="167" y="54"/>
                    <a:pt x="167" y="54"/>
                  </a:cubicBezTo>
                  <a:cubicBezTo>
                    <a:pt x="167" y="54"/>
                    <a:pt x="168" y="52"/>
                    <a:pt x="168" y="52"/>
                  </a:cubicBezTo>
                  <a:cubicBezTo>
                    <a:pt x="168" y="52"/>
                    <a:pt x="168" y="51"/>
                    <a:pt x="168" y="51"/>
                  </a:cubicBezTo>
                  <a:cubicBezTo>
                    <a:pt x="166" y="51"/>
                    <a:pt x="166" y="51"/>
                    <a:pt x="166" y="51"/>
                  </a:cubicBezTo>
                  <a:cubicBezTo>
                    <a:pt x="166" y="50"/>
                    <a:pt x="166" y="50"/>
                    <a:pt x="166" y="50"/>
                  </a:cubicBezTo>
                  <a:cubicBezTo>
                    <a:pt x="165" y="50"/>
                    <a:pt x="165" y="50"/>
                    <a:pt x="165" y="50"/>
                  </a:cubicBezTo>
                  <a:cubicBezTo>
                    <a:pt x="165" y="50"/>
                    <a:pt x="165" y="48"/>
                    <a:pt x="165" y="47"/>
                  </a:cubicBezTo>
                  <a:cubicBezTo>
                    <a:pt x="165" y="47"/>
                    <a:pt x="166" y="46"/>
                    <a:pt x="166" y="46"/>
                  </a:cubicBezTo>
                  <a:cubicBezTo>
                    <a:pt x="166" y="46"/>
                    <a:pt x="164" y="46"/>
                    <a:pt x="164" y="46"/>
                  </a:cubicBezTo>
                  <a:cubicBezTo>
                    <a:pt x="164" y="46"/>
                    <a:pt x="162" y="47"/>
                    <a:pt x="162" y="47"/>
                  </a:cubicBezTo>
                  <a:cubicBezTo>
                    <a:pt x="162" y="47"/>
                    <a:pt x="163" y="46"/>
                    <a:pt x="162" y="46"/>
                  </a:cubicBezTo>
                  <a:cubicBezTo>
                    <a:pt x="162" y="45"/>
                    <a:pt x="161" y="46"/>
                    <a:pt x="161" y="46"/>
                  </a:cubicBezTo>
                  <a:cubicBezTo>
                    <a:pt x="161" y="46"/>
                    <a:pt x="155" y="42"/>
                    <a:pt x="155" y="42"/>
                  </a:cubicBezTo>
                  <a:cubicBezTo>
                    <a:pt x="153" y="42"/>
                    <a:pt x="153" y="42"/>
                    <a:pt x="153" y="42"/>
                  </a:cubicBezTo>
                  <a:cubicBezTo>
                    <a:pt x="151" y="45"/>
                    <a:pt x="151" y="45"/>
                    <a:pt x="151" y="45"/>
                  </a:cubicBezTo>
                  <a:cubicBezTo>
                    <a:pt x="151" y="45"/>
                    <a:pt x="148" y="45"/>
                    <a:pt x="148" y="45"/>
                  </a:cubicBezTo>
                  <a:cubicBezTo>
                    <a:pt x="148" y="44"/>
                    <a:pt x="147" y="46"/>
                    <a:pt x="147" y="46"/>
                  </a:cubicBezTo>
                  <a:cubicBezTo>
                    <a:pt x="145" y="45"/>
                    <a:pt x="145" y="45"/>
                    <a:pt x="145" y="45"/>
                  </a:cubicBezTo>
                  <a:cubicBezTo>
                    <a:pt x="145" y="45"/>
                    <a:pt x="146" y="47"/>
                    <a:pt x="146" y="47"/>
                  </a:cubicBezTo>
                  <a:cubicBezTo>
                    <a:pt x="146" y="47"/>
                    <a:pt x="145" y="47"/>
                    <a:pt x="145" y="47"/>
                  </a:cubicBezTo>
                  <a:cubicBezTo>
                    <a:pt x="144" y="48"/>
                    <a:pt x="144" y="49"/>
                    <a:pt x="144" y="49"/>
                  </a:cubicBezTo>
                  <a:cubicBezTo>
                    <a:pt x="146" y="49"/>
                    <a:pt x="146" y="49"/>
                    <a:pt x="146" y="49"/>
                  </a:cubicBezTo>
                  <a:cubicBezTo>
                    <a:pt x="144" y="50"/>
                    <a:pt x="144" y="50"/>
                    <a:pt x="144" y="50"/>
                  </a:cubicBezTo>
                  <a:cubicBezTo>
                    <a:pt x="144" y="50"/>
                    <a:pt x="142" y="50"/>
                    <a:pt x="142" y="50"/>
                  </a:cubicBezTo>
                  <a:cubicBezTo>
                    <a:pt x="142" y="50"/>
                    <a:pt x="140" y="50"/>
                    <a:pt x="139" y="49"/>
                  </a:cubicBezTo>
                  <a:cubicBezTo>
                    <a:pt x="139" y="49"/>
                    <a:pt x="137" y="48"/>
                    <a:pt x="137" y="48"/>
                  </a:cubicBezTo>
                  <a:cubicBezTo>
                    <a:pt x="137" y="48"/>
                    <a:pt x="135" y="48"/>
                    <a:pt x="135" y="48"/>
                  </a:cubicBezTo>
                  <a:cubicBezTo>
                    <a:pt x="135" y="47"/>
                    <a:pt x="134" y="46"/>
                    <a:pt x="134" y="46"/>
                  </a:cubicBezTo>
                  <a:cubicBezTo>
                    <a:pt x="134" y="45"/>
                    <a:pt x="133" y="46"/>
                    <a:pt x="133" y="46"/>
                  </a:cubicBezTo>
                  <a:cubicBezTo>
                    <a:pt x="133" y="46"/>
                    <a:pt x="133" y="46"/>
                    <a:pt x="133" y="46"/>
                  </a:cubicBezTo>
                  <a:cubicBezTo>
                    <a:pt x="132" y="46"/>
                    <a:pt x="132" y="47"/>
                    <a:pt x="132" y="48"/>
                  </a:cubicBezTo>
                  <a:cubicBezTo>
                    <a:pt x="132" y="48"/>
                    <a:pt x="132" y="48"/>
                    <a:pt x="132" y="48"/>
                  </a:cubicBezTo>
                  <a:cubicBezTo>
                    <a:pt x="131" y="48"/>
                    <a:pt x="131" y="48"/>
                    <a:pt x="131" y="48"/>
                  </a:cubicBezTo>
                  <a:cubicBezTo>
                    <a:pt x="131" y="48"/>
                    <a:pt x="128" y="51"/>
                    <a:pt x="128" y="51"/>
                  </a:cubicBezTo>
                  <a:cubicBezTo>
                    <a:pt x="128" y="52"/>
                    <a:pt x="127" y="53"/>
                    <a:pt x="127" y="53"/>
                  </a:cubicBezTo>
                  <a:cubicBezTo>
                    <a:pt x="127" y="53"/>
                    <a:pt x="126" y="53"/>
                    <a:pt x="126" y="53"/>
                  </a:cubicBezTo>
                  <a:cubicBezTo>
                    <a:pt x="126" y="52"/>
                    <a:pt x="125" y="52"/>
                    <a:pt x="124" y="52"/>
                  </a:cubicBezTo>
                  <a:cubicBezTo>
                    <a:pt x="124" y="51"/>
                    <a:pt x="123" y="52"/>
                    <a:pt x="123" y="52"/>
                  </a:cubicBezTo>
                  <a:cubicBezTo>
                    <a:pt x="122" y="53"/>
                    <a:pt x="122" y="53"/>
                    <a:pt x="122" y="53"/>
                  </a:cubicBezTo>
                  <a:cubicBezTo>
                    <a:pt x="121" y="54"/>
                    <a:pt x="121" y="54"/>
                    <a:pt x="121" y="54"/>
                  </a:cubicBezTo>
                  <a:cubicBezTo>
                    <a:pt x="120" y="56"/>
                    <a:pt x="120" y="56"/>
                    <a:pt x="120" y="56"/>
                  </a:cubicBezTo>
                  <a:cubicBezTo>
                    <a:pt x="119" y="56"/>
                    <a:pt x="119" y="56"/>
                    <a:pt x="119" y="56"/>
                  </a:cubicBezTo>
                  <a:cubicBezTo>
                    <a:pt x="116" y="59"/>
                    <a:pt x="116" y="59"/>
                    <a:pt x="116" y="59"/>
                  </a:cubicBezTo>
                  <a:cubicBezTo>
                    <a:pt x="116" y="59"/>
                    <a:pt x="114" y="60"/>
                    <a:pt x="114" y="60"/>
                  </a:cubicBezTo>
                  <a:cubicBezTo>
                    <a:pt x="114" y="60"/>
                    <a:pt x="109" y="63"/>
                    <a:pt x="109" y="63"/>
                  </a:cubicBezTo>
                  <a:cubicBezTo>
                    <a:pt x="109" y="41"/>
                    <a:pt x="109" y="41"/>
                    <a:pt x="109" y="41"/>
                  </a:cubicBezTo>
                  <a:cubicBezTo>
                    <a:pt x="74" y="41"/>
                    <a:pt x="74" y="41"/>
                    <a:pt x="74" y="41"/>
                  </a:cubicBezTo>
                  <a:cubicBezTo>
                    <a:pt x="74" y="0"/>
                    <a:pt x="74" y="0"/>
                    <a:pt x="74" y="0"/>
                  </a:cubicBezTo>
                  <a:cubicBezTo>
                    <a:pt x="72" y="1"/>
                    <a:pt x="72" y="1"/>
                    <a:pt x="72" y="1"/>
                  </a:cubicBezTo>
                  <a:cubicBezTo>
                    <a:pt x="70" y="0"/>
                    <a:pt x="70" y="0"/>
                    <a:pt x="70" y="0"/>
                  </a:cubicBezTo>
                  <a:cubicBezTo>
                    <a:pt x="70" y="0"/>
                    <a:pt x="69" y="0"/>
                    <a:pt x="69" y="0"/>
                  </a:cubicBezTo>
                  <a:cubicBezTo>
                    <a:pt x="69" y="1"/>
                    <a:pt x="68" y="2"/>
                    <a:pt x="68" y="2"/>
                  </a:cubicBezTo>
                  <a:cubicBezTo>
                    <a:pt x="68" y="2"/>
                    <a:pt x="70" y="5"/>
                    <a:pt x="70" y="5"/>
                  </a:cubicBezTo>
                  <a:cubicBezTo>
                    <a:pt x="70" y="5"/>
                    <a:pt x="71" y="7"/>
                    <a:pt x="71" y="7"/>
                  </a:cubicBezTo>
                  <a:cubicBezTo>
                    <a:pt x="71" y="7"/>
                    <a:pt x="70" y="9"/>
                    <a:pt x="70" y="9"/>
                  </a:cubicBezTo>
                  <a:cubicBezTo>
                    <a:pt x="70" y="10"/>
                    <a:pt x="69" y="11"/>
                    <a:pt x="69" y="11"/>
                  </a:cubicBezTo>
                  <a:cubicBezTo>
                    <a:pt x="69" y="12"/>
                    <a:pt x="71" y="15"/>
                    <a:pt x="71" y="15"/>
                  </a:cubicBezTo>
                  <a:cubicBezTo>
                    <a:pt x="66" y="24"/>
                    <a:pt x="66" y="24"/>
                    <a:pt x="66" y="24"/>
                  </a:cubicBezTo>
                  <a:cubicBezTo>
                    <a:pt x="66" y="28"/>
                    <a:pt x="66" y="28"/>
                    <a:pt x="66" y="28"/>
                  </a:cubicBezTo>
                  <a:cubicBezTo>
                    <a:pt x="66" y="32"/>
                    <a:pt x="66" y="32"/>
                    <a:pt x="66" y="32"/>
                  </a:cubicBezTo>
                  <a:cubicBezTo>
                    <a:pt x="66" y="32"/>
                    <a:pt x="64" y="33"/>
                    <a:pt x="64" y="33"/>
                  </a:cubicBezTo>
                  <a:cubicBezTo>
                    <a:pt x="64" y="33"/>
                    <a:pt x="64" y="35"/>
                    <a:pt x="64" y="35"/>
                  </a:cubicBezTo>
                  <a:cubicBezTo>
                    <a:pt x="64" y="35"/>
                    <a:pt x="63" y="37"/>
                    <a:pt x="63" y="37"/>
                  </a:cubicBezTo>
                  <a:cubicBezTo>
                    <a:pt x="62" y="37"/>
                    <a:pt x="61" y="39"/>
                    <a:pt x="61" y="39"/>
                  </a:cubicBezTo>
                  <a:cubicBezTo>
                    <a:pt x="61" y="40"/>
                    <a:pt x="63" y="42"/>
                    <a:pt x="63" y="42"/>
                  </a:cubicBezTo>
                  <a:cubicBezTo>
                    <a:pt x="63" y="42"/>
                    <a:pt x="62" y="42"/>
                    <a:pt x="62" y="43"/>
                  </a:cubicBezTo>
                  <a:cubicBezTo>
                    <a:pt x="61" y="43"/>
                    <a:pt x="61" y="46"/>
                    <a:pt x="61" y="46"/>
                  </a:cubicBezTo>
                  <a:cubicBezTo>
                    <a:pt x="61" y="46"/>
                    <a:pt x="59" y="46"/>
                    <a:pt x="59" y="46"/>
                  </a:cubicBezTo>
                  <a:cubicBezTo>
                    <a:pt x="59" y="46"/>
                    <a:pt x="58" y="48"/>
                    <a:pt x="58" y="48"/>
                  </a:cubicBezTo>
                  <a:cubicBezTo>
                    <a:pt x="51" y="55"/>
                    <a:pt x="51" y="55"/>
                    <a:pt x="51" y="55"/>
                  </a:cubicBezTo>
                  <a:cubicBezTo>
                    <a:pt x="51" y="55"/>
                    <a:pt x="46" y="58"/>
                    <a:pt x="46" y="58"/>
                  </a:cubicBezTo>
                  <a:cubicBezTo>
                    <a:pt x="46" y="58"/>
                    <a:pt x="44" y="58"/>
                    <a:pt x="44" y="58"/>
                  </a:cubicBezTo>
                  <a:cubicBezTo>
                    <a:pt x="44" y="58"/>
                    <a:pt x="42" y="55"/>
                    <a:pt x="42" y="55"/>
                  </a:cubicBezTo>
                  <a:cubicBezTo>
                    <a:pt x="42" y="55"/>
                    <a:pt x="41" y="55"/>
                    <a:pt x="41" y="55"/>
                  </a:cubicBezTo>
                  <a:cubicBezTo>
                    <a:pt x="40" y="55"/>
                    <a:pt x="40" y="57"/>
                    <a:pt x="39" y="57"/>
                  </a:cubicBezTo>
                  <a:cubicBezTo>
                    <a:pt x="39" y="57"/>
                    <a:pt x="38" y="58"/>
                    <a:pt x="38" y="58"/>
                  </a:cubicBezTo>
                  <a:cubicBezTo>
                    <a:pt x="38" y="58"/>
                    <a:pt x="37" y="62"/>
                    <a:pt x="37" y="62"/>
                  </a:cubicBezTo>
                  <a:cubicBezTo>
                    <a:pt x="37" y="62"/>
                    <a:pt x="36" y="61"/>
                    <a:pt x="36" y="61"/>
                  </a:cubicBezTo>
                  <a:cubicBezTo>
                    <a:pt x="35" y="61"/>
                    <a:pt x="34" y="61"/>
                    <a:pt x="34" y="61"/>
                  </a:cubicBezTo>
                  <a:cubicBezTo>
                    <a:pt x="34" y="61"/>
                    <a:pt x="33" y="64"/>
                    <a:pt x="33" y="64"/>
                  </a:cubicBezTo>
                  <a:cubicBezTo>
                    <a:pt x="32" y="64"/>
                    <a:pt x="31" y="65"/>
                    <a:pt x="31" y="65"/>
                  </a:cubicBezTo>
                  <a:cubicBezTo>
                    <a:pt x="31" y="65"/>
                    <a:pt x="31" y="69"/>
                    <a:pt x="31" y="69"/>
                  </a:cubicBezTo>
                  <a:cubicBezTo>
                    <a:pt x="31" y="69"/>
                    <a:pt x="30" y="70"/>
                    <a:pt x="30" y="70"/>
                  </a:cubicBezTo>
                  <a:cubicBezTo>
                    <a:pt x="30" y="70"/>
                    <a:pt x="29" y="70"/>
                    <a:pt x="29" y="71"/>
                  </a:cubicBezTo>
                  <a:cubicBezTo>
                    <a:pt x="29" y="71"/>
                    <a:pt x="30" y="72"/>
                    <a:pt x="30" y="72"/>
                  </a:cubicBezTo>
                  <a:cubicBezTo>
                    <a:pt x="30" y="72"/>
                    <a:pt x="30" y="77"/>
                    <a:pt x="30" y="77"/>
                  </a:cubicBezTo>
                  <a:cubicBezTo>
                    <a:pt x="28" y="76"/>
                    <a:pt x="28" y="76"/>
                    <a:pt x="28" y="76"/>
                  </a:cubicBezTo>
                  <a:cubicBezTo>
                    <a:pt x="28" y="76"/>
                    <a:pt x="28" y="77"/>
                    <a:pt x="28" y="78"/>
                  </a:cubicBezTo>
                  <a:cubicBezTo>
                    <a:pt x="28" y="78"/>
                    <a:pt x="27" y="79"/>
                    <a:pt x="27" y="79"/>
                  </a:cubicBezTo>
                  <a:cubicBezTo>
                    <a:pt x="27" y="79"/>
                    <a:pt x="25" y="79"/>
                    <a:pt x="25" y="79"/>
                  </a:cubicBezTo>
                  <a:cubicBezTo>
                    <a:pt x="25" y="79"/>
                    <a:pt x="25" y="77"/>
                    <a:pt x="25" y="77"/>
                  </a:cubicBezTo>
                  <a:cubicBezTo>
                    <a:pt x="25" y="77"/>
                    <a:pt x="26" y="76"/>
                    <a:pt x="26" y="76"/>
                  </a:cubicBezTo>
                  <a:cubicBezTo>
                    <a:pt x="26" y="76"/>
                    <a:pt x="25" y="75"/>
                    <a:pt x="25" y="75"/>
                  </a:cubicBezTo>
                  <a:cubicBezTo>
                    <a:pt x="25" y="75"/>
                    <a:pt x="24" y="74"/>
                    <a:pt x="24" y="74"/>
                  </a:cubicBezTo>
                  <a:cubicBezTo>
                    <a:pt x="24" y="74"/>
                    <a:pt x="22" y="73"/>
                    <a:pt x="22" y="72"/>
                  </a:cubicBezTo>
                  <a:cubicBezTo>
                    <a:pt x="22" y="72"/>
                    <a:pt x="21" y="72"/>
                    <a:pt x="21" y="73"/>
                  </a:cubicBezTo>
                  <a:cubicBezTo>
                    <a:pt x="21" y="73"/>
                    <a:pt x="20" y="74"/>
                    <a:pt x="20" y="74"/>
                  </a:cubicBezTo>
                  <a:cubicBezTo>
                    <a:pt x="20" y="75"/>
                    <a:pt x="18" y="78"/>
                    <a:pt x="18" y="78"/>
                  </a:cubicBezTo>
                  <a:cubicBezTo>
                    <a:pt x="18" y="79"/>
                    <a:pt x="17" y="81"/>
                    <a:pt x="17" y="81"/>
                  </a:cubicBezTo>
                  <a:cubicBezTo>
                    <a:pt x="17" y="81"/>
                    <a:pt x="15" y="83"/>
                    <a:pt x="15" y="83"/>
                  </a:cubicBezTo>
                  <a:cubicBezTo>
                    <a:pt x="15" y="83"/>
                    <a:pt x="16" y="86"/>
                    <a:pt x="16" y="87"/>
                  </a:cubicBezTo>
                  <a:cubicBezTo>
                    <a:pt x="16" y="87"/>
                    <a:pt x="17" y="91"/>
                    <a:pt x="17" y="91"/>
                  </a:cubicBezTo>
                  <a:cubicBezTo>
                    <a:pt x="17" y="91"/>
                    <a:pt x="14" y="91"/>
                    <a:pt x="14" y="91"/>
                  </a:cubicBezTo>
                  <a:cubicBezTo>
                    <a:pt x="14" y="92"/>
                    <a:pt x="12" y="92"/>
                    <a:pt x="12" y="92"/>
                  </a:cubicBezTo>
                  <a:cubicBezTo>
                    <a:pt x="12" y="92"/>
                    <a:pt x="12" y="94"/>
                    <a:pt x="12" y="94"/>
                  </a:cubicBezTo>
                  <a:cubicBezTo>
                    <a:pt x="12" y="95"/>
                    <a:pt x="11" y="97"/>
                    <a:pt x="11" y="97"/>
                  </a:cubicBezTo>
                  <a:cubicBezTo>
                    <a:pt x="11" y="97"/>
                    <a:pt x="10" y="98"/>
                    <a:pt x="10" y="98"/>
                  </a:cubicBezTo>
                  <a:cubicBezTo>
                    <a:pt x="9" y="99"/>
                    <a:pt x="6" y="99"/>
                    <a:pt x="6" y="99"/>
                  </a:cubicBezTo>
                  <a:cubicBezTo>
                    <a:pt x="2" y="100"/>
                    <a:pt x="2" y="100"/>
                    <a:pt x="2" y="100"/>
                  </a:cubicBezTo>
                  <a:cubicBezTo>
                    <a:pt x="2" y="100"/>
                    <a:pt x="2" y="102"/>
                    <a:pt x="2" y="103"/>
                  </a:cubicBezTo>
                  <a:cubicBezTo>
                    <a:pt x="2" y="103"/>
                    <a:pt x="2" y="106"/>
                    <a:pt x="2" y="106"/>
                  </a:cubicBezTo>
                  <a:cubicBezTo>
                    <a:pt x="2" y="106"/>
                    <a:pt x="1" y="107"/>
                    <a:pt x="1" y="107"/>
                  </a:cubicBezTo>
                  <a:cubicBezTo>
                    <a:pt x="2" y="109"/>
                    <a:pt x="2" y="109"/>
                    <a:pt x="2" y="109"/>
                  </a:cubicBezTo>
                  <a:cubicBezTo>
                    <a:pt x="1" y="110"/>
                    <a:pt x="1" y="110"/>
                    <a:pt x="1" y="110"/>
                  </a:cubicBezTo>
                  <a:cubicBezTo>
                    <a:pt x="1" y="110"/>
                    <a:pt x="0" y="111"/>
                    <a:pt x="0" y="112"/>
                  </a:cubicBezTo>
                  <a:cubicBezTo>
                    <a:pt x="0" y="112"/>
                    <a:pt x="2" y="112"/>
                    <a:pt x="2" y="112"/>
                  </a:cubicBezTo>
                  <a:cubicBezTo>
                    <a:pt x="2" y="112"/>
                    <a:pt x="3" y="115"/>
                    <a:pt x="3" y="115"/>
                  </a:cubicBezTo>
                  <a:cubicBezTo>
                    <a:pt x="4" y="115"/>
                    <a:pt x="4" y="117"/>
                    <a:pt x="4" y="117"/>
                  </a:cubicBezTo>
                  <a:cubicBezTo>
                    <a:pt x="4" y="117"/>
                    <a:pt x="6" y="118"/>
                    <a:pt x="6" y="118"/>
                  </a:cubicBezTo>
                  <a:cubicBezTo>
                    <a:pt x="6" y="118"/>
                    <a:pt x="6" y="119"/>
                    <a:pt x="6" y="119"/>
                  </a:cubicBezTo>
                  <a:cubicBezTo>
                    <a:pt x="5" y="121"/>
                    <a:pt x="5" y="121"/>
                    <a:pt x="5" y="121"/>
                  </a:cubicBezTo>
                  <a:cubicBezTo>
                    <a:pt x="5" y="121"/>
                    <a:pt x="8" y="122"/>
                    <a:pt x="8" y="122"/>
                  </a:cubicBezTo>
                  <a:cubicBezTo>
                    <a:pt x="8" y="122"/>
                    <a:pt x="9" y="126"/>
                    <a:pt x="9" y="126"/>
                  </a:cubicBezTo>
                  <a:cubicBezTo>
                    <a:pt x="12" y="128"/>
                    <a:pt x="12" y="128"/>
                    <a:pt x="12" y="128"/>
                  </a:cubicBezTo>
                  <a:cubicBezTo>
                    <a:pt x="12" y="128"/>
                    <a:pt x="11" y="129"/>
                    <a:pt x="11" y="129"/>
                  </a:cubicBezTo>
                  <a:cubicBezTo>
                    <a:pt x="11" y="130"/>
                    <a:pt x="11" y="131"/>
                    <a:pt x="11" y="131"/>
                  </a:cubicBezTo>
                  <a:cubicBezTo>
                    <a:pt x="11" y="131"/>
                    <a:pt x="15" y="134"/>
                    <a:pt x="15" y="134"/>
                  </a:cubicBezTo>
                  <a:cubicBezTo>
                    <a:pt x="17" y="134"/>
                    <a:pt x="17" y="134"/>
                    <a:pt x="17" y="134"/>
                  </a:cubicBezTo>
                  <a:cubicBezTo>
                    <a:pt x="18" y="137"/>
                    <a:pt x="18" y="137"/>
                    <a:pt x="18" y="137"/>
                  </a:cubicBezTo>
                  <a:cubicBezTo>
                    <a:pt x="21" y="138"/>
                    <a:pt x="21" y="138"/>
                    <a:pt x="21" y="138"/>
                  </a:cubicBezTo>
                  <a:cubicBezTo>
                    <a:pt x="23" y="138"/>
                    <a:pt x="23" y="138"/>
                    <a:pt x="23" y="138"/>
                  </a:cubicBezTo>
                  <a:cubicBezTo>
                    <a:pt x="25" y="139"/>
                    <a:pt x="25" y="139"/>
                    <a:pt x="25" y="139"/>
                  </a:cubicBezTo>
                  <a:cubicBezTo>
                    <a:pt x="25" y="139"/>
                    <a:pt x="24" y="140"/>
                    <a:pt x="24" y="140"/>
                  </a:cubicBezTo>
                  <a:cubicBezTo>
                    <a:pt x="24" y="140"/>
                    <a:pt x="23" y="141"/>
                    <a:pt x="23" y="141"/>
                  </a:cubicBezTo>
                  <a:cubicBezTo>
                    <a:pt x="24" y="142"/>
                    <a:pt x="24" y="142"/>
                    <a:pt x="24" y="142"/>
                  </a:cubicBezTo>
                  <a:cubicBezTo>
                    <a:pt x="24" y="143"/>
                    <a:pt x="24" y="143"/>
                    <a:pt x="24" y="143"/>
                  </a:cubicBezTo>
                  <a:cubicBezTo>
                    <a:pt x="24" y="143"/>
                    <a:pt x="25" y="146"/>
                    <a:pt x="25" y="146"/>
                  </a:cubicBezTo>
                  <a:cubicBezTo>
                    <a:pt x="25" y="146"/>
                    <a:pt x="28" y="148"/>
                    <a:pt x="28" y="148"/>
                  </a:cubicBezTo>
                  <a:cubicBezTo>
                    <a:pt x="30" y="149"/>
                    <a:pt x="30" y="149"/>
                    <a:pt x="30" y="149"/>
                  </a:cubicBezTo>
                  <a:cubicBezTo>
                    <a:pt x="30" y="149"/>
                    <a:pt x="32" y="150"/>
                    <a:pt x="32" y="150"/>
                  </a:cubicBezTo>
                  <a:cubicBezTo>
                    <a:pt x="32" y="150"/>
                    <a:pt x="33" y="152"/>
                    <a:pt x="33" y="152"/>
                  </a:cubicBezTo>
                  <a:cubicBezTo>
                    <a:pt x="33" y="153"/>
                    <a:pt x="38" y="152"/>
                    <a:pt x="38" y="152"/>
                  </a:cubicBezTo>
                  <a:cubicBezTo>
                    <a:pt x="44" y="146"/>
                    <a:pt x="44" y="146"/>
                    <a:pt x="44" y="146"/>
                  </a:cubicBezTo>
                  <a:cubicBezTo>
                    <a:pt x="49" y="151"/>
                    <a:pt x="49" y="151"/>
                    <a:pt x="49" y="151"/>
                  </a:cubicBezTo>
                  <a:cubicBezTo>
                    <a:pt x="52" y="149"/>
                    <a:pt x="52" y="149"/>
                    <a:pt x="52" y="149"/>
                  </a:cubicBezTo>
                  <a:cubicBezTo>
                    <a:pt x="54" y="149"/>
                    <a:pt x="54" y="149"/>
                    <a:pt x="54" y="149"/>
                  </a:cubicBezTo>
                  <a:cubicBezTo>
                    <a:pt x="61" y="148"/>
                    <a:pt x="61" y="148"/>
                    <a:pt x="61" y="148"/>
                  </a:cubicBezTo>
                  <a:cubicBezTo>
                    <a:pt x="62" y="146"/>
                    <a:pt x="62" y="146"/>
                    <a:pt x="62" y="146"/>
                  </a:cubicBezTo>
                  <a:cubicBezTo>
                    <a:pt x="61" y="145"/>
                    <a:pt x="61" y="145"/>
                    <a:pt x="61" y="145"/>
                  </a:cubicBezTo>
                  <a:cubicBezTo>
                    <a:pt x="62" y="143"/>
                    <a:pt x="62" y="143"/>
                    <a:pt x="62" y="143"/>
                  </a:cubicBezTo>
                  <a:cubicBezTo>
                    <a:pt x="63" y="144"/>
                    <a:pt x="63" y="144"/>
                    <a:pt x="63" y="144"/>
                  </a:cubicBezTo>
                  <a:cubicBezTo>
                    <a:pt x="66" y="145"/>
                    <a:pt x="66" y="145"/>
                    <a:pt x="66" y="145"/>
                  </a:cubicBezTo>
                  <a:cubicBezTo>
                    <a:pt x="70" y="142"/>
                    <a:pt x="70" y="142"/>
                    <a:pt x="70" y="142"/>
                  </a:cubicBezTo>
                  <a:cubicBezTo>
                    <a:pt x="73" y="140"/>
                    <a:pt x="73" y="140"/>
                    <a:pt x="73" y="140"/>
                  </a:cubicBezTo>
                  <a:cubicBezTo>
                    <a:pt x="75" y="143"/>
                    <a:pt x="75" y="143"/>
                    <a:pt x="75" y="143"/>
                  </a:cubicBezTo>
                  <a:cubicBezTo>
                    <a:pt x="81" y="139"/>
                    <a:pt x="81" y="139"/>
                    <a:pt x="81" y="139"/>
                  </a:cubicBezTo>
                  <a:cubicBezTo>
                    <a:pt x="81" y="139"/>
                    <a:pt x="81" y="138"/>
                    <a:pt x="80" y="138"/>
                  </a:cubicBezTo>
                  <a:cubicBezTo>
                    <a:pt x="80" y="138"/>
                    <a:pt x="80" y="137"/>
                    <a:pt x="80" y="136"/>
                  </a:cubicBezTo>
                  <a:cubicBezTo>
                    <a:pt x="80" y="136"/>
                    <a:pt x="83" y="135"/>
                    <a:pt x="83" y="135"/>
                  </a:cubicBezTo>
                  <a:cubicBezTo>
                    <a:pt x="83" y="134"/>
                    <a:pt x="83" y="134"/>
                    <a:pt x="83" y="134"/>
                  </a:cubicBezTo>
                  <a:cubicBezTo>
                    <a:pt x="83" y="134"/>
                    <a:pt x="82" y="132"/>
                    <a:pt x="82" y="132"/>
                  </a:cubicBezTo>
                  <a:cubicBezTo>
                    <a:pt x="82" y="132"/>
                    <a:pt x="82" y="130"/>
                    <a:pt x="82" y="130"/>
                  </a:cubicBezTo>
                  <a:cubicBezTo>
                    <a:pt x="84" y="125"/>
                    <a:pt x="84" y="125"/>
                    <a:pt x="84" y="125"/>
                  </a:cubicBezTo>
                  <a:cubicBezTo>
                    <a:pt x="84" y="125"/>
                    <a:pt x="85" y="123"/>
                    <a:pt x="85" y="123"/>
                  </a:cubicBezTo>
                  <a:cubicBezTo>
                    <a:pt x="85" y="123"/>
                    <a:pt x="88" y="121"/>
                    <a:pt x="88" y="121"/>
                  </a:cubicBezTo>
                  <a:cubicBezTo>
                    <a:pt x="88" y="120"/>
                    <a:pt x="91" y="117"/>
                    <a:pt x="91" y="117"/>
                  </a:cubicBezTo>
                  <a:cubicBezTo>
                    <a:pt x="91" y="117"/>
                    <a:pt x="93" y="115"/>
                    <a:pt x="93" y="115"/>
                  </a:cubicBezTo>
                  <a:cubicBezTo>
                    <a:pt x="93" y="115"/>
                    <a:pt x="94" y="113"/>
                    <a:pt x="94" y="113"/>
                  </a:cubicBezTo>
                  <a:cubicBezTo>
                    <a:pt x="93" y="111"/>
                    <a:pt x="93" y="111"/>
                    <a:pt x="93" y="111"/>
                  </a:cubicBezTo>
                  <a:cubicBezTo>
                    <a:pt x="94" y="109"/>
                    <a:pt x="94" y="109"/>
                    <a:pt x="94" y="109"/>
                  </a:cubicBezTo>
                  <a:cubicBezTo>
                    <a:pt x="95" y="108"/>
                    <a:pt x="95" y="108"/>
                    <a:pt x="95" y="108"/>
                  </a:cubicBezTo>
                  <a:cubicBezTo>
                    <a:pt x="98" y="106"/>
                    <a:pt x="98" y="106"/>
                    <a:pt x="98" y="106"/>
                  </a:cubicBezTo>
                  <a:cubicBezTo>
                    <a:pt x="98" y="104"/>
                    <a:pt x="98" y="104"/>
                    <a:pt x="98" y="104"/>
                  </a:cubicBezTo>
                  <a:cubicBezTo>
                    <a:pt x="98" y="104"/>
                    <a:pt x="101" y="102"/>
                    <a:pt x="101" y="102"/>
                  </a:cubicBezTo>
                  <a:cubicBezTo>
                    <a:pt x="101" y="101"/>
                    <a:pt x="101" y="101"/>
                    <a:pt x="101" y="101"/>
                  </a:cubicBezTo>
                  <a:cubicBezTo>
                    <a:pt x="101" y="101"/>
                    <a:pt x="102" y="99"/>
                    <a:pt x="102" y="99"/>
                  </a:cubicBezTo>
                  <a:cubicBezTo>
                    <a:pt x="103" y="95"/>
                    <a:pt x="103" y="95"/>
                    <a:pt x="103" y="95"/>
                  </a:cubicBezTo>
                  <a:cubicBezTo>
                    <a:pt x="103" y="91"/>
                    <a:pt x="103" y="91"/>
                    <a:pt x="103" y="91"/>
                  </a:cubicBezTo>
                  <a:cubicBezTo>
                    <a:pt x="103" y="91"/>
                    <a:pt x="106" y="92"/>
                    <a:pt x="106" y="92"/>
                  </a:cubicBezTo>
                  <a:cubicBezTo>
                    <a:pt x="107" y="93"/>
                    <a:pt x="108" y="94"/>
                    <a:pt x="108" y="94"/>
                  </a:cubicBezTo>
                  <a:cubicBezTo>
                    <a:pt x="108" y="94"/>
                    <a:pt x="109" y="97"/>
                    <a:pt x="109" y="97"/>
                  </a:cubicBezTo>
                  <a:cubicBezTo>
                    <a:pt x="109" y="97"/>
                    <a:pt x="116" y="99"/>
                    <a:pt x="116" y="99"/>
                  </a:cubicBezTo>
                  <a:cubicBezTo>
                    <a:pt x="116" y="99"/>
                    <a:pt x="121" y="89"/>
                    <a:pt x="121" y="89"/>
                  </a:cubicBezTo>
                  <a:cubicBezTo>
                    <a:pt x="121" y="88"/>
                    <a:pt x="123" y="89"/>
                    <a:pt x="123" y="89"/>
                  </a:cubicBezTo>
                  <a:cubicBezTo>
                    <a:pt x="123" y="89"/>
                    <a:pt x="123" y="85"/>
                    <a:pt x="123" y="85"/>
                  </a:cubicBezTo>
                  <a:cubicBezTo>
                    <a:pt x="123" y="85"/>
                    <a:pt x="126" y="80"/>
                    <a:pt x="126" y="80"/>
                  </a:cubicBezTo>
                  <a:cubicBezTo>
                    <a:pt x="130" y="84"/>
                    <a:pt x="130" y="84"/>
                    <a:pt x="130" y="84"/>
                  </a:cubicBezTo>
                  <a:cubicBezTo>
                    <a:pt x="132" y="81"/>
                    <a:pt x="132" y="81"/>
                    <a:pt x="132" y="81"/>
                  </a:cubicBezTo>
                  <a:cubicBezTo>
                    <a:pt x="133" y="79"/>
                    <a:pt x="133" y="79"/>
                    <a:pt x="133" y="79"/>
                  </a:cubicBezTo>
                  <a:cubicBezTo>
                    <a:pt x="135" y="76"/>
                    <a:pt x="135" y="76"/>
                    <a:pt x="135" y="76"/>
                  </a:cubicBezTo>
                  <a:cubicBezTo>
                    <a:pt x="135" y="78"/>
                    <a:pt x="135" y="78"/>
                    <a:pt x="135" y="78"/>
                  </a:cubicBezTo>
                  <a:cubicBezTo>
                    <a:pt x="137" y="76"/>
                    <a:pt x="137" y="76"/>
                    <a:pt x="137" y="76"/>
                  </a:cubicBezTo>
                  <a:cubicBezTo>
                    <a:pt x="139" y="74"/>
                    <a:pt x="139" y="74"/>
                    <a:pt x="139" y="74"/>
                  </a:cubicBezTo>
                  <a:cubicBezTo>
                    <a:pt x="139" y="75"/>
                    <a:pt x="139" y="75"/>
                    <a:pt x="139" y="75"/>
                  </a:cubicBezTo>
                  <a:cubicBezTo>
                    <a:pt x="139" y="75"/>
                    <a:pt x="141" y="72"/>
                    <a:pt x="141" y="72"/>
                  </a:cubicBezTo>
                  <a:cubicBezTo>
                    <a:pt x="141" y="72"/>
                    <a:pt x="146" y="66"/>
                    <a:pt x="146" y="66"/>
                  </a:cubicBezTo>
                  <a:cubicBezTo>
                    <a:pt x="146" y="66"/>
                    <a:pt x="146" y="65"/>
                    <a:pt x="146" y="65"/>
                  </a:cubicBezTo>
                  <a:cubicBezTo>
                    <a:pt x="146" y="65"/>
                    <a:pt x="145" y="64"/>
                    <a:pt x="145" y="64"/>
                  </a:cubicBezTo>
                  <a:cubicBezTo>
                    <a:pt x="147" y="61"/>
                    <a:pt x="147" y="61"/>
                    <a:pt x="147" y="61"/>
                  </a:cubicBezTo>
                  <a:cubicBezTo>
                    <a:pt x="149" y="58"/>
                    <a:pt x="149" y="58"/>
                    <a:pt x="149" y="58"/>
                  </a:cubicBezTo>
                  <a:cubicBezTo>
                    <a:pt x="148" y="57"/>
                    <a:pt x="148" y="57"/>
                    <a:pt x="148" y="57"/>
                  </a:cubicBezTo>
                  <a:cubicBezTo>
                    <a:pt x="148" y="52"/>
                    <a:pt x="148" y="52"/>
                    <a:pt x="148" y="52"/>
                  </a:cubicBezTo>
                  <a:cubicBezTo>
                    <a:pt x="166" y="67"/>
                    <a:pt x="166" y="67"/>
                    <a:pt x="166" y="67"/>
                  </a:cubicBezTo>
                  <a:cubicBezTo>
                    <a:pt x="170" y="59"/>
                    <a:pt x="170" y="59"/>
                    <a:pt x="170" y="59"/>
                  </a:cubicBezTo>
                  <a:cubicBezTo>
                    <a:pt x="169" y="58"/>
                    <a:pt x="169" y="58"/>
                    <a:pt x="169" y="58"/>
                  </a:cubicBezTo>
                  <a:lnTo>
                    <a:pt x="169" y="54"/>
                  </a:ln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8" name="Freeform 11">
              <a:extLst>
                <a:ext uri="{FF2B5EF4-FFF2-40B4-BE49-F238E27FC236}">
                  <a16:creationId xmlns:a16="http://schemas.microsoft.com/office/drawing/2014/main" id="{9ED48E35-FBAB-F641-F868-EDD9F8A22A3A}"/>
                </a:ext>
              </a:extLst>
            </p:cNvPr>
            <p:cNvSpPr>
              <a:spLocks noEditPoints="1"/>
            </p:cNvSpPr>
            <p:nvPr/>
          </p:nvSpPr>
          <p:spPr bwMode="auto">
            <a:xfrm>
              <a:off x="2519767" y="956552"/>
              <a:ext cx="1068976" cy="698882"/>
            </a:xfrm>
            <a:custGeom>
              <a:avLst/>
              <a:gdLst>
                <a:gd name="T0" fmla="*/ 65 w 270"/>
                <a:gd name="T1" fmla="*/ 93 h 176"/>
                <a:gd name="T2" fmla="*/ 79 w 270"/>
                <a:gd name="T3" fmla="*/ 83 h 176"/>
                <a:gd name="T4" fmla="*/ 75 w 270"/>
                <a:gd name="T5" fmla="*/ 48 h 176"/>
                <a:gd name="T6" fmla="*/ 72 w 270"/>
                <a:gd name="T7" fmla="*/ 39 h 176"/>
                <a:gd name="T8" fmla="*/ 72 w 270"/>
                <a:gd name="T9" fmla="*/ 33 h 176"/>
                <a:gd name="T10" fmla="*/ 73 w 270"/>
                <a:gd name="T11" fmla="*/ 45 h 176"/>
                <a:gd name="T12" fmla="*/ 78 w 270"/>
                <a:gd name="T13" fmla="*/ 53 h 176"/>
                <a:gd name="T14" fmla="*/ 81 w 270"/>
                <a:gd name="T15" fmla="*/ 51 h 176"/>
                <a:gd name="T16" fmla="*/ 57 w 270"/>
                <a:gd name="T17" fmla="*/ 21 h 176"/>
                <a:gd name="T18" fmla="*/ 65 w 270"/>
                <a:gd name="T19" fmla="*/ 30 h 176"/>
                <a:gd name="T20" fmla="*/ 64 w 270"/>
                <a:gd name="T21" fmla="*/ 30 h 176"/>
                <a:gd name="T22" fmla="*/ 67 w 270"/>
                <a:gd name="T23" fmla="*/ 17 h 176"/>
                <a:gd name="T24" fmla="*/ 63 w 270"/>
                <a:gd name="T25" fmla="*/ 22 h 176"/>
                <a:gd name="T26" fmla="*/ 73 w 270"/>
                <a:gd name="T27" fmla="*/ 25 h 176"/>
                <a:gd name="T28" fmla="*/ 67 w 270"/>
                <a:gd name="T29" fmla="*/ 0 h 176"/>
                <a:gd name="T30" fmla="*/ 68 w 270"/>
                <a:gd name="T31" fmla="*/ 7 h 176"/>
                <a:gd name="T32" fmla="*/ 74 w 270"/>
                <a:gd name="T33" fmla="*/ 12 h 176"/>
                <a:gd name="T34" fmla="*/ 80 w 270"/>
                <a:gd name="T35" fmla="*/ 21 h 176"/>
                <a:gd name="T36" fmla="*/ 75 w 270"/>
                <a:gd name="T37" fmla="*/ 28 h 176"/>
                <a:gd name="T38" fmla="*/ 76 w 270"/>
                <a:gd name="T39" fmla="*/ 32 h 176"/>
                <a:gd name="T40" fmla="*/ 83 w 270"/>
                <a:gd name="T41" fmla="*/ 37 h 176"/>
                <a:gd name="T42" fmla="*/ 76 w 270"/>
                <a:gd name="T43" fmla="*/ 41 h 176"/>
                <a:gd name="T44" fmla="*/ 79 w 270"/>
                <a:gd name="T45" fmla="*/ 46 h 176"/>
                <a:gd name="T46" fmla="*/ 82 w 270"/>
                <a:gd name="T47" fmla="*/ 43 h 176"/>
                <a:gd name="T48" fmla="*/ 86 w 270"/>
                <a:gd name="T49" fmla="*/ 54 h 176"/>
                <a:gd name="T50" fmla="*/ 81 w 270"/>
                <a:gd name="T51" fmla="*/ 66 h 176"/>
                <a:gd name="T52" fmla="*/ 82 w 270"/>
                <a:gd name="T53" fmla="*/ 74 h 176"/>
                <a:gd name="T54" fmla="*/ 83 w 270"/>
                <a:gd name="T55" fmla="*/ 87 h 176"/>
                <a:gd name="T56" fmla="*/ 75 w 270"/>
                <a:gd name="T57" fmla="*/ 92 h 176"/>
                <a:gd name="T58" fmla="*/ 63 w 270"/>
                <a:gd name="T59" fmla="*/ 98 h 176"/>
                <a:gd name="T60" fmla="*/ 62 w 270"/>
                <a:gd name="T61" fmla="*/ 92 h 176"/>
                <a:gd name="T62" fmla="*/ 67 w 270"/>
                <a:gd name="T63" fmla="*/ 91 h 176"/>
                <a:gd name="T64" fmla="*/ 72 w 270"/>
                <a:gd name="T65" fmla="*/ 85 h 176"/>
                <a:gd name="T66" fmla="*/ 77 w 270"/>
                <a:gd name="T67" fmla="*/ 75 h 176"/>
                <a:gd name="T68" fmla="*/ 77 w 270"/>
                <a:gd name="T69" fmla="*/ 59 h 176"/>
                <a:gd name="T70" fmla="*/ 67 w 270"/>
                <a:gd name="T71" fmla="*/ 70 h 176"/>
                <a:gd name="T72" fmla="*/ 66 w 270"/>
                <a:gd name="T73" fmla="*/ 65 h 176"/>
                <a:gd name="T74" fmla="*/ 72 w 270"/>
                <a:gd name="T75" fmla="*/ 61 h 176"/>
                <a:gd name="T76" fmla="*/ 66 w 270"/>
                <a:gd name="T77" fmla="*/ 46 h 176"/>
                <a:gd name="T78" fmla="*/ 61 w 270"/>
                <a:gd name="T79" fmla="*/ 48 h 176"/>
                <a:gd name="T80" fmla="*/ 43 w 270"/>
                <a:gd name="T81" fmla="*/ 46 h 176"/>
                <a:gd name="T82" fmla="*/ 20 w 270"/>
                <a:gd name="T83" fmla="*/ 41 h 176"/>
                <a:gd name="T84" fmla="*/ 1 w 270"/>
                <a:gd name="T85" fmla="*/ 35 h 176"/>
                <a:gd name="T86" fmla="*/ 3 w 270"/>
                <a:gd name="T87" fmla="*/ 56 h 176"/>
                <a:gd name="T88" fmla="*/ 11 w 270"/>
                <a:gd name="T89" fmla="*/ 68 h 176"/>
                <a:gd name="T90" fmla="*/ 14 w 270"/>
                <a:gd name="T91" fmla="*/ 84 h 176"/>
                <a:gd name="T92" fmla="*/ 20 w 270"/>
                <a:gd name="T93" fmla="*/ 101 h 176"/>
                <a:gd name="T94" fmla="*/ 26 w 270"/>
                <a:gd name="T95" fmla="*/ 109 h 176"/>
                <a:gd name="T96" fmla="*/ 25 w 270"/>
                <a:gd name="T97" fmla="*/ 118 h 176"/>
                <a:gd name="T98" fmla="*/ 28 w 270"/>
                <a:gd name="T99" fmla="*/ 125 h 176"/>
                <a:gd name="T100" fmla="*/ 25 w 270"/>
                <a:gd name="T101" fmla="*/ 133 h 176"/>
                <a:gd name="T102" fmla="*/ 24 w 270"/>
                <a:gd name="T103" fmla="*/ 135 h 176"/>
                <a:gd name="T104" fmla="*/ 43 w 270"/>
                <a:gd name="T105" fmla="*/ 140 h 176"/>
                <a:gd name="T106" fmla="*/ 64 w 270"/>
                <a:gd name="T107" fmla="*/ 150 h 176"/>
                <a:gd name="T108" fmla="*/ 81 w 270"/>
                <a:gd name="T109" fmla="*/ 175 h 176"/>
                <a:gd name="T110" fmla="*/ 109 w 270"/>
                <a:gd name="T111" fmla="*/ 168 h 176"/>
                <a:gd name="T112" fmla="*/ 126 w 270"/>
                <a:gd name="T113" fmla="*/ 172 h 176"/>
                <a:gd name="T114" fmla="*/ 154 w 270"/>
                <a:gd name="T115" fmla="*/ 168 h 176"/>
                <a:gd name="T116" fmla="*/ 179 w 270"/>
                <a:gd name="T117" fmla="*/ 158 h 176"/>
                <a:gd name="T118" fmla="*/ 199 w 270"/>
                <a:gd name="T119" fmla="*/ 15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0" h="176">
                  <a:moveTo>
                    <a:pt x="63" y="94"/>
                  </a:moveTo>
                  <a:cubicBezTo>
                    <a:pt x="63" y="94"/>
                    <a:pt x="63" y="94"/>
                    <a:pt x="63" y="94"/>
                  </a:cubicBezTo>
                  <a:cubicBezTo>
                    <a:pt x="63" y="94"/>
                    <a:pt x="63" y="93"/>
                    <a:pt x="63" y="93"/>
                  </a:cubicBezTo>
                  <a:cubicBezTo>
                    <a:pt x="63" y="93"/>
                    <a:pt x="63" y="92"/>
                    <a:pt x="63" y="92"/>
                  </a:cubicBezTo>
                  <a:cubicBezTo>
                    <a:pt x="63" y="92"/>
                    <a:pt x="63" y="91"/>
                    <a:pt x="64" y="91"/>
                  </a:cubicBezTo>
                  <a:cubicBezTo>
                    <a:pt x="64" y="91"/>
                    <a:pt x="64" y="91"/>
                    <a:pt x="64" y="90"/>
                  </a:cubicBezTo>
                  <a:cubicBezTo>
                    <a:pt x="64" y="90"/>
                    <a:pt x="64" y="90"/>
                    <a:pt x="64" y="90"/>
                  </a:cubicBezTo>
                  <a:cubicBezTo>
                    <a:pt x="65" y="90"/>
                    <a:pt x="65" y="90"/>
                    <a:pt x="65" y="90"/>
                  </a:cubicBezTo>
                  <a:cubicBezTo>
                    <a:pt x="65" y="90"/>
                    <a:pt x="65" y="91"/>
                    <a:pt x="65" y="91"/>
                  </a:cubicBezTo>
                  <a:cubicBezTo>
                    <a:pt x="65" y="91"/>
                    <a:pt x="65" y="92"/>
                    <a:pt x="65" y="92"/>
                  </a:cubicBezTo>
                  <a:cubicBezTo>
                    <a:pt x="65" y="93"/>
                    <a:pt x="65" y="93"/>
                    <a:pt x="65" y="93"/>
                  </a:cubicBezTo>
                  <a:cubicBezTo>
                    <a:pt x="66" y="93"/>
                    <a:pt x="66" y="93"/>
                    <a:pt x="65" y="93"/>
                  </a:cubicBezTo>
                  <a:cubicBezTo>
                    <a:pt x="65" y="94"/>
                    <a:pt x="65" y="94"/>
                    <a:pt x="65" y="94"/>
                  </a:cubicBezTo>
                  <a:cubicBezTo>
                    <a:pt x="65" y="94"/>
                    <a:pt x="65" y="95"/>
                    <a:pt x="65" y="95"/>
                  </a:cubicBezTo>
                  <a:cubicBezTo>
                    <a:pt x="65" y="95"/>
                    <a:pt x="64" y="95"/>
                    <a:pt x="64" y="95"/>
                  </a:cubicBezTo>
                  <a:cubicBezTo>
                    <a:pt x="64" y="95"/>
                    <a:pt x="64" y="95"/>
                    <a:pt x="63" y="94"/>
                  </a:cubicBezTo>
                  <a:close/>
                  <a:moveTo>
                    <a:pt x="77" y="85"/>
                  </a:moveTo>
                  <a:cubicBezTo>
                    <a:pt x="77" y="85"/>
                    <a:pt x="77" y="85"/>
                    <a:pt x="77" y="86"/>
                  </a:cubicBezTo>
                  <a:cubicBezTo>
                    <a:pt x="77" y="86"/>
                    <a:pt x="77" y="87"/>
                    <a:pt x="77" y="87"/>
                  </a:cubicBezTo>
                  <a:cubicBezTo>
                    <a:pt x="78" y="87"/>
                    <a:pt x="78" y="86"/>
                    <a:pt x="78" y="86"/>
                  </a:cubicBezTo>
                  <a:cubicBezTo>
                    <a:pt x="78" y="86"/>
                    <a:pt x="79" y="86"/>
                    <a:pt x="79" y="85"/>
                  </a:cubicBezTo>
                  <a:cubicBezTo>
                    <a:pt x="79" y="85"/>
                    <a:pt x="79" y="84"/>
                    <a:pt x="79" y="83"/>
                  </a:cubicBezTo>
                  <a:cubicBezTo>
                    <a:pt x="79" y="82"/>
                    <a:pt x="79" y="82"/>
                    <a:pt x="79" y="81"/>
                  </a:cubicBezTo>
                  <a:cubicBezTo>
                    <a:pt x="79" y="80"/>
                    <a:pt x="79" y="79"/>
                    <a:pt x="78" y="79"/>
                  </a:cubicBezTo>
                  <a:cubicBezTo>
                    <a:pt x="78" y="79"/>
                    <a:pt x="78" y="80"/>
                    <a:pt x="77" y="81"/>
                  </a:cubicBezTo>
                  <a:cubicBezTo>
                    <a:pt x="77" y="81"/>
                    <a:pt x="77" y="81"/>
                    <a:pt x="77" y="82"/>
                  </a:cubicBezTo>
                  <a:cubicBezTo>
                    <a:pt x="77" y="82"/>
                    <a:pt x="77" y="82"/>
                    <a:pt x="77" y="82"/>
                  </a:cubicBezTo>
                  <a:cubicBezTo>
                    <a:pt x="77" y="83"/>
                    <a:pt x="77" y="84"/>
                    <a:pt x="77" y="85"/>
                  </a:cubicBezTo>
                  <a:close/>
                  <a:moveTo>
                    <a:pt x="77" y="49"/>
                  </a:moveTo>
                  <a:cubicBezTo>
                    <a:pt x="77" y="49"/>
                    <a:pt x="77" y="50"/>
                    <a:pt x="76" y="50"/>
                  </a:cubicBezTo>
                  <a:cubicBezTo>
                    <a:pt x="76" y="51"/>
                    <a:pt x="76" y="51"/>
                    <a:pt x="76" y="50"/>
                  </a:cubicBezTo>
                  <a:cubicBezTo>
                    <a:pt x="76" y="50"/>
                    <a:pt x="76" y="49"/>
                    <a:pt x="76" y="49"/>
                  </a:cubicBezTo>
                  <a:cubicBezTo>
                    <a:pt x="75" y="49"/>
                    <a:pt x="76" y="48"/>
                    <a:pt x="75" y="48"/>
                  </a:cubicBezTo>
                  <a:cubicBezTo>
                    <a:pt x="75" y="47"/>
                    <a:pt x="75" y="47"/>
                    <a:pt x="75" y="46"/>
                  </a:cubicBezTo>
                  <a:cubicBezTo>
                    <a:pt x="75" y="46"/>
                    <a:pt x="75" y="46"/>
                    <a:pt x="75" y="45"/>
                  </a:cubicBezTo>
                  <a:cubicBezTo>
                    <a:pt x="75" y="45"/>
                    <a:pt x="75" y="45"/>
                    <a:pt x="75" y="45"/>
                  </a:cubicBezTo>
                  <a:cubicBezTo>
                    <a:pt x="75" y="44"/>
                    <a:pt x="75" y="44"/>
                    <a:pt x="74" y="44"/>
                  </a:cubicBezTo>
                  <a:cubicBezTo>
                    <a:pt x="74" y="44"/>
                    <a:pt x="74" y="43"/>
                    <a:pt x="74" y="43"/>
                  </a:cubicBezTo>
                  <a:cubicBezTo>
                    <a:pt x="74" y="43"/>
                    <a:pt x="74" y="43"/>
                    <a:pt x="73" y="42"/>
                  </a:cubicBezTo>
                  <a:cubicBezTo>
                    <a:pt x="73" y="42"/>
                    <a:pt x="73" y="43"/>
                    <a:pt x="72" y="42"/>
                  </a:cubicBezTo>
                  <a:cubicBezTo>
                    <a:pt x="72" y="42"/>
                    <a:pt x="72" y="42"/>
                    <a:pt x="72" y="42"/>
                  </a:cubicBezTo>
                  <a:cubicBezTo>
                    <a:pt x="72" y="42"/>
                    <a:pt x="71" y="41"/>
                    <a:pt x="71" y="41"/>
                  </a:cubicBezTo>
                  <a:cubicBezTo>
                    <a:pt x="71" y="41"/>
                    <a:pt x="71" y="40"/>
                    <a:pt x="71" y="40"/>
                  </a:cubicBezTo>
                  <a:cubicBezTo>
                    <a:pt x="72" y="40"/>
                    <a:pt x="72" y="40"/>
                    <a:pt x="72" y="39"/>
                  </a:cubicBezTo>
                  <a:cubicBezTo>
                    <a:pt x="72" y="39"/>
                    <a:pt x="72" y="39"/>
                    <a:pt x="73" y="39"/>
                  </a:cubicBezTo>
                  <a:cubicBezTo>
                    <a:pt x="73" y="39"/>
                    <a:pt x="73" y="39"/>
                    <a:pt x="73" y="39"/>
                  </a:cubicBezTo>
                  <a:cubicBezTo>
                    <a:pt x="74" y="39"/>
                    <a:pt x="74" y="39"/>
                    <a:pt x="74" y="39"/>
                  </a:cubicBezTo>
                  <a:cubicBezTo>
                    <a:pt x="74" y="39"/>
                    <a:pt x="74" y="38"/>
                    <a:pt x="74" y="38"/>
                  </a:cubicBezTo>
                  <a:cubicBezTo>
                    <a:pt x="75" y="38"/>
                    <a:pt x="75" y="38"/>
                    <a:pt x="75" y="38"/>
                  </a:cubicBezTo>
                  <a:cubicBezTo>
                    <a:pt x="75" y="38"/>
                    <a:pt x="75" y="38"/>
                    <a:pt x="75" y="38"/>
                  </a:cubicBezTo>
                  <a:cubicBezTo>
                    <a:pt x="76" y="38"/>
                    <a:pt x="76" y="38"/>
                    <a:pt x="76" y="38"/>
                  </a:cubicBezTo>
                  <a:cubicBezTo>
                    <a:pt x="76" y="37"/>
                    <a:pt x="77" y="37"/>
                    <a:pt x="77" y="36"/>
                  </a:cubicBezTo>
                  <a:cubicBezTo>
                    <a:pt x="77" y="36"/>
                    <a:pt x="76" y="35"/>
                    <a:pt x="75" y="35"/>
                  </a:cubicBezTo>
                  <a:cubicBezTo>
                    <a:pt x="74" y="35"/>
                    <a:pt x="74" y="34"/>
                    <a:pt x="73" y="33"/>
                  </a:cubicBezTo>
                  <a:cubicBezTo>
                    <a:pt x="73" y="33"/>
                    <a:pt x="72" y="33"/>
                    <a:pt x="72" y="33"/>
                  </a:cubicBezTo>
                  <a:cubicBezTo>
                    <a:pt x="72" y="34"/>
                    <a:pt x="72" y="34"/>
                    <a:pt x="71" y="34"/>
                  </a:cubicBezTo>
                  <a:cubicBezTo>
                    <a:pt x="71" y="34"/>
                    <a:pt x="71" y="35"/>
                    <a:pt x="71" y="35"/>
                  </a:cubicBezTo>
                  <a:cubicBezTo>
                    <a:pt x="71" y="36"/>
                    <a:pt x="70" y="36"/>
                    <a:pt x="70" y="36"/>
                  </a:cubicBezTo>
                  <a:cubicBezTo>
                    <a:pt x="70" y="37"/>
                    <a:pt x="70" y="37"/>
                    <a:pt x="70" y="37"/>
                  </a:cubicBezTo>
                  <a:cubicBezTo>
                    <a:pt x="70" y="38"/>
                    <a:pt x="70" y="38"/>
                    <a:pt x="70" y="39"/>
                  </a:cubicBezTo>
                  <a:cubicBezTo>
                    <a:pt x="69" y="39"/>
                    <a:pt x="69" y="39"/>
                    <a:pt x="69" y="40"/>
                  </a:cubicBezTo>
                  <a:cubicBezTo>
                    <a:pt x="69" y="40"/>
                    <a:pt x="69" y="40"/>
                    <a:pt x="69" y="41"/>
                  </a:cubicBezTo>
                  <a:cubicBezTo>
                    <a:pt x="69" y="41"/>
                    <a:pt x="69" y="41"/>
                    <a:pt x="69" y="42"/>
                  </a:cubicBezTo>
                  <a:cubicBezTo>
                    <a:pt x="69" y="42"/>
                    <a:pt x="69" y="42"/>
                    <a:pt x="69" y="43"/>
                  </a:cubicBezTo>
                  <a:cubicBezTo>
                    <a:pt x="70" y="43"/>
                    <a:pt x="70" y="44"/>
                    <a:pt x="71" y="44"/>
                  </a:cubicBezTo>
                  <a:cubicBezTo>
                    <a:pt x="71" y="45"/>
                    <a:pt x="72" y="45"/>
                    <a:pt x="73" y="45"/>
                  </a:cubicBezTo>
                  <a:cubicBezTo>
                    <a:pt x="73" y="45"/>
                    <a:pt x="73" y="45"/>
                    <a:pt x="73" y="46"/>
                  </a:cubicBezTo>
                  <a:cubicBezTo>
                    <a:pt x="73" y="47"/>
                    <a:pt x="73" y="48"/>
                    <a:pt x="73" y="49"/>
                  </a:cubicBezTo>
                  <a:cubicBezTo>
                    <a:pt x="74" y="49"/>
                    <a:pt x="74" y="50"/>
                    <a:pt x="74" y="50"/>
                  </a:cubicBezTo>
                  <a:cubicBezTo>
                    <a:pt x="74" y="50"/>
                    <a:pt x="74" y="50"/>
                    <a:pt x="74" y="51"/>
                  </a:cubicBezTo>
                  <a:cubicBezTo>
                    <a:pt x="74" y="51"/>
                    <a:pt x="74" y="52"/>
                    <a:pt x="75" y="52"/>
                  </a:cubicBezTo>
                  <a:cubicBezTo>
                    <a:pt x="75" y="52"/>
                    <a:pt x="75" y="53"/>
                    <a:pt x="75" y="53"/>
                  </a:cubicBezTo>
                  <a:cubicBezTo>
                    <a:pt x="75" y="53"/>
                    <a:pt x="75" y="53"/>
                    <a:pt x="75" y="53"/>
                  </a:cubicBezTo>
                  <a:cubicBezTo>
                    <a:pt x="76" y="54"/>
                    <a:pt x="76" y="54"/>
                    <a:pt x="76" y="55"/>
                  </a:cubicBezTo>
                  <a:cubicBezTo>
                    <a:pt x="76" y="55"/>
                    <a:pt x="76" y="54"/>
                    <a:pt x="76" y="54"/>
                  </a:cubicBezTo>
                  <a:cubicBezTo>
                    <a:pt x="77" y="54"/>
                    <a:pt x="77" y="54"/>
                    <a:pt x="77" y="54"/>
                  </a:cubicBezTo>
                  <a:cubicBezTo>
                    <a:pt x="77" y="54"/>
                    <a:pt x="77" y="54"/>
                    <a:pt x="78" y="53"/>
                  </a:cubicBezTo>
                  <a:cubicBezTo>
                    <a:pt x="78" y="53"/>
                    <a:pt x="78" y="53"/>
                    <a:pt x="79" y="54"/>
                  </a:cubicBezTo>
                  <a:cubicBezTo>
                    <a:pt x="79" y="54"/>
                    <a:pt x="79" y="55"/>
                    <a:pt x="79" y="55"/>
                  </a:cubicBezTo>
                  <a:cubicBezTo>
                    <a:pt x="79" y="56"/>
                    <a:pt x="79" y="56"/>
                    <a:pt x="79" y="57"/>
                  </a:cubicBezTo>
                  <a:cubicBezTo>
                    <a:pt x="79" y="57"/>
                    <a:pt x="79" y="58"/>
                    <a:pt x="80" y="58"/>
                  </a:cubicBezTo>
                  <a:cubicBezTo>
                    <a:pt x="80" y="58"/>
                    <a:pt x="81" y="57"/>
                    <a:pt x="81" y="57"/>
                  </a:cubicBezTo>
                  <a:cubicBezTo>
                    <a:pt x="81" y="57"/>
                    <a:pt x="81" y="57"/>
                    <a:pt x="82" y="56"/>
                  </a:cubicBezTo>
                  <a:cubicBezTo>
                    <a:pt x="82" y="56"/>
                    <a:pt x="82" y="56"/>
                    <a:pt x="82" y="56"/>
                  </a:cubicBezTo>
                  <a:cubicBezTo>
                    <a:pt x="82" y="55"/>
                    <a:pt x="82" y="54"/>
                    <a:pt x="82" y="54"/>
                  </a:cubicBezTo>
                  <a:cubicBezTo>
                    <a:pt x="82" y="54"/>
                    <a:pt x="82" y="54"/>
                    <a:pt x="82" y="53"/>
                  </a:cubicBezTo>
                  <a:cubicBezTo>
                    <a:pt x="82" y="53"/>
                    <a:pt x="81" y="53"/>
                    <a:pt x="81" y="52"/>
                  </a:cubicBezTo>
                  <a:cubicBezTo>
                    <a:pt x="81" y="52"/>
                    <a:pt x="81" y="51"/>
                    <a:pt x="81" y="51"/>
                  </a:cubicBezTo>
                  <a:cubicBezTo>
                    <a:pt x="80" y="50"/>
                    <a:pt x="80" y="50"/>
                    <a:pt x="79" y="50"/>
                  </a:cubicBezTo>
                  <a:cubicBezTo>
                    <a:pt x="79" y="49"/>
                    <a:pt x="78" y="50"/>
                    <a:pt x="78" y="49"/>
                  </a:cubicBezTo>
                  <a:cubicBezTo>
                    <a:pt x="78" y="49"/>
                    <a:pt x="77" y="49"/>
                    <a:pt x="77" y="49"/>
                  </a:cubicBezTo>
                  <a:cubicBezTo>
                    <a:pt x="77" y="48"/>
                    <a:pt x="77" y="48"/>
                    <a:pt x="77" y="48"/>
                  </a:cubicBezTo>
                  <a:cubicBezTo>
                    <a:pt x="77" y="48"/>
                    <a:pt x="77" y="49"/>
                    <a:pt x="77" y="49"/>
                  </a:cubicBezTo>
                  <a:close/>
                  <a:moveTo>
                    <a:pt x="59" y="27"/>
                  </a:moveTo>
                  <a:cubicBezTo>
                    <a:pt x="59" y="26"/>
                    <a:pt x="60" y="25"/>
                    <a:pt x="59" y="25"/>
                  </a:cubicBezTo>
                  <a:cubicBezTo>
                    <a:pt x="59" y="25"/>
                    <a:pt x="59" y="24"/>
                    <a:pt x="59" y="24"/>
                  </a:cubicBezTo>
                  <a:cubicBezTo>
                    <a:pt x="59" y="24"/>
                    <a:pt x="59" y="24"/>
                    <a:pt x="58" y="23"/>
                  </a:cubicBezTo>
                  <a:cubicBezTo>
                    <a:pt x="58" y="23"/>
                    <a:pt x="57" y="23"/>
                    <a:pt x="57" y="22"/>
                  </a:cubicBezTo>
                  <a:cubicBezTo>
                    <a:pt x="57" y="22"/>
                    <a:pt x="57" y="21"/>
                    <a:pt x="57" y="21"/>
                  </a:cubicBezTo>
                  <a:cubicBezTo>
                    <a:pt x="56" y="20"/>
                    <a:pt x="56" y="21"/>
                    <a:pt x="55" y="21"/>
                  </a:cubicBezTo>
                  <a:cubicBezTo>
                    <a:pt x="55" y="22"/>
                    <a:pt x="54" y="22"/>
                    <a:pt x="55" y="23"/>
                  </a:cubicBezTo>
                  <a:cubicBezTo>
                    <a:pt x="55" y="23"/>
                    <a:pt x="54" y="23"/>
                    <a:pt x="55" y="24"/>
                  </a:cubicBezTo>
                  <a:cubicBezTo>
                    <a:pt x="55" y="25"/>
                    <a:pt x="55" y="25"/>
                    <a:pt x="55" y="25"/>
                  </a:cubicBezTo>
                  <a:cubicBezTo>
                    <a:pt x="55" y="26"/>
                    <a:pt x="55" y="26"/>
                    <a:pt x="56" y="27"/>
                  </a:cubicBezTo>
                  <a:cubicBezTo>
                    <a:pt x="56" y="27"/>
                    <a:pt x="57" y="27"/>
                    <a:pt x="57" y="28"/>
                  </a:cubicBezTo>
                  <a:cubicBezTo>
                    <a:pt x="58" y="28"/>
                    <a:pt x="58" y="28"/>
                    <a:pt x="59" y="29"/>
                  </a:cubicBezTo>
                  <a:cubicBezTo>
                    <a:pt x="60" y="29"/>
                    <a:pt x="59" y="27"/>
                    <a:pt x="59" y="27"/>
                  </a:cubicBezTo>
                  <a:close/>
                  <a:moveTo>
                    <a:pt x="64" y="30"/>
                  </a:moveTo>
                  <a:cubicBezTo>
                    <a:pt x="64" y="30"/>
                    <a:pt x="64" y="30"/>
                    <a:pt x="65" y="30"/>
                  </a:cubicBezTo>
                  <a:cubicBezTo>
                    <a:pt x="65" y="30"/>
                    <a:pt x="65" y="31"/>
                    <a:pt x="65" y="30"/>
                  </a:cubicBezTo>
                  <a:cubicBezTo>
                    <a:pt x="66" y="30"/>
                    <a:pt x="65" y="30"/>
                    <a:pt x="65" y="30"/>
                  </a:cubicBezTo>
                  <a:cubicBezTo>
                    <a:pt x="65" y="29"/>
                    <a:pt x="65" y="29"/>
                    <a:pt x="65" y="28"/>
                  </a:cubicBezTo>
                  <a:cubicBezTo>
                    <a:pt x="65" y="28"/>
                    <a:pt x="65" y="27"/>
                    <a:pt x="65" y="26"/>
                  </a:cubicBezTo>
                  <a:cubicBezTo>
                    <a:pt x="65" y="26"/>
                    <a:pt x="65" y="26"/>
                    <a:pt x="65" y="25"/>
                  </a:cubicBezTo>
                  <a:cubicBezTo>
                    <a:pt x="65" y="25"/>
                    <a:pt x="65" y="25"/>
                    <a:pt x="65" y="25"/>
                  </a:cubicBezTo>
                  <a:cubicBezTo>
                    <a:pt x="64" y="25"/>
                    <a:pt x="64" y="25"/>
                    <a:pt x="64" y="26"/>
                  </a:cubicBezTo>
                  <a:cubicBezTo>
                    <a:pt x="64" y="26"/>
                    <a:pt x="64" y="26"/>
                    <a:pt x="64" y="27"/>
                  </a:cubicBezTo>
                  <a:cubicBezTo>
                    <a:pt x="64" y="27"/>
                    <a:pt x="63" y="27"/>
                    <a:pt x="63" y="27"/>
                  </a:cubicBezTo>
                  <a:cubicBezTo>
                    <a:pt x="63" y="28"/>
                    <a:pt x="63" y="28"/>
                    <a:pt x="63" y="29"/>
                  </a:cubicBezTo>
                  <a:cubicBezTo>
                    <a:pt x="63" y="29"/>
                    <a:pt x="62" y="29"/>
                    <a:pt x="62" y="29"/>
                  </a:cubicBezTo>
                  <a:cubicBezTo>
                    <a:pt x="63" y="30"/>
                    <a:pt x="63" y="30"/>
                    <a:pt x="64" y="30"/>
                  </a:cubicBezTo>
                  <a:close/>
                  <a:moveTo>
                    <a:pt x="63" y="18"/>
                  </a:moveTo>
                  <a:cubicBezTo>
                    <a:pt x="63" y="18"/>
                    <a:pt x="63" y="18"/>
                    <a:pt x="64" y="18"/>
                  </a:cubicBezTo>
                  <a:cubicBezTo>
                    <a:pt x="64" y="17"/>
                    <a:pt x="64" y="18"/>
                    <a:pt x="64" y="18"/>
                  </a:cubicBezTo>
                  <a:cubicBezTo>
                    <a:pt x="64" y="19"/>
                    <a:pt x="65" y="19"/>
                    <a:pt x="65" y="19"/>
                  </a:cubicBezTo>
                  <a:cubicBezTo>
                    <a:pt x="65" y="20"/>
                    <a:pt x="65" y="20"/>
                    <a:pt x="66" y="20"/>
                  </a:cubicBezTo>
                  <a:cubicBezTo>
                    <a:pt x="66" y="21"/>
                    <a:pt x="66" y="21"/>
                    <a:pt x="66" y="21"/>
                  </a:cubicBezTo>
                  <a:cubicBezTo>
                    <a:pt x="66" y="22"/>
                    <a:pt x="67" y="21"/>
                    <a:pt x="67" y="21"/>
                  </a:cubicBezTo>
                  <a:cubicBezTo>
                    <a:pt x="67" y="21"/>
                    <a:pt x="68" y="20"/>
                    <a:pt x="68" y="20"/>
                  </a:cubicBezTo>
                  <a:cubicBezTo>
                    <a:pt x="69" y="20"/>
                    <a:pt x="69" y="19"/>
                    <a:pt x="69" y="19"/>
                  </a:cubicBezTo>
                  <a:cubicBezTo>
                    <a:pt x="69" y="18"/>
                    <a:pt x="68" y="18"/>
                    <a:pt x="68" y="18"/>
                  </a:cubicBezTo>
                  <a:cubicBezTo>
                    <a:pt x="67" y="18"/>
                    <a:pt x="67" y="18"/>
                    <a:pt x="67" y="17"/>
                  </a:cubicBezTo>
                  <a:cubicBezTo>
                    <a:pt x="67" y="17"/>
                    <a:pt x="66" y="17"/>
                    <a:pt x="66" y="17"/>
                  </a:cubicBezTo>
                  <a:cubicBezTo>
                    <a:pt x="65" y="17"/>
                    <a:pt x="65" y="16"/>
                    <a:pt x="64" y="16"/>
                  </a:cubicBezTo>
                  <a:cubicBezTo>
                    <a:pt x="64" y="16"/>
                    <a:pt x="63" y="16"/>
                    <a:pt x="62" y="16"/>
                  </a:cubicBezTo>
                  <a:cubicBezTo>
                    <a:pt x="62" y="16"/>
                    <a:pt x="62" y="17"/>
                    <a:pt x="61" y="17"/>
                  </a:cubicBezTo>
                  <a:cubicBezTo>
                    <a:pt x="61" y="17"/>
                    <a:pt x="61" y="18"/>
                    <a:pt x="60" y="18"/>
                  </a:cubicBezTo>
                  <a:cubicBezTo>
                    <a:pt x="60" y="19"/>
                    <a:pt x="59" y="19"/>
                    <a:pt x="60" y="19"/>
                  </a:cubicBezTo>
                  <a:cubicBezTo>
                    <a:pt x="60" y="20"/>
                    <a:pt x="60" y="20"/>
                    <a:pt x="60" y="20"/>
                  </a:cubicBezTo>
                  <a:cubicBezTo>
                    <a:pt x="60" y="21"/>
                    <a:pt x="60" y="21"/>
                    <a:pt x="61" y="21"/>
                  </a:cubicBezTo>
                  <a:cubicBezTo>
                    <a:pt x="61" y="21"/>
                    <a:pt x="61" y="21"/>
                    <a:pt x="61" y="22"/>
                  </a:cubicBezTo>
                  <a:cubicBezTo>
                    <a:pt x="61" y="22"/>
                    <a:pt x="61" y="22"/>
                    <a:pt x="61" y="22"/>
                  </a:cubicBezTo>
                  <a:cubicBezTo>
                    <a:pt x="62" y="22"/>
                    <a:pt x="62" y="22"/>
                    <a:pt x="63" y="22"/>
                  </a:cubicBezTo>
                  <a:cubicBezTo>
                    <a:pt x="63" y="22"/>
                    <a:pt x="63" y="22"/>
                    <a:pt x="64" y="22"/>
                  </a:cubicBezTo>
                  <a:cubicBezTo>
                    <a:pt x="64" y="22"/>
                    <a:pt x="64" y="22"/>
                    <a:pt x="64" y="21"/>
                  </a:cubicBezTo>
                  <a:cubicBezTo>
                    <a:pt x="64" y="21"/>
                    <a:pt x="64" y="20"/>
                    <a:pt x="64" y="20"/>
                  </a:cubicBezTo>
                  <a:cubicBezTo>
                    <a:pt x="64" y="20"/>
                    <a:pt x="63" y="19"/>
                    <a:pt x="63" y="19"/>
                  </a:cubicBezTo>
                  <a:cubicBezTo>
                    <a:pt x="63" y="19"/>
                    <a:pt x="63" y="19"/>
                    <a:pt x="63" y="18"/>
                  </a:cubicBezTo>
                  <a:close/>
                  <a:moveTo>
                    <a:pt x="74" y="26"/>
                  </a:moveTo>
                  <a:cubicBezTo>
                    <a:pt x="74" y="26"/>
                    <a:pt x="75" y="25"/>
                    <a:pt x="74" y="25"/>
                  </a:cubicBezTo>
                  <a:cubicBezTo>
                    <a:pt x="74" y="25"/>
                    <a:pt x="74" y="25"/>
                    <a:pt x="74" y="24"/>
                  </a:cubicBezTo>
                  <a:cubicBezTo>
                    <a:pt x="74" y="24"/>
                    <a:pt x="73" y="23"/>
                    <a:pt x="73" y="24"/>
                  </a:cubicBezTo>
                  <a:cubicBezTo>
                    <a:pt x="73" y="24"/>
                    <a:pt x="73" y="24"/>
                    <a:pt x="73" y="24"/>
                  </a:cubicBezTo>
                  <a:cubicBezTo>
                    <a:pt x="73" y="25"/>
                    <a:pt x="73" y="25"/>
                    <a:pt x="73" y="25"/>
                  </a:cubicBezTo>
                  <a:cubicBezTo>
                    <a:pt x="73" y="26"/>
                    <a:pt x="74" y="26"/>
                    <a:pt x="74" y="26"/>
                  </a:cubicBezTo>
                  <a:close/>
                  <a:moveTo>
                    <a:pt x="269" y="147"/>
                  </a:moveTo>
                  <a:cubicBezTo>
                    <a:pt x="269" y="146"/>
                    <a:pt x="270" y="145"/>
                    <a:pt x="269" y="145"/>
                  </a:cubicBezTo>
                  <a:cubicBezTo>
                    <a:pt x="269" y="145"/>
                    <a:pt x="268" y="145"/>
                    <a:pt x="268" y="144"/>
                  </a:cubicBezTo>
                  <a:cubicBezTo>
                    <a:pt x="268" y="143"/>
                    <a:pt x="268" y="141"/>
                    <a:pt x="268" y="141"/>
                  </a:cubicBezTo>
                  <a:cubicBezTo>
                    <a:pt x="268" y="140"/>
                    <a:pt x="268" y="139"/>
                    <a:pt x="267" y="139"/>
                  </a:cubicBezTo>
                  <a:cubicBezTo>
                    <a:pt x="266" y="138"/>
                    <a:pt x="265" y="137"/>
                    <a:pt x="265" y="137"/>
                  </a:cubicBezTo>
                  <a:cubicBezTo>
                    <a:pt x="265" y="136"/>
                    <a:pt x="265" y="136"/>
                    <a:pt x="265" y="135"/>
                  </a:cubicBezTo>
                  <a:cubicBezTo>
                    <a:pt x="265" y="135"/>
                    <a:pt x="266" y="133"/>
                    <a:pt x="266" y="133"/>
                  </a:cubicBezTo>
                  <a:cubicBezTo>
                    <a:pt x="266" y="0"/>
                    <a:pt x="266" y="0"/>
                    <a:pt x="266" y="0"/>
                  </a:cubicBezTo>
                  <a:cubicBezTo>
                    <a:pt x="67" y="0"/>
                    <a:pt x="67" y="0"/>
                    <a:pt x="67" y="0"/>
                  </a:cubicBezTo>
                  <a:cubicBezTo>
                    <a:pt x="68" y="1"/>
                    <a:pt x="69" y="2"/>
                    <a:pt x="69" y="2"/>
                  </a:cubicBezTo>
                  <a:cubicBezTo>
                    <a:pt x="69" y="3"/>
                    <a:pt x="69" y="3"/>
                    <a:pt x="69" y="3"/>
                  </a:cubicBezTo>
                  <a:cubicBezTo>
                    <a:pt x="69" y="3"/>
                    <a:pt x="69" y="3"/>
                    <a:pt x="68" y="3"/>
                  </a:cubicBezTo>
                  <a:cubicBezTo>
                    <a:pt x="68" y="3"/>
                    <a:pt x="68" y="2"/>
                    <a:pt x="68" y="2"/>
                  </a:cubicBezTo>
                  <a:cubicBezTo>
                    <a:pt x="67" y="2"/>
                    <a:pt x="67" y="3"/>
                    <a:pt x="67" y="3"/>
                  </a:cubicBezTo>
                  <a:cubicBezTo>
                    <a:pt x="67" y="3"/>
                    <a:pt x="66" y="3"/>
                    <a:pt x="66" y="4"/>
                  </a:cubicBezTo>
                  <a:cubicBezTo>
                    <a:pt x="67" y="4"/>
                    <a:pt x="68" y="4"/>
                    <a:pt x="68" y="4"/>
                  </a:cubicBezTo>
                  <a:cubicBezTo>
                    <a:pt x="69" y="4"/>
                    <a:pt x="68" y="4"/>
                    <a:pt x="68" y="5"/>
                  </a:cubicBezTo>
                  <a:cubicBezTo>
                    <a:pt x="68" y="5"/>
                    <a:pt x="68" y="5"/>
                    <a:pt x="68" y="6"/>
                  </a:cubicBezTo>
                  <a:cubicBezTo>
                    <a:pt x="68" y="6"/>
                    <a:pt x="67" y="6"/>
                    <a:pt x="67" y="6"/>
                  </a:cubicBezTo>
                  <a:cubicBezTo>
                    <a:pt x="67" y="7"/>
                    <a:pt x="68" y="7"/>
                    <a:pt x="68" y="7"/>
                  </a:cubicBezTo>
                  <a:cubicBezTo>
                    <a:pt x="68" y="8"/>
                    <a:pt x="69" y="8"/>
                    <a:pt x="69" y="8"/>
                  </a:cubicBezTo>
                  <a:cubicBezTo>
                    <a:pt x="69" y="8"/>
                    <a:pt x="69" y="8"/>
                    <a:pt x="70" y="8"/>
                  </a:cubicBezTo>
                  <a:cubicBezTo>
                    <a:pt x="70" y="9"/>
                    <a:pt x="70" y="9"/>
                    <a:pt x="70" y="10"/>
                  </a:cubicBezTo>
                  <a:cubicBezTo>
                    <a:pt x="70" y="10"/>
                    <a:pt x="70" y="11"/>
                    <a:pt x="70" y="11"/>
                  </a:cubicBezTo>
                  <a:cubicBezTo>
                    <a:pt x="70" y="11"/>
                    <a:pt x="71" y="12"/>
                    <a:pt x="71" y="12"/>
                  </a:cubicBezTo>
                  <a:cubicBezTo>
                    <a:pt x="71" y="12"/>
                    <a:pt x="71" y="12"/>
                    <a:pt x="72" y="12"/>
                  </a:cubicBezTo>
                  <a:cubicBezTo>
                    <a:pt x="72" y="12"/>
                    <a:pt x="72" y="12"/>
                    <a:pt x="72" y="13"/>
                  </a:cubicBezTo>
                  <a:cubicBezTo>
                    <a:pt x="72" y="13"/>
                    <a:pt x="72" y="13"/>
                    <a:pt x="72" y="14"/>
                  </a:cubicBezTo>
                  <a:cubicBezTo>
                    <a:pt x="72" y="14"/>
                    <a:pt x="73" y="15"/>
                    <a:pt x="73" y="14"/>
                  </a:cubicBezTo>
                  <a:cubicBezTo>
                    <a:pt x="73" y="14"/>
                    <a:pt x="73" y="14"/>
                    <a:pt x="73" y="13"/>
                  </a:cubicBezTo>
                  <a:cubicBezTo>
                    <a:pt x="73" y="13"/>
                    <a:pt x="74" y="13"/>
                    <a:pt x="74" y="12"/>
                  </a:cubicBezTo>
                  <a:cubicBezTo>
                    <a:pt x="74" y="12"/>
                    <a:pt x="75" y="13"/>
                    <a:pt x="76" y="13"/>
                  </a:cubicBezTo>
                  <a:cubicBezTo>
                    <a:pt x="76" y="13"/>
                    <a:pt x="76" y="13"/>
                    <a:pt x="76" y="13"/>
                  </a:cubicBezTo>
                  <a:cubicBezTo>
                    <a:pt x="76" y="14"/>
                    <a:pt x="76" y="14"/>
                    <a:pt x="77" y="14"/>
                  </a:cubicBezTo>
                  <a:cubicBezTo>
                    <a:pt x="77" y="14"/>
                    <a:pt x="78" y="14"/>
                    <a:pt x="78" y="14"/>
                  </a:cubicBezTo>
                  <a:cubicBezTo>
                    <a:pt x="78" y="14"/>
                    <a:pt x="78" y="15"/>
                    <a:pt x="78" y="15"/>
                  </a:cubicBezTo>
                  <a:cubicBezTo>
                    <a:pt x="78" y="15"/>
                    <a:pt x="77" y="15"/>
                    <a:pt x="77" y="16"/>
                  </a:cubicBezTo>
                  <a:cubicBezTo>
                    <a:pt x="77" y="16"/>
                    <a:pt x="77" y="17"/>
                    <a:pt x="77" y="18"/>
                  </a:cubicBezTo>
                  <a:cubicBezTo>
                    <a:pt x="78" y="18"/>
                    <a:pt x="78" y="18"/>
                    <a:pt x="78" y="18"/>
                  </a:cubicBezTo>
                  <a:cubicBezTo>
                    <a:pt x="78" y="19"/>
                    <a:pt x="78" y="19"/>
                    <a:pt x="79" y="19"/>
                  </a:cubicBezTo>
                  <a:cubicBezTo>
                    <a:pt x="79" y="20"/>
                    <a:pt x="79" y="20"/>
                    <a:pt x="79" y="21"/>
                  </a:cubicBezTo>
                  <a:cubicBezTo>
                    <a:pt x="79" y="21"/>
                    <a:pt x="80" y="21"/>
                    <a:pt x="80" y="21"/>
                  </a:cubicBezTo>
                  <a:cubicBezTo>
                    <a:pt x="80" y="22"/>
                    <a:pt x="80" y="22"/>
                    <a:pt x="79" y="23"/>
                  </a:cubicBezTo>
                  <a:cubicBezTo>
                    <a:pt x="79" y="23"/>
                    <a:pt x="78" y="23"/>
                    <a:pt x="78" y="23"/>
                  </a:cubicBezTo>
                  <a:cubicBezTo>
                    <a:pt x="78" y="23"/>
                    <a:pt x="77" y="24"/>
                    <a:pt x="77" y="24"/>
                  </a:cubicBezTo>
                  <a:cubicBezTo>
                    <a:pt x="78" y="24"/>
                    <a:pt x="78" y="24"/>
                    <a:pt x="78" y="25"/>
                  </a:cubicBezTo>
                  <a:cubicBezTo>
                    <a:pt x="78" y="25"/>
                    <a:pt x="78" y="25"/>
                    <a:pt x="78" y="25"/>
                  </a:cubicBezTo>
                  <a:cubicBezTo>
                    <a:pt x="78" y="26"/>
                    <a:pt x="78" y="27"/>
                    <a:pt x="78" y="28"/>
                  </a:cubicBezTo>
                  <a:cubicBezTo>
                    <a:pt x="78" y="28"/>
                    <a:pt x="78" y="29"/>
                    <a:pt x="78" y="29"/>
                  </a:cubicBezTo>
                  <a:cubicBezTo>
                    <a:pt x="78" y="29"/>
                    <a:pt x="77" y="29"/>
                    <a:pt x="77" y="29"/>
                  </a:cubicBezTo>
                  <a:cubicBezTo>
                    <a:pt x="77" y="29"/>
                    <a:pt x="77" y="29"/>
                    <a:pt x="76" y="29"/>
                  </a:cubicBezTo>
                  <a:cubicBezTo>
                    <a:pt x="76" y="29"/>
                    <a:pt x="76" y="29"/>
                    <a:pt x="76" y="29"/>
                  </a:cubicBezTo>
                  <a:cubicBezTo>
                    <a:pt x="76" y="28"/>
                    <a:pt x="76" y="28"/>
                    <a:pt x="75" y="28"/>
                  </a:cubicBezTo>
                  <a:cubicBezTo>
                    <a:pt x="75" y="27"/>
                    <a:pt x="75" y="27"/>
                    <a:pt x="74" y="27"/>
                  </a:cubicBezTo>
                  <a:cubicBezTo>
                    <a:pt x="74" y="27"/>
                    <a:pt x="73" y="26"/>
                    <a:pt x="73" y="27"/>
                  </a:cubicBezTo>
                  <a:cubicBezTo>
                    <a:pt x="72" y="27"/>
                    <a:pt x="72" y="27"/>
                    <a:pt x="72" y="28"/>
                  </a:cubicBezTo>
                  <a:cubicBezTo>
                    <a:pt x="72" y="28"/>
                    <a:pt x="72" y="29"/>
                    <a:pt x="72" y="29"/>
                  </a:cubicBezTo>
                  <a:cubicBezTo>
                    <a:pt x="72" y="29"/>
                    <a:pt x="71" y="30"/>
                    <a:pt x="72" y="30"/>
                  </a:cubicBezTo>
                  <a:cubicBezTo>
                    <a:pt x="72" y="30"/>
                    <a:pt x="72" y="31"/>
                    <a:pt x="72" y="31"/>
                  </a:cubicBezTo>
                  <a:cubicBezTo>
                    <a:pt x="73" y="31"/>
                    <a:pt x="72" y="32"/>
                    <a:pt x="73" y="32"/>
                  </a:cubicBezTo>
                  <a:cubicBezTo>
                    <a:pt x="73" y="32"/>
                    <a:pt x="73" y="32"/>
                    <a:pt x="73" y="31"/>
                  </a:cubicBezTo>
                  <a:cubicBezTo>
                    <a:pt x="74" y="31"/>
                    <a:pt x="74" y="31"/>
                    <a:pt x="74" y="31"/>
                  </a:cubicBezTo>
                  <a:cubicBezTo>
                    <a:pt x="74" y="31"/>
                    <a:pt x="75" y="31"/>
                    <a:pt x="75" y="31"/>
                  </a:cubicBezTo>
                  <a:cubicBezTo>
                    <a:pt x="75" y="32"/>
                    <a:pt x="76" y="32"/>
                    <a:pt x="76" y="32"/>
                  </a:cubicBezTo>
                  <a:cubicBezTo>
                    <a:pt x="76" y="32"/>
                    <a:pt x="76" y="33"/>
                    <a:pt x="76" y="33"/>
                  </a:cubicBezTo>
                  <a:cubicBezTo>
                    <a:pt x="76" y="33"/>
                    <a:pt x="77" y="33"/>
                    <a:pt x="77" y="34"/>
                  </a:cubicBezTo>
                  <a:cubicBezTo>
                    <a:pt x="77" y="34"/>
                    <a:pt x="77" y="34"/>
                    <a:pt x="78" y="34"/>
                  </a:cubicBezTo>
                  <a:cubicBezTo>
                    <a:pt x="78" y="34"/>
                    <a:pt x="78" y="34"/>
                    <a:pt x="79" y="35"/>
                  </a:cubicBezTo>
                  <a:cubicBezTo>
                    <a:pt x="79" y="35"/>
                    <a:pt x="80" y="35"/>
                    <a:pt x="80" y="35"/>
                  </a:cubicBezTo>
                  <a:cubicBezTo>
                    <a:pt x="80" y="35"/>
                    <a:pt x="80" y="35"/>
                    <a:pt x="80" y="36"/>
                  </a:cubicBezTo>
                  <a:cubicBezTo>
                    <a:pt x="80" y="36"/>
                    <a:pt x="81" y="36"/>
                    <a:pt x="81" y="36"/>
                  </a:cubicBezTo>
                  <a:cubicBezTo>
                    <a:pt x="81" y="36"/>
                    <a:pt x="82" y="36"/>
                    <a:pt x="82" y="36"/>
                  </a:cubicBezTo>
                  <a:cubicBezTo>
                    <a:pt x="82" y="37"/>
                    <a:pt x="82" y="37"/>
                    <a:pt x="83" y="37"/>
                  </a:cubicBezTo>
                  <a:cubicBezTo>
                    <a:pt x="83" y="37"/>
                    <a:pt x="83" y="37"/>
                    <a:pt x="83" y="37"/>
                  </a:cubicBezTo>
                  <a:cubicBezTo>
                    <a:pt x="83" y="37"/>
                    <a:pt x="83" y="37"/>
                    <a:pt x="83" y="37"/>
                  </a:cubicBezTo>
                  <a:cubicBezTo>
                    <a:pt x="82" y="38"/>
                    <a:pt x="82" y="38"/>
                    <a:pt x="82" y="38"/>
                  </a:cubicBezTo>
                  <a:cubicBezTo>
                    <a:pt x="82" y="38"/>
                    <a:pt x="82" y="39"/>
                    <a:pt x="81" y="39"/>
                  </a:cubicBezTo>
                  <a:cubicBezTo>
                    <a:pt x="81" y="39"/>
                    <a:pt x="81" y="40"/>
                    <a:pt x="81" y="40"/>
                  </a:cubicBezTo>
                  <a:cubicBezTo>
                    <a:pt x="81" y="40"/>
                    <a:pt x="80" y="40"/>
                    <a:pt x="80" y="40"/>
                  </a:cubicBezTo>
                  <a:cubicBezTo>
                    <a:pt x="80" y="40"/>
                    <a:pt x="80" y="40"/>
                    <a:pt x="80" y="40"/>
                  </a:cubicBezTo>
                  <a:cubicBezTo>
                    <a:pt x="80" y="39"/>
                    <a:pt x="80" y="40"/>
                    <a:pt x="80" y="39"/>
                  </a:cubicBezTo>
                  <a:cubicBezTo>
                    <a:pt x="80" y="39"/>
                    <a:pt x="80" y="39"/>
                    <a:pt x="79" y="39"/>
                  </a:cubicBezTo>
                  <a:cubicBezTo>
                    <a:pt x="79" y="39"/>
                    <a:pt x="79" y="39"/>
                    <a:pt x="78" y="39"/>
                  </a:cubicBezTo>
                  <a:cubicBezTo>
                    <a:pt x="78" y="39"/>
                    <a:pt x="78" y="39"/>
                    <a:pt x="78" y="39"/>
                  </a:cubicBezTo>
                  <a:cubicBezTo>
                    <a:pt x="78" y="40"/>
                    <a:pt x="78" y="40"/>
                    <a:pt x="77" y="40"/>
                  </a:cubicBezTo>
                  <a:cubicBezTo>
                    <a:pt x="77" y="40"/>
                    <a:pt x="76" y="40"/>
                    <a:pt x="76" y="41"/>
                  </a:cubicBezTo>
                  <a:cubicBezTo>
                    <a:pt x="76" y="41"/>
                    <a:pt x="76" y="42"/>
                    <a:pt x="76" y="42"/>
                  </a:cubicBezTo>
                  <a:cubicBezTo>
                    <a:pt x="76" y="43"/>
                    <a:pt x="76" y="43"/>
                    <a:pt x="76" y="43"/>
                  </a:cubicBezTo>
                  <a:cubicBezTo>
                    <a:pt x="77" y="44"/>
                    <a:pt x="77" y="44"/>
                    <a:pt x="77" y="44"/>
                  </a:cubicBezTo>
                  <a:cubicBezTo>
                    <a:pt x="77" y="45"/>
                    <a:pt x="77" y="45"/>
                    <a:pt x="77" y="46"/>
                  </a:cubicBezTo>
                  <a:cubicBezTo>
                    <a:pt x="77" y="46"/>
                    <a:pt x="77" y="46"/>
                    <a:pt x="78" y="46"/>
                  </a:cubicBezTo>
                  <a:cubicBezTo>
                    <a:pt x="78" y="47"/>
                    <a:pt x="78" y="47"/>
                    <a:pt x="78" y="47"/>
                  </a:cubicBezTo>
                  <a:cubicBezTo>
                    <a:pt x="79" y="47"/>
                    <a:pt x="79" y="47"/>
                    <a:pt x="79" y="47"/>
                  </a:cubicBezTo>
                  <a:cubicBezTo>
                    <a:pt x="80" y="47"/>
                    <a:pt x="80" y="48"/>
                    <a:pt x="80" y="48"/>
                  </a:cubicBezTo>
                  <a:cubicBezTo>
                    <a:pt x="80" y="48"/>
                    <a:pt x="80" y="47"/>
                    <a:pt x="80" y="47"/>
                  </a:cubicBezTo>
                  <a:cubicBezTo>
                    <a:pt x="80" y="47"/>
                    <a:pt x="80" y="47"/>
                    <a:pt x="80" y="47"/>
                  </a:cubicBezTo>
                  <a:cubicBezTo>
                    <a:pt x="79" y="47"/>
                    <a:pt x="79" y="47"/>
                    <a:pt x="79" y="46"/>
                  </a:cubicBezTo>
                  <a:cubicBezTo>
                    <a:pt x="79" y="46"/>
                    <a:pt x="79" y="46"/>
                    <a:pt x="79" y="46"/>
                  </a:cubicBezTo>
                  <a:cubicBezTo>
                    <a:pt x="79" y="46"/>
                    <a:pt x="79" y="45"/>
                    <a:pt x="79" y="45"/>
                  </a:cubicBezTo>
                  <a:cubicBezTo>
                    <a:pt x="79" y="45"/>
                    <a:pt x="79" y="45"/>
                    <a:pt x="79" y="44"/>
                  </a:cubicBezTo>
                  <a:cubicBezTo>
                    <a:pt x="79" y="44"/>
                    <a:pt x="79" y="44"/>
                    <a:pt x="78" y="44"/>
                  </a:cubicBezTo>
                  <a:cubicBezTo>
                    <a:pt x="78" y="44"/>
                    <a:pt x="78" y="44"/>
                    <a:pt x="78" y="44"/>
                  </a:cubicBezTo>
                  <a:cubicBezTo>
                    <a:pt x="78" y="43"/>
                    <a:pt x="78" y="43"/>
                    <a:pt x="78" y="43"/>
                  </a:cubicBezTo>
                  <a:cubicBezTo>
                    <a:pt x="79" y="43"/>
                    <a:pt x="79" y="43"/>
                    <a:pt x="79" y="42"/>
                  </a:cubicBezTo>
                  <a:cubicBezTo>
                    <a:pt x="79" y="42"/>
                    <a:pt x="79" y="42"/>
                    <a:pt x="80" y="42"/>
                  </a:cubicBezTo>
                  <a:cubicBezTo>
                    <a:pt x="80" y="42"/>
                    <a:pt x="80" y="42"/>
                    <a:pt x="80" y="42"/>
                  </a:cubicBezTo>
                  <a:cubicBezTo>
                    <a:pt x="80" y="42"/>
                    <a:pt x="81" y="42"/>
                    <a:pt x="81" y="42"/>
                  </a:cubicBezTo>
                  <a:cubicBezTo>
                    <a:pt x="82" y="42"/>
                    <a:pt x="81" y="43"/>
                    <a:pt x="82" y="43"/>
                  </a:cubicBezTo>
                  <a:cubicBezTo>
                    <a:pt x="82" y="44"/>
                    <a:pt x="82" y="45"/>
                    <a:pt x="82" y="45"/>
                  </a:cubicBezTo>
                  <a:cubicBezTo>
                    <a:pt x="82" y="46"/>
                    <a:pt x="82" y="46"/>
                    <a:pt x="82" y="46"/>
                  </a:cubicBezTo>
                  <a:cubicBezTo>
                    <a:pt x="82" y="46"/>
                    <a:pt x="82" y="47"/>
                    <a:pt x="83" y="47"/>
                  </a:cubicBezTo>
                  <a:cubicBezTo>
                    <a:pt x="83" y="47"/>
                    <a:pt x="83" y="48"/>
                    <a:pt x="83" y="48"/>
                  </a:cubicBezTo>
                  <a:cubicBezTo>
                    <a:pt x="83" y="48"/>
                    <a:pt x="84" y="48"/>
                    <a:pt x="84" y="49"/>
                  </a:cubicBezTo>
                  <a:cubicBezTo>
                    <a:pt x="84" y="49"/>
                    <a:pt x="85" y="49"/>
                    <a:pt x="85" y="50"/>
                  </a:cubicBezTo>
                  <a:cubicBezTo>
                    <a:pt x="86" y="50"/>
                    <a:pt x="86" y="51"/>
                    <a:pt x="86" y="51"/>
                  </a:cubicBezTo>
                  <a:cubicBezTo>
                    <a:pt x="86" y="52"/>
                    <a:pt x="87" y="52"/>
                    <a:pt x="87" y="52"/>
                  </a:cubicBezTo>
                  <a:cubicBezTo>
                    <a:pt x="87" y="52"/>
                    <a:pt x="88" y="52"/>
                    <a:pt x="88" y="52"/>
                  </a:cubicBezTo>
                  <a:cubicBezTo>
                    <a:pt x="88" y="52"/>
                    <a:pt x="87" y="52"/>
                    <a:pt x="87" y="53"/>
                  </a:cubicBezTo>
                  <a:cubicBezTo>
                    <a:pt x="87" y="53"/>
                    <a:pt x="86" y="53"/>
                    <a:pt x="86" y="54"/>
                  </a:cubicBezTo>
                  <a:cubicBezTo>
                    <a:pt x="86" y="54"/>
                    <a:pt x="86" y="54"/>
                    <a:pt x="85" y="55"/>
                  </a:cubicBezTo>
                  <a:cubicBezTo>
                    <a:pt x="85" y="55"/>
                    <a:pt x="85" y="56"/>
                    <a:pt x="85" y="56"/>
                  </a:cubicBezTo>
                  <a:cubicBezTo>
                    <a:pt x="84" y="56"/>
                    <a:pt x="84" y="56"/>
                    <a:pt x="84" y="57"/>
                  </a:cubicBezTo>
                  <a:cubicBezTo>
                    <a:pt x="84" y="57"/>
                    <a:pt x="84" y="57"/>
                    <a:pt x="84" y="57"/>
                  </a:cubicBezTo>
                  <a:cubicBezTo>
                    <a:pt x="84" y="58"/>
                    <a:pt x="84" y="58"/>
                    <a:pt x="83" y="58"/>
                  </a:cubicBezTo>
                  <a:cubicBezTo>
                    <a:pt x="83" y="58"/>
                    <a:pt x="83" y="58"/>
                    <a:pt x="83" y="59"/>
                  </a:cubicBezTo>
                  <a:cubicBezTo>
                    <a:pt x="83" y="59"/>
                    <a:pt x="83" y="60"/>
                    <a:pt x="83" y="60"/>
                  </a:cubicBezTo>
                  <a:cubicBezTo>
                    <a:pt x="83" y="61"/>
                    <a:pt x="82" y="61"/>
                    <a:pt x="82" y="62"/>
                  </a:cubicBezTo>
                  <a:cubicBezTo>
                    <a:pt x="82" y="62"/>
                    <a:pt x="82" y="63"/>
                    <a:pt x="81" y="63"/>
                  </a:cubicBezTo>
                  <a:cubicBezTo>
                    <a:pt x="81" y="64"/>
                    <a:pt x="81" y="64"/>
                    <a:pt x="81" y="64"/>
                  </a:cubicBezTo>
                  <a:cubicBezTo>
                    <a:pt x="81" y="65"/>
                    <a:pt x="81" y="65"/>
                    <a:pt x="81" y="66"/>
                  </a:cubicBezTo>
                  <a:cubicBezTo>
                    <a:pt x="82" y="66"/>
                    <a:pt x="82" y="66"/>
                    <a:pt x="82" y="67"/>
                  </a:cubicBezTo>
                  <a:cubicBezTo>
                    <a:pt x="81" y="67"/>
                    <a:pt x="81" y="67"/>
                    <a:pt x="81" y="68"/>
                  </a:cubicBezTo>
                  <a:cubicBezTo>
                    <a:pt x="81" y="68"/>
                    <a:pt x="81" y="69"/>
                    <a:pt x="81" y="69"/>
                  </a:cubicBezTo>
                  <a:cubicBezTo>
                    <a:pt x="81" y="69"/>
                    <a:pt x="80" y="69"/>
                    <a:pt x="80" y="69"/>
                  </a:cubicBezTo>
                  <a:cubicBezTo>
                    <a:pt x="80" y="69"/>
                    <a:pt x="80" y="70"/>
                    <a:pt x="80" y="70"/>
                  </a:cubicBezTo>
                  <a:cubicBezTo>
                    <a:pt x="80" y="70"/>
                    <a:pt x="80" y="71"/>
                    <a:pt x="80" y="71"/>
                  </a:cubicBezTo>
                  <a:cubicBezTo>
                    <a:pt x="80" y="71"/>
                    <a:pt x="80" y="71"/>
                    <a:pt x="80" y="71"/>
                  </a:cubicBezTo>
                  <a:cubicBezTo>
                    <a:pt x="80" y="71"/>
                    <a:pt x="81" y="72"/>
                    <a:pt x="81" y="72"/>
                  </a:cubicBezTo>
                  <a:cubicBezTo>
                    <a:pt x="81" y="72"/>
                    <a:pt x="81" y="72"/>
                    <a:pt x="82" y="73"/>
                  </a:cubicBezTo>
                  <a:cubicBezTo>
                    <a:pt x="82" y="73"/>
                    <a:pt x="82" y="73"/>
                    <a:pt x="82" y="73"/>
                  </a:cubicBezTo>
                  <a:cubicBezTo>
                    <a:pt x="82" y="74"/>
                    <a:pt x="83" y="74"/>
                    <a:pt x="82" y="74"/>
                  </a:cubicBezTo>
                  <a:cubicBezTo>
                    <a:pt x="82" y="74"/>
                    <a:pt x="82" y="74"/>
                    <a:pt x="82" y="74"/>
                  </a:cubicBezTo>
                  <a:cubicBezTo>
                    <a:pt x="81" y="74"/>
                    <a:pt x="80" y="74"/>
                    <a:pt x="80" y="75"/>
                  </a:cubicBezTo>
                  <a:cubicBezTo>
                    <a:pt x="80" y="75"/>
                    <a:pt x="80" y="76"/>
                    <a:pt x="80" y="76"/>
                  </a:cubicBezTo>
                  <a:cubicBezTo>
                    <a:pt x="81" y="76"/>
                    <a:pt x="81" y="77"/>
                    <a:pt x="81" y="77"/>
                  </a:cubicBezTo>
                  <a:cubicBezTo>
                    <a:pt x="81" y="77"/>
                    <a:pt x="81" y="78"/>
                    <a:pt x="81" y="78"/>
                  </a:cubicBezTo>
                  <a:cubicBezTo>
                    <a:pt x="81" y="79"/>
                    <a:pt x="81" y="79"/>
                    <a:pt x="81" y="79"/>
                  </a:cubicBezTo>
                  <a:cubicBezTo>
                    <a:pt x="81" y="80"/>
                    <a:pt x="82" y="80"/>
                    <a:pt x="82" y="80"/>
                  </a:cubicBezTo>
                  <a:cubicBezTo>
                    <a:pt x="82" y="81"/>
                    <a:pt x="83" y="81"/>
                    <a:pt x="83" y="82"/>
                  </a:cubicBezTo>
                  <a:cubicBezTo>
                    <a:pt x="83" y="82"/>
                    <a:pt x="83" y="82"/>
                    <a:pt x="83" y="82"/>
                  </a:cubicBezTo>
                  <a:cubicBezTo>
                    <a:pt x="83" y="86"/>
                    <a:pt x="83" y="86"/>
                    <a:pt x="83" y="86"/>
                  </a:cubicBezTo>
                  <a:cubicBezTo>
                    <a:pt x="83" y="87"/>
                    <a:pt x="83" y="87"/>
                    <a:pt x="83" y="87"/>
                  </a:cubicBezTo>
                  <a:cubicBezTo>
                    <a:pt x="83" y="87"/>
                    <a:pt x="82" y="87"/>
                    <a:pt x="82" y="88"/>
                  </a:cubicBezTo>
                  <a:cubicBezTo>
                    <a:pt x="81" y="88"/>
                    <a:pt x="81" y="88"/>
                    <a:pt x="81" y="88"/>
                  </a:cubicBezTo>
                  <a:cubicBezTo>
                    <a:pt x="81" y="88"/>
                    <a:pt x="80" y="88"/>
                    <a:pt x="80" y="88"/>
                  </a:cubicBezTo>
                  <a:cubicBezTo>
                    <a:pt x="80" y="89"/>
                    <a:pt x="80" y="89"/>
                    <a:pt x="81" y="90"/>
                  </a:cubicBezTo>
                  <a:cubicBezTo>
                    <a:pt x="81" y="90"/>
                    <a:pt x="81" y="90"/>
                    <a:pt x="81" y="90"/>
                  </a:cubicBezTo>
                  <a:cubicBezTo>
                    <a:pt x="80" y="91"/>
                    <a:pt x="80" y="90"/>
                    <a:pt x="80" y="90"/>
                  </a:cubicBezTo>
                  <a:cubicBezTo>
                    <a:pt x="80" y="90"/>
                    <a:pt x="79" y="90"/>
                    <a:pt x="79" y="90"/>
                  </a:cubicBezTo>
                  <a:cubicBezTo>
                    <a:pt x="79" y="90"/>
                    <a:pt x="79" y="89"/>
                    <a:pt x="78" y="89"/>
                  </a:cubicBezTo>
                  <a:cubicBezTo>
                    <a:pt x="78" y="89"/>
                    <a:pt x="77" y="89"/>
                    <a:pt x="77" y="89"/>
                  </a:cubicBezTo>
                  <a:cubicBezTo>
                    <a:pt x="77" y="90"/>
                    <a:pt x="77" y="91"/>
                    <a:pt x="76" y="91"/>
                  </a:cubicBezTo>
                  <a:cubicBezTo>
                    <a:pt x="76" y="91"/>
                    <a:pt x="75" y="92"/>
                    <a:pt x="75" y="92"/>
                  </a:cubicBezTo>
                  <a:cubicBezTo>
                    <a:pt x="75" y="93"/>
                    <a:pt x="75" y="93"/>
                    <a:pt x="75" y="94"/>
                  </a:cubicBezTo>
                  <a:cubicBezTo>
                    <a:pt x="75" y="94"/>
                    <a:pt x="74" y="95"/>
                    <a:pt x="74" y="95"/>
                  </a:cubicBezTo>
                  <a:cubicBezTo>
                    <a:pt x="73" y="96"/>
                    <a:pt x="73" y="97"/>
                    <a:pt x="72" y="98"/>
                  </a:cubicBezTo>
                  <a:cubicBezTo>
                    <a:pt x="71" y="99"/>
                    <a:pt x="70" y="99"/>
                    <a:pt x="70" y="99"/>
                  </a:cubicBezTo>
                  <a:cubicBezTo>
                    <a:pt x="69" y="98"/>
                    <a:pt x="69" y="98"/>
                    <a:pt x="69" y="98"/>
                  </a:cubicBezTo>
                  <a:cubicBezTo>
                    <a:pt x="68" y="98"/>
                    <a:pt x="68" y="97"/>
                    <a:pt x="68" y="97"/>
                  </a:cubicBezTo>
                  <a:cubicBezTo>
                    <a:pt x="67" y="97"/>
                    <a:pt x="67" y="96"/>
                    <a:pt x="66" y="96"/>
                  </a:cubicBezTo>
                  <a:cubicBezTo>
                    <a:pt x="66" y="95"/>
                    <a:pt x="65" y="96"/>
                    <a:pt x="65" y="96"/>
                  </a:cubicBezTo>
                  <a:cubicBezTo>
                    <a:pt x="65" y="96"/>
                    <a:pt x="65" y="96"/>
                    <a:pt x="64" y="97"/>
                  </a:cubicBezTo>
                  <a:cubicBezTo>
                    <a:pt x="64" y="97"/>
                    <a:pt x="64" y="96"/>
                    <a:pt x="64" y="97"/>
                  </a:cubicBezTo>
                  <a:cubicBezTo>
                    <a:pt x="63" y="97"/>
                    <a:pt x="63" y="98"/>
                    <a:pt x="63" y="98"/>
                  </a:cubicBezTo>
                  <a:cubicBezTo>
                    <a:pt x="63" y="98"/>
                    <a:pt x="64" y="100"/>
                    <a:pt x="63" y="100"/>
                  </a:cubicBezTo>
                  <a:cubicBezTo>
                    <a:pt x="63" y="100"/>
                    <a:pt x="63" y="99"/>
                    <a:pt x="63" y="99"/>
                  </a:cubicBezTo>
                  <a:cubicBezTo>
                    <a:pt x="62" y="98"/>
                    <a:pt x="62" y="99"/>
                    <a:pt x="62" y="99"/>
                  </a:cubicBezTo>
                  <a:cubicBezTo>
                    <a:pt x="61" y="99"/>
                    <a:pt x="61" y="100"/>
                    <a:pt x="60" y="100"/>
                  </a:cubicBezTo>
                  <a:cubicBezTo>
                    <a:pt x="60" y="99"/>
                    <a:pt x="61" y="99"/>
                    <a:pt x="61" y="99"/>
                  </a:cubicBezTo>
                  <a:cubicBezTo>
                    <a:pt x="61" y="98"/>
                    <a:pt x="61" y="98"/>
                    <a:pt x="62" y="97"/>
                  </a:cubicBezTo>
                  <a:cubicBezTo>
                    <a:pt x="62" y="97"/>
                    <a:pt x="62" y="97"/>
                    <a:pt x="62" y="96"/>
                  </a:cubicBezTo>
                  <a:cubicBezTo>
                    <a:pt x="62" y="96"/>
                    <a:pt x="62" y="96"/>
                    <a:pt x="61" y="96"/>
                  </a:cubicBezTo>
                  <a:cubicBezTo>
                    <a:pt x="61" y="95"/>
                    <a:pt x="61" y="95"/>
                    <a:pt x="62" y="95"/>
                  </a:cubicBezTo>
                  <a:cubicBezTo>
                    <a:pt x="62" y="95"/>
                    <a:pt x="62" y="94"/>
                    <a:pt x="62" y="94"/>
                  </a:cubicBezTo>
                  <a:cubicBezTo>
                    <a:pt x="62" y="93"/>
                    <a:pt x="62" y="93"/>
                    <a:pt x="62" y="92"/>
                  </a:cubicBezTo>
                  <a:cubicBezTo>
                    <a:pt x="62" y="92"/>
                    <a:pt x="62" y="91"/>
                    <a:pt x="62" y="91"/>
                  </a:cubicBezTo>
                  <a:cubicBezTo>
                    <a:pt x="63" y="90"/>
                    <a:pt x="63" y="90"/>
                    <a:pt x="63" y="89"/>
                  </a:cubicBezTo>
                  <a:cubicBezTo>
                    <a:pt x="64" y="89"/>
                    <a:pt x="64" y="88"/>
                    <a:pt x="64" y="88"/>
                  </a:cubicBezTo>
                  <a:cubicBezTo>
                    <a:pt x="65" y="88"/>
                    <a:pt x="65" y="88"/>
                    <a:pt x="65" y="88"/>
                  </a:cubicBezTo>
                  <a:cubicBezTo>
                    <a:pt x="66" y="88"/>
                    <a:pt x="66" y="87"/>
                    <a:pt x="66" y="87"/>
                  </a:cubicBezTo>
                  <a:cubicBezTo>
                    <a:pt x="66" y="87"/>
                    <a:pt x="65" y="86"/>
                    <a:pt x="66" y="86"/>
                  </a:cubicBezTo>
                  <a:cubicBezTo>
                    <a:pt x="66" y="86"/>
                    <a:pt x="67" y="86"/>
                    <a:pt x="67" y="87"/>
                  </a:cubicBezTo>
                  <a:cubicBezTo>
                    <a:pt x="67" y="87"/>
                    <a:pt x="67" y="87"/>
                    <a:pt x="67" y="87"/>
                  </a:cubicBezTo>
                  <a:cubicBezTo>
                    <a:pt x="67" y="88"/>
                    <a:pt x="67" y="88"/>
                    <a:pt x="67" y="88"/>
                  </a:cubicBezTo>
                  <a:cubicBezTo>
                    <a:pt x="67" y="89"/>
                    <a:pt x="67" y="89"/>
                    <a:pt x="67" y="90"/>
                  </a:cubicBezTo>
                  <a:cubicBezTo>
                    <a:pt x="67" y="90"/>
                    <a:pt x="67" y="90"/>
                    <a:pt x="67" y="91"/>
                  </a:cubicBezTo>
                  <a:cubicBezTo>
                    <a:pt x="67" y="91"/>
                    <a:pt x="67" y="92"/>
                    <a:pt x="67" y="92"/>
                  </a:cubicBezTo>
                  <a:cubicBezTo>
                    <a:pt x="67" y="92"/>
                    <a:pt x="67" y="93"/>
                    <a:pt x="67" y="93"/>
                  </a:cubicBezTo>
                  <a:cubicBezTo>
                    <a:pt x="67" y="93"/>
                    <a:pt x="67" y="93"/>
                    <a:pt x="67" y="94"/>
                  </a:cubicBezTo>
                  <a:cubicBezTo>
                    <a:pt x="67" y="94"/>
                    <a:pt x="67" y="94"/>
                    <a:pt x="67" y="94"/>
                  </a:cubicBezTo>
                  <a:cubicBezTo>
                    <a:pt x="68" y="95"/>
                    <a:pt x="68" y="95"/>
                    <a:pt x="68" y="95"/>
                  </a:cubicBezTo>
                  <a:cubicBezTo>
                    <a:pt x="69" y="95"/>
                    <a:pt x="69" y="95"/>
                    <a:pt x="69" y="94"/>
                  </a:cubicBezTo>
                  <a:cubicBezTo>
                    <a:pt x="69" y="93"/>
                    <a:pt x="69" y="93"/>
                    <a:pt x="69" y="92"/>
                  </a:cubicBezTo>
                  <a:cubicBezTo>
                    <a:pt x="69" y="91"/>
                    <a:pt x="70" y="90"/>
                    <a:pt x="70" y="89"/>
                  </a:cubicBezTo>
                  <a:cubicBezTo>
                    <a:pt x="70" y="89"/>
                    <a:pt x="70" y="88"/>
                    <a:pt x="70" y="87"/>
                  </a:cubicBezTo>
                  <a:cubicBezTo>
                    <a:pt x="70" y="87"/>
                    <a:pt x="70" y="87"/>
                    <a:pt x="71" y="86"/>
                  </a:cubicBezTo>
                  <a:cubicBezTo>
                    <a:pt x="71" y="86"/>
                    <a:pt x="72" y="85"/>
                    <a:pt x="72" y="85"/>
                  </a:cubicBezTo>
                  <a:cubicBezTo>
                    <a:pt x="72" y="86"/>
                    <a:pt x="73" y="86"/>
                    <a:pt x="72" y="86"/>
                  </a:cubicBezTo>
                  <a:cubicBezTo>
                    <a:pt x="72" y="87"/>
                    <a:pt x="72" y="87"/>
                    <a:pt x="72" y="87"/>
                  </a:cubicBezTo>
                  <a:cubicBezTo>
                    <a:pt x="72" y="88"/>
                    <a:pt x="72" y="88"/>
                    <a:pt x="72" y="89"/>
                  </a:cubicBezTo>
                  <a:cubicBezTo>
                    <a:pt x="72" y="89"/>
                    <a:pt x="72" y="89"/>
                    <a:pt x="73" y="90"/>
                  </a:cubicBezTo>
                  <a:cubicBezTo>
                    <a:pt x="73" y="90"/>
                    <a:pt x="73" y="90"/>
                    <a:pt x="74" y="90"/>
                  </a:cubicBezTo>
                  <a:cubicBezTo>
                    <a:pt x="74" y="91"/>
                    <a:pt x="75" y="91"/>
                    <a:pt x="75" y="90"/>
                  </a:cubicBezTo>
                  <a:cubicBezTo>
                    <a:pt x="75" y="90"/>
                    <a:pt x="75" y="90"/>
                    <a:pt x="75" y="90"/>
                  </a:cubicBezTo>
                  <a:cubicBezTo>
                    <a:pt x="75" y="78"/>
                    <a:pt x="75" y="78"/>
                    <a:pt x="75" y="78"/>
                  </a:cubicBezTo>
                  <a:cubicBezTo>
                    <a:pt x="75" y="75"/>
                    <a:pt x="75" y="75"/>
                    <a:pt x="75" y="75"/>
                  </a:cubicBezTo>
                  <a:cubicBezTo>
                    <a:pt x="75" y="75"/>
                    <a:pt x="75" y="75"/>
                    <a:pt x="76" y="75"/>
                  </a:cubicBezTo>
                  <a:cubicBezTo>
                    <a:pt x="76" y="74"/>
                    <a:pt x="76" y="75"/>
                    <a:pt x="77" y="75"/>
                  </a:cubicBezTo>
                  <a:cubicBezTo>
                    <a:pt x="78" y="75"/>
                    <a:pt x="77" y="73"/>
                    <a:pt x="77" y="73"/>
                  </a:cubicBezTo>
                  <a:cubicBezTo>
                    <a:pt x="77" y="72"/>
                    <a:pt x="77" y="72"/>
                    <a:pt x="77" y="71"/>
                  </a:cubicBezTo>
                  <a:cubicBezTo>
                    <a:pt x="77" y="71"/>
                    <a:pt x="77" y="70"/>
                    <a:pt x="77" y="70"/>
                  </a:cubicBezTo>
                  <a:cubicBezTo>
                    <a:pt x="77" y="70"/>
                    <a:pt x="77" y="70"/>
                    <a:pt x="77" y="70"/>
                  </a:cubicBezTo>
                  <a:cubicBezTo>
                    <a:pt x="76" y="69"/>
                    <a:pt x="77" y="68"/>
                    <a:pt x="76" y="68"/>
                  </a:cubicBezTo>
                  <a:cubicBezTo>
                    <a:pt x="76" y="68"/>
                    <a:pt x="75" y="68"/>
                    <a:pt x="76" y="67"/>
                  </a:cubicBezTo>
                  <a:cubicBezTo>
                    <a:pt x="76" y="67"/>
                    <a:pt x="77" y="67"/>
                    <a:pt x="77" y="67"/>
                  </a:cubicBezTo>
                  <a:cubicBezTo>
                    <a:pt x="78" y="67"/>
                    <a:pt x="78" y="66"/>
                    <a:pt x="78" y="65"/>
                  </a:cubicBezTo>
                  <a:cubicBezTo>
                    <a:pt x="78" y="64"/>
                    <a:pt x="78" y="63"/>
                    <a:pt x="78" y="62"/>
                  </a:cubicBezTo>
                  <a:cubicBezTo>
                    <a:pt x="78" y="62"/>
                    <a:pt x="77" y="61"/>
                    <a:pt x="77" y="61"/>
                  </a:cubicBezTo>
                  <a:cubicBezTo>
                    <a:pt x="77" y="60"/>
                    <a:pt x="77" y="60"/>
                    <a:pt x="77" y="59"/>
                  </a:cubicBezTo>
                  <a:cubicBezTo>
                    <a:pt x="77" y="59"/>
                    <a:pt x="77" y="59"/>
                    <a:pt x="77" y="58"/>
                  </a:cubicBezTo>
                  <a:cubicBezTo>
                    <a:pt x="76" y="58"/>
                    <a:pt x="76" y="58"/>
                    <a:pt x="76" y="58"/>
                  </a:cubicBezTo>
                  <a:cubicBezTo>
                    <a:pt x="75" y="58"/>
                    <a:pt x="75" y="58"/>
                    <a:pt x="75" y="59"/>
                  </a:cubicBezTo>
                  <a:cubicBezTo>
                    <a:pt x="74" y="59"/>
                    <a:pt x="74" y="59"/>
                    <a:pt x="74" y="60"/>
                  </a:cubicBezTo>
                  <a:cubicBezTo>
                    <a:pt x="73" y="60"/>
                    <a:pt x="73" y="60"/>
                    <a:pt x="73" y="61"/>
                  </a:cubicBezTo>
                  <a:cubicBezTo>
                    <a:pt x="72" y="62"/>
                    <a:pt x="72" y="62"/>
                    <a:pt x="72" y="63"/>
                  </a:cubicBezTo>
                  <a:cubicBezTo>
                    <a:pt x="71" y="63"/>
                    <a:pt x="71" y="63"/>
                    <a:pt x="71" y="64"/>
                  </a:cubicBezTo>
                  <a:cubicBezTo>
                    <a:pt x="70" y="65"/>
                    <a:pt x="70" y="65"/>
                    <a:pt x="70" y="66"/>
                  </a:cubicBezTo>
                  <a:cubicBezTo>
                    <a:pt x="70" y="66"/>
                    <a:pt x="70" y="67"/>
                    <a:pt x="69" y="68"/>
                  </a:cubicBezTo>
                  <a:cubicBezTo>
                    <a:pt x="69" y="68"/>
                    <a:pt x="69" y="69"/>
                    <a:pt x="69" y="69"/>
                  </a:cubicBezTo>
                  <a:cubicBezTo>
                    <a:pt x="68" y="70"/>
                    <a:pt x="68" y="70"/>
                    <a:pt x="67" y="70"/>
                  </a:cubicBezTo>
                  <a:cubicBezTo>
                    <a:pt x="65" y="71"/>
                    <a:pt x="62" y="73"/>
                    <a:pt x="61" y="76"/>
                  </a:cubicBezTo>
                  <a:cubicBezTo>
                    <a:pt x="61" y="76"/>
                    <a:pt x="61" y="77"/>
                    <a:pt x="60" y="77"/>
                  </a:cubicBezTo>
                  <a:cubicBezTo>
                    <a:pt x="59" y="77"/>
                    <a:pt x="59" y="77"/>
                    <a:pt x="59" y="76"/>
                  </a:cubicBezTo>
                  <a:cubicBezTo>
                    <a:pt x="59" y="76"/>
                    <a:pt x="59" y="76"/>
                    <a:pt x="59" y="75"/>
                  </a:cubicBezTo>
                  <a:cubicBezTo>
                    <a:pt x="60" y="75"/>
                    <a:pt x="60" y="74"/>
                    <a:pt x="60" y="74"/>
                  </a:cubicBezTo>
                  <a:cubicBezTo>
                    <a:pt x="60" y="74"/>
                    <a:pt x="61" y="73"/>
                    <a:pt x="61" y="73"/>
                  </a:cubicBezTo>
                  <a:cubicBezTo>
                    <a:pt x="62" y="73"/>
                    <a:pt x="62" y="72"/>
                    <a:pt x="63" y="72"/>
                  </a:cubicBezTo>
                  <a:cubicBezTo>
                    <a:pt x="63" y="71"/>
                    <a:pt x="63" y="70"/>
                    <a:pt x="63" y="69"/>
                  </a:cubicBezTo>
                  <a:cubicBezTo>
                    <a:pt x="63" y="69"/>
                    <a:pt x="64" y="68"/>
                    <a:pt x="65" y="67"/>
                  </a:cubicBezTo>
                  <a:cubicBezTo>
                    <a:pt x="65" y="67"/>
                    <a:pt x="65" y="66"/>
                    <a:pt x="66" y="66"/>
                  </a:cubicBezTo>
                  <a:cubicBezTo>
                    <a:pt x="66" y="66"/>
                    <a:pt x="66" y="66"/>
                    <a:pt x="66" y="65"/>
                  </a:cubicBezTo>
                  <a:cubicBezTo>
                    <a:pt x="67" y="65"/>
                    <a:pt x="67" y="65"/>
                    <a:pt x="67" y="65"/>
                  </a:cubicBezTo>
                  <a:cubicBezTo>
                    <a:pt x="67" y="66"/>
                    <a:pt x="67" y="66"/>
                    <a:pt x="67" y="67"/>
                  </a:cubicBezTo>
                  <a:cubicBezTo>
                    <a:pt x="67" y="67"/>
                    <a:pt x="66" y="68"/>
                    <a:pt x="67" y="69"/>
                  </a:cubicBezTo>
                  <a:cubicBezTo>
                    <a:pt x="67" y="70"/>
                    <a:pt x="68" y="69"/>
                    <a:pt x="68" y="68"/>
                  </a:cubicBezTo>
                  <a:cubicBezTo>
                    <a:pt x="68" y="68"/>
                    <a:pt x="68" y="67"/>
                    <a:pt x="68" y="66"/>
                  </a:cubicBezTo>
                  <a:cubicBezTo>
                    <a:pt x="68" y="66"/>
                    <a:pt x="68" y="66"/>
                    <a:pt x="68" y="66"/>
                  </a:cubicBezTo>
                  <a:cubicBezTo>
                    <a:pt x="68" y="65"/>
                    <a:pt x="69" y="65"/>
                    <a:pt x="69" y="64"/>
                  </a:cubicBezTo>
                  <a:cubicBezTo>
                    <a:pt x="69" y="64"/>
                    <a:pt x="69" y="64"/>
                    <a:pt x="69" y="63"/>
                  </a:cubicBezTo>
                  <a:cubicBezTo>
                    <a:pt x="69" y="63"/>
                    <a:pt x="70" y="63"/>
                    <a:pt x="70" y="62"/>
                  </a:cubicBezTo>
                  <a:cubicBezTo>
                    <a:pt x="70" y="62"/>
                    <a:pt x="71" y="62"/>
                    <a:pt x="71" y="61"/>
                  </a:cubicBezTo>
                  <a:cubicBezTo>
                    <a:pt x="71" y="61"/>
                    <a:pt x="72" y="61"/>
                    <a:pt x="72" y="61"/>
                  </a:cubicBezTo>
                  <a:cubicBezTo>
                    <a:pt x="72" y="60"/>
                    <a:pt x="72" y="60"/>
                    <a:pt x="72" y="60"/>
                  </a:cubicBezTo>
                  <a:cubicBezTo>
                    <a:pt x="72" y="59"/>
                    <a:pt x="72" y="59"/>
                    <a:pt x="72" y="59"/>
                  </a:cubicBezTo>
                  <a:cubicBezTo>
                    <a:pt x="72" y="58"/>
                    <a:pt x="72" y="58"/>
                    <a:pt x="72" y="58"/>
                  </a:cubicBezTo>
                  <a:cubicBezTo>
                    <a:pt x="72" y="56"/>
                    <a:pt x="70" y="55"/>
                    <a:pt x="70" y="54"/>
                  </a:cubicBezTo>
                  <a:cubicBezTo>
                    <a:pt x="70" y="53"/>
                    <a:pt x="70" y="53"/>
                    <a:pt x="70" y="53"/>
                  </a:cubicBezTo>
                  <a:cubicBezTo>
                    <a:pt x="70" y="52"/>
                    <a:pt x="70" y="52"/>
                    <a:pt x="70" y="52"/>
                  </a:cubicBezTo>
                  <a:cubicBezTo>
                    <a:pt x="69" y="51"/>
                    <a:pt x="69" y="51"/>
                    <a:pt x="69" y="50"/>
                  </a:cubicBezTo>
                  <a:cubicBezTo>
                    <a:pt x="68" y="50"/>
                    <a:pt x="68" y="49"/>
                    <a:pt x="67" y="49"/>
                  </a:cubicBezTo>
                  <a:cubicBezTo>
                    <a:pt x="67" y="48"/>
                    <a:pt x="67" y="48"/>
                    <a:pt x="67" y="47"/>
                  </a:cubicBezTo>
                  <a:cubicBezTo>
                    <a:pt x="68" y="47"/>
                    <a:pt x="69" y="46"/>
                    <a:pt x="68" y="46"/>
                  </a:cubicBezTo>
                  <a:cubicBezTo>
                    <a:pt x="68" y="45"/>
                    <a:pt x="67" y="45"/>
                    <a:pt x="66" y="46"/>
                  </a:cubicBezTo>
                  <a:cubicBezTo>
                    <a:pt x="66" y="46"/>
                    <a:pt x="66" y="46"/>
                    <a:pt x="66" y="46"/>
                  </a:cubicBezTo>
                  <a:cubicBezTo>
                    <a:pt x="66" y="46"/>
                    <a:pt x="65" y="46"/>
                    <a:pt x="65" y="47"/>
                  </a:cubicBezTo>
                  <a:cubicBezTo>
                    <a:pt x="65" y="47"/>
                    <a:pt x="65" y="47"/>
                    <a:pt x="65" y="47"/>
                  </a:cubicBezTo>
                  <a:cubicBezTo>
                    <a:pt x="65" y="48"/>
                    <a:pt x="65" y="48"/>
                    <a:pt x="65" y="48"/>
                  </a:cubicBezTo>
                  <a:cubicBezTo>
                    <a:pt x="64" y="48"/>
                    <a:pt x="64" y="49"/>
                    <a:pt x="64" y="50"/>
                  </a:cubicBezTo>
                  <a:cubicBezTo>
                    <a:pt x="64" y="50"/>
                    <a:pt x="65" y="50"/>
                    <a:pt x="65" y="51"/>
                  </a:cubicBezTo>
                  <a:cubicBezTo>
                    <a:pt x="65" y="51"/>
                    <a:pt x="66" y="52"/>
                    <a:pt x="66" y="52"/>
                  </a:cubicBezTo>
                  <a:cubicBezTo>
                    <a:pt x="65" y="53"/>
                    <a:pt x="65" y="52"/>
                    <a:pt x="64" y="52"/>
                  </a:cubicBezTo>
                  <a:cubicBezTo>
                    <a:pt x="64" y="51"/>
                    <a:pt x="64" y="51"/>
                    <a:pt x="63" y="51"/>
                  </a:cubicBezTo>
                  <a:cubicBezTo>
                    <a:pt x="63" y="50"/>
                    <a:pt x="62" y="50"/>
                    <a:pt x="62" y="49"/>
                  </a:cubicBezTo>
                  <a:cubicBezTo>
                    <a:pt x="62" y="49"/>
                    <a:pt x="61" y="49"/>
                    <a:pt x="61" y="48"/>
                  </a:cubicBezTo>
                  <a:cubicBezTo>
                    <a:pt x="61" y="48"/>
                    <a:pt x="61" y="48"/>
                    <a:pt x="60" y="49"/>
                  </a:cubicBezTo>
                  <a:cubicBezTo>
                    <a:pt x="60" y="49"/>
                    <a:pt x="61" y="50"/>
                    <a:pt x="60" y="51"/>
                  </a:cubicBezTo>
                  <a:cubicBezTo>
                    <a:pt x="60" y="52"/>
                    <a:pt x="60" y="51"/>
                    <a:pt x="60" y="51"/>
                  </a:cubicBezTo>
                  <a:cubicBezTo>
                    <a:pt x="59" y="50"/>
                    <a:pt x="59" y="50"/>
                    <a:pt x="59" y="49"/>
                  </a:cubicBezTo>
                  <a:cubicBezTo>
                    <a:pt x="58" y="49"/>
                    <a:pt x="58" y="48"/>
                    <a:pt x="58" y="48"/>
                  </a:cubicBezTo>
                  <a:cubicBezTo>
                    <a:pt x="58" y="47"/>
                    <a:pt x="57" y="47"/>
                    <a:pt x="57" y="46"/>
                  </a:cubicBezTo>
                  <a:cubicBezTo>
                    <a:pt x="56" y="46"/>
                    <a:pt x="56" y="44"/>
                    <a:pt x="55" y="45"/>
                  </a:cubicBezTo>
                  <a:cubicBezTo>
                    <a:pt x="55" y="46"/>
                    <a:pt x="54" y="46"/>
                    <a:pt x="53" y="46"/>
                  </a:cubicBezTo>
                  <a:cubicBezTo>
                    <a:pt x="53" y="46"/>
                    <a:pt x="52" y="47"/>
                    <a:pt x="52" y="47"/>
                  </a:cubicBezTo>
                  <a:cubicBezTo>
                    <a:pt x="45" y="47"/>
                    <a:pt x="45" y="47"/>
                    <a:pt x="45" y="47"/>
                  </a:cubicBezTo>
                  <a:cubicBezTo>
                    <a:pt x="45" y="47"/>
                    <a:pt x="44" y="46"/>
                    <a:pt x="43" y="46"/>
                  </a:cubicBezTo>
                  <a:cubicBezTo>
                    <a:pt x="42" y="46"/>
                    <a:pt x="42" y="45"/>
                    <a:pt x="41" y="45"/>
                  </a:cubicBezTo>
                  <a:cubicBezTo>
                    <a:pt x="41" y="45"/>
                    <a:pt x="41" y="45"/>
                    <a:pt x="41" y="45"/>
                  </a:cubicBezTo>
                  <a:cubicBezTo>
                    <a:pt x="27" y="45"/>
                    <a:pt x="27" y="45"/>
                    <a:pt x="27" y="45"/>
                  </a:cubicBezTo>
                  <a:cubicBezTo>
                    <a:pt x="27" y="45"/>
                    <a:pt x="26" y="45"/>
                    <a:pt x="26" y="44"/>
                  </a:cubicBezTo>
                  <a:cubicBezTo>
                    <a:pt x="26" y="44"/>
                    <a:pt x="26" y="44"/>
                    <a:pt x="25" y="44"/>
                  </a:cubicBezTo>
                  <a:cubicBezTo>
                    <a:pt x="25" y="44"/>
                    <a:pt x="25" y="44"/>
                    <a:pt x="24" y="44"/>
                  </a:cubicBezTo>
                  <a:cubicBezTo>
                    <a:pt x="24" y="44"/>
                    <a:pt x="24" y="44"/>
                    <a:pt x="24" y="44"/>
                  </a:cubicBezTo>
                  <a:cubicBezTo>
                    <a:pt x="23" y="43"/>
                    <a:pt x="23" y="43"/>
                    <a:pt x="22" y="43"/>
                  </a:cubicBezTo>
                  <a:cubicBezTo>
                    <a:pt x="22" y="43"/>
                    <a:pt x="22" y="42"/>
                    <a:pt x="22" y="42"/>
                  </a:cubicBezTo>
                  <a:cubicBezTo>
                    <a:pt x="22" y="42"/>
                    <a:pt x="22" y="42"/>
                    <a:pt x="21" y="42"/>
                  </a:cubicBezTo>
                  <a:cubicBezTo>
                    <a:pt x="21" y="42"/>
                    <a:pt x="21" y="41"/>
                    <a:pt x="20" y="41"/>
                  </a:cubicBezTo>
                  <a:cubicBezTo>
                    <a:pt x="20" y="41"/>
                    <a:pt x="19" y="41"/>
                    <a:pt x="19" y="41"/>
                  </a:cubicBezTo>
                  <a:cubicBezTo>
                    <a:pt x="18" y="40"/>
                    <a:pt x="17" y="40"/>
                    <a:pt x="17" y="40"/>
                  </a:cubicBezTo>
                  <a:cubicBezTo>
                    <a:pt x="16" y="40"/>
                    <a:pt x="15" y="39"/>
                    <a:pt x="14" y="39"/>
                  </a:cubicBezTo>
                  <a:cubicBezTo>
                    <a:pt x="13" y="38"/>
                    <a:pt x="12" y="38"/>
                    <a:pt x="11" y="37"/>
                  </a:cubicBezTo>
                  <a:cubicBezTo>
                    <a:pt x="10" y="36"/>
                    <a:pt x="9" y="36"/>
                    <a:pt x="7" y="35"/>
                  </a:cubicBezTo>
                  <a:cubicBezTo>
                    <a:pt x="6" y="35"/>
                    <a:pt x="6" y="34"/>
                    <a:pt x="5" y="34"/>
                  </a:cubicBezTo>
                  <a:cubicBezTo>
                    <a:pt x="4" y="34"/>
                    <a:pt x="3" y="34"/>
                    <a:pt x="2" y="34"/>
                  </a:cubicBezTo>
                  <a:cubicBezTo>
                    <a:pt x="2" y="34"/>
                    <a:pt x="2" y="34"/>
                    <a:pt x="1" y="33"/>
                  </a:cubicBezTo>
                  <a:cubicBezTo>
                    <a:pt x="1" y="33"/>
                    <a:pt x="1" y="33"/>
                    <a:pt x="1" y="33"/>
                  </a:cubicBezTo>
                  <a:cubicBezTo>
                    <a:pt x="0" y="33"/>
                    <a:pt x="1" y="34"/>
                    <a:pt x="1" y="34"/>
                  </a:cubicBezTo>
                  <a:cubicBezTo>
                    <a:pt x="1" y="34"/>
                    <a:pt x="1" y="35"/>
                    <a:pt x="1" y="35"/>
                  </a:cubicBezTo>
                  <a:cubicBezTo>
                    <a:pt x="1" y="36"/>
                    <a:pt x="2" y="36"/>
                    <a:pt x="2" y="37"/>
                  </a:cubicBezTo>
                  <a:cubicBezTo>
                    <a:pt x="2" y="37"/>
                    <a:pt x="2" y="38"/>
                    <a:pt x="2" y="39"/>
                  </a:cubicBezTo>
                  <a:cubicBezTo>
                    <a:pt x="2" y="40"/>
                    <a:pt x="2" y="40"/>
                    <a:pt x="2" y="41"/>
                  </a:cubicBezTo>
                  <a:cubicBezTo>
                    <a:pt x="2" y="41"/>
                    <a:pt x="2" y="42"/>
                    <a:pt x="1" y="42"/>
                  </a:cubicBezTo>
                  <a:cubicBezTo>
                    <a:pt x="1" y="42"/>
                    <a:pt x="1" y="43"/>
                    <a:pt x="1" y="44"/>
                  </a:cubicBezTo>
                  <a:cubicBezTo>
                    <a:pt x="1" y="45"/>
                    <a:pt x="1" y="45"/>
                    <a:pt x="2" y="46"/>
                  </a:cubicBezTo>
                  <a:cubicBezTo>
                    <a:pt x="2" y="47"/>
                    <a:pt x="2" y="48"/>
                    <a:pt x="2" y="49"/>
                  </a:cubicBezTo>
                  <a:cubicBezTo>
                    <a:pt x="2" y="49"/>
                    <a:pt x="2" y="50"/>
                    <a:pt x="2" y="50"/>
                  </a:cubicBezTo>
                  <a:cubicBezTo>
                    <a:pt x="2" y="51"/>
                    <a:pt x="2" y="51"/>
                    <a:pt x="2" y="51"/>
                  </a:cubicBezTo>
                  <a:cubicBezTo>
                    <a:pt x="2" y="52"/>
                    <a:pt x="2" y="53"/>
                    <a:pt x="2" y="54"/>
                  </a:cubicBezTo>
                  <a:cubicBezTo>
                    <a:pt x="3" y="54"/>
                    <a:pt x="3" y="55"/>
                    <a:pt x="3" y="56"/>
                  </a:cubicBezTo>
                  <a:cubicBezTo>
                    <a:pt x="3" y="56"/>
                    <a:pt x="3" y="56"/>
                    <a:pt x="3" y="56"/>
                  </a:cubicBezTo>
                  <a:cubicBezTo>
                    <a:pt x="3" y="57"/>
                    <a:pt x="3" y="58"/>
                    <a:pt x="4" y="58"/>
                  </a:cubicBezTo>
                  <a:cubicBezTo>
                    <a:pt x="4" y="59"/>
                    <a:pt x="4" y="59"/>
                    <a:pt x="4" y="59"/>
                  </a:cubicBezTo>
                  <a:cubicBezTo>
                    <a:pt x="5" y="60"/>
                    <a:pt x="5" y="60"/>
                    <a:pt x="5" y="60"/>
                  </a:cubicBezTo>
                  <a:cubicBezTo>
                    <a:pt x="6" y="61"/>
                    <a:pt x="7" y="61"/>
                    <a:pt x="8" y="62"/>
                  </a:cubicBezTo>
                  <a:cubicBezTo>
                    <a:pt x="8" y="62"/>
                    <a:pt x="9" y="62"/>
                    <a:pt x="9" y="63"/>
                  </a:cubicBezTo>
                  <a:cubicBezTo>
                    <a:pt x="9" y="63"/>
                    <a:pt x="9" y="64"/>
                    <a:pt x="10" y="64"/>
                  </a:cubicBezTo>
                  <a:cubicBezTo>
                    <a:pt x="10" y="64"/>
                    <a:pt x="10" y="64"/>
                    <a:pt x="10" y="65"/>
                  </a:cubicBezTo>
                  <a:cubicBezTo>
                    <a:pt x="10" y="65"/>
                    <a:pt x="10" y="65"/>
                    <a:pt x="10" y="66"/>
                  </a:cubicBezTo>
                  <a:cubicBezTo>
                    <a:pt x="11" y="66"/>
                    <a:pt x="11" y="66"/>
                    <a:pt x="11" y="67"/>
                  </a:cubicBezTo>
                  <a:cubicBezTo>
                    <a:pt x="11" y="67"/>
                    <a:pt x="11" y="67"/>
                    <a:pt x="11" y="68"/>
                  </a:cubicBezTo>
                  <a:cubicBezTo>
                    <a:pt x="11" y="68"/>
                    <a:pt x="11" y="68"/>
                    <a:pt x="11" y="69"/>
                  </a:cubicBezTo>
                  <a:cubicBezTo>
                    <a:pt x="12" y="69"/>
                    <a:pt x="12" y="69"/>
                    <a:pt x="12" y="69"/>
                  </a:cubicBezTo>
                  <a:cubicBezTo>
                    <a:pt x="12" y="70"/>
                    <a:pt x="12" y="71"/>
                    <a:pt x="12" y="71"/>
                  </a:cubicBezTo>
                  <a:cubicBezTo>
                    <a:pt x="12" y="72"/>
                    <a:pt x="13" y="73"/>
                    <a:pt x="13" y="74"/>
                  </a:cubicBezTo>
                  <a:cubicBezTo>
                    <a:pt x="13" y="74"/>
                    <a:pt x="12" y="75"/>
                    <a:pt x="13" y="75"/>
                  </a:cubicBezTo>
                  <a:cubicBezTo>
                    <a:pt x="13" y="75"/>
                    <a:pt x="13" y="75"/>
                    <a:pt x="13" y="76"/>
                  </a:cubicBezTo>
                  <a:cubicBezTo>
                    <a:pt x="13" y="76"/>
                    <a:pt x="13" y="76"/>
                    <a:pt x="13" y="76"/>
                  </a:cubicBezTo>
                  <a:cubicBezTo>
                    <a:pt x="13" y="77"/>
                    <a:pt x="13" y="79"/>
                    <a:pt x="13" y="80"/>
                  </a:cubicBezTo>
                  <a:cubicBezTo>
                    <a:pt x="13" y="80"/>
                    <a:pt x="13" y="81"/>
                    <a:pt x="14" y="81"/>
                  </a:cubicBezTo>
                  <a:cubicBezTo>
                    <a:pt x="14" y="81"/>
                    <a:pt x="14" y="82"/>
                    <a:pt x="14" y="82"/>
                  </a:cubicBezTo>
                  <a:cubicBezTo>
                    <a:pt x="14" y="83"/>
                    <a:pt x="14" y="84"/>
                    <a:pt x="14" y="84"/>
                  </a:cubicBezTo>
                  <a:cubicBezTo>
                    <a:pt x="15" y="85"/>
                    <a:pt x="15" y="86"/>
                    <a:pt x="16" y="87"/>
                  </a:cubicBezTo>
                  <a:cubicBezTo>
                    <a:pt x="16" y="87"/>
                    <a:pt x="16" y="88"/>
                    <a:pt x="17" y="89"/>
                  </a:cubicBezTo>
                  <a:cubicBezTo>
                    <a:pt x="17" y="89"/>
                    <a:pt x="18" y="90"/>
                    <a:pt x="18" y="91"/>
                  </a:cubicBezTo>
                  <a:cubicBezTo>
                    <a:pt x="18" y="92"/>
                    <a:pt x="18" y="92"/>
                    <a:pt x="18" y="93"/>
                  </a:cubicBezTo>
                  <a:cubicBezTo>
                    <a:pt x="18" y="93"/>
                    <a:pt x="18" y="93"/>
                    <a:pt x="19" y="93"/>
                  </a:cubicBezTo>
                  <a:cubicBezTo>
                    <a:pt x="19" y="94"/>
                    <a:pt x="19" y="94"/>
                    <a:pt x="19" y="94"/>
                  </a:cubicBezTo>
                  <a:cubicBezTo>
                    <a:pt x="19" y="95"/>
                    <a:pt x="18" y="95"/>
                    <a:pt x="19" y="96"/>
                  </a:cubicBezTo>
                  <a:cubicBezTo>
                    <a:pt x="19" y="96"/>
                    <a:pt x="19" y="96"/>
                    <a:pt x="19" y="97"/>
                  </a:cubicBezTo>
                  <a:cubicBezTo>
                    <a:pt x="19" y="97"/>
                    <a:pt x="19" y="97"/>
                    <a:pt x="19" y="97"/>
                  </a:cubicBezTo>
                  <a:cubicBezTo>
                    <a:pt x="19" y="98"/>
                    <a:pt x="19" y="98"/>
                    <a:pt x="19" y="99"/>
                  </a:cubicBezTo>
                  <a:cubicBezTo>
                    <a:pt x="19" y="100"/>
                    <a:pt x="19" y="100"/>
                    <a:pt x="20" y="101"/>
                  </a:cubicBezTo>
                  <a:cubicBezTo>
                    <a:pt x="20" y="101"/>
                    <a:pt x="20" y="102"/>
                    <a:pt x="20" y="103"/>
                  </a:cubicBezTo>
                  <a:cubicBezTo>
                    <a:pt x="20" y="103"/>
                    <a:pt x="21" y="103"/>
                    <a:pt x="21" y="103"/>
                  </a:cubicBezTo>
                  <a:cubicBezTo>
                    <a:pt x="21" y="103"/>
                    <a:pt x="22" y="102"/>
                    <a:pt x="22" y="102"/>
                  </a:cubicBezTo>
                  <a:cubicBezTo>
                    <a:pt x="23" y="103"/>
                    <a:pt x="23" y="103"/>
                    <a:pt x="23" y="103"/>
                  </a:cubicBezTo>
                  <a:cubicBezTo>
                    <a:pt x="23" y="103"/>
                    <a:pt x="24" y="103"/>
                    <a:pt x="24" y="103"/>
                  </a:cubicBezTo>
                  <a:cubicBezTo>
                    <a:pt x="25" y="104"/>
                    <a:pt x="26" y="104"/>
                    <a:pt x="28" y="105"/>
                  </a:cubicBezTo>
                  <a:cubicBezTo>
                    <a:pt x="28" y="105"/>
                    <a:pt x="29" y="105"/>
                    <a:pt x="29" y="106"/>
                  </a:cubicBezTo>
                  <a:cubicBezTo>
                    <a:pt x="30" y="106"/>
                    <a:pt x="30" y="106"/>
                    <a:pt x="30" y="106"/>
                  </a:cubicBezTo>
                  <a:cubicBezTo>
                    <a:pt x="29" y="107"/>
                    <a:pt x="28" y="107"/>
                    <a:pt x="28" y="108"/>
                  </a:cubicBezTo>
                  <a:cubicBezTo>
                    <a:pt x="27" y="108"/>
                    <a:pt x="27" y="108"/>
                    <a:pt x="27" y="108"/>
                  </a:cubicBezTo>
                  <a:cubicBezTo>
                    <a:pt x="26" y="109"/>
                    <a:pt x="26" y="109"/>
                    <a:pt x="26" y="109"/>
                  </a:cubicBezTo>
                  <a:cubicBezTo>
                    <a:pt x="25" y="109"/>
                    <a:pt x="24" y="110"/>
                    <a:pt x="24" y="110"/>
                  </a:cubicBezTo>
                  <a:cubicBezTo>
                    <a:pt x="23" y="111"/>
                    <a:pt x="22" y="110"/>
                    <a:pt x="22" y="110"/>
                  </a:cubicBezTo>
                  <a:cubicBezTo>
                    <a:pt x="22" y="110"/>
                    <a:pt x="22" y="109"/>
                    <a:pt x="21" y="109"/>
                  </a:cubicBezTo>
                  <a:cubicBezTo>
                    <a:pt x="21" y="109"/>
                    <a:pt x="21" y="110"/>
                    <a:pt x="21" y="110"/>
                  </a:cubicBezTo>
                  <a:cubicBezTo>
                    <a:pt x="21" y="111"/>
                    <a:pt x="22" y="111"/>
                    <a:pt x="22" y="112"/>
                  </a:cubicBezTo>
                  <a:cubicBezTo>
                    <a:pt x="22" y="113"/>
                    <a:pt x="22" y="113"/>
                    <a:pt x="22" y="114"/>
                  </a:cubicBezTo>
                  <a:cubicBezTo>
                    <a:pt x="22" y="114"/>
                    <a:pt x="22" y="115"/>
                    <a:pt x="22" y="115"/>
                  </a:cubicBezTo>
                  <a:cubicBezTo>
                    <a:pt x="22" y="115"/>
                    <a:pt x="23" y="116"/>
                    <a:pt x="23" y="116"/>
                  </a:cubicBezTo>
                  <a:cubicBezTo>
                    <a:pt x="23" y="117"/>
                    <a:pt x="23" y="117"/>
                    <a:pt x="23" y="117"/>
                  </a:cubicBezTo>
                  <a:cubicBezTo>
                    <a:pt x="23" y="118"/>
                    <a:pt x="24" y="118"/>
                    <a:pt x="24" y="118"/>
                  </a:cubicBezTo>
                  <a:cubicBezTo>
                    <a:pt x="25" y="118"/>
                    <a:pt x="25" y="118"/>
                    <a:pt x="25" y="118"/>
                  </a:cubicBezTo>
                  <a:cubicBezTo>
                    <a:pt x="25" y="119"/>
                    <a:pt x="26" y="119"/>
                    <a:pt x="27" y="118"/>
                  </a:cubicBezTo>
                  <a:cubicBezTo>
                    <a:pt x="27" y="118"/>
                    <a:pt x="27" y="118"/>
                    <a:pt x="27" y="117"/>
                  </a:cubicBezTo>
                  <a:cubicBezTo>
                    <a:pt x="28" y="117"/>
                    <a:pt x="29" y="117"/>
                    <a:pt x="30" y="118"/>
                  </a:cubicBezTo>
                  <a:cubicBezTo>
                    <a:pt x="31" y="118"/>
                    <a:pt x="31" y="118"/>
                    <a:pt x="31" y="119"/>
                  </a:cubicBezTo>
                  <a:cubicBezTo>
                    <a:pt x="31" y="119"/>
                    <a:pt x="31" y="119"/>
                    <a:pt x="31" y="120"/>
                  </a:cubicBezTo>
                  <a:cubicBezTo>
                    <a:pt x="30" y="120"/>
                    <a:pt x="30" y="120"/>
                    <a:pt x="29" y="120"/>
                  </a:cubicBezTo>
                  <a:cubicBezTo>
                    <a:pt x="29" y="120"/>
                    <a:pt x="29" y="120"/>
                    <a:pt x="28" y="121"/>
                  </a:cubicBezTo>
                  <a:cubicBezTo>
                    <a:pt x="28" y="121"/>
                    <a:pt x="28" y="121"/>
                    <a:pt x="28" y="122"/>
                  </a:cubicBezTo>
                  <a:cubicBezTo>
                    <a:pt x="28" y="122"/>
                    <a:pt x="27" y="123"/>
                    <a:pt x="27" y="123"/>
                  </a:cubicBezTo>
                  <a:cubicBezTo>
                    <a:pt x="27" y="124"/>
                    <a:pt x="27" y="124"/>
                    <a:pt x="27" y="124"/>
                  </a:cubicBezTo>
                  <a:cubicBezTo>
                    <a:pt x="28" y="125"/>
                    <a:pt x="28" y="125"/>
                    <a:pt x="28" y="125"/>
                  </a:cubicBezTo>
                  <a:cubicBezTo>
                    <a:pt x="29" y="126"/>
                    <a:pt x="29" y="126"/>
                    <a:pt x="29" y="127"/>
                  </a:cubicBezTo>
                  <a:cubicBezTo>
                    <a:pt x="29" y="127"/>
                    <a:pt x="29" y="127"/>
                    <a:pt x="29" y="128"/>
                  </a:cubicBezTo>
                  <a:cubicBezTo>
                    <a:pt x="28" y="128"/>
                    <a:pt x="29" y="129"/>
                    <a:pt x="29" y="129"/>
                  </a:cubicBezTo>
                  <a:cubicBezTo>
                    <a:pt x="28" y="130"/>
                    <a:pt x="28" y="130"/>
                    <a:pt x="28" y="130"/>
                  </a:cubicBezTo>
                  <a:cubicBezTo>
                    <a:pt x="28" y="131"/>
                    <a:pt x="28" y="131"/>
                    <a:pt x="28" y="132"/>
                  </a:cubicBezTo>
                  <a:cubicBezTo>
                    <a:pt x="29" y="132"/>
                    <a:pt x="29" y="132"/>
                    <a:pt x="29" y="133"/>
                  </a:cubicBezTo>
                  <a:cubicBezTo>
                    <a:pt x="29" y="134"/>
                    <a:pt x="28" y="134"/>
                    <a:pt x="28" y="134"/>
                  </a:cubicBezTo>
                  <a:cubicBezTo>
                    <a:pt x="28" y="135"/>
                    <a:pt x="28" y="135"/>
                    <a:pt x="27" y="136"/>
                  </a:cubicBezTo>
                  <a:cubicBezTo>
                    <a:pt x="27" y="136"/>
                    <a:pt x="26" y="136"/>
                    <a:pt x="26" y="136"/>
                  </a:cubicBezTo>
                  <a:cubicBezTo>
                    <a:pt x="26" y="135"/>
                    <a:pt x="26" y="135"/>
                    <a:pt x="26" y="135"/>
                  </a:cubicBezTo>
                  <a:cubicBezTo>
                    <a:pt x="25" y="134"/>
                    <a:pt x="25" y="134"/>
                    <a:pt x="25" y="133"/>
                  </a:cubicBezTo>
                  <a:cubicBezTo>
                    <a:pt x="25" y="133"/>
                    <a:pt x="26" y="132"/>
                    <a:pt x="25" y="132"/>
                  </a:cubicBezTo>
                  <a:cubicBezTo>
                    <a:pt x="25" y="132"/>
                    <a:pt x="25" y="132"/>
                    <a:pt x="25" y="131"/>
                  </a:cubicBezTo>
                  <a:cubicBezTo>
                    <a:pt x="25" y="131"/>
                    <a:pt x="25" y="131"/>
                    <a:pt x="25" y="130"/>
                  </a:cubicBezTo>
                  <a:cubicBezTo>
                    <a:pt x="24" y="129"/>
                    <a:pt x="25" y="128"/>
                    <a:pt x="25" y="126"/>
                  </a:cubicBezTo>
                  <a:cubicBezTo>
                    <a:pt x="25" y="126"/>
                    <a:pt x="25" y="125"/>
                    <a:pt x="25" y="125"/>
                  </a:cubicBezTo>
                  <a:cubicBezTo>
                    <a:pt x="25" y="125"/>
                    <a:pt x="24" y="124"/>
                    <a:pt x="24" y="124"/>
                  </a:cubicBezTo>
                  <a:cubicBezTo>
                    <a:pt x="24" y="124"/>
                    <a:pt x="24" y="123"/>
                    <a:pt x="24" y="123"/>
                  </a:cubicBezTo>
                  <a:cubicBezTo>
                    <a:pt x="24" y="123"/>
                    <a:pt x="24" y="124"/>
                    <a:pt x="23" y="124"/>
                  </a:cubicBezTo>
                  <a:cubicBezTo>
                    <a:pt x="23" y="125"/>
                    <a:pt x="23" y="127"/>
                    <a:pt x="23" y="128"/>
                  </a:cubicBezTo>
                  <a:cubicBezTo>
                    <a:pt x="23" y="129"/>
                    <a:pt x="23" y="131"/>
                    <a:pt x="23" y="132"/>
                  </a:cubicBezTo>
                  <a:cubicBezTo>
                    <a:pt x="23" y="133"/>
                    <a:pt x="23" y="134"/>
                    <a:pt x="24" y="135"/>
                  </a:cubicBezTo>
                  <a:cubicBezTo>
                    <a:pt x="24" y="136"/>
                    <a:pt x="24" y="137"/>
                    <a:pt x="24" y="138"/>
                  </a:cubicBezTo>
                  <a:cubicBezTo>
                    <a:pt x="24" y="139"/>
                    <a:pt x="25" y="139"/>
                    <a:pt x="26" y="139"/>
                  </a:cubicBezTo>
                  <a:cubicBezTo>
                    <a:pt x="27" y="140"/>
                    <a:pt x="27" y="140"/>
                    <a:pt x="28" y="141"/>
                  </a:cubicBezTo>
                  <a:cubicBezTo>
                    <a:pt x="28" y="141"/>
                    <a:pt x="28" y="142"/>
                    <a:pt x="29" y="142"/>
                  </a:cubicBezTo>
                  <a:cubicBezTo>
                    <a:pt x="29" y="142"/>
                    <a:pt x="30" y="141"/>
                    <a:pt x="30" y="141"/>
                  </a:cubicBezTo>
                  <a:cubicBezTo>
                    <a:pt x="31" y="141"/>
                    <a:pt x="31" y="141"/>
                    <a:pt x="32" y="141"/>
                  </a:cubicBezTo>
                  <a:cubicBezTo>
                    <a:pt x="33" y="141"/>
                    <a:pt x="34" y="140"/>
                    <a:pt x="35" y="139"/>
                  </a:cubicBezTo>
                  <a:cubicBezTo>
                    <a:pt x="35" y="139"/>
                    <a:pt x="36" y="139"/>
                    <a:pt x="36" y="140"/>
                  </a:cubicBezTo>
                  <a:cubicBezTo>
                    <a:pt x="36" y="140"/>
                    <a:pt x="36" y="140"/>
                    <a:pt x="37" y="140"/>
                  </a:cubicBezTo>
                  <a:cubicBezTo>
                    <a:pt x="38" y="141"/>
                    <a:pt x="39" y="140"/>
                    <a:pt x="40" y="140"/>
                  </a:cubicBezTo>
                  <a:cubicBezTo>
                    <a:pt x="41" y="140"/>
                    <a:pt x="42" y="140"/>
                    <a:pt x="43" y="140"/>
                  </a:cubicBezTo>
                  <a:cubicBezTo>
                    <a:pt x="44" y="141"/>
                    <a:pt x="45" y="142"/>
                    <a:pt x="45" y="142"/>
                  </a:cubicBezTo>
                  <a:cubicBezTo>
                    <a:pt x="46" y="143"/>
                    <a:pt x="47" y="144"/>
                    <a:pt x="48" y="145"/>
                  </a:cubicBezTo>
                  <a:cubicBezTo>
                    <a:pt x="48" y="145"/>
                    <a:pt x="49" y="146"/>
                    <a:pt x="49" y="146"/>
                  </a:cubicBezTo>
                  <a:cubicBezTo>
                    <a:pt x="50" y="146"/>
                    <a:pt x="50" y="146"/>
                    <a:pt x="50" y="146"/>
                  </a:cubicBezTo>
                  <a:cubicBezTo>
                    <a:pt x="51" y="146"/>
                    <a:pt x="51" y="146"/>
                    <a:pt x="52" y="146"/>
                  </a:cubicBezTo>
                  <a:cubicBezTo>
                    <a:pt x="52" y="146"/>
                    <a:pt x="53" y="145"/>
                    <a:pt x="54" y="145"/>
                  </a:cubicBezTo>
                  <a:cubicBezTo>
                    <a:pt x="54" y="145"/>
                    <a:pt x="55" y="145"/>
                    <a:pt x="55" y="145"/>
                  </a:cubicBezTo>
                  <a:cubicBezTo>
                    <a:pt x="56" y="145"/>
                    <a:pt x="57" y="145"/>
                    <a:pt x="58" y="146"/>
                  </a:cubicBezTo>
                  <a:cubicBezTo>
                    <a:pt x="59" y="146"/>
                    <a:pt x="59" y="147"/>
                    <a:pt x="60" y="147"/>
                  </a:cubicBezTo>
                  <a:cubicBezTo>
                    <a:pt x="60" y="148"/>
                    <a:pt x="61" y="148"/>
                    <a:pt x="61" y="148"/>
                  </a:cubicBezTo>
                  <a:cubicBezTo>
                    <a:pt x="62" y="149"/>
                    <a:pt x="63" y="149"/>
                    <a:pt x="64" y="150"/>
                  </a:cubicBezTo>
                  <a:cubicBezTo>
                    <a:pt x="64" y="151"/>
                    <a:pt x="64" y="152"/>
                    <a:pt x="64" y="153"/>
                  </a:cubicBezTo>
                  <a:cubicBezTo>
                    <a:pt x="65" y="154"/>
                    <a:pt x="65" y="155"/>
                    <a:pt x="66" y="156"/>
                  </a:cubicBezTo>
                  <a:cubicBezTo>
                    <a:pt x="66" y="156"/>
                    <a:pt x="67" y="157"/>
                    <a:pt x="67" y="157"/>
                  </a:cubicBezTo>
                  <a:cubicBezTo>
                    <a:pt x="68" y="158"/>
                    <a:pt x="68" y="159"/>
                    <a:pt x="68" y="161"/>
                  </a:cubicBezTo>
                  <a:cubicBezTo>
                    <a:pt x="68" y="162"/>
                    <a:pt x="68" y="163"/>
                    <a:pt x="68" y="164"/>
                  </a:cubicBezTo>
                  <a:cubicBezTo>
                    <a:pt x="68" y="165"/>
                    <a:pt x="69" y="166"/>
                    <a:pt x="69" y="167"/>
                  </a:cubicBezTo>
                  <a:cubicBezTo>
                    <a:pt x="69" y="167"/>
                    <a:pt x="69" y="168"/>
                    <a:pt x="69" y="168"/>
                  </a:cubicBezTo>
                  <a:cubicBezTo>
                    <a:pt x="69" y="169"/>
                    <a:pt x="69" y="169"/>
                    <a:pt x="69" y="170"/>
                  </a:cubicBezTo>
                  <a:cubicBezTo>
                    <a:pt x="70" y="171"/>
                    <a:pt x="70" y="171"/>
                    <a:pt x="71" y="172"/>
                  </a:cubicBezTo>
                  <a:cubicBezTo>
                    <a:pt x="73" y="174"/>
                    <a:pt x="76" y="174"/>
                    <a:pt x="78" y="175"/>
                  </a:cubicBezTo>
                  <a:cubicBezTo>
                    <a:pt x="79" y="175"/>
                    <a:pt x="80" y="175"/>
                    <a:pt x="81" y="175"/>
                  </a:cubicBezTo>
                  <a:cubicBezTo>
                    <a:pt x="82" y="175"/>
                    <a:pt x="82" y="175"/>
                    <a:pt x="83" y="176"/>
                  </a:cubicBezTo>
                  <a:cubicBezTo>
                    <a:pt x="83" y="176"/>
                    <a:pt x="84" y="176"/>
                    <a:pt x="84" y="176"/>
                  </a:cubicBezTo>
                  <a:cubicBezTo>
                    <a:pt x="87" y="176"/>
                    <a:pt x="87" y="176"/>
                    <a:pt x="87" y="176"/>
                  </a:cubicBezTo>
                  <a:cubicBezTo>
                    <a:pt x="88" y="176"/>
                    <a:pt x="89" y="175"/>
                    <a:pt x="90" y="175"/>
                  </a:cubicBezTo>
                  <a:cubicBezTo>
                    <a:pt x="92" y="174"/>
                    <a:pt x="94" y="173"/>
                    <a:pt x="95" y="172"/>
                  </a:cubicBezTo>
                  <a:cubicBezTo>
                    <a:pt x="96" y="171"/>
                    <a:pt x="97" y="171"/>
                    <a:pt x="98" y="170"/>
                  </a:cubicBezTo>
                  <a:cubicBezTo>
                    <a:pt x="99" y="170"/>
                    <a:pt x="100" y="169"/>
                    <a:pt x="101" y="169"/>
                  </a:cubicBezTo>
                  <a:cubicBezTo>
                    <a:pt x="101" y="169"/>
                    <a:pt x="102" y="169"/>
                    <a:pt x="102" y="169"/>
                  </a:cubicBezTo>
                  <a:cubicBezTo>
                    <a:pt x="104" y="169"/>
                    <a:pt x="106" y="170"/>
                    <a:pt x="107" y="169"/>
                  </a:cubicBezTo>
                  <a:cubicBezTo>
                    <a:pt x="107" y="169"/>
                    <a:pt x="108" y="169"/>
                    <a:pt x="108" y="168"/>
                  </a:cubicBezTo>
                  <a:cubicBezTo>
                    <a:pt x="108" y="168"/>
                    <a:pt x="109" y="168"/>
                    <a:pt x="109" y="168"/>
                  </a:cubicBezTo>
                  <a:cubicBezTo>
                    <a:pt x="110" y="168"/>
                    <a:pt x="111" y="168"/>
                    <a:pt x="112" y="168"/>
                  </a:cubicBezTo>
                  <a:cubicBezTo>
                    <a:pt x="113" y="169"/>
                    <a:pt x="113" y="169"/>
                    <a:pt x="113" y="169"/>
                  </a:cubicBezTo>
                  <a:cubicBezTo>
                    <a:pt x="114" y="169"/>
                    <a:pt x="114" y="169"/>
                    <a:pt x="115" y="169"/>
                  </a:cubicBezTo>
                  <a:cubicBezTo>
                    <a:pt x="115" y="169"/>
                    <a:pt x="116" y="169"/>
                    <a:pt x="116" y="169"/>
                  </a:cubicBezTo>
                  <a:cubicBezTo>
                    <a:pt x="116" y="169"/>
                    <a:pt x="117" y="169"/>
                    <a:pt x="117" y="169"/>
                  </a:cubicBezTo>
                  <a:cubicBezTo>
                    <a:pt x="118" y="169"/>
                    <a:pt x="118" y="169"/>
                    <a:pt x="119" y="170"/>
                  </a:cubicBezTo>
                  <a:cubicBezTo>
                    <a:pt x="120" y="170"/>
                    <a:pt x="120" y="170"/>
                    <a:pt x="121" y="170"/>
                  </a:cubicBezTo>
                  <a:cubicBezTo>
                    <a:pt x="121" y="171"/>
                    <a:pt x="121" y="171"/>
                    <a:pt x="121" y="171"/>
                  </a:cubicBezTo>
                  <a:cubicBezTo>
                    <a:pt x="122" y="172"/>
                    <a:pt x="121" y="173"/>
                    <a:pt x="122" y="173"/>
                  </a:cubicBezTo>
                  <a:cubicBezTo>
                    <a:pt x="123" y="174"/>
                    <a:pt x="124" y="174"/>
                    <a:pt x="124" y="173"/>
                  </a:cubicBezTo>
                  <a:cubicBezTo>
                    <a:pt x="125" y="173"/>
                    <a:pt x="125" y="172"/>
                    <a:pt x="126" y="172"/>
                  </a:cubicBezTo>
                  <a:cubicBezTo>
                    <a:pt x="126" y="171"/>
                    <a:pt x="127" y="171"/>
                    <a:pt x="128" y="171"/>
                  </a:cubicBezTo>
                  <a:cubicBezTo>
                    <a:pt x="128" y="171"/>
                    <a:pt x="129" y="171"/>
                    <a:pt x="130" y="171"/>
                  </a:cubicBezTo>
                  <a:cubicBezTo>
                    <a:pt x="131" y="171"/>
                    <a:pt x="132" y="172"/>
                    <a:pt x="133" y="172"/>
                  </a:cubicBezTo>
                  <a:cubicBezTo>
                    <a:pt x="134" y="171"/>
                    <a:pt x="135" y="171"/>
                    <a:pt x="136" y="170"/>
                  </a:cubicBezTo>
                  <a:cubicBezTo>
                    <a:pt x="137" y="169"/>
                    <a:pt x="138" y="169"/>
                    <a:pt x="139" y="168"/>
                  </a:cubicBezTo>
                  <a:cubicBezTo>
                    <a:pt x="139" y="168"/>
                    <a:pt x="140" y="168"/>
                    <a:pt x="141" y="167"/>
                  </a:cubicBezTo>
                  <a:cubicBezTo>
                    <a:pt x="141" y="167"/>
                    <a:pt x="142" y="167"/>
                    <a:pt x="143" y="167"/>
                  </a:cubicBezTo>
                  <a:cubicBezTo>
                    <a:pt x="143" y="167"/>
                    <a:pt x="144" y="167"/>
                    <a:pt x="144" y="168"/>
                  </a:cubicBezTo>
                  <a:cubicBezTo>
                    <a:pt x="145" y="168"/>
                    <a:pt x="145" y="168"/>
                    <a:pt x="146" y="169"/>
                  </a:cubicBezTo>
                  <a:cubicBezTo>
                    <a:pt x="147" y="169"/>
                    <a:pt x="149" y="169"/>
                    <a:pt x="150" y="169"/>
                  </a:cubicBezTo>
                  <a:cubicBezTo>
                    <a:pt x="151" y="169"/>
                    <a:pt x="153" y="169"/>
                    <a:pt x="154" y="168"/>
                  </a:cubicBezTo>
                  <a:cubicBezTo>
                    <a:pt x="155" y="168"/>
                    <a:pt x="156" y="168"/>
                    <a:pt x="157" y="167"/>
                  </a:cubicBezTo>
                  <a:cubicBezTo>
                    <a:pt x="159" y="166"/>
                    <a:pt x="161" y="164"/>
                    <a:pt x="163" y="164"/>
                  </a:cubicBezTo>
                  <a:cubicBezTo>
                    <a:pt x="164" y="163"/>
                    <a:pt x="165" y="163"/>
                    <a:pt x="166" y="163"/>
                  </a:cubicBezTo>
                  <a:cubicBezTo>
                    <a:pt x="167" y="163"/>
                    <a:pt x="167" y="163"/>
                    <a:pt x="168" y="162"/>
                  </a:cubicBezTo>
                  <a:cubicBezTo>
                    <a:pt x="168" y="162"/>
                    <a:pt x="168" y="162"/>
                    <a:pt x="169" y="162"/>
                  </a:cubicBezTo>
                  <a:cubicBezTo>
                    <a:pt x="169" y="162"/>
                    <a:pt x="170" y="162"/>
                    <a:pt x="171" y="162"/>
                  </a:cubicBezTo>
                  <a:cubicBezTo>
                    <a:pt x="171" y="162"/>
                    <a:pt x="172" y="162"/>
                    <a:pt x="172" y="162"/>
                  </a:cubicBezTo>
                  <a:cubicBezTo>
                    <a:pt x="173" y="161"/>
                    <a:pt x="174" y="161"/>
                    <a:pt x="175" y="160"/>
                  </a:cubicBezTo>
                  <a:cubicBezTo>
                    <a:pt x="175" y="160"/>
                    <a:pt x="175" y="160"/>
                    <a:pt x="176" y="159"/>
                  </a:cubicBezTo>
                  <a:cubicBezTo>
                    <a:pt x="176" y="159"/>
                    <a:pt x="176" y="159"/>
                    <a:pt x="177" y="158"/>
                  </a:cubicBezTo>
                  <a:cubicBezTo>
                    <a:pt x="177" y="158"/>
                    <a:pt x="178" y="158"/>
                    <a:pt x="179" y="158"/>
                  </a:cubicBezTo>
                  <a:cubicBezTo>
                    <a:pt x="180" y="158"/>
                    <a:pt x="181" y="158"/>
                    <a:pt x="181" y="158"/>
                  </a:cubicBezTo>
                  <a:cubicBezTo>
                    <a:pt x="182" y="159"/>
                    <a:pt x="182" y="158"/>
                    <a:pt x="183" y="158"/>
                  </a:cubicBezTo>
                  <a:cubicBezTo>
                    <a:pt x="183" y="158"/>
                    <a:pt x="184" y="158"/>
                    <a:pt x="185" y="158"/>
                  </a:cubicBezTo>
                  <a:cubicBezTo>
                    <a:pt x="185" y="158"/>
                    <a:pt x="185" y="158"/>
                    <a:pt x="186" y="157"/>
                  </a:cubicBezTo>
                  <a:cubicBezTo>
                    <a:pt x="186" y="157"/>
                    <a:pt x="187" y="157"/>
                    <a:pt x="187" y="157"/>
                  </a:cubicBezTo>
                  <a:cubicBezTo>
                    <a:pt x="187" y="157"/>
                    <a:pt x="188" y="157"/>
                    <a:pt x="188" y="157"/>
                  </a:cubicBezTo>
                  <a:cubicBezTo>
                    <a:pt x="189" y="157"/>
                    <a:pt x="191" y="157"/>
                    <a:pt x="192" y="157"/>
                  </a:cubicBezTo>
                  <a:cubicBezTo>
                    <a:pt x="193" y="157"/>
                    <a:pt x="193" y="157"/>
                    <a:pt x="194" y="157"/>
                  </a:cubicBezTo>
                  <a:cubicBezTo>
                    <a:pt x="195" y="156"/>
                    <a:pt x="195" y="156"/>
                    <a:pt x="196" y="155"/>
                  </a:cubicBezTo>
                  <a:cubicBezTo>
                    <a:pt x="196" y="155"/>
                    <a:pt x="197" y="155"/>
                    <a:pt x="197" y="154"/>
                  </a:cubicBezTo>
                  <a:cubicBezTo>
                    <a:pt x="198" y="154"/>
                    <a:pt x="198" y="154"/>
                    <a:pt x="199" y="154"/>
                  </a:cubicBezTo>
                  <a:cubicBezTo>
                    <a:pt x="270" y="154"/>
                    <a:pt x="270" y="154"/>
                    <a:pt x="270" y="154"/>
                  </a:cubicBezTo>
                  <a:cubicBezTo>
                    <a:pt x="267" y="150"/>
                    <a:pt x="267" y="150"/>
                    <a:pt x="267" y="150"/>
                  </a:cubicBezTo>
                  <a:cubicBezTo>
                    <a:pt x="267" y="150"/>
                    <a:pt x="269" y="147"/>
                    <a:pt x="269" y="147"/>
                  </a:cubicBezTo>
                  <a:close/>
                </a:path>
              </a:pathLst>
            </a:custGeom>
            <a:solidFill>
              <a:srgbClr val="FF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9" name="Freeform 12">
              <a:extLst>
                <a:ext uri="{FF2B5EF4-FFF2-40B4-BE49-F238E27FC236}">
                  <a16:creationId xmlns:a16="http://schemas.microsoft.com/office/drawing/2014/main" id="{3E139BED-B6AE-BDD3-DEDA-C7984745F73D}"/>
                </a:ext>
              </a:extLst>
            </p:cNvPr>
            <p:cNvSpPr>
              <a:spLocks noEditPoints="1"/>
            </p:cNvSpPr>
            <p:nvPr/>
          </p:nvSpPr>
          <p:spPr bwMode="auto">
            <a:xfrm>
              <a:off x="8137259" y="2785543"/>
              <a:ext cx="1151586" cy="510531"/>
            </a:xfrm>
            <a:custGeom>
              <a:avLst/>
              <a:gdLst>
                <a:gd name="T0" fmla="*/ 270 w 291"/>
                <a:gd name="T1" fmla="*/ 129 h 129"/>
                <a:gd name="T2" fmla="*/ 290 w 291"/>
                <a:gd name="T3" fmla="*/ 67 h 129"/>
                <a:gd name="T4" fmla="*/ 288 w 291"/>
                <a:gd name="T5" fmla="*/ 67 h 129"/>
                <a:gd name="T6" fmla="*/ 278 w 291"/>
                <a:gd name="T7" fmla="*/ 65 h 129"/>
                <a:gd name="T8" fmla="*/ 283 w 291"/>
                <a:gd name="T9" fmla="*/ 72 h 129"/>
                <a:gd name="T10" fmla="*/ 276 w 291"/>
                <a:gd name="T11" fmla="*/ 83 h 129"/>
                <a:gd name="T12" fmla="*/ 270 w 291"/>
                <a:gd name="T13" fmla="*/ 93 h 129"/>
                <a:gd name="T14" fmla="*/ 267 w 291"/>
                <a:gd name="T15" fmla="*/ 101 h 129"/>
                <a:gd name="T16" fmla="*/ 264 w 291"/>
                <a:gd name="T17" fmla="*/ 97 h 129"/>
                <a:gd name="T18" fmla="*/ 266 w 291"/>
                <a:gd name="T19" fmla="*/ 88 h 129"/>
                <a:gd name="T20" fmla="*/ 274 w 291"/>
                <a:gd name="T21" fmla="*/ 73 h 129"/>
                <a:gd name="T22" fmla="*/ 278 w 291"/>
                <a:gd name="T23" fmla="*/ 65 h 129"/>
                <a:gd name="T24" fmla="*/ 69 w 291"/>
                <a:gd name="T25" fmla="*/ 126 h 129"/>
                <a:gd name="T26" fmla="*/ 18 w 291"/>
                <a:gd name="T27" fmla="*/ 120 h 129"/>
                <a:gd name="T28" fmla="*/ 28 w 291"/>
                <a:gd name="T29" fmla="*/ 110 h 129"/>
                <a:gd name="T30" fmla="*/ 46 w 291"/>
                <a:gd name="T31" fmla="*/ 97 h 129"/>
                <a:gd name="T32" fmla="*/ 59 w 291"/>
                <a:gd name="T33" fmla="*/ 90 h 129"/>
                <a:gd name="T34" fmla="*/ 68 w 291"/>
                <a:gd name="T35" fmla="*/ 100 h 129"/>
                <a:gd name="T36" fmla="*/ 96 w 291"/>
                <a:gd name="T37" fmla="*/ 96 h 129"/>
                <a:gd name="T38" fmla="*/ 105 w 291"/>
                <a:gd name="T39" fmla="*/ 90 h 129"/>
                <a:gd name="T40" fmla="*/ 118 w 291"/>
                <a:gd name="T41" fmla="*/ 83 h 129"/>
                <a:gd name="T42" fmla="*/ 123 w 291"/>
                <a:gd name="T43" fmla="*/ 69 h 129"/>
                <a:gd name="T44" fmla="*/ 130 w 291"/>
                <a:gd name="T45" fmla="*/ 56 h 129"/>
                <a:gd name="T46" fmla="*/ 138 w 291"/>
                <a:gd name="T47" fmla="*/ 43 h 129"/>
                <a:gd name="T48" fmla="*/ 156 w 291"/>
                <a:gd name="T49" fmla="*/ 37 h 129"/>
                <a:gd name="T50" fmla="*/ 168 w 291"/>
                <a:gd name="T51" fmla="*/ 27 h 129"/>
                <a:gd name="T52" fmla="*/ 176 w 291"/>
                <a:gd name="T53" fmla="*/ 20 h 129"/>
                <a:gd name="T54" fmla="*/ 183 w 291"/>
                <a:gd name="T55" fmla="*/ 5 h 129"/>
                <a:gd name="T56" fmla="*/ 212 w 291"/>
                <a:gd name="T57" fmla="*/ 14 h 129"/>
                <a:gd name="T58" fmla="*/ 224 w 291"/>
                <a:gd name="T59" fmla="*/ 22 h 129"/>
                <a:gd name="T60" fmla="*/ 229 w 291"/>
                <a:gd name="T61" fmla="*/ 28 h 129"/>
                <a:gd name="T62" fmla="*/ 226 w 291"/>
                <a:gd name="T63" fmla="*/ 37 h 129"/>
                <a:gd name="T64" fmla="*/ 221 w 291"/>
                <a:gd name="T65" fmla="*/ 42 h 129"/>
                <a:gd name="T66" fmla="*/ 228 w 291"/>
                <a:gd name="T67" fmla="*/ 50 h 129"/>
                <a:gd name="T68" fmla="*/ 239 w 291"/>
                <a:gd name="T69" fmla="*/ 60 h 129"/>
                <a:gd name="T70" fmla="*/ 250 w 291"/>
                <a:gd name="T71" fmla="*/ 67 h 129"/>
                <a:gd name="T72" fmla="*/ 254 w 291"/>
                <a:gd name="T73" fmla="*/ 73 h 129"/>
                <a:gd name="T74" fmla="*/ 252 w 291"/>
                <a:gd name="T75" fmla="*/ 72 h 129"/>
                <a:gd name="T76" fmla="*/ 253 w 291"/>
                <a:gd name="T77" fmla="*/ 81 h 129"/>
                <a:gd name="T78" fmla="*/ 246 w 291"/>
                <a:gd name="T79" fmla="*/ 79 h 129"/>
                <a:gd name="T80" fmla="*/ 237 w 291"/>
                <a:gd name="T81" fmla="*/ 69 h 129"/>
                <a:gd name="T82" fmla="*/ 239 w 291"/>
                <a:gd name="T83" fmla="*/ 73 h 129"/>
                <a:gd name="T84" fmla="*/ 245 w 291"/>
                <a:gd name="T85" fmla="*/ 81 h 129"/>
                <a:gd name="T86" fmla="*/ 252 w 291"/>
                <a:gd name="T87" fmla="*/ 86 h 129"/>
                <a:gd name="T88" fmla="*/ 255 w 291"/>
                <a:gd name="T89" fmla="*/ 90 h 129"/>
                <a:gd name="T90" fmla="*/ 254 w 291"/>
                <a:gd name="T91" fmla="*/ 95 h 129"/>
                <a:gd name="T92" fmla="*/ 249 w 291"/>
                <a:gd name="T93" fmla="*/ 92 h 129"/>
                <a:gd name="T94" fmla="*/ 251 w 291"/>
                <a:gd name="T95" fmla="*/ 100 h 129"/>
                <a:gd name="T96" fmla="*/ 254 w 291"/>
                <a:gd name="T97" fmla="*/ 109 h 129"/>
                <a:gd name="T98" fmla="*/ 248 w 291"/>
                <a:gd name="T99" fmla="*/ 109 h 129"/>
                <a:gd name="T100" fmla="*/ 241 w 291"/>
                <a:gd name="T101" fmla="*/ 100 h 129"/>
                <a:gd name="T102" fmla="*/ 232 w 291"/>
                <a:gd name="T103" fmla="*/ 99 h 129"/>
                <a:gd name="T104" fmla="*/ 236 w 291"/>
                <a:gd name="T105" fmla="*/ 100 h 129"/>
                <a:gd name="T106" fmla="*/ 245 w 291"/>
                <a:gd name="T107" fmla="*/ 110 h 129"/>
                <a:gd name="T108" fmla="*/ 247 w 291"/>
                <a:gd name="T109" fmla="*/ 116 h 129"/>
                <a:gd name="T110" fmla="*/ 253 w 291"/>
                <a:gd name="T111" fmla="*/ 117 h 129"/>
                <a:gd name="T112" fmla="*/ 259 w 291"/>
                <a:gd name="T113" fmla="*/ 113 h 129"/>
                <a:gd name="T114" fmla="*/ 265 w 291"/>
                <a:gd name="T115" fmla="*/ 115 h 129"/>
                <a:gd name="T116" fmla="*/ 267 w 291"/>
                <a:gd name="T1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1" h="129">
                  <a:moveTo>
                    <a:pt x="270" y="129"/>
                  </a:moveTo>
                  <a:cubicBezTo>
                    <a:pt x="268" y="129"/>
                    <a:pt x="268" y="129"/>
                    <a:pt x="268" y="129"/>
                  </a:cubicBezTo>
                  <a:cubicBezTo>
                    <a:pt x="268" y="128"/>
                    <a:pt x="268" y="128"/>
                    <a:pt x="268" y="128"/>
                  </a:cubicBezTo>
                  <a:cubicBezTo>
                    <a:pt x="268" y="127"/>
                    <a:pt x="268" y="127"/>
                    <a:pt x="268" y="127"/>
                  </a:cubicBezTo>
                  <a:cubicBezTo>
                    <a:pt x="269" y="126"/>
                    <a:pt x="270" y="128"/>
                    <a:pt x="270" y="128"/>
                  </a:cubicBezTo>
                  <a:cubicBezTo>
                    <a:pt x="270" y="128"/>
                    <a:pt x="270" y="128"/>
                    <a:pt x="270" y="129"/>
                  </a:cubicBezTo>
                  <a:close/>
                  <a:moveTo>
                    <a:pt x="287" y="71"/>
                  </a:moveTo>
                  <a:cubicBezTo>
                    <a:pt x="288" y="70"/>
                    <a:pt x="288" y="70"/>
                    <a:pt x="288" y="70"/>
                  </a:cubicBezTo>
                  <a:cubicBezTo>
                    <a:pt x="288" y="70"/>
                    <a:pt x="288" y="69"/>
                    <a:pt x="288" y="69"/>
                  </a:cubicBezTo>
                  <a:cubicBezTo>
                    <a:pt x="289" y="69"/>
                    <a:pt x="289" y="68"/>
                    <a:pt x="289" y="68"/>
                  </a:cubicBezTo>
                  <a:cubicBezTo>
                    <a:pt x="289" y="68"/>
                    <a:pt x="289" y="68"/>
                    <a:pt x="289" y="67"/>
                  </a:cubicBezTo>
                  <a:cubicBezTo>
                    <a:pt x="289" y="67"/>
                    <a:pt x="290" y="67"/>
                    <a:pt x="290" y="67"/>
                  </a:cubicBezTo>
                  <a:cubicBezTo>
                    <a:pt x="290" y="67"/>
                    <a:pt x="290" y="66"/>
                    <a:pt x="290" y="66"/>
                  </a:cubicBezTo>
                  <a:cubicBezTo>
                    <a:pt x="290" y="66"/>
                    <a:pt x="290" y="66"/>
                    <a:pt x="290" y="66"/>
                  </a:cubicBezTo>
                  <a:cubicBezTo>
                    <a:pt x="291" y="65"/>
                    <a:pt x="291" y="65"/>
                    <a:pt x="291" y="65"/>
                  </a:cubicBezTo>
                  <a:cubicBezTo>
                    <a:pt x="291" y="65"/>
                    <a:pt x="290" y="65"/>
                    <a:pt x="290" y="65"/>
                  </a:cubicBezTo>
                  <a:cubicBezTo>
                    <a:pt x="290" y="65"/>
                    <a:pt x="290" y="66"/>
                    <a:pt x="289" y="66"/>
                  </a:cubicBezTo>
                  <a:cubicBezTo>
                    <a:pt x="289" y="66"/>
                    <a:pt x="289" y="67"/>
                    <a:pt x="288" y="67"/>
                  </a:cubicBezTo>
                  <a:cubicBezTo>
                    <a:pt x="288" y="67"/>
                    <a:pt x="287" y="68"/>
                    <a:pt x="287" y="68"/>
                  </a:cubicBezTo>
                  <a:cubicBezTo>
                    <a:pt x="287" y="68"/>
                    <a:pt x="287" y="69"/>
                    <a:pt x="287" y="69"/>
                  </a:cubicBezTo>
                  <a:cubicBezTo>
                    <a:pt x="287" y="69"/>
                    <a:pt x="287" y="69"/>
                    <a:pt x="287" y="69"/>
                  </a:cubicBezTo>
                  <a:cubicBezTo>
                    <a:pt x="287" y="70"/>
                    <a:pt x="287" y="70"/>
                    <a:pt x="287" y="70"/>
                  </a:cubicBezTo>
                  <a:cubicBezTo>
                    <a:pt x="287" y="70"/>
                    <a:pt x="287" y="71"/>
                    <a:pt x="287" y="71"/>
                  </a:cubicBezTo>
                  <a:close/>
                  <a:moveTo>
                    <a:pt x="278" y="65"/>
                  </a:moveTo>
                  <a:cubicBezTo>
                    <a:pt x="285" y="65"/>
                    <a:pt x="285" y="65"/>
                    <a:pt x="285" y="65"/>
                  </a:cubicBezTo>
                  <a:cubicBezTo>
                    <a:pt x="285" y="65"/>
                    <a:pt x="285" y="65"/>
                    <a:pt x="285" y="65"/>
                  </a:cubicBezTo>
                  <a:cubicBezTo>
                    <a:pt x="285" y="66"/>
                    <a:pt x="284" y="67"/>
                    <a:pt x="284" y="68"/>
                  </a:cubicBezTo>
                  <a:cubicBezTo>
                    <a:pt x="284" y="68"/>
                    <a:pt x="284" y="69"/>
                    <a:pt x="284" y="69"/>
                  </a:cubicBezTo>
                  <a:cubicBezTo>
                    <a:pt x="284" y="69"/>
                    <a:pt x="284" y="70"/>
                    <a:pt x="284" y="70"/>
                  </a:cubicBezTo>
                  <a:cubicBezTo>
                    <a:pt x="283" y="71"/>
                    <a:pt x="283" y="71"/>
                    <a:pt x="283" y="72"/>
                  </a:cubicBezTo>
                  <a:cubicBezTo>
                    <a:pt x="283" y="72"/>
                    <a:pt x="283" y="72"/>
                    <a:pt x="282" y="72"/>
                  </a:cubicBezTo>
                  <a:cubicBezTo>
                    <a:pt x="282" y="73"/>
                    <a:pt x="282" y="73"/>
                    <a:pt x="282" y="73"/>
                  </a:cubicBezTo>
                  <a:cubicBezTo>
                    <a:pt x="282" y="74"/>
                    <a:pt x="281" y="74"/>
                    <a:pt x="281" y="75"/>
                  </a:cubicBezTo>
                  <a:cubicBezTo>
                    <a:pt x="281" y="75"/>
                    <a:pt x="281" y="76"/>
                    <a:pt x="280" y="76"/>
                  </a:cubicBezTo>
                  <a:cubicBezTo>
                    <a:pt x="279" y="78"/>
                    <a:pt x="278" y="79"/>
                    <a:pt x="277" y="81"/>
                  </a:cubicBezTo>
                  <a:cubicBezTo>
                    <a:pt x="277" y="82"/>
                    <a:pt x="276" y="82"/>
                    <a:pt x="276" y="83"/>
                  </a:cubicBezTo>
                  <a:cubicBezTo>
                    <a:pt x="276" y="85"/>
                    <a:pt x="276" y="86"/>
                    <a:pt x="276" y="87"/>
                  </a:cubicBezTo>
                  <a:cubicBezTo>
                    <a:pt x="276" y="88"/>
                    <a:pt x="276" y="89"/>
                    <a:pt x="274" y="89"/>
                  </a:cubicBezTo>
                  <a:cubicBezTo>
                    <a:pt x="274" y="89"/>
                    <a:pt x="274" y="89"/>
                    <a:pt x="273" y="89"/>
                  </a:cubicBezTo>
                  <a:cubicBezTo>
                    <a:pt x="273" y="89"/>
                    <a:pt x="272" y="89"/>
                    <a:pt x="272" y="90"/>
                  </a:cubicBezTo>
                  <a:cubicBezTo>
                    <a:pt x="271" y="90"/>
                    <a:pt x="271" y="91"/>
                    <a:pt x="271" y="92"/>
                  </a:cubicBezTo>
                  <a:cubicBezTo>
                    <a:pt x="271" y="92"/>
                    <a:pt x="271" y="92"/>
                    <a:pt x="270" y="93"/>
                  </a:cubicBezTo>
                  <a:cubicBezTo>
                    <a:pt x="269" y="93"/>
                    <a:pt x="269" y="94"/>
                    <a:pt x="269" y="94"/>
                  </a:cubicBezTo>
                  <a:cubicBezTo>
                    <a:pt x="268" y="94"/>
                    <a:pt x="268" y="95"/>
                    <a:pt x="268" y="95"/>
                  </a:cubicBezTo>
                  <a:cubicBezTo>
                    <a:pt x="268" y="96"/>
                    <a:pt x="268" y="96"/>
                    <a:pt x="268" y="96"/>
                  </a:cubicBezTo>
                  <a:cubicBezTo>
                    <a:pt x="267" y="97"/>
                    <a:pt x="267" y="97"/>
                    <a:pt x="268" y="98"/>
                  </a:cubicBezTo>
                  <a:cubicBezTo>
                    <a:pt x="268" y="98"/>
                    <a:pt x="268" y="99"/>
                    <a:pt x="268" y="99"/>
                  </a:cubicBezTo>
                  <a:cubicBezTo>
                    <a:pt x="268" y="100"/>
                    <a:pt x="268" y="101"/>
                    <a:pt x="267" y="101"/>
                  </a:cubicBezTo>
                  <a:cubicBezTo>
                    <a:pt x="267" y="102"/>
                    <a:pt x="267" y="103"/>
                    <a:pt x="266" y="103"/>
                  </a:cubicBezTo>
                  <a:cubicBezTo>
                    <a:pt x="266" y="103"/>
                    <a:pt x="266" y="102"/>
                    <a:pt x="266" y="102"/>
                  </a:cubicBezTo>
                  <a:cubicBezTo>
                    <a:pt x="266" y="101"/>
                    <a:pt x="266" y="101"/>
                    <a:pt x="265" y="101"/>
                  </a:cubicBezTo>
                  <a:cubicBezTo>
                    <a:pt x="265" y="101"/>
                    <a:pt x="265" y="100"/>
                    <a:pt x="265" y="100"/>
                  </a:cubicBezTo>
                  <a:cubicBezTo>
                    <a:pt x="264" y="100"/>
                    <a:pt x="264" y="99"/>
                    <a:pt x="264" y="98"/>
                  </a:cubicBezTo>
                  <a:cubicBezTo>
                    <a:pt x="264" y="98"/>
                    <a:pt x="264" y="97"/>
                    <a:pt x="264" y="97"/>
                  </a:cubicBezTo>
                  <a:cubicBezTo>
                    <a:pt x="264" y="97"/>
                    <a:pt x="264" y="96"/>
                    <a:pt x="264" y="96"/>
                  </a:cubicBezTo>
                  <a:cubicBezTo>
                    <a:pt x="264" y="95"/>
                    <a:pt x="265" y="95"/>
                    <a:pt x="265" y="94"/>
                  </a:cubicBezTo>
                  <a:cubicBezTo>
                    <a:pt x="265" y="93"/>
                    <a:pt x="265" y="93"/>
                    <a:pt x="266" y="92"/>
                  </a:cubicBezTo>
                  <a:cubicBezTo>
                    <a:pt x="266" y="92"/>
                    <a:pt x="266" y="91"/>
                    <a:pt x="266" y="91"/>
                  </a:cubicBezTo>
                  <a:cubicBezTo>
                    <a:pt x="266" y="90"/>
                    <a:pt x="266" y="90"/>
                    <a:pt x="266" y="89"/>
                  </a:cubicBezTo>
                  <a:cubicBezTo>
                    <a:pt x="266" y="89"/>
                    <a:pt x="266" y="89"/>
                    <a:pt x="266" y="88"/>
                  </a:cubicBezTo>
                  <a:cubicBezTo>
                    <a:pt x="267" y="87"/>
                    <a:pt x="267" y="86"/>
                    <a:pt x="267" y="86"/>
                  </a:cubicBezTo>
                  <a:cubicBezTo>
                    <a:pt x="267" y="85"/>
                    <a:pt x="268" y="83"/>
                    <a:pt x="268" y="82"/>
                  </a:cubicBezTo>
                  <a:cubicBezTo>
                    <a:pt x="269" y="82"/>
                    <a:pt x="269" y="81"/>
                    <a:pt x="269" y="81"/>
                  </a:cubicBezTo>
                  <a:cubicBezTo>
                    <a:pt x="269" y="80"/>
                    <a:pt x="270" y="80"/>
                    <a:pt x="270" y="79"/>
                  </a:cubicBezTo>
                  <a:cubicBezTo>
                    <a:pt x="271" y="78"/>
                    <a:pt x="272" y="77"/>
                    <a:pt x="272" y="76"/>
                  </a:cubicBezTo>
                  <a:cubicBezTo>
                    <a:pt x="273" y="75"/>
                    <a:pt x="274" y="74"/>
                    <a:pt x="274" y="73"/>
                  </a:cubicBezTo>
                  <a:cubicBezTo>
                    <a:pt x="275" y="73"/>
                    <a:pt x="276" y="72"/>
                    <a:pt x="276" y="71"/>
                  </a:cubicBezTo>
                  <a:cubicBezTo>
                    <a:pt x="276" y="70"/>
                    <a:pt x="274" y="71"/>
                    <a:pt x="274" y="70"/>
                  </a:cubicBezTo>
                  <a:cubicBezTo>
                    <a:pt x="274" y="69"/>
                    <a:pt x="276" y="69"/>
                    <a:pt x="276" y="69"/>
                  </a:cubicBezTo>
                  <a:cubicBezTo>
                    <a:pt x="276" y="68"/>
                    <a:pt x="276" y="68"/>
                    <a:pt x="276" y="68"/>
                  </a:cubicBezTo>
                  <a:cubicBezTo>
                    <a:pt x="276" y="68"/>
                    <a:pt x="276" y="68"/>
                    <a:pt x="276" y="68"/>
                  </a:cubicBezTo>
                  <a:lnTo>
                    <a:pt x="278" y="65"/>
                  </a:lnTo>
                  <a:close/>
                  <a:moveTo>
                    <a:pt x="266" y="128"/>
                  </a:moveTo>
                  <a:cubicBezTo>
                    <a:pt x="266" y="129"/>
                    <a:pt x="266" y="129"/>
                    <a:pt x="267" y="129"/>
                  </a:cubicBezTo>
                  <a:cubicBezTo>
                    <a:pt x="164" y="129"/>
                    <a:pt x="164" y="129"/>
                    <a:pt x="164" y="129"/>
                  </a:cubicBezTo>
                  <a:cubicBezTo>
                    <a:pt x="100" y="127"/>
                    <a:pt x="100" y="127"/>
                    <a:pt x="100" y="127"/>
                  </a:cubicBezTo>
                  <a:cubicBezTo>
                    <a:pt x="69" y="127"/>
                    <a:pt x="69" y="127"/>
                    <a:pt x="69" y="127"/>
                  </a:cubicBezTo>
                  <a:cubicBezTo>
                    <a:pt x="69" y="126"/>
                    <a:pt x="69" y="126"/>
                    <a:pt x="69" y="126"/>
                  </a:cubicBezTo>
                  <a:cubicBezTo>
                    <a:pt x="31" y="126"/>
                    <a:pt x="31" y="126"/>
                    <a:pt x="31" y="126"/>
                  </a:cubicBezTo>
                  <a:cubicBezTo>
                    <a:pt x="0" y="126"/>
                    <a:pt x="0" y="126"/>
                    <a:pt x="0" y="126"/>
                  </a:cubicBezTo>
                  <a:cubicBezTo>
                    <a:pt x="6" y="123"/>
                    <a:pt x="6" y="123"/>
                    <a:pt x="6" y="123"/>
                  </a:cubicBezTo>
                  <a:cubicBezTo>
                    <a:pt x="6" y="123"/>
                    <a:pt x="9" y="123"/>
                    <a:pt x="9" y="123"/>
                  </a:cubicBezTo>
                  <a:cubicBezTo>
                    <a:pt x="9" y="123"/>
                    <a:pt x="13" y="122"/>
                    <a:pt x="14" y="122"/>
                  </a:cubicBezTo>
                  <a:cubicBezTo>
                    <a:pt x="14" y="121"/>
                    <a:pt x="17" y="121"/>
                    <a:pt x="18" y="120"/>
                  </a:cubicBezTo>
                  <a:cubicBezTo>
                    <a:pt x="18" y="120"/>
                    <a:pt x="19" y="119"/>
                    <a:pt x="19" y="119"/>
                  </a:cubicBezTo>
                  <a:cubicBezTo>
                    <a:pt x="19" y="118"/>
                    <a:pt x="20" y="116"/>
                    <a:pt x="20" y="116"/>
                  </a:cubicBezTo>
                  <a:cubicBezTo>
                    <a:pt x="21" y="116"/>
                    <a:pt x="23" y="115"/>
                    <a:pt x="24" y="115"/>
                  </a:cubicBezTo>
                  <a:cubicBezTo>
                    <a:pt x="25" y="115"/>
                    <a:pt x="25" y="115"/>
                    <a:pt x="26" y="115"/>
                  </a:cubicBezTo>
                  <a:cubicBezTo>
                    <a:pt x="26" y="114"/>
                    <a:pt x="27" y="113"/>
                    <a:pt x="28" y="113"/>
                  </a:cubicBezTo>
                  <a:cubicBezTo>
                    <a:pt x="28" y="112"/>
                    <a:pt x="27" y="110"/>
                    <a:pt x="28" y="110"/>
                  </a:cubicBezTo>
                  <a:cubicBezTo>
                    <a:pt x="29" y="109"/>
                    <a:pt x="31" y="108"/>
                    <a:pt x="31" y="108"/>
                  </a:cubicBezTo>
                  <a:cubicBezTo>
                    <a:pt x="32" y="107"/>
                    <a:pt x="32" y="108"/>
                    <a:pt x="32" y="107"/>
                  </a:cubicBezTo>
                  <a:cubicBezTo>
                    <a:pt x="33" y="106"/>
                    <a:pt x="33" y="105"/>
                    <a:pt x="33" y="104"/>
                  </a:cubicBezTo>
                  <a:cubicBezTo>
                    <a:pt x="33" y="104"/>
                    <a:pt x="35" y="103"/>
                    <a:pt x="36" y="102"/>
                  </a:cubicBezTo>
                  <a:cubicBezTo>
                    <a:pt x="37" y="101"/>
                    <a:pt x="40" y="99"/>
                    <a:pt x="41" y="99"/>
                  </a:cubicBezTo>
                  <a:cubicBezTo>
                    <a:pt x="43" y="98"/>
                    <a:pt x="45" y="98"/>
                    <a:pt x="46" y="97"/>
                  </a:cubicBezTo>
                  <a:cubicBezTo>
                    <a:pt x="47" y="97"/>
                    <a:pt x="48" y="95"/>
                    <a:pt x="49" y="94"/>
                  </a:cubicBezTo>
                  <a:cubicBezTo>
                    <a:pt x="50" y="94"/>
                    <a:pt x="58" y="86"/>
                    <a:pt x="58" y="86"/>
                  </a:cubicBezTo>
                  <a:cubicBezTo>
                    <a:pt x="60" y="87"/>
                    <a:pt x="60" y="87"/>
                    <a:pt x="60" y="87"/>
                  </a:cubicBezTo>
                  <a:cubicBezTo>
                    <a:pt x="60" y="87"/>
                    <a:pt x="59" y="88"/>
                    <a:pt x="59" y="88"/>
                  </a:cubicBezTo>
                  <a:cubicBezTo>
                    <a:pt x="59" y="88"/>
                    <a:pt x="58" y="89"/>
                    <a:pt x="58" y="89"/>
                  </a:cubicBezTo>
                  <a:cubicBezTo>
                    <a:pt x="59" y="90"/>
                    <a:pt x="59" y="90"/>
                    <a:pt x="59" y="90"/>
                  </a:cubicBezTo>
                  <a:cubicBezTo>
                    <a:pt x="59" y="91"/>
                    <a:pt x="59" y="91"/>
                    <a:pt x="59" y="91"/>
                  </a:cubicBezTo>
                  <a:cubicBezTo>
                    <a:pt x="59" y="91"/>
                    <a:pt x="60" y="94"/>
                    <a:pt x="60" y="94"/>
                  </a:cubicBezTo>
                  <a:cubicBezTo>
                    <a:pt x="60" y="94"/>
                    <a:pt x="63" y="96"/>
                    <a:pt x="63" y="96"/>
                  </a:cubicBezTo>
                  <a:cubicBezTo>
                    <a:pt x="65" y="97"/>
                    <a:pt x="65" y="97"/>
                    <a:pt x="65" y="97"/>
                  </a:cubicBezTo>
                  <a:cubicBezTo>
                    <a:pt x="65" y="97"/>
                    <a:pt x="67" y="98"/>
                    <a:pt x="67" y="98"/>
                  </a:cubicBezTo>
                  <a:cubicBezTo>
                    <a:pt x="67" y="98"/>
                    <a:pt x="68" y="100"/>
                    <a:pt x="68" y="100"/>
                  </a:cubicBezTo>
                  <a:cubicBezTo>
                    <a:pt x="68" y="101"/>
                    <a:pt x="73" y="100"/>
                    <a:pt x="73" y="100"/>
                  </a:cubicBezTo>
                  <a:cubicBezTo>
                    <a:pt x="79" y="94"/>
                    <a:pt x="79" y="94"/>
                    <a:pt x="79" y="94"/>
                  </a:cubicBezTo>
                  <a:cubicBezTo>
                    <a:pt x="84" y="99"/>
                    <a:pt x="84" y="99"/>
                    <a:pt x="84" y="99"/>
                  </a:cubicBezTo>
                  <a:cubicBezTo>
                    <a:pt x="87" y="97"/>
                    <a:pt x="87" y="97"/>
                    <a:pt x="87" y="97"/>
                  </a:cubicBezTo>
                  <a:cubicBezTo>
                    <a:pt x="89" y="97"/>
                    <a:pt x="89" y="97"/>
                    <a:pt x="89" y="97"/>
                  </a:cubicBezTo>
                  <a:cubicBezTo>
                    <a:pt x="96" y="96"/>
                    <a:pt x="96" y="96"/>
                    <a:pt x="96" y="96"/>
                  </a:cubicBezTo>
                  <a:cubicBezTo>
                    <a:pt x="97" y="94"/>
                    <a:pt x="97" y="94"/>
                    <a:pt x="97" y="94"/>
                  </a:cubicBezTo>
                  <a:cubicBezTo>
                    <a:pt x="96" y="93"/>
                    <a:pt x="96" y="93"/>
                    <a:pt x="96" y="93"/>
                  </a:cubicBezTo>
                  <a:cubicBezTo>
                    <a:pt x="97" y="91"/>
                    <a:pt x="97" y="91"/>
                    <a:pt x="97" y="91"/>
                  </a:cubicBezTo>
                  <a:cubicBezTo>
                    <a:pt x="98" y="92"/>
                    <a:pt x="98" y="92"/>
                    <a:pt x="98" y="92"/>
                  </a:cubicBezTo>
                  <a:cubicBezTo>
                    <a:pt x="101" y="93"/>
                    <a:pt x="101" y="93"/>
                    <a:pt x="101" y="93"/>
                  </a:cubicBezTo>
                  <a:cubicBezTo>
                    <a:pt x="105" y="90"/>
                    <a:pt x="105" y="90"/>
                    <a:pt x="105" y="90"/>
                  </a:cubicBezTo>
                  <a:cubicBezTo>
                    <a:pt x="108" y="88"/>
                    <a:pt x="108" y="88"/>
                    <a:pt x="108" y="88"/>
                  </a:cubicBezTo>
                  <a:cubicBezTo>
                    <a:pt x="110" y="91"/>
                    <a:pt x="110" y="91"/>
                    <a:pt x="110" y="91"/>
                  </a:cubicBezTo>
                  <a:cubicBezTo>
                    <a:pt x="116" y="87"/>
                    <a:pt x="116" y="87"/>
                    <a:pt x="116" y="87"/>
                  </a:cubicBezTo>
                  <a:cubicBezTo>
                    <a:pt x="116" y="87"/>
                    <a:pt x="116" y="86"/>
                    <a:pt x="115" y="86"/>
                  </a:cubicBezTo>
                  <a:cubicBezTo>
                    <a:pt x="115" y="86"/>
                    <a:pt x="115" y="85"/>
                    <a:pt x="115" y="84"/>
                  </a:cubicBezTo>
                  <a:cubicBezTo>
                    <a:pt x="115" y="84"/>
                    <a:pt x="118" y="83"/>
                    <a:pt x="118" y="83"/>
                  </a:cubicBezTo>
                  <a:cubicBezTo>
                    <a:pt x="118" y="82"/>
                    <a:pt x="118" y="82"/>
                    <a:pt x="118" y="82"/>
                  </a:cubicBezTo>
                  <a:cubicBezTo>
                    <a:pt x="118" y="82"/>
                    <a:pt x="117" y="80"/>
                    <a:pt x="117" y="80"/>
                  </a:cubicBezTo>
                  <a:cubicBezTo>
                    <a:pt x="117" y="80"/>
                    <a:pt x="117" y="78"/>
                    <a:pt x="117" y="78"/>
                  </a:cubicBezTo>
                  <a:cubicBezTo>
                    <a:pt x="119" y="73"/>
                    <a:pt x="119" y="73"/>
                    <a:pt x="119" y="73"/>
                  </a:cubicBezTo>
                  <a:cubicBezTo>
                    <a:pt x="119" y="73"/>
                    <a:pt x="120" y="71"/>
                    <a:pt x="120" y="71"/>
                  </a:cubicBezTo>
                  <a:cubicBezTo>
                    <a:pt x="120" y="71"/>
                    <a:pt x="123" y="69"/>
                    <a:pt x="123" y="69"/>
                  </a:cubicBezTo>
                  <a:cubicBezTo>
                    <a:pt x="123" y="68"/>
                    <a:pt x="126" y="65"/>
                    <a:pt x="126" y="65"/>
                  </a:cubicBezTo>
                  <a:cubicBezTo>
                    <a:pt x="126" y="65"/>
                    <a:pt x="128" y="63"/>
                    <a:pt x="128" y="63"/>
                  </a:cubicBezTo>
                  <a:cubicBezTo>
                    <a:pt x="128" y="63"/>
                    <a:pt x="129" y="61"/>
                    <a:pt x="129" y="61"/>
                  </a:cubicBezTo>
                  <a:cubicBezTo>
                    <a:pt x="128" y="59"/>
                    <a:pt x="128" y="59"/>
                    <a:pt x="128" y="59"/>
                  </a:cubicBezTo>
                  <a:cubicBezTo>
                    <a:pt x="129" y="57"/>
                    <a:pt x="129" y="57"/>
                    <a:pt x="129" y="57"/>
                  </a:cubicBezTo>
                  <a:cubicBezTo>
                    <a:pt x="130" y="56"/>
                    <a:pt x="130" y="56"/>
                    <a:pt x="130" y="56"/>
                  </a:cubicBezTo>
                  <a:cubicBezTo>
                    <a:pt x="133" y="54"/>
                    <a:pt x="133" y="54"/>
                    <a:pt x="133" y="54"/>
                  </a:cubicBezTo>
                  <a:cubicBezTo>
                    <a:pt x="133" y="52"/>
                    <a:pt x="133" y="52"/>
                    <a:pt x="133" y="52"/>
                  </a:cubicBezTo>
                  <a:cubicBezTo>
                    <a:pt x="133" y="52"/>
                    <a:pt x="136" y="50"/>
                    <a:pt x="136" y="50"/>
                  </a:cubicBezTo>
                  <a:cubicBezTo>
                    <a:pt x="136" y="49"/>
                    <a:pt x="136" y="49"/>
                    <a:pt x="136" y="49"/>
                  </a:cubicBezTo>
                  <a:cubicBezTo>
                    <a:pt x="136" y="49"/>
                    <a:pt x="137" y="47"/>
                    <a:pt x="137" y="47"/>
                  </a:cubicBezTo>
                  <a:cubicBezTo>
                    <a:pt x="138" y="43"/>
                    <a:pt x="138" y="43"/>
                    <a:pt x="138" y="43"/>
                  </a:cubicBezTo>
                  <a:cubicBezTo>
                    <a:pt x="138" y="39"/>
                    <a:pt x="138" y="39"/>
                    <a:pt x="138" y="39"/>
                  </a:cubicBezTo>
                  <a:cubicBezTo>
                    <a:pt x="138" y="39"/>
                    <a:pt x="141" y="40"/>
                    <a:pt x="141" y="40"/>
                  </a:cubicBezTo>
                  <a:cubicBezTo>
                    <a:pt x="142" y="41"/>
                    <a:pt x="143" y="42"/>
                    <a:pt x="143" y="42"/>
                  </a:cubicBezTo>
                  <a:cubicBezTo>
                    <a:pt x="143" y="42"/>
                    <a:pt x="144" y="45"/>
                    <a:pt x="144" y="45"/>
                  </a:cubicBezTo>
                  <a:cubicBezTo>
                    <a:pt x="144" y="45"/>
                    <a:pt x="151" y="47"/>
                    <a:pt x="151" y="47"/>
                  </a:cubicBezTo>
                  <a:cubicBezTo>
                    <a:pt x="151" y="47"/>
                    <a:pt x="156" y="37"/>
                    <a:pt x="156" y="37"/>
                  </a:cubicBezTo>
                  <a:cubicBezTo>
                    <a:pt x="156" y="36"/>
                    <a:pt x="158" y="37"/>
                    <a:pt x="158" y="37"/>
                  </a:cubicBezTo>
                  <a:cubicBezTo>
                    <a:pt x="158" y="37"/>
                    <a:pt x="158" y="33"/>
                    <a:pt x="158" y="33"/>
                  </a:cubicBezTo>
                  <a:cubicBezTo>
                    <a:pt x="158" y="33"/>
                    <a:pt x="161" y="28"/>
                    <a:pt x="161" y="28"/>
                  </a:cubicBezTo>
                  <a:cubicBezTo>
                    <a:pt x="165" y="32"/>
                    <a:pt x="165" y="32"/>
                    <a:pt x="165" y="32"/>
                  </a:cubicBezTo>
                  <a:cubicBezTo>
                    <a:pt x="167" y="29"/>
                    <a:pt x="167" y="29"/>
                    <a:pt x="167" y="29"/>
                  </a:cubicBezTo>
                  <a:cubicBezTo>
                    <a:pt x="168" y="27"/>
                    <a:pt x="168" y="27"/>
                    <a:pt x="168" y="27"/>
                  </a:cubicBezTo>
                  <a:cubicBezTo>
                    <a:pt x="170" y="24"/>
                    <a:pt x="170" y="24"/>
                    <a:pt x="170" y="24"/>
                  </a:cubicBezTo>
                  <a:cubicBezTo>
                    <a:pt x="170" y="26"/>
                    <a:pt x="170" y="26"/>
                    <a:pt x="170" y="26"/>
                  </a:cubicBezTo>
                  <a:cubicBezTo>
                    <a:pt x="172" y="24"/>
                    <a:pt x="172" y="24"/>
                    <a:pt x="172" y="24"/>
                  </a:cubicBezTo>
                  <a:cubicBezTo>
                    <a:pt x="174" y="22"/>
                    <a:pt x="174" y="22"/>
                    <a:pt x="174" y="22"/>
                  </a:cubicBezTo>
                  <a:cubicBezTo>
                    <a:pt x="174" y="23"/>
                    <a:pt x="174" y="23"/>
                    <a:pt x="174" y="23"/>
                  </a:cubicBezTo>
                  <a:cubicBezTo>
                    <a:pt x="174" y="23"/>
                    <a:pt x="176" y="20"/>
                    <a:pt x="176" y="20"/>
                  </a:cubicBezTo>
                  <a:cubicBezTo>
                    <a:pt x="176" y="20"/>
                    <a:pt x="181" y="14"/>
                    <a:pt x="181" y="14"/>
                  </a:cubicBezTo>
                  <a:cubicBezTo>
                    <a:pt x="181" y="14"/>
                    <a:pt x="181" y="13"/>
                    <a:pt x="181" y="13"/>
                  </a:cubicBezTo>
                  <a:cubicBezTo>
                    <a:pt x="181" y="13"/>
                    <a:pt x="180" y="12"/>
                    <a:pt x="180" y="12"/>
                  </a:cubicBezTo>
                  <a:cubicBezTo>
                    <a:pt x="182" y="9"/>
                    <a:pt x="182" y="9"/>
                    <a:pt x="182" y="9"/>
                  </a:cubicBezTo>
                  <a:cubicBezTo>
                    <a:pt x="184" y="6"/>
                    <a:pt x="184" y="6"/>
                    <a:pt x="184" y="6"/>
                  </a:cubicBezTo>
                  <a:cubicBezTo>
                    <a:pt x="183" y="5"/>
                    <a:pt x="183" y="5"/>
                    <a:pt x="183" y="5"/>
                  </a:cubicBezTo>
                  <a:cubicBezTo>
                    <a:pt x="183" y="0"/>
                    <a:pt x="183" y="0"/>
                    <a:pt x="183" y="0"/>
                  </a:cubicBezTo>
                  <a:cubicBezTo>
                    <a:pt x="201" y="15"/>
                    <a:pt x="201" y="15"/>
                    <a:pt x="201" y="15"/>
                  </a:cubicBezTo>
                  <a:cubicBezTo>
                    <a:pt x="205" y="7"/>
                    <a:pt x="205" y="7"/>
                    <a:pt x="205" y="7"/>
                  </a:cubicBezTo>
                  <a:cubicBezTo>
                    <a:pt x="205" y="7"/>
                    <a:pt x="210" y="7"/>
                    <a:pt x="211" y="8"/>
                  </a:cubicBezTo>
                  <a:cubicBezTo>
                    <a:pt x="211" y="8"/>
                    <a:pt x="214" y="11"/>
                    <a:pt x="214" y="11"/>
                  </a:cubicBezTo>
                  <a:cubicBezTo>
                    <a:pt x="214" y="11"/>
                    <a:pt x="212" y="14"/>
                    <a:pt x="212" y="14"/>
                  </a:cubicBezTo>
                  <a:cubicBezTo>
                    <a:pt x="212" y="14"/>
                    <a:pt x="212" y="16"/>
                    <a:pt x="212" y="16"/>
                  </a:cubicBezTo>
                  <a:cubicBezTo>
                    <a:pt x="212" y="17"/>
                    <a:pt x="215" y="18"/>
                    <a:pt x="215" y="18"/>
                  </a:cubicBezTo>
                  <a:cubicBezTo>
                    <a:pt x="216" y="18"/>
                    <a:pt x="219" y="19"/>
                    <a:pt x="219" y="19"/>
                  </a:cubicBezTo>
                  <a:cubicBezTo>
                    <a:pt x="220" y="19"/>
                    <a:pt x="221" y="20"/>
                    <a:pt x="221" y="20"/>
                  </a:cubicBezTo>
                  <a:cubicBezTo>
                    <a:pt x="221" y="20"/>
                    <a:pt x="222" y="22"/>
                    <a:pt x="222" y="22"/>
                  </a:cubicBezTo>
                  <a:cubicBezTo>
                    <a:pt x="222" y="22"/>
                    <a:pt x="224" y="22"/>
                    <a:pt x="224" y="22"/>
                  </a:cubicBezTo>
                  <a:cubicBezTo>
                    <a:pt x="224" y="22"/>
                    <a:pt x="226" y="24"/>
                    <a:pt x="226" y="24"/>
                  </a:cubicBezTo>
                  <a:cubicBezTo>
                    <a:pt x="226" y="25"/>
                    <a:pt x="229" y="21"/>
                    <a:pt x="229" y="21"/>
                  </a:cubicBezTo>
                  <a:cubicBezTo>
                    <a:pt x="232" y="25"/>
                    <a:pt x="232" y="25"/>
                    <a:pt x="232" y="25"/>
                  </a:cubicBezTo>
                  <a:cubicBezTo>
                    <a:pt x="232" y="27"/>
                    <a:pt x="232" y="27"/>
                    <a:pt x="232" y="27"/>
                  </a:cubicBezTo>
                  <a:cubicBezTo>
                    <a:pt x="230" y="28"/>
                    <a:pt x="230" y="28"/>
                    <a:pt x="230" y="28"/>
                  </a:cubicBezTo>
                  <a:cubicBezTo>
                    <a:pt x="229" y="28"/>
                    <a:pt x="229" y="28"/>
                    <a:pt x="229" y="28"/>
                  </a:cubicBezTo>
                  <a:cubicBezTo>
                    <a:pt x="229" y="33"/>
                    <a:pt x="229" y="33"/>
                    <a:pt x="229" y="33"/>
                  </a:cubicBezTo>
                  <a:cubicBezTo>
                    <a:pt x="228" y="33"/>
                    <a:pt x="228" y="34"/>
                    <a:pt x="227" y="34"/>
                  </a:cubicBezTo>
                  <a:cubicBezTo>
                    <a:pt x="227" y="35"/>
                    <a:pt x="226" y="35"/>
                    <a:pt x="225" y="35"/>
                  </a:cubicBezTo>
                  <a:cubicBezTo>
                    <a:pt x="225" y="36"/>
                    <a:pt x="225" y="36"/>
                    <a:pt x="225" y="36"/>
                  </a:cubicBezTo>
                  <a:cubicBezTo>
                    <a:pt x="225" y="36"/>
                    <a:pt x="225" y="36"/>
                    <a:pt x="225" y="37"/>
                  </a:cubicBezTo>
                  <a:cubicBezTo>
                    <a:pt x="226" y="37"/>
                    <a:pt x="226" y="37"/>
                    <a:pt x="226" y="37"/>
                  </a:cubicBezTo>
                  <a:cubicBezTo>
                    <a:pt x="226" y="37"/>
                    <a:pt x="225" y="38"/>
                    <a:pt x="225" y="38"/>
                  </a:cubicBezTo>
                  <a:cubicBezTo>
                    <a:pt x="225" y="38"/>
                    <a:pt x="224" y="38"/>
                    <a:pt x="224" y="38"/>
                  </a:cubicBezTo>
                  <a:cubicBezTo>
                    <a:pt x="224" y="38"/>
                    <a:pt x="223" y="37"/>
                    <a:pt x="223" y="37"/>
                  </a:cubicBezTo>
                  <a:cubicBezTo>
                    <a:pt x="222" y="37"/>
                    <a:pt x="222" y="38"/>
                    <a:pt x="222" y="38"/>
                  </a:cubicBezTo>
                  <a:cubicBezTo>
                    <a:pt x="222" y="39"/>
                    <a:pt x="221" y="40"/>
                    <a:pt x="221" y="40"/>
                  </a:cubicBezTo>
                  <a:cubicBezTo>
                    <a:pt x="221" y="41"/>
                    <a:pt x="221" y="42"/>
                    <a:pt x="221" y="42"/>
                  </a:cubicBezTo>
                  <a:cubicBezTo>
                    <a:pt x="221" y="44"/>
                    <a:pt x="220" y="45"/>
                    <a:pt x="220" y="47"/>
                  </a:cubicBezTo>
                  <a:cubicBezTo>
                    <a:pt x="220" y="48"/>
                    <a:pt x="220" y="48"/>
                    <a:pt x="220" y="49"/>
                  </a:cubicBezTo>
                  <a:cubicBezTo>
                    <a:pt x="220" y="50"/>
                    <a:pt x="221" y="50"/>
                    <a:pt x="222" y="50"/>
                  </a:cubicBezTo>
                  <a:cubicBezTo>
                    <a:pt x="223" y="51"/>
                    <a:pt x="224" y="51"/>
                    <a:pt x="225" y="50"/>
                  </a:cubicBezTo>
                  <a:cubicBezTo>
                    <a:pt x="225" y="50"/>
                    <a:pt x="226" y="50"/>
                    <a:pt x="227" y="50"/>
                  </a:cubicBezTo>
                  <a:cubicBezTo>
                    <a:pt x="227" y="50"/>
                    <a:pt x="228" y="50"/>
                    <a:pt x="228" y="50"/>
                  </a:cubicBezTo>
                  <a:cubicBezTo>
                    <a:pt x="229" y="49"/>
                    <a:pt x="230" y="49"/>
                    <a:pt x="230" y="49"/>
                  </a:cubicBezTo>
                  <a:cubicBezTo>
                    <a:pt x="230" y="49"/>
                    <a:pt x="230" y="50"/>
                    <a:pt x="230" y="50"/>
                  </a:cubicBezTo>
                  <a:cubicBezTo>
                    <a:pt x="230" y="51"/>
                    <a:pt x="230" y="52"/>
                    <a:pt x="230" y="53"/>
                  </a:cubicBezTo>
                  <a:cubicBezTo>
                    <a:pt x="231" y="54"/>
                    <a:pt x="231" y="55"/>
                    <a:pt x="232" y="56"/>
                  </a:cubicBezTo>
                  <a:cubicBezTo>
                    <a:pt x="234" y="57"/>
                    <a:pt x="235" y="58"/>
                    <a:pt x="236" y="59"/>
                  </a:cubicBezTo>
                  <a:cubicBezTo>
                    <a:pt x="237" y="59"/>
                    <a:pt x="238" y="60"/>
                    <a:pt x="239" y="60"/>
                  </a:cubicBezTo>
                  <a:cubicBezTo>
                    <a:pt x="240" y="60"/>
                    <a:pt x="240" y="60"/>
                    <a:pt x="241" y="60"/>
                  </a:cubicBezTo>
                  <a:cubicBezTo>
                    <a:pt x="242" y="60"/>
                    <a:pt x="242" y="60"/>
                    <a:pt x="243" y="60"/>
                  </a:cubicBezTo>
                  <a:cubicBezTo>
                    <a:pt x="243" y="61"/>
                    <a:pt x="244" y="61"/>
                    <a:pt x="244" y="61"/>
                  </a:cubicBezTo>
                  <a:cubicBezTo>
                    <a:pt x="245" y="62"/>
                    <a:pt x="245" y="63"/>
                    <a:pt x="246" y="63"/>
                  </a:cubicBezTo>
                  <a:cubicBezTo>
                    <a:pt x="246" y="64"/>
                    <a:pt x="247" y="65"/>
                    <a:pt x="247" y="65"/>
                  </a:cubicBezTo>
                  <a:cubicBezTo>
                    <a:pt x="248" y="66"/>
                    <a:pt x="249" y="67"/>
                    <a:pt x="250" y="67"/>
                  </a:cubicBezTo>
                  <a:cubicBezTo>
                    <a:pt x="251" y="68"/>
                    <a:pt x="252" y="68"/>
                    <a:pt x="253" y="69"/>
                  </a:cubicBezTo>
                  <a:cubicBezTo>
                    <a:pt x="254" y="69"/>
                    <a:pt x="254" y="69"/>
                    <a:pt x="255" y="70"/>
                  </a:cubicBezTo>
                  <a:cubicBezTo>
                    <a:pt x="255" y="70"/>
                    <a:pt x="255" y="71"/>
                    <a:pt x="255" y="72"/>
                  </a:cubicBezTo>
                  <a:cubicBezTo>
                    <a:pt x="255" y="72"/>
                    <a:pt x="255" y="72"/>
                    <a:pt x="255" y="73"/>
                  </a:cubicBezTo>
                  <a:cubicBezTo>
                    <a:pt x="255" y="73"/>
                    <a:pt x="255" y="74"/>
                    <a:pt x="255" y="74"/>
                  </a:cubicBezTo>
                  <a:cubicBezTo>
                    <a:pt x="255" y="74"/>
                    <a:pt x="255" y="73"/>
                    <a:pt x="254" y="73"/>
                  </a:cubicBezTo>
                  <a:cubicBezTo>
                    <a:pt x="254" y="73"/>
                    <a:pt x="254" y="72"/>
                    <a:pt x="254" y="72"/>
                  </a:cubicBezTo>
                  <a:cubicBezTo>
                    <a:pt x="253" y="72"/>
                    <a:pt x="253" y="72"/>
                    <a:pt x="252" y="72"/>
                  </a:cubicBezTo>
                  <a:cubicBezTo>
                    <a:pt x="251" y="72"/>
                    <a:pt x="251" y="72"/>
                    <a:pt x="251" y="72"/>
                  </a:cubicBezTo>
                  <a:cubicBezTo>
                    <a:pt x="250" y="71"/>
                    <a:pt x="249" y="71"/>
                    <a:pt x="249" y="72"/>
                  </a:cubicBezTo>
                  <a:cubicBezTo>
                    <a:pt x="250" y="72"/>
                    <a:pt x="250" y="72"/>
                    <a:pt x="250" y="72"/>
                  </a:cubicBezTo>
                  <a:cubicBezTo>
                    <a:pt x="251" y="72"/>
                    <a:pt x="251" y="72"/>
                    <a:pt x="252" y="72"/>
                  </a:cubicBezTo>
                  <a:cubicBezTo>
                    <a:pt x="252" y="73"/>
                    <a:pt x="253" y="73"/>
                    <a:pt x="253" y="73"/>
                  </a:cubicBezTo>
                  <a:cubicBezTo>
                    <a:pt x="254" y="74"/>
                    <a:pt x="255" y="75"/>
                    <a:pt x="255" y="77"/>
                  </a:cubicBezTo>
                  <a:cubicBezTo>
                    <a:pt x="255" y="77"/>
                    <a:pt x="255" y="77"/>
                    <a:pt x="255" y="78"/>
                  </a:cubicBezTo>
                  <a:cubicBezTo>
                    <a:pt x="255" y="78"/>
                    <a:pt x="255" y="79"/>
                    <a:pt x="255" y="79"/>
                  </a:cubicBezTo>
                  <a:cubicBezTo>
                    <a:pt x="255" y="79"/>
                    <a:pt x="254" y="80"/>
                    <a:pt x="254" y="80"/>
                  </a:cubicBezTo>
                  <a:cubicBezTo>
                    <a:pt x="254" y="80"/>
                    <a:pt x="254" y="81"/>
                    <a:pt x="253" y="81"/>
                  </a:cubicBezTo>
                  <a:cubicBezTo>
                    <a:pt x="253" y="82"/>
                    <a:pt x="253" y="83"/>
                    <a:pt x="252" y="82"/>
                  </a:cubicBezTo>
                  <a:cubicBezTo>
                    <a:pt x="251" y="82"/>
                    <a:pt x="251" y="82"/>
                    <a:pt x="251" y="81"/>
                  </a:cubicBezTo>
                  <a:cubicBezTo>
                    <a:pt x="250" y="81"/>
                    <a:pt x="249" y="81"/>
                    <a:pt x="248" y="81"/>
                  </a:cubicBezTo>
                  <a:cubicBezTo>
                    <a:pt x="248" y="81"/>
                    <a:pt x="247" y="81"/>
                    <a:pt x="247" y="80"/>
                  </a:cubicBezTo>
                  <a:cubicBezTo>
                    <a:pt x="247" y="80"/>
                    <a:pt x="247" y="80"/>
                    <a:pt x="247" y="80"/>
                  </a:cubicBezTo>
                  <a:cubicBezTo>
                    <a:pt x="247" y="80"/>
                    <a:pt x="246" y="79"/>
                    <a:pt x="246" y="79"/>
                  </a:cubicBezTo>
                  <a:cubicBezTo>
                    <a:pt x="246" y="79"/>
                    <a:pt x="246" y="78"/>
                    <a:pt x="246" y="77"/>
                  </a:cubicBezTo>
                  <a:cubicBezTo>
                    <a:pt x="246" y="77"/>
                    <a:pt x="245" y="76"/>
                    <a:pt x="245" y="76"/>
                  </a:cubicBezTo>
                  <a:cubicBezTo>
                    <a:pt x="243" y="75"/>
                    <a:pt x="242" y="75"/>
                    <a:pt x="241" y="73"/>
                  </a:cubicBezTo>
                  <a:cubicBezTo>
                    <a:pt x="240" y="73"/>
                    <a:pt x="240" y="72"/>
                    <a:pt x="239" y="72"/>
                  </a:cubicBezTo>
                  <a:cubicBezTo>
                    <a:pt x="238" y="71"/>
                    <a:pt x="238" y="71"/>
                    <a:pt x="238" y="70"/>
                  </a:cubicBezTo>
                  <a:cubicBezTo>
                    <a:pt x="237" y="70"/>
                    <a:pt x="237" y="69"/>
                    <a:pt x="237" y="69"/>
                  </a:cubicBezTo>
                  <a:cubicBezTo>
                    <a:pt x="237" y="68"/>
                    <a:pt x="236" y="67"/>
                    <a:pt x="236" y="67"/>
                  </a:cubicBezTo>
                  <a:cubicBezTo>
                    <a:pt x="236" y="67"/>
                    <a:pt x="236" y="68"/>
                    <a:pt x="236" y="69"/>
                  </a:cubicBezTo>
                  <a:cubicBezTo>
                    <a:pt x="236" y="69"/>
                    <a:pt x="236" y="69"/>
                    <a:pt x="236" y="70"/>
                  </a:cubicBezTo>
                  <a:cubicBezTo>
                    <a:pt x="236" y="71"/>
                    <a:pt x="236" y="71"/>
                    <a:pt x="237" y="71"/>
                  </a:cubicBezTo>
                  <a:cubicBezTo>
                    <a:pt x="237" y="72"/>
                    <a:pt x="238" y="72"/>
                    <a:pt x="238" y="73"/>
                  </a:cubicBezTo>
                  <a:cubicBezTo>
                    <a:pt x="238" y="73"/>
                    <a:pt x="239" y="73"/>
                    <a:pt x="239" y="73"/>
                  </a:cubicBezTo>
                  <a:cubicBezTo>
                    <a:pt x="239" y="74"/>
                    <a:pt x="240" y="74"/>
                    <a:pt x="240" y="74"/>
                  </a:cubicBezTo>
                  <a:cubicBezTo>
                    <a:pt x="240" y="75"/>
                    <a:pt x="240" y="75"/>
                    <a:pt x="241" y="76"/>
                  </a:cubicBezTo>
                  <a:cubicBezTo>
                    <a:pt x="241" y="76"/>
                    <a:pt x="242" y="77"/>
                    <a:pt x="242" y="77"/>
                  </a:cubicBezTo>
                  <a:cubicBezTo>
                    <a:pt x="243" y="78"/>
                    <a:pt x="243" y="78"/>
                    <a:pt x="243" y="78"/>
                  </a:cubicBezTo>
                  <a:cubicBezTo>
                    <a:pt x="243" y="79"/>
                    <a:pt x="244" y="79"/>
                    <a:pt x="244" y="79"/>
                  </a:cubicBezTo>
                  <a:cubicBezTo>
                    <a:pt x="244" y="80"/>
                    <a:pt x="245" y="80"/>
                    <a:pt x="245" y="81"/>
                  </a:cubicBezTo>
                  <a:cubicBezTo>
                    <a:pt x="245" y="81"/>
                    <a:pt x="245" y="82"/>
                    <a:pt x="245" y="82"/>
                  </a:cubicBezTo>
                  <a:cubicBezTo>
                    <a:pt x="245" y="83"/>
                    <a:pt x="247" y="83"/>
                    <a:pt x="248" y="83"/>
                  </a:cubicBezTo>
                  <a:cubicBezTo>
                    <a:pt x="248" y="82"/>
                    <a:pt x="249" y="82"/>
                    <a:pt x="250" y="83"/>
                  </a:cubicBezTo>
                  <a:cubicBezTo>
                    <a:pt x="250" y="83"/>
                    <a:pt x="250" y="83"/>
                    <a:pt x="250" y="83"/>
                  </a:cubicBezTo>
                  <a:cubicBezTo>
                    <a:pt x="250" y="84"/>
                    <a:pt x="251" y="84"/>
                    <a:pt x="251" y="84"/>
                  </a:cubicBezTo>
                  <a:cubicBezTo>
                    <a:pt x="251" y="85"/>
                    <a:pt x="251" y="85"/>
                    <a:pt x="252" y="86"/>
                  </a:cubicBezTo>
                  <a:cubicBezTo>
                    <a:pt x="252" y="86"/>
                    <a:pt x="253" y="86"/>
                    <a:pt x="253" y="86"/>
                  </a:cubicBezTo>
                  <a:cubicBezTo>
                    <a:pt x="253" y="86"/>
                    <a:pt x="252" y="86"/>
                    <a:pt x="252" y="87"/>
                  </a:cubicBezTo>
                  <a:cubicBezTo>
                    <a:pt x="252" y="87"/>
                    <a:pt x="251" y="87"/>
                    <a:pt x="251" y="87"/>
                  </a:cubicBezTo>
                  <a:cubicBezTo>
                    <a:pt x="252" y="88"/>
                    <a:pt x="252" y="88"/>
                    <a:pt x="253" y="88"/>
                  </a:cubicBezTo>
                  <a:cubicBezTo>
                    <a:pt x="253" y="89"/>
                    <a:pt x="253" y="89"/>
                    <a:pt x="254" y="89"/>
                  </a:cubicBezTo>
                  <a:cubicBezTo>
                    <a:pt x="254" y="89"/>
                    <a:pt x="254" y="89"/>
                    <a:pt x="255" y="90"/>
                  </a:cubicBezTo>
                  <a:cubicBezTo>
                    <a:pt x="255" y="90"/>
                    <a:pt x="255" y="90"/>
                    <a:pt x="256" y="90"/>
                  </a:cubicBezTo>
                  <a:cubicBezTo>
                    <a:pt x="256" y="91"/>
                    <a:pt x="256" y="91"/>
                    <a:pt x="256" y="91"/>
                  </a:cubicBezTo>
                  <a:cubicBezTo>
                    <a:pt x="256" y="92"/>
                    <a:pt x="256" y="93"/>
                    <a:pt x="256" y="94"/>
                  </a:cubicBezTo>
                  <a:cubicBezTo>
                    <a:pt x="256" y="94"/>
                    <a:pt x="256" y="95"/>
                    <a:pt x="255" y="95"/>
                  </a:cubicBezTo>
                  <a:cubicBezTo>
                    <a:pt x="255" y="95"/>
                    <a:pt x="255" y="95"/>
                    <a:pt x="255" y="95"/>
                  </a:cubicBezTo>
                  <a:cubicBezTo>
                    <a:pt x="254" y="95"/>
                    <a:pt x="254" y="95"/>
                    <a:pt x="254" y="95"/>
                  </a:cubicBezTo>
                  <a:cubicBezTo>
                    <a:pt x="254" y="94"/>
                    <a:pt x="254" y="94"/>
                    <a:pt x="254" y="94"/>
                  </a:cubicBezTo>
                  <a:cubicBezTo>
                    <a:pt x="254" y="93"/>
                    <a:pt x="253" y="93"/>
                    <a:pt x="253" y="92"/>
                  </a:cubicBezTo>
                  <a:cubicBezTo>
                    <a:pt x="252" y="92"/>
                    <a:pt x="251" y="91"/>
                    <a:pt x="251" y="91"/>
                  </a:cubicBezTo>
                  <a:cubicBezTo>
                    <a:pt x="250" y="92"/>
                    <a:pt x="251" y="93"/>
                    <a:pt x="250" y="93"/>
                  </a:cubicBezTo>
                  <a:cubicBezTo>
                    <a:pt x="250" y="93"/>
                    <a:pt x="250" y="93"/>
                    <a:pt x="249" y="93"/>
                  </a:cubicBezTo>
                  <a:cubicBezTo>
                    <a:pt x="249" y="93"/>
                    <a:pt x="249" y="93"/>
                    <a:pt x="249" y="92"/>
                  </a:cubicBezTo>
                  <a:cubicBezTo>
                    <a:pt x="249" y="93"/>
                    <a:pt x="249" y="93"/>
                    <a:pt x="249" y="94"/>
                  </a:cubicBezTo>
                  <a:cubicBezTo>
                    <a:pt x="250" y="94"/>
                    <a:pt x="251" y="95"/>
                    <a:pt x="251" y="95"/>
                  </a:cubicBezTo>
                  <a:cubicBezTo>
                    <a:pt x="251" y="95"/>
                    <a:pt x="251" y="96"/>
                    <a:pt x="251" y="96"/>
                  </a:cubicBezTo>
                  <a:cubicBezTo>
                    <a:pt x="251" y="96"/>
                    <a:pt x="251" y="96"/>
                    <a:pt x="251" y="97"/>
                  </a:cubicBezTo>
                  <a:cubicBezTo>
                    <a:pt x="251" y="97"/>
                    <a:pt x="251" y="97"/>
                    <a:pt x="251" y="98"/>
                  </a:cubicBezTo>
                  <a:cubicBezTo>
                    <a:pt x="251" y="98"/>
                    <a:pt x="251" y="99"/>
                    <a:pt x="251" y="100"/>
                  </a:cubicBezTo>
                  <a:cubicBezTo>
                    <a:pt x="251" y="101"/>
                    <a:pt x="251" y="101"/>
                    <a:pt x="252" y="102"/>
                  </a:cubicBezTo>
                  <a:cubicBezTo>
                    <a:pt x="252" y="102"/>
                    <a:pt x="252" y="103"/>
                    <a:pt x="253" y="103"/>
                  </a:cubicBezTo>
                  <a:cubicBezTo>
                    <a:pt x="253" y="103"/>
                    <a:pt x="253" y="103"/>
                    <a:pt x="254" y="104"/>
                  </a:cubicBezTo>
                  <a:cubicBezTo>
                    <a:pt x="254" y="105"/>
                    <a:pt x="253" y="106"/>
                    <a:pt x="254" y="107"/>
                  </a:cubicBezTo>
                  <a:cubicBezTo>
                    <a:pt x="254" y="107"/>
                    <a:pt x="254" y="108"/>
                    <a:pt x="254" y="108"/>
                  </a:cubicBezTo>
                  <a:cubicBezTo>
                    <a:pt x="255" y="108"/>
                    <a:pt x="255" y="109"/>
                    <a:pt x="254" y="109"/>
                  </a:cubicBezTo>
                  <a:cubicBezTo>
                    <a:pt x="254" y="110"/>
                    <a:pt x="254" y="110"/>
                    <a:pt x="253" y="110"/>
                  </a:cubicBezTo>
                  <a:cubicBezTo>
                    <a:pt x="253" y="110"/>
                    <a:pt x="253" y="110"/>
                    <a:pt x="253" y="110"/>
                  </a:cubicBezTo>
                  <a:cubicBezTo>
                    <a:pt x="253" y="110"/>
                    <a:pt x="253" y="110"/>
                    <a:pt x="252" y="110"/>
                  </a:cubicBezTo>
                  <a:cubicBezTo>
                    <a:pt x="252" y="111"/>
                    <a:pt x="252" y="111"/>
                    <a:pt x="251" y="111"/>
                  </a:cubicBezTo>
                  <a:cubicBezTo>
                    <a:pt x="251" y="110"/>
                    <a:pt x="250" y="110"/>
                    <a:pt x="250" y="110"/>
                  </a:cubicBezTo>
                  <a:cubicBezTo>
                    <a:pt x="250" y="109"/>
                    <a:pt x="249" y="109"/>
                    <a:pt x="248" y="109"/>
                  </a:cubicBezTo>
                  <a:cubicBezTo>
                    <a:pt x="248" y="108"/>
                    <a:pt x="248" y="108"/>
                    <a:pt x="247" y="108"/>
                  </a:cubicBezTo>
                  <a:cubicBezTo>
                    <a:pt x="246" y="107"/>
                    <a:pt x="245" y="106"/>
                    <a:pt x="244" y="105"/>
                  </a:cubicBezTo>
                  <a:cubicBezTo>
                    <a:pt x="244" y="104"/>
                    <a:pt x="244" y="104"/>
                    <a:pt x="244" y="103"/>
                  </a:cubicBezTo>
                  <a:cubicBezTo>
                    <a:pt x="244" y="102"/>
                    <a:pt x="244" y="102"/>
                    <a:pt x="243" y="101"/>
                  </a:cubicBezTo>
                  <a:cubicBezTo>
                    <a:pt x="243" y="101"/>
                    <a:pt x="243" y="100"/>
                    <a:pt x="242" y="100"/>
                  </a:cubicBezTo>
                  <a:cubicBezTo>
                    <a:pt x="242" y="100"/>
                    <a:pt x="241" y="100"/>
                    <a:pt x="241" y="100"/>
                  </a:cubicBezTo>
                  <a:cubicBezTo>
                    <a:pt x="240" y="101"/>
                    <a:pt x="239" y="100"/>
                    <a:pt x="239" y="100"/>
                  </a:cubicBezTo>
                  <a:cubicBezTo>
                    <a:pt x="238" y="100"/>
                    <a:pt x="238" y="100"/>
                    <a:pt x="238" y="100"/>
                  </a:cubicBezTo>
                  <a:cubicBezTo>
                    <a:pt x="237" y="100"/>
                    <a:pt x="237" y="100"/>
                    <a:pt x="236" y="100"/>
                  </a:cubicBezTo>
                  <a:cubicBezTo>
                    <a:pt x="236" y="100"/>
                    <a:pt x="236" y="99"/>
                    <a:pt x="235" y="99"/>
                  </a:cubicBezTo>
                  <a:cubicBezTo>
                    <a:pt x="235" y="99"/>
                    <a:pt x="234" y="99"/>
                    <a:pt x="234" y="99"/>
                  </a:cubicBezTo>
                  <a:cubicBezTo>
                    <a:pt x="233" y="99"/>
                    <a:pt x="233" y="99"/>
                    <a:pt x="232" y="99"/>
                  </a:cubicBezTo>
                  <a:cubicBezTo>
                    <a:pt x="232" y="99"/>
                    <a:pt x="232" y="98"/>
                    <a:pt x="231" y="98"/>
                  </a:cubicBezTo>
                  <a:cubicBezTo>
                    <a:pt x="231" y="98"/>
                    <a:pt x="231" y="97"/>
                    <a:pt x="231" y="98"/>
                  </a:cubicBezTo>
                  <a:cubicBezTo>
                    <a:pt x="230" y="98"/>
                    <a:pt x="231" y="98"/>
                    <a:pt x="231" y="98"/>
                  </a:cubicBezTo>
                  <a:cubicBezTo>
                    <a:pt x="231" y="99"/>
                    <a:pt x="232" y="99"/>
                    <a:pt x="232" y="99"/>
                  </a:cubicBezTo>
                  <a:cubicBezTo>
                    <a:pt x="233" y="100"/>
                    <a:pt x="233" y="100"/>
                    <a:pt x="234" y="100"/>
                  </a:cubicBezTo>
                  <a:cubicBezTo>
                    <a:pt x="235" y="100"/>
                    <a:pt x="236" y="100"/>
                    <a:pt x="236" y="100"/>
                  </a:cubicBezTo>
                  <a:cubicBezTo>
                    <a:pt x="237" y="101"/>
                    <a:pt x="238" y="102"/>
                    <a:pt x="239" y="102"/>
                  </a:cubicBezTo>
                  <a:cubicBezTo>
                    <a:pt x="240" y="102"/>
                    <a:pt x="241" y="103"/>
                    <a:pt x="241" y="104"/>
                  </a:cubicBezTo>
                  <a:cubicBezTo>
                    <a:pt x="242" y="105"/>
                    <a:pt x="241" y="107"/>
                    <a:pt x="242" y="108"/>
                  </a:cubicBezTo>
                  <a:cubicBezTo>
                    <a:pt x="242" y="108"/>
                    <a:pt x="243" y="108"/>
                    <a:pt x="243" y="108"/>
                  </a:cubicBezTo>
                  <a:cubicBezTo>
                    <a:pt x="244" y="109"/>
                    <a:pt x="244" y="109"/>
                    <a:pt x="244" y="109"/>
                  </a:cubicBezTo>
                  <a:cubicBezTo>
                    <a:pt x="245" y="109"/>
                    <a:pt x="245" y="110"/>
                    <a:pt x="245" y="110"/>
                  </a:cubicBezTo>
                  <a:cubicBezTo>
                    <a:pt x="246" y="110"/>
                    <a:pt x="246" y="110"/>
                    <a:pt x="247" y="111"/>
                  </a:cubicBezTo>
                  <a:cubicBezTo>
                    <a:pt x="248" y="111"/>
                    <a:pt x="248" y="111"/>
                    <a:pt x="248" y="112"/>
                  </a:cubicBezTo>
                  <a:cubicBezTo>
                    <a:pt x="248" y="112"/>
                    <a:pt x="248" y="113"/>
                    <a:pt x="248" y="113"/>
                  </a:cubicBezTo>
                  <a:cubicBezTo>
                    <a:pt x="248" y="113"/>
                    <a:pt x="248" y="114"/>
                    <a:pt x="248" y="114"/>
                  </a:cubicBezTo>
                  <a:cubicBezTo>
                    <a:pt x="247" y="114"/>
                    <a:pt x="246" y="115"/>
                    <a:pt x="246" y="116"/>
                  </a:cubicBezTo>
                  <a:cubicBezTo>
                    <a:pt x="245" y="116"/>
                    <a:pt x="246" y="117"/>
                    <a:pt x="247" y="116"/>
                  </a:cubicBezTo>
                  <a:cubicBezTo>
                    <a:pt x="247" y="116"/>
                    <a:pt x="247" y="116"/>
                    <a:pt x="247" y="115"/>
                  </a:cubicBezTo>
                  <a:cubicBezTo>
                    <a:pt x="248" y="115"/>
                    <a:pt x="248" y="115"/>
                    <a:pt x="248" y="114"/>
                  </a:cubicBezTo>
                  <a:cubicBezTo>
                    <a:pt x="249" y="114"/>
                    <a:pt x="250" y="114"/>
                    <a:pt x="252" y="114"/>
                  </a:cubicBezTo>
                  <a:cubicBezTo>
                    <a:pt x="252" y="114"/>
                    <a:pt x="253" y="114"/>
                    <a:pt x="252" y="115"/>
                  </a:cubicBezTo>
                  <a:cubicBezTo>
                    <a:pt x="252" y="115"/>
                    <a:pt x="252" y="116"/>
                    <a:pt x="252" y="116"/>
                  </a:cubicBezTo>
                  <a:cubicBezTo>
                    <a:pt x="251" y="116"/>
                    <a:pt x="252" y="117"/>
                    <a:pt x="253" y="117"/>
                  </a:cubicBezTo>
                  <a:cubicBezTo>
                    <a:pt x="253" y="116"/>
                    <a:pt x="254" y="116"/>
                    <a:pt x="255" y="115"/>
                  </a:cubicBezTo>
                  <a:cubicBezTo>
                    <a:pt x="255" y="115"/>
                    <a:pt x="255" y="114"/>
                    <a:pt x="255" y="114"/>
                  </a:cubicBezTo>
                  <a:cubicBezTo>
                    <a:pt x="255" y="114"/>
                    <a:pt x="254" y="113"/>
                    <a:pt x="254" y="113"/>
                  </a:cubicBezTo>
                  <a:cubicBezTo>
                    <a:pt x="254" y="113"/>
                    <a:pt x="254" y="112"/>
                    <a:pt x="255" y="111"/>
                  </a:cubicBezTo>
                  <a:cubicBezTo>
                    <a:pt x="256" y="111"/>
                    <a:pt x="256" y="112"/>
                    <a:pt x="257" y="112"/>
                  </a:cubicBezTo>
                  <a:cubicBezTo>
                    <a:pt x="258" y="112"/>
                    <a:pt x="258" y="112"/>
                    <a:pt x="259" y="113"/>
                  </a:cubicBezTo>
                  <a:cubicBezTo>
                    <a:pt x="259" y="113"/>
                    <a:pt x="260" y="113"/>
                    <a:pt x="260" y="113"/>
                  </a:cubicBezTo>
                  <a:cubicBezTo>
                    <a:pt x="261" y="113"/>
                    <a:pt x="262" y="113"/>
                    <a:pt x="263" y="113"/>
                  </a:cubicBezTo>
                  <a:cubicBezTo>
                    <a:pt x="264" y="114"/>
                    <a:pt x="264" y="113"/>
                    <a:pt x="265" y="113"/>
                  </a:cubicBezTo>
                  <a:cubicBezTo>
                    <a:pt x="266" y="113"/>
                    <a:pt x="266" y="113"/>
                    <a:pt x="265" y="114"/>
                  </a:cubicBezTo>
                  <a:cubicBezTo>
                    <a:pt x="265" y="114"/>
                    <a:pt x="265" y="114"/>
                    <a:pt x="265" y="114"/>
                  </a:cubicBezTo>
                  <a:cubicBezTo>
                    <a:pt x="265" y="115"/>
                    <a:pt x="265" y="115"/>
                    <a:pt x="265" y="115"/>
                  </a:cubicBezTo>
                  <a:cubicBezTo>
                    <a:pt x="266" y="116"/>
                    <a:pt x="265" y="116"/>
                    <a:pt x="266" y="116"/>
                  </a:cubicBezTo>
                  <a:cubicBezTo>
                    <a:pt x="266" y="117"/>
                    <a:pt x="266" y="117"/>
                    <a:pt x="266" y="118"/>
                  </a:cubicBezTo>
                  <a:cubicBezTo>
                    <a:pt x="266" y="118"/>
                    <a:pt x="266" y="118"/>
                    <a:pt x="267" y="119"/>
                  </a:cubicBezTo>
                  <a:cubicBezTo>
                    <a:pt x="267" y="119"/>
                    <a:pt x="266" y="119"/>
                    <a:pt x="267" y="120"/>
                  </a:cubicBezTo>
                  <a:cubicBezTo>
                    <a:pt x="267" y="120"/>
                    <a:pt x="267" y="120"/>
                    <a:pt x="267" y="120"/>
                  </a:cubicBezTo>
                  <a:cubicBezTo>
                    <a:pt x="267" y="121"/>
                    <a:pt x="267" y="121"/>
                    <a:pt x="267" y="122"/>
                  </a:cubicBezTo>
                  <a:cubicBezTo>
                    <a:pt x="266" y="122"/>
                    <a:pt x="266" y="123"/>
                    <a:pt x="266" y="124"/>
                  </a:cubicBezTo>
                  <a:cubicBezTo>
                    <a:pt x="266" y="124"/>
                    <a:pt x="266" y="125"/>
                    <a:pt x="265" y="125"/>
                  </a:cubicBezTo>
                  <a:cubicBezTo>
                    <a:pt x="265" y="126"/>
                    <a:pt x="265" y="126"/>
                    <a:pt x="265" y="127"/>
                  </a:cubicBezTo>
                  <a:cubicBezTo>
                    <a:pt x="265" y="128"/>
                    <a:pt x="265" y="128"/>
                    <a:pt x="266" y="128"/>
                  </a:cubicBez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0" name="Freeform 13">
              <a:extLst>
                <a:ext uri="{FF2B5EF4-FFF2-40B4-BE49-F238E27FC236}">
                  <a16:creationId xmlns:a16="http://schemas.microsoft.com/office/drawing/2014/main" id="{7A329803-BF12-A4A7-A61D-A92082CFBCFF}"/>
                </a:ext>
              </a:extLst>
            </p:cNvPr>
            <p:cNvSpPr>
              <a:spLocks/>
            </p:cNvSpPr>
            <p:nvPr/>
          </p:nvSpPr>
          <p:spPr bwMode="auto">
            <a:xfrm>
              <a:off x="9535024" y="1757871"/>
              <a:ext cx="264353" cy="436182"/>
            </a:xfrm>
            <a:custGeom>
              <a:avLst/>
              <a:gdLst>
                <a:gd name="T0" fmla="*/ 2 w 67"/>
                <a:gd name="T1" fmla="*/ 8 h 110"/>
                <a:gd name="T2" fmla="*/ 3 w 67"/>
                <a:gd name="T3" fmla="*/ 13 h 110"/>
                <a:gd name="T4" fmla="*/ 2 w 67"/>
                <a:gd name="T5" fmla="*/ 21 h 110"/>
                <a:gd name="T6" fmla="*/ 4 w 67"/>
                <a:gd name="T7" fmla="*/ 28 h 110"/>
                <a:gd name="T8" fmla="*/ 4 w 67"/>
                <a:gd name="T9" fmla="*/ 37 h 110"/>
                <a:gd name="T10" fmla="*/ 1 w 67"/>
                <a:gd name="T11" fmla="*/ 41 h 110"/>
                <a:gd name="T12" fmla="*/ 0 w 67"/>
                <a:gd name="T13" fmla="*/ 47 h 110"/>
                <a:gd name="T14" fmla="*/ 1 w 67"/>
                <a:gd name="T15" fmla="*/ 53 h 110"/>
                <a:gd name="T16" fmla="*/ 3 w 67"/>
                <a:gd name="T17" fmla="*/ 61 h 110"/>
                <a:gd name="T18" fmla="*/ 0 w 67"/>
                <a:gd name="T19" fmla="*/ 68 h 110"/>
                <a:gd name="T20" fmla="*/ 2 w 67"/>
                <a:gd name="T21" fmla="*/ 70 h 110"/>
                <a:gd name="T22" fmla="*/ 3 w 67"/>
                <a:gd name="T23" fmla="*/ 68 h 110"/>
                <a:gd name="T24" fmla="*/ 5 w 67"/>
                <a:gd name="T25" fmla="*/ 70 h 110"/>
                <a:gd name="T26" fmla="*/ 5 w 67"/>
                <a:gd name="T27" fmla="*/ 105 h 110"/>
                <a:gd name="T28" fmla="*/ 33 w 67"/>
                <a:gd name="T29" fmla="*/ 110 h 110"/>
                <a:gd name="T30" fmla="*/ 31 w 67"/>
                <a:gd name="T31" fmla="*/ 106 h 110"/>
                <a:gd name="T32" fmla="*/ 31 w 67"/>
                <a:gd name="T33" fmla="*/ 101 h 110"/>
                <a:gd name="T34" fmla="*/ 33 w 67"/>
                <a:gd name="T35" fmla="*/ 97 h 110"/>
                <a:gd name="T36" fmla="*/ 33 w 67"/>
                <a:gd name="T37" fmla="*/ 90 h 110"/>
                <a:gd name="T38" fmla="*/ 36 w 67"/>
                <a:gd name="T39" fmla="*/ 83 h 110"/>
                <a:gd name="T40" fmla="*/ 36 w 67"/>
                <a:gd name="T41" fmla="*/ 77 h 110"/>
                <a:gd name="T42" fmla="*/ 37 w 67"/>
                <a:gd name="T43" fmla="*/ 68 h 110"/>
                <a:gd name="T44" fmla="*/ 39 w 67"/>
                <a:gd name="T45" fmla="*/ 63 h 110"/>
                <a:gd name="T46" fmla="*/ 42 w 67"/>
                <a:gd name="T47" fmla="*/ 57 h 110"/>
                <a:gd name="T48" fmla="*/ 46 w 67"/>
                <a:gd name="T49" fmla="*/ 52 h 110"/>
                <a:gd name="T50" fmla="*/ 48 w 67"/>
                <a:gd name="T51" fmla="*/ 46 h 110"/>
                <a:gd name="T52" fmla="*/ 48 w 67"/>
                <a:gd name="T53" fmla="*/ 36 h 110"/>
                <a:gd name="T54" fmla="*/ 51 w 67"/>
                <a:gd name="T55" fmla="*/ 33 h 110"/>
                <a:gd name="T56" fmla="*/ 56 w 67"/>
                <a:gd name="T57" fmla="*/ 32 h 110"/>
                <a:gd name="T58" fmla="*/ 60 w 67"/>
                <a:gd name="T59" fmla="*/ 29 h 110"/>
                <a:gd name="T60" fmla="*/ 63 w 67"/>
                <a:gd name="T61" fmla="*/ 26 h 110"/>
                <a:gd name="T62" fmla="*/ 64 w 67"/>
                <a:gd name="T63" fmla="*/ 23 h 110"/>
                <a:gd name="T64" fmla="*/ 66 w 67"/>
                <a:gd name="T65" fmla="*/ 21 h 110"/>
                <a:gd name="T66" fmla="*/ 62 w 67"/>
                <a:gd name="T67" fmla="*/ 14 h 110"/>
                <a:gd name="T68" fmla="*/ 64 w 67"/>
                <a:gd name="T69" fmla="*/ 10 h 110"/>
                <a:gd name="T70" fmla="*/ 67 w 67"/>
                <a:gd name="T71" fmla="*/ 6 h 110"/>
                <a:gd name="T72" fmla="*/ 66 w 67"/>
                <a:gd name="T73" fmla="*/ 3 h 110"/>
                <a:gd name="T74" fmla="*/ 10 w 67"/>
                <a:gd name="T75" fmla="*/ 0 h 110"/>
                <a:gd name="T76" fmla="*/ 3 w 67"/>
                <a:gd name="T77" fmla="*/ 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 h="110">
                  <a:moveTo>
                    <a:pt x="3" y="5"/>
                  </a:moveTo>
                  <a:cubicBezTo>
                    <a:pt x="3" y="6"/>
                    <a:pt x="2" y="7"/>
                    <a:pt x="2" y="8"/>
                  </a:cubicBezTo>
                  <a:cubicBezTo>
                    <a:pt x="1" y="9"/>
                    <a:pt x="2" y="9"/>
                    <a:pt x="3" y="10"/>
                  </a:cubicBezTo>
                  <a:cubicBezTo>
                    <a:pt x="3" y="11"/>
                    <a:pt x="3" y="12"/>
                    <a:pt x="3" y="13"/>
                  </a:cubicBezTo>
                  <a:cubicBezTo>
                    <a:pt x="3" y="13"/>
                    <a:pt x="3" y="15"/>
                    <a:pt x="2" y="16"/>
                  </a:cubicBezTo>
                  <a:cubicBezTo>
                    <a:pt x="2" y="18"/>
                    <a:pt x="2" y="20"/>
                    <a:pt x="2" y="21"/>
                  </a:cubicBezTo>
                  <a:cubicBezTo>
                    <a:pt x="1" y="22"/>
                    <a:pt x="3" y="24"/>
                    <a:pt x="4" y="25"/>
                  </a:cubicBezTo>
                  <a:cubicBezTo>
                    <a:pt x="4" y="26"/>
                    <a:pt x="4" y="28"/>
                    <a:pt x="4" y="28"/>
                  </a:cubicBezTo>
                  <a:cubicBezTo>
                    <a:pt x="4" y="29"/>
                    <a:pt x="4" y="31"/>
                    <a:pt x="4" y="32"/>
                  </a:cubicBezTo>
                  <a:cubicBezTo>
                    <a:pt x="3" y="32"/>
                    <a:pt x="4" y="37"/>
                    <a:pt x="4" y="37"/>
                  </a:cubicBezTo>
                  <a:cubicBezTo>
                    <a:pt x="4" y="37"/>
                    <a:pt x="3" y="38"/>
                    <a:pt x="3" y="39"/>
                  </a:cubicBezTo>
                  <a:cubicBezTo>
                    <a:pt x="2" y="39"/>
                    <a:pt x="1" y="40"/>
                    <a:pt x="1" y="41"/>
                  </a:cubicBezTo>
                  <a:cubicBezTo>
                    <a:pt x="1" y="41"/>
                    <a:pt x="1" y="43"/>
                    <a:pt x="0" y="44"/>
                  </a:cubicBezTo>
                  <a:cubicBezTo>
                    <a:pt x="0" y="44"/>
                    <a:pt x="0" y="47"/>
                    <a:pt x="0" y="47"/>
                  </a:cubicBezTo>
                  <a:cubicBezTo>
                    <a:pt x="0" y="47"/>
                    <a:pt x="1" y="49"/>
                    <a:pt x="1" y="49"/>
                  </a:cubicBezTo>
                  <a:cubicBezTo>
                    <a:pt x="1" y="49"/>
                    <a:pt x="1" y="52"/>
                    <a:pt x="1" y="53"/>
                  </a:cubicBezTo>
                  <a:cubicBezTo>
                    <a:pt x="1" y="53"/>
                    <a:pt x="1" y="58"/>
                    <a:pt x="1" y="58"/>
                  </a:cubicBezTo>
                  <a:cubicBezTo>
                    <a:pt x="3" y="61"/>
                    <a:pt x="3" y="61"/>
                    <a:pt x="3" y="61"/>
                  </a:cubicBezTo>
                  <a:cubicBezTo>
                    <a:pt x="3" y="61"/>
                    <a:pt x="1" y="65"/>
                    <a:pt x="1" y="65"/>
                  </a:cubicBezTo>
                  <a:cubicBezTo>
                    <a:pt x="1" y="66"/>
                    <a:pt x="0" y="68"/>
                    <a:pt x="0" y="68"/>
                  </a:cubicBezTo>
                  <a:cubicBezTo>
                    <a:pt x="0" y="68"/>
                    <a:pt x="1" y="69"/>
                    <a:pt x="1" y="70"/>
                  </a:cubicBezTo>
                  <a:cubicBezTo>
                    <a:pt x="1" y="70"/>
                    <a:pt x="2" y="70"/>
                    <a:pt x="2" y="70"/>
                  </a:cubicBezTo>
                  <a:cubicBezTo>
                    <a:pt x="2" y="69"/>
                    <a:pt x="2" y="69"/>
                    <a:pt x="2" y="69"/>
                  </a:cubicBezTo>
                  <a:cubicBezTo>
                    <a:pt x="2" y="69"/>
                    <a:pt x="3" y="68"/>
                    <a:pt x="3" y="68"/>
                  </a:cubicBezTo>
                  <a:cubicBezTo>
                    <a:pt x="3" y="68"/>
                    <a:pt x="4" y="68"/>
                    <a:pt x="4" y="68"/>
                  </a:cubicBezTo>
                  <a:cubicBezTo>
                    <a:pt x="5" y="68"/>
                    <a:pt x="5" y="69"/>
                    <a:pt x="5" y="70"/>
                  </a:cubicBezTo>
                  <a:cubicBezTo>
                    <a:pt x="5" y="70"/>
                    <a:pt x="6" y="71"/>
                    <a:pt x="6" y="71"/>
                  </a:cubicBezTo>
                  <a:cubicBezTo>
                    <a:pt x="5" y="105"/>
                    <a:pt x="5" y="105"/>
                    <a:pt x="5" y="105"/>
                  </a:cubicBezTo>
                  <a:cubicBezTo>
                    <a:pt x="6" y="109"/>
                    <a:pt x="6" y="109"/>
                    <a:pt x="6" y="109"/>
                  </a:cubicBezTo>
                  <a:cubicBezTo>
                    <a:pt x="33" y="110"/>
                    <a:pt x="33" y="110"/>
                    <a:pt x="33" y="110"/>
                  </a:cubicBezTo>
                  <a:cubicBezTo>
                    <a:pt x="31" y="107"/>
                    <a:pt x="31" y="107"/>
                    <a:pt x="31" y="107"/>
                  </a:cubicBezTo>
                  <a:cubicBezTo>
                    <a:pt x="31" y="107"/>
                    <a:pt x="31" y="106"/>
                    <a:pt x="31" y="106"/>
                  </a:cubicBezTo>
                  <a:cubicBezTo>
                    <a:pt x="31" y="106"/>
                    <a:pt x="30" y="104"/>
                    <a:pt x="30" y="103"/>
                  </a:cubicBezTo>
                  <a:cubicBezTo>
                    <a:pt x="30" y="103"/>
                    <a:pt x="31" y="101"/>
                    <a:pt x="31" y="101"/>
                  </a:cubicBezTo>
                  <a:cubicBezTo>
                    <a:pt x="31" y="101"/>
                    <a:pt x="31" y="99"/>
                    <a:pt x="31" y="99"/>
                  </a:cubicBezTo>
                  <a:cubicBezTo>
                    <a:pt x="31" y="99"/>
                    <a:pt x="33" y="97"/>
                    <a:pt x="33" y="97"/>
                  </a:cubicBezTo>
                  <a:cubicBezTo>
                    <a:pt x="33" y="96"/>
                    <a:pt x="34" y="92"/>
                    <a:pt x="34" y="92"/>
                  </a:cubicBezTo>
                  <a:cubicBezTo>
                    <a:pt x="34" y="91"/>
                    <a:pt x="33" y="90"/>
                    <a:pt x="33" y="90"/>
                  </a:cubicBezTo>
                  <a:cubicBezTo>
                    <a:pt x="33" y="89"/>
                    <a:pt x="34" y="89"/>
                    <a:pt x="34" y="88"/>
                  </a:cubicBezTo>
                  <a:cubicBezTo>
                    <a:pt x="34" y="88"/>
                    <a:pt x="36" y="83"/>
                    <a:pt x="36" y="83"/>
                  </a:cubicBezTo>
                  <a:cubicBezTo>
                    <a:pt x="36" y="83"/>
                    <a:pt x="35" y="82"/>
                    <a:pt x="35" y="81"/>
                  </a:cubicBezTo>
                  <a:cubicBezTo>
                    <a:pt x="35" y="80"/>
                    <a:pt x="36" y="78"/>
                    <a:pt x="36" y="77"/>
                  </a:cubicBezTo>
                  <a:cubicBezTo>
                    <a:pt x="36" y="77"/>
                    <a:pt x="35" y="73"/>
                    <a:pt x="35" y="73"/>
                  </a:cubicBezTo>
                  <a:cubicBezTo>
                    <a:pt x="35" y="72"/>
                    <a:pt x="37" y="68"/>
                    <a:pt x="37" y="68"/>
                  </a:cubicBezTo>
                  <a:cubicBezTo>
                    <a:pt x="38" y="67"/>
                    <a:pt x="39" y="65"/>
                    <a:pt x="39" y="64"/>
                  </a:cubicBezTo>
                  <a:cubicBezTo>
                    <a:pt x="39" y="64"/>
                    <a:pt x="39" y="63"/>
                    <a:pt x="39" y="63"/>
                  </a:cubicBezTo>
                  <a:cubicBezTo>
                    <a:pt x="39" y="63"/>
                    <a:pt x="41" y="61"/>
                    <a:pt x="42" y="60"/>
                  </a:cubicBezTo>
                  <a:cubicBezTo>
                    <a:pt x="42" y="60"/>
                    <a:pt x="42" y="58"/>
                    <a:pt x="42" y="57"/>
                  </a:cubicBezTo>
                  <a:cubicBezTo>
                    <a:pt x="43" y="57"/>
                    <a:pt x="44" y="54"/>
                    <a:pt x="45" y="54"/>
                  </a:cubicBezTo>
                  <a:cubicBezTo>
                    <a:pt x="45" y="53"/>
                    <a:pt x="46" y="52"/>
                    <a:pt x="46" y="52"/>
                  </a:cubicBezTo>
                  <a:cubicBezTo>
                    <a:pt x="46" y="52"/>
                    <a:pt x="46" y="49"/>
                    <a:pt x="46" y="49"/>
                  </a:cubicBezTo>
                  <a:cubicBezTo>
                    <a:pt x="46" y="49"/>
                    <a:pt x="48" y="46"/>
                    <a:pt x="48" y="46"/>
                  </a:cubicBezTo>
                  <a:cubicBezTo>
                    <a:pt x="48" y="45"/>
                    <a:pt x="48" y="40"/>
                    <a:pt x="48" y="40"/>
                  </a:cubicBezTo>
                  <a:cubicBezTo>
                    <a:pt x="48" y="40"/>
                    <a:pt x="48" y="37"/>
                    <a:pt x="48" y="36"/>
                  </a:cubicBezTo>
                  <a:cubicBezTo>
                    <a:pt x="48" y="36"/>
                    <a:pt x="48" y="34"/>
                    <a:pt x="48" y="34"/>
                  </a:cubicBezTo>
                  <a:cubicBezTo>
                    <a:pt x="49" y="34"/>
                    <a:pt x="51" y="33"/>
                    <a:pt x="51" y="33"/>
                  </a:cubicBezTo>
                  <a:cubicBezTo>
                    <a:pt x="51" y="33"/>
                    <a:pt x="53" y="33"/>
                    <a:pt x="53" y="33"/>
                  </a:cubicBezTo>
                  <a:cubicBezTo>
                    <a:pt x="54" y="33"/>
                    <a:pt x="56" y="32"/>
                    <a:pt x="56" y="32"/>
                  </a:cubicBezTo>
                  <a:cubicBezTo>
                    <a:pt x="57" y="30"/>
                    <a:pt x="57" y="30"/>
                    <a:pt x="57" y="30"/>
                  </a:cubicBezTo>
                  <a:cubicBezTo>
                    <a:pt x="57" y="30"/>
                    <a:pt x="60" y="29"/>
                    <a:pt x="60" y="29"/>
                  </a:cubicBezTo>
                  <a:cubicBezTo>
                    <a:pt x="61" y="29"/>
                    <a:pt x="61" y="28"/>
                    <a:pt x="62" y="27"/>
                  </a:cubicBezTo>
                  <a:cubicBezTo>
                    <a:pt x="62" y="27"/>
                    <a:pt x="63" y="26"/>
                    <a:pt x="63" y="26"/>
                  </a:cubicBezTo>
                  <a:cubicBezTo>
                    <a:pt x="64" y="26"/>
                    <a:pt x="64" y="25"/>
                    <a:pt x="64" y="25"/>
                  </a:cubicBezTo>
                  <a:cubicBezTo>
                    <a:pt x="64" y="25"/>
                    <a:pt x="64" y="24"/>
                    <a:pt x="64" y="23"/>
                  </a:cubicBezTo>
                  <a:cubicBezTo>
                    <a:pt x="64" y="23"/>
                    <a:pt x="64" y="22"/>
                    <a:pt x="64" y="22"/>
                  </a:cubicBezTo>
                  <a:cubicBezTo>
                    <a:pt x="64" y="22"/>
                    <a:pt x="66" y="21"/>
                    <a:pt x="66" y="21"/>
                  </a:cubicBezTo>
                  <a:cubicBezTo>
                    <a:pt x="66" y="21"/>
                    <a:pt x="64" y="17"/>
                    <a:pt x="64" y="16"/>
                  </a:cubicBezTo>
                  <a:cubicBezTo>
                    <a:pt x="63" y="16"/>
                    <a:pt x="62" y="14"/>
                    <a:pt x="62" y="14"/>
                  </a:cubicBezTo>
                  <a:cubicBezTo>
                    <a:pt x="62" y="13"/>
                    <a:pt x="63" y="12"/>
                    <a:pt x="63" y="12"/>
                  </a:cubicBezTo>
                  <a:cubicBezTo>
                    <a:pt x="64" y="12"/>
                    <a:pt x="64" y="11"/>
                    <a:pt x="64" y="10"/>
                  </a:cubicBezTo>
                  <a:cubicBezTo>
                    <a:pt x="65" y="10"/>
                    <a:pt x="65" y="7"/>
                    <a:pt x="66" y="7"/>
                  </a:cubicBezTo>
                  <a:cubicBezTo>
                    <a:pt x="66" y="7"/>
                    <a:pt x="67" y="6"/>
                    <a:pt x="67" y="6"/>
                  </a:cubicBezTo>
                  <a:cubicBezTo>
                    <a:pt x="67" y="6"/>
                    <a:pt x="67" y="5"/>
                    <a:pt x="67" y="5"/>
                  </a:cubicBezTo>
                  <a:cubicBezTo>
                    <a:pt x="67" y="4"/>
                    <a:pt x="66" y="3"/>
                    <a:pt x="66" y="3"/>
                  </a:cubicBezTo>
                  <a:cubicBezTo>
                    <a:pt x="66" y="3"/>
                    <a:pt x="67" y="0"/>
                    <a:pt x="67" y="0"/>
                  </a:cubicBezTo>
                  <a:cubicBezTo>
                    <a:pt x="10" y="0"/>
                    <a:pt x="10" y="0"/>
                    <a:pt x="10" y="0"/>
                  </a:cubicBezTo>
                  <a:cubicBezTo>
                    <a:pt x="3" y="0"/>
                    <a:pt x="3" y="0"/>
                    <a:pt x="3" y="0"/>
                  </a:cubicBezTo>
                  <a:cubicBezTo>
                    <a:pt x="3" y="0"/>
                    <a:pt x="3" y="4"/>
                    <a:pt x="3" y="5"/>
                  </a:cubicBezTo>
                  <a:close/>
                </a:path>
              </a:pathLst>
            </a:custGeom>
            <a:solidFill>
              <a:schemeClr val="bg1">
                <a:lumMod val="85000"/>
              </a:schemeClr>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1" name="Freeform 14">
              <a:extLst>
                <a:ext uri="{FF2B5EF4-FFF2-40B4-BE49-F238E27FC236}">
                  <a16:creationId xmlns:a16="http://schemas.microsoft.com/office/drawing/2014/main" id="{09A0471A-975B-0B35-FEAD-82A7F32E3F40}"/>
                </a:ext>
              </a:extLst>
            </p:cNvPr>
            <p:cNvSpPr>
              <a:spLocks/>
            </p:cNvSpPr>
            <p:nvPr/>
          </p:nvSpPr>
          <p:spPr bwMode="auto">
            <a:xfrm>
              <a:off x="3981968" y="2329534"/>
              <a:ext cx="684012" cy="887234"/>
            </a:xfrm>
            <a:custGeom>
              <a:avLst/>
              <a:gdLst>
                <a:gd name="T0" fmla="*/ 414 w 414"/>
                <a:gd name="T1" fmla="*/ 537 h 537"/>
                <a:gd name="T2" fmla="*/ 0 w 414"/>
                <a:gd name="T3" fmla="*/ 537 h 537"/>
                <a:gd name="T4" fmla="*/ 0 w 414"/>
                <a:gd name="T5" fmla="*/ 0 h 537"/>
                <a:gd name="T6" fmla="*/ 247 w 414"/>
                <a:gd name="T7" fmla="*/ 0 h 537"/>
                <a:gd name="T8" fmla="*/ 247 w 414"/>
                <a:gd name="T9" fmla="*/ 110 h 537"/>
                <a:gd name="T10" fmla="*/ 412 w 414"/>
                <a:gd name="T11" fmla="*/ 110 h 537"/>
                <a:gd name="T12" fmla="*/ 414 w 414"/>
                <a:gd name="T13" fmla="*/ 537 h 537"/>
              </a:gdLst>
              <a:ahLst/>
              <a:cxnLst>
                <a:cxn ang="0">
                  <a:pos x="T0" y="T1"/>
                </a:cxn>
                <a:cxn ang="0">
                  <a:pos x="T2" y="T3"/>
                </a:cxn>
                <a:cxn ang="0">
                  <a:pos x="T4" y="T5"/>
                </a:cxn>
                <a:cxn ang="0">
                  <a:pos x="T6" y="T7"/>
                </a:cxn>
                <a:cxn ang="0">
                  <a:pos x="T8" y="T9"/>
                </a:cxn>
                <a:cxn ang="0">
                  <a:pos x="T10" y="T11"/>
                </a:cxn>
                <a:cxn ang="0">
                  <a:pos x="T12" y="T13"/>
                </a:cxn>
              </a:cxnLst>
              <a:rect l="0" t="0" r="r" b="b"/>
              <a:pathLst>
                <a:path w="414" h="537">
                  <a:moveTo>
                    <a:pt x="414" y="537"/>
                  </a:moveTo>
                  <a:lnTo>
                    <a:pt x="0" y="537"/>
                  </a:lnTo>
                  <a:lnTo>
                    <a:pt x="0" y="0"/>
                  </a:lnTo>
                  <a:lnTo>
                    <a:pt x="247" y="0"/>
                  </a:lnTo>
                  <a:lnTo>
                    <a:pt x="247" y="110"/>
                  </a:lnTo>
                  <a:lnTo>
                    <a:pt x="412" y="110"/>
                  </a:lnTo>
                  <a:lnTo>
                    <a:pt x="414" y="537"/>
                  </a:lnTo>
                  <a:close/>
                </a:path>
              </a:pathLst>
            </a:custGeom>
            <a:solidFill>
              <a:srgbClr val="FFFF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2" name="Freeform 15">
              <a:extLst>
                <a:ext uri="{FF2B5EF4-FFF2-40B4-BE49-F238E27FC236}">
                  <a16:creationId xmlns:a16="http://schemas.microsoft.com/office/drawing/2014/main" id="{E4F75233-0091-1588-93B7-E75C4FFC5F8F}"/>
                </a:ext>
              </a:extLst>
            </p:cNvPr>
            <p:cNvSpPr>
              <a:spLocks noEditPoints="1"/>
            </p:cNvSpPr>
            <p:nvPr/>
          </p:nvSpPr>
          <p:spPr bwMode="auto">
            <a:xfrm>
              <a:off x="4994768" y="3301031"/>
              <a:ext cx="1790989" cy="1711685"/>
            </a:xfrm>
            <a:custGeom>
              <a:avLst/>
              <a:gdLst>
                <a:gd name="T0" fmla="*/ 345 w 452"/>
                <a:gd name="T1" fmla="*/ 339 h 432"/>
                <a:gd name="T2" fmla="*/ 348 w 452"/>
                <a:gd name="T3" fmla="*/ 339 h 432"/>
                <a:gd name="T4" fmla="*/ 335 w 452"/>
                <a:gd name="T5" fmla="*/ 350 h 432"/>
                <a:gd name="T6" fmla="*/ 324 w 452"/>
                <a:gd name="T7" fmla="*/ 369 h 432"/>
                <a:gd name="T8" fmla="*/ 323 w 452"/>
                <a:gd name="T9" fmla="*/ 367 h 432"/>
                <a:gd name="T10" fmla="*/ 321 w 452"/>
                <a:gd name="T11" fmla="*/ 379 h 432"/>
                <a:gd name="T12" fmla="*/ 320 w 452"/>
                <a:gd name="T13" fmla="*/ 397 h 432"/>
                <a:gd name="T14" fmla="*/ 321 w 452"/>
                <a:gd name="T15" fmla="*/ 397 h 432"/>
                <a:gd name="T16" fmla="*/ 447 w 452"/>
                <a:gd name="T17" fmla="*/ 217 h 432"/>
                <a:gd name="T18" fmla="*/ 435 w 452"/>
                <a:gd name="T19" fmla="*/ 189 h 432"/>
                <a:gd name="T20" fmla="*/ 426 w 452"/>
                <a:gd name="T21" fmla="*/ 124 h 432"/>
                <a:gd name="T22" fmla="*/ 417 w 452"/>
                <a:gd name="T23" fmla="*/ 121 h 432"/>
                <a:gd name="T24" fmla="*/ 410 w 452"/>
                <a:gd name="T25" fmla="*/ 117 h 432"/>
                <a:gd name="T26" fmla="*/ 398 w 452"/>
                <a:gd name="T27" fmla="*/ 110 h 432"/>
                <a:gd name="T28" fmla="*/ 382 w 452"/>
                <a:gd name="T29" fmla="*/ 111 h 432"/>
                <a:gd name="T30" fmla="*/ 370 w 452"/>
                <a:gd name="T31" fmla="*/ 112 h 432"/>
                <a:gd name="T32" fmla="*/ 356 w 452"/>
                <a:gd name="T33" fmla="*/ 118 h 432"/>
                <a:gd name="T34" fmla="*/ 340 w 452"/>
                <a:gd name="T35" fmla="*/ 113 h 432"/>
                <a:gd name="T36" fmla="*/ 331 w 452"/>
                <a:gd name="T37" fmla="*/ 113 h 432"/>
                <a:gd name="T38" fmla="*/ 324 w 452"/>
                <a:gd name="T39" fmla="*/ 112 h 432"/>
                <a:gd name="T40" fmla="*/ 309 w 452"/>
                <a:gd name="T41" fmla="*/ 107 h 432"/>
                <a:gd name="T42" fmla="*/ 295 w 452"/>
                <a:gd name="T43" fmla="*/ 105 h 432"/>
                <a:gd name="T44" fmla="*/ 269 w 452"/>
                <a:gd name="T45" fmla="*/ 100 h 432"/>
                <a:gd name="T46" fmla="*/ 254 w 452"/>
                <a:gd name="T47" fmla="*/ 90 h 432"/>
                <a:gd name="T48" fmla="*/ 238 w 452"/>
                <a:gd name="T49" fmla="*/ 90 h 432"/>
                <a:gd name="T50" fmla="*/ 0 w 452"/>
                <a:gd name="T51" fmla="*/ 190 h 432"/>
                <a:gd name="T52" fmla="*/ 19 w 452"/>
                <a:gd name="T53" fmla="*/ 212 h 432"/>
                <a:gd name="T54" fmla="*/ 52 w 452"/>
                <a:gd name="T55" fmla="*/ 239 h 432"/>
                <a:gd name="T56" fmla="*/ 80 w 452"/>
                <a:gd name="T57" fmla="*/ 288 h 432"/>
                <a:gd name="T58" fmla="*/ 112 w 452"/>
                <a:gd name="T59" fmla="*/ 309 h 432"/>
                <a:gd name="T60" fmla="*/ 129 w 452"/>
                <a:gd name="T61" fmla="*/ 297 h 432"/>
                <a:gd name="T62" fmla="*/ 147 w 452"/>
                <a:gd name="T63" fmla="*/ 276 h 432"/>
                <a:gd name="T64" fmla="*/ 175 w 452"/>
                <a:gd name="T65" fmla="*/ 278 h 432"/>
                <a:gd name="T66" fmla="*/ 186 w 452"/>
                <a:gd name="T67" fmla="*/ 288 h 432"/>
                <a:gd name="T68" fmla="*/ 216 w 452"/>
                <a:gd name="T69" fmla="*/ 330 h 432"/>
                <a:gd name="T70" fmla="*/ 244 w 452"/>
                <a:gd name="T71" fmla="*/ 363 h 432"/>
                <a:gd name="T72" fmla="*/ 254 w 452"/>
                <a:gd name="T73" fmla="*/ 393 h 432"/>
                <a:gd name="T74" fmla="*/ 270 w 452"/>
                <a:gd name="T75" fmla="*/ 411 h 432"/>
                <a:gd name="T76" fmla="*/ 295 w 452"/>
                <a:gd name="T77" fmla="*/ 423 h 432"/>
                <a:gd name="T78" fmla="*/ 327 w 452"/>
                <a:gd name="T79" fmla="*/ 428 h 432"/>
                <a:gd name="T80" fmla="*/ 321 w 452"/>
                <a:gd name="T81" fmla="*/ 415 h 432"/>
                <a:gd name="T82" fmla="*/ 314 w 452"/>
                <a:gd name="T83" fmla="*/ 394 h 432"/>
                <a:gd name="T84" fmla="*/ 317 w 452"/>
                <a:gd name="T85" fmla="*/ 380 h 432"/>
                <a:gd name="T86" fmla="*/ 311 w 452"/>
                <a:gd name="T87" fmla="*/ 376 h 432"/>
                <a:gd name="T88" fmla="*/ 321 w 452"/>
                <a:gd name="T89" fmla="*/ 369 h 432"/>
                <a:gd name="T90" fmla="*/ 319 w 452"/>
                <a:gd name="T91" fmla="*/ 356 h 432"/>
                <a:gd name="T92" fmla="*/ 327 w 452"/>
                <a:gd name="T93" fmla="*/ 354 h 432"/>
                <a:gd name="T94" fmla="*/ 329 w 452"/>
                <a:gd name="T95" fmla="*/ 343 h 432"/>
                <a:gd name="T96" fmla="*/ 340 w 452"/>
                <a:gd name="T97" fmla="*/ 336 h 432"/>
                <a:gd name="T98" fmla="*/ 352 w 452"/>
                <a:gd name="T99" fmla="*/ 329 h 432"/>
                <a:gd name="T100" fmla="*/ 351 w 452"/>
                <a:gd name="T101" fmla="*/ 324 h 432"/>
                <a:gd name="T102" fmla="*/ 360 w 452"/>
                <a:gd name="T103" fmla="*/ 323 h 432"/>
                <a:gd name="T104" fmla="*/ 368 w 452"/>
                <a:gd name="T105" fmla="*/ 325 h 432"/>
                <a:gd name="T106" fmla="*/ 370 w 452"/>
                <a:gd name="T107" fmla="*/ 323 h 432"/>
                <a:gd name="T108" fmla="*/ 397 w 452"/>
                <a:gd name="T109" fmla="*/ 307 h 432"/>
                <a:gd name="T110" fmla="*/ 406 w 452"/>
                <a:gd name="T111" fmla="*/ 297 h 432"/>
                <a:gd name="T112" fmla="*/ 401 w 452"/>
                <a:gd name="T113" fmla="*/ 285 h 432"/>
                <a:gd name="T114" fmla="*/ 407 w 452"/>
                <a:gd name="T115" fmla="*/ 281 h 432"/>
                <a:gd name="T116" fmla="*/ 419 w 452"/>
                <a:gd name="T117" fmla="*/ 288 h 432"/>
                <a:gd name="T118" fmla="*/ 435 w 452"/>
                <a:gd name="T119" fmla="*/ 283 h 432"/>
                <a:gd name="T120" fmla="*/ 446 w 452"/>
                <a:gd name="T121" fmla="*/ 258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2" h="432">
                  <a:moveTo>
                    <a:pt x="331" y="354"/>
                  </a:moveTo>
                  <a:cubicBezTo>
                    <a:pt x="331" y="353"/>
                    <a:pt x="331" y="352"/>
                    <a:pt x="332" y="352"/>
                  </a:cubicBezTo>
                  <a:cubicBezTo>
                    <a:pt x="332" y="351"/>
                    <a:pt x="333" y="349"/>
                    <a:pt x="334" y="349"/>
                  </a:cubicBezTo>
                  <a:cubicBezTo>
                    <a:pt x="334" y="348"/>
                    <a:pt x="334" y="347"/>
                    <a:pt x="335" y="347"/>
                  </a:cubicBezTo>
                  <a:cubicBezTo>
                    <a:pt x="335" y="347"/>
                    <a:pt x="335" y="346"/>
                    <a:pt x="336" y="346"/>
                  </a:cubicBezTo>
                  <a:cubicBezTo>
                    <a:pt x="336" y="346"/>
                    <a:pt x="336" y="346"/>
                    <a:pt x="336" y="345"/>
                  </a:cubicBezTo>
                  <a:cubicBezTo>
                    <a:pt x="336" y="345"/>
                    <a:pt x="337" y="345"/>
                    <a:pt x="338" y="344"/>
                  </a:cubicBezTo>
                  <a:cubicBezTo>
                    <a:pt x="339" y="344"/>
                    <a:pt x="339" y="343"/>
                    <a:pt x="340" y="342"/>
                  </a:cubicBezTo>
                  <a:cubicBezTo>
                    <a:pt x="340" y="342"/>
                    <a:pt x="340" y="341"/>
                    <a:pt x="341" y="341"/>
                  </a:cubicBezTo>
                  <a:cubicBezTo>
                    <a:pt x="341" y="341"/>
                    <a:pt x="342" y="341"/>
                    <a:pt x="342" y="340"/>
                  </a:cubicBezTo>
                  <a:cubicBezTo>
                    <a:pt x="343" y="340"/>
                    <a:pt x="343" y="340"/>
                    <a:pt x="344" y="339"/>
                  </a:cubicBezTo>
                  <a:cubicBezTo>
                    <a:pt x="344" y="339"/>
                    <a:pt x="344" y="339"/>
                    <a:pt x="345" y="339"/>
                  </a:cubicBezTo>
                  <a:cubicBezTo>
                    <a:pt x="346" y="338"/>
                    <a:pt x="346" y="338"/>
                    <a:pt x="347" y="338"/>
                  </a:cubicBezTo>
                  <a:cubicBezTo>
                    <a:pt x="347" y="338"/>
                    <a:pt x="348" y="337"/>
                    <a:pt x="348" y="337"/>
                  </a:cubicBezTo>
                  <a:cubicBezTo>
                    <a:pt x="349" y="336"/>
                    <a:pt x="350" y="336"/>
                    <a:pt x="350" y="336"/>
                  </a:cubicBezTo>
                  <a:cubicBezTo>
                    <a:pt x="351" y="335"/>
                    <a:pt x="351" y="335"/>
                    <a:pt x="351" y="335"/>
                  </a:cubicBezTo>
                  <a:cubicBezTo>
                    <a:pt x="352" y="335"/>
                    <a:pt x="352" y="334"/>
                    <a:pt x="352" y="334"/>
                  </a:cubicBezTo>
                  <a:cubicBezTo>
                    <a:pt x="352" y="334"/>
                    <a:pt x="353" y="333"/>
                    <a:pt x="353" y="334"/>
                  </a:cubicBezTo>
                  <a:cubicBezTo>
                    <a:pt x="353" y="334"/>
                    <a:pt x="353" y="335"/>
                    <a:pt x="353" y="335"/>
                  </a:cubicBezTo>
                  <a:cubicBezTo>
                    <a:pt x="353" y="336"/>
                    <a:pt x="353" y="336"/>
                    <a:pt x="352" y="337"/>
                  </a:cubicBezTo>
                  <a:cubicBezTo>
                    <a:pt x="352" y="337"/>
                    <a:pt x="352" y="337"/>
                    <a:pt x="351" y="337"/>
                  </a:cubicBezTo>
                  <a:cubicBezTo>
                    <a:pt x="351" y="337"/>
                    <a:pt x="351" y="337"/>
                    <a:pt x="350" y="337"/>
                  </a:cubicBezTo>
                  <a:cubicBezTo>
                    <a:pt x="350" y="338"/>
                    <a:pt x="349" y="338"/>
                    <a:pt x="348" y="338"/>
                  </a:cubicBezTo>
                  <a:cubicBezTo>
                    <a:pt x="348" y="338"/>
                    <a:pt x="348" y="339"/>
                    <a:pt x="348" y="339"/>
                  </a:cubicBezTo>
                  <a:cubicBezTo>
                    <a:pt x="348" y="339"/>
                    <a:pt x="347" y="339"/>
                    <a:pt x="347" y="339"/>
                  </a:cubicBezTo>
                  <a:cubicBezTo>
                    <a:pt x="346" y="340"/>
                    <a:pt x="346" y="340"/>
                    <a:pt x="345" y="341"/>
                  </a:cubicBezTo>
                  <a:cubicBezTo>
                    <a:pt x="345" y="341"/>
                    <a:pt x="344" y="341"/>
                    <a:pt x="344" y="342"/>
                  </a:cubicBezTo>
                  <a:cubicBezTo>
                    <a:pt x="344" y="342"/>
                    <a:pt x="343" y="342"/>
                    <a:pt x="343" y="342"/>
                  </a:cubicBezTo>
                  <a:cubicBezTo>
                    <a:pt x="343" y="342"/>
                    <a:pt x="343" y="342"/>
                    <a:pt x="342" y="343"/>
                  </a:cubicBezTo>
                  <a:cubicBezTo>
                    <a:pt x="342" y="343"/>
                    <a:pt x="342" y="343"/>
                    <a:pt x="341" y="343"/>
                  </a:cubicBezTo>
                  <a:cubicBezTo>
                    <a:pt x="341" y="344"/>
                    <a:pt x="341" y="344"/>
                    <a:pt x="341" y="344"/>
                  </a:cubicBezTo>
                  <a:cubicBezTo>
                    <a:pt x="340" y="344"/>
                    <a:pt x="340" y="344"/>
                    <a:pt x="340" y="345"/>
                  </a:cubicBezTo>
                  <a:cubicBezTo>
                    <a:pt x="339" y="345"/>
                    <a:pt x="338" y="346"/>
                    <a:pt x="337" y="346"/>
                  </a:cubicBezTo>
                  <a:cubicBezTo>
                    <a:pt x="337" y="347"/>
                    <a:pt x="336" y="348"/>
                    <a:pt x="336" y="348"/>
                  </a:cubicBezTo>
                  <a:cubicBezTo>
                    <a:pt x="336" y="348"/>
                    <a:pt x="336" y="348"/>
                    <a:pt x="336" y="349"/>
                  </a:cubicBezTo>
                  <a:cubicBezTo>
                    <a:pt x="336" y="349"/>
                    <a:pt x="336" y="349"/>
                    <a:pt x="335" y="350"/>
                  </a:cubicBezTo>
                  <a:cubicBezTo>
                    <a:pt x="334" y="351"/>
                    <a:pt x="332" y="352"/>
                    <a:pt x="331" y="354"/>
                  </a:cubicBezTo>
                  <a:cubicBezTo>
                    <a:pt x="331" y="354"/>
                    <a:pt x="331" y="355"/>
                    <a:pt x="331" y="354"/>
                  </a:cubicBezTo>
                  <a:close/>
                  <a:moveTo>
                    <a:pt x="330" y="356"/>
                  </a:moveTo>
                  <a:cubicBezTo>
                    <a:pt x="330" y="356"/>
                    <a:pt x="330" y="356"/>
                    <a:pt x="330" y="356"/>
                  </a:cubicBezTo>
                  <a:cubicBezTo>
                    <a:pt x="330" y="356"/>
                    <a:pt x="330" y="356"/>
                    <a:pt x="330" y="356"/>
                  </a:cubicBezTo>
                  <a:cubicBezTo>
                    <a:pt x="331" y="356"/>
                    <a:pt x="331" y="355"/>
                    <a:pt x="330" y="355"/>
                  </a:cubicBezTo>
                  <a:cubicBezTo>
                    <a:pt x="330" y="355"/>
                    <a:pt x="330" y="356"/>
                    <a:pt x="330" y="356"/>
                  </a:cubicBezTo>
                  <a:close/>
                  <a:moveTo>
                    <a:pt x="321" y="375"/>
                  </a:moveTo>
                  <a:cubicBezTo>
                    <a:pt x="322" y="374"/>
                    <a:pt x="322" y="374"/>
                    <a:pt x="322" y="374"/>
                  </a:cubicBezTo>
                  <a:cubicBezTo>
                    <a:pt x="322" y="373"/>
                    <a:pt x="322" y="373"/>
                    <a:pt x="322" y="372"/>
                  </a:cubicBezTo>
                  <a:cubicBezTo>
                    <a:pt x="323" y="372"/>
                    <a:pt x="323" y="371"/>
                    <a:pt x="323" y="370"/>
                  </a:cubicBezTo>
                  <a:cubicBezTo>
                    <a:pt x="323" y="370"/>
                    <a:pt x="323" y="369"/>
                    <a:pt x="324" y="369"/>
                  </a:cubicBezTo>
                  <a:cubicBezTo>
                    <a:pt x="324" y="368"/>
                    <a:pt x="325" y="367"/>
                    <a:pt x="325" y="366"/>
                  </a:cubicBezTo>
                  <a:cubicBezTo>
                    <a:pt x="325" y="365"/>
                    <a:pt x="326" y="365"/>
                    <a:pt x="326" y="364"/>
                  </a:cubicBezTo>
                  <a:cubicBezTo>
                    <a:pt x="326" y="364"/>
                    <a:pt x="326" y="363"/>
                    <a:pt x="327" y="363"/>
                  </a:cubicBezTo>
                  <a:cubicBezTo>
                    <a:pt x="327" y="362"/>
                    <a:pt x="327" y="361"/>
                    <a:pt x="328" y="360"/>
                  </a:cubicBezTo>
                  <a:cubicBezTo>
                    <a:pt x="328" y="360"/>
                    <a:pt x="329" y="359"/>
                    <a:pt x="329" y="359"/>
                  </a:cubicBezTo>
                  <a:cubicBezTo>
                    <a:pt x="329" y="358"/>
                    <a:pt x="330" y="357"/>
                    <a:pt x="329" y="357"/>
                  </a:cubicBezTo>
                  <a:cubicBezTo>
                    <a:pt x="329" y="357"/>
                    <a:pt x="329" y="357"/>
                    <a:pt x="329" y="358"/>
                  </a:cubicBezTo>
                  <a:cubicBezTo>
                    <a:pt x="328" y="358"/>
                    <a:pt x="328" y="358"/>
                    <a:pt x="328" y="358"/>
                  </a:cubicBezTo>
                  <a:cubicBezTo>
                    <a:pt x="327" y="359"/>
                    <a:pt x="327" y="360"/>
                    <a:pt x="327" y="360"/>
                  </a:cubicBezTo>
                  <a:cubicBezTo>
                    <a:pt x="326" y="361"/>
                    <a:pt x="326" y="361"/>
                    <a:pt x="325" y="362"/>
                  </a:cubicBezTo>
                  <a:cubicBezTo>
                    <a:pt x="325" y="363"/>
                    <a:pt x="324" y="364"/>
                    <a:pt x="324" y="365"/>
                  </a:cubicBezTo>
                  <a:cubicBezTo>
                    <a:pt x="324" y="366"/>
                    <a:pt x="324" y="366"/>
                    <a:pt x="323" y="367"/>
                  </a:cubicBezTo>
                  <a:cubicBezTo>
                    <a:pt x="323" y="367"/>
                    <a:pt x="323" y="367"/>
                    <a:pt x="323" y="368"/>
                  </a:cubicBezTo>
                  <a:cubicBezTo>
                    <a:pt x="322" y="369"/>
                    <a:pt x="322" y="370"/>
                    <a:pt x="322" y="371"/>
                  </a:cubicBezTo>
                  <a:cubicBezTo>
                    <a:pt x="321" y="371"/>
                    <a:pt x="321" y="371"/>
                    <a:pt x="321" y="372"/>
                  </a:cubicBezTo>
                  <a:cubicBezTo>
                    <a:pt x="321" y="372"/>
                    <a:pt x="321" y="372"/>
                    <a:pt x="321" y="373"/>
                  </a:cubicBezTo>
                  <a:cubicBezTo>
                    <a:pt x="321" y="374"/>
                    <a:pt x="321" y="375"/>
                    <a:pt x="321" y="375"/>
                  </a:cubicBezTo>
                  <a:cubicBezTo>
                    <a:pt x="321" y="375"/>
                    <a:pt x="321" y="375"/>
                    <a:pt x="321" y="375"/>
                  </a:cubicBezTo>
                  <a:close/>
                  <a:moveTo>
                    <a:pt x="321" y="379"/>
                  </a:moveTo>
                  <a:cubicBezTo>
                    <a:pt x="321" y="379"/>
                    <a:pt x="321" y="378"/>
                    <a:pt x="321" y="378"/>
                  </a:cubicBezTo>
                  <a:cubicBezTo>
                    <a:pt x="321" y="377"/>
                    <a:pt x="321" y="377"/>
                    <a:pt x="321" y="377"/>
                  </a:cubicBezTo>
                  <a:cubicBezTo>
                    <a:pt x="321" y="377"/>
                    <a:pt x="321" y="377"/>
                    <a:pt x="321" y="376"/>
                  </a:cubicBezTo>
                  <a:cubicBezTo>
                    <a:pt x="320" y="377"/>
                    <a:pt x="320" y="377"/>
                    <a:pt x="320" y="378"/>
                  </a:cubicBezTo>
                  <a:cubicBezTo>
                    <a:pt x="320" y="378"/>
                    <a:pt x="320" y="379"/>
                    <a:pt x="321" y="379"/>
                  </a:cubicBezTo>
                  <a:close/>
                  <a:moveTo>
                    <a:pt x="320" y="387"/>
                  </a:moveTo>
                  <a:cubicBezTo>
                    <a:pt x="320" y="386"/>
                    <a:pt x="320" y="386"/>
                    <a:pt x="320" y="386"/>
                  </a:cubicBezTo>
                  <a:cubicBezTo>
                    <a:pt x="320" y="385"/>
                    <a:pt x="320" y="384"/>
                    <a:pt x="320" y="384"/>
                  </a:cubicBezTo>
                  <a:cubicBezTo>
                    <a:pt x="320" y="383"/>
                    <a:pt x="320" y="382"/>
                    <a:pt x="320" y="382"/>
                  </a:cubicBezTo>
                  <a:cubicBezTo>
                    <a:pt x="320" y="381"/>
                    <a:pt x="320" y="381"/>
                    <a:pt x="320" y="381"/>
                  </a:cubicBezTo>
                  <a:cubicBezTo>
                    <a:pt x="320" y="380"/>
                    <a:pt x="319" y="380"/>
                    <a:pt x="319" y="381"/>
                  </a:cubicBezTo>
                  <a:cubicBezTo>
                    <a:pt x="319" y="381"/>
                    <a:pt x="319" y="381"/>
                    <a:pt x="319" y="382"/>
                  </a:cubicBezTo>
                  <a:cubicBezTo>
                    <a:pt x="319" y="382"/>
                    <a:pt x="319" y="383"/>
                    <a:pt x="319" y="384"/>
                  </a:cubicBezTo>
                  <a:cubicBezTo>
                    <a:pt x="319" y="385"/>
                    <a:pt x="319" y="385"/>
                    <a:pt x="319" y="386"/>
                  </a:cubicBezTo>
                  <a:cubicBezTo>
                    <a:pt x="319" y="386"/>
                    <a:pt x="319" y="386"/>
                    <a:pt x="319" y="386"/>
                  </a:cubicBezTo>
                  <a:cubicBezTo>
                    <a:pt x="320" y="387"/>
                    <a:pt x="320" y="387"/>
                    <a:pt x="320" y="387"/>
                  </a:cubicBezTo>
                  <a:close/>
                  <a:moveTo>
                    <a:pt x="320" y="397"/>
                  </a:moveTo>
                  <a:cubicBezTo>
                    <a:pt x="320" y="397"/>
                    <a:pt x="320" y="398"/>
                    <a:pt x="320" y="398"/>
                  </a:cubicBezTo>
                  <a:cubicBezTo>
                    <a:pt x="320" y="399"/>
                    <a:pt x="320" y="399"/>
                    <a:pt x="321" y="399"/>
                  </a:cubicBezTo>
                  <a:cubicBezTo>
                    <a:pt x="321" y="399"/>
                    <a:pt x="321" y="399"/>
                    <a:pt x="321" y="400"/>
                  </a:cubicBezTo>
                  <a:cubicBezTo>
                    <a:pt x="321" y="400"/>
                    <a:pt x="321" y="400"/>
                    <a:pt x="321" y="400"/>
                  </a:cubicBezTo>
                  <a:cubicBezTo>
                    <a:pt x="321" y="400"/>
                    <a:pt x="321" y="401"/>
                    <a:pt x="322" y="401"/>
                  </a:cubicBezTo>
                  <a:cubicBezTo>
                    <a:pt x="322" y="402"/>
                    <a:pt x="322" y="402"/>
                    <a:pt x="322" y="403"/>
                  </a:cubicBezTo>
                  <a:cubicBezTo>
                    <a:pt x="322" y="403"/>
                    <a:pt x="322" y="404"/>
                    <a:pt x="323" y="404"/>
                  </a:cubicBezTo>
                  <a:cubicBezTo>
                    <a:pt x="323" y="404"/>
                    <a:pt x="322" y="402"/>
                    <a:pt x="322" y="402"/>
                  </a:cubicBezTo>
                  <a:cubicBezTo>
                    <a:pt x="322" y="402"/>
                    <a:pt x="322" y="401"/>
                    <a:pt x="322" y="400"/>
                  </a:cubicBezTo>
                  <a:cubicBezTo>
                    <a:pt x="322" y="400"/>
                    <a:pt x="322" y="400"/>
                    <a:pt x="322" y="400"/>
                  </a:cubicBezTo>
                  <a:cubicBezTo>
                    <a:pt x="321" y="399"/>
                    <a:pt x="321" y="399"/>
                    <a:pt x="321" y="399"/>
                  </a:cubicBezTo>
                  <a:cubicBezTo>
                    <a:pt x="321" y="398"/>
                    <a:pt x="321" y="398"/>
                    <a:pt x="321" y="397"/>
                  </a:cubicBezTo>
                  <a:cubicBezTo>
                    <a:pt x="320" y="397"/>
                    <a:pt x="321" y="397"/>
                    <a:pt x="320" y="396"/>
                  </a:cubicBezTo>
                  <a:cubicBezTo>
                    <a:pt x="320" y="396"/>
                    <a:pt x="320" y="397"/>
                    <a:pt x="320" y="397"/>
                  </a:cubicBezTo>
                  <a:close/>
                  <a:moveTo>
                    <a:pt x="451" y="229"/>
                  </a:moveTo>
                  <a:cubicBezTo>
                    <a:pt x="451" y="229"/>
                    <a:pt x="451" y="229"/>
                    <a:pt x="451" y="228"/>
                  </a:cubicBezTo>
                  <a:cubicBezTo>
                    <a:pt x="452" y="228"/>
                    <a:pt x="452" y="227"/>
                    <a:pt x="452" y="227"/>
                  </a:cubicBezTo>
                  <a:cubicBezTo>
                    <a:pt x="452" y="226"/>
                    <a:pt x="452" y="225"/>
                    <a:pt x="451" y="225"/>
                  </a:cubicBezTo>
                  <a:cubicBezTo>
                    <a:pt x="451" y="225"/>
                    <a:pt x="452" y="224"/>
                    <a:pt x="452" y="223"/>
                  </a:cubicBezTo>
                  <a:cubicBezTo>
                    <a:pt x="452" y="223"/>
                    <a:pt x="452" y="222"/>
                    <a:pt x="452" y="222"/>
                  </a:cubicBezTo>
                  <a:cubicBezTo>
                    <a:pt x="452" y="222"/>
                    <a:pt x="451" y="223"/>
                    <a:pt x="451" y="223"/>
                  </a:cubicBezTo>
                  <a:cubicBezTo>
                    <a:pt x="451" y="223"/>
                    <a:pt x="450" y="222"/>
                    <a:pt x="450" y="222"/>
                  </a:cubicBezTo>
                  <a:cubicBezTo>
                    <a:pt x="450" y="221"/>
                    <a:pt x="450" y="221"/>
                    <a:pt x="450" y="220"/>
                  </a:cubicBezTo>
                  <a:cubicBezTo>
                    <a:pt x="450" y="220"/>
                    <a:pt x="448" y="218"/>
                    <a:pt x="447" y="217"/>
                  </a:cubicBezTo>
                  <a:cubicBezTo>
                    <a:pt x="447" y="217"/>
                    <a:pt x="447" y="216"/>
                    <a:pt x="447" y="216"/>
                  </a:cubicBezTo>
                  <a:cubicBezTo>
                    <a:pt x="447" y="216"/>
                    <a:pt x="448" y="215"/>
                    <a:pt x="448" y="214"/>
                  </a:cubicBezTo>
                  <a:cubicBezTo>
                    <a:pt x="448" y="214"/>
                    <a:pt x="447" y="214"/>
                    <a:pt x="447" y="213"/>
                  </a:cubicBezTo>
                  <a:cubicBezTo>
                    <a:pt x="447" y="213"/>
                    <a:pt x="447" y="212"/>
                    <a:pt x="447" y="211"/>
                  </a:cubicBezTo>
                  <a:cubicBezTo>
                    <a:pt x="446" y="211"/>
                    <a:pt x="445" y="210"/>
                    <a:pt x="445" y="210"/>
                  </a:cubicBezTo>
                  <a:cubicBezTo>
                    <a:pt x="445" y="210"/>
                    <a:pt x="445" y="209"/>
                    <a:pt x="446" y="209"/>
                  </a:cubicBezTo>
                  <a:cubicBezTo>
                    <a:pt x="446" y="209"/>
                    <a:pt x="446" y="209"/>
                    <a:pt x="446" y="209"/>
                  </a:cubicBezTo>
                  <a:cubicBezTo>
                    <a:pt x="446" y="208"/>
                    <a:pt x="443" y="207"/>
                    <a:pt x="443" y="206"/>
                  </a:cubicBezTo>
                  <a:cubicBezTo>
                    <a:pt x="442" y="206"/>
                    <a:pt x="443" y="204"/>
                    <a:pt x="443" y="204"/>
                  </a:cubicBezTo>
                  <a:cubicBezTo>
                    <a:pt x="443" y="204"/>
                    <a:pt x="443" y="202"/>
                    <a:pt x="443" y="201"/>
                  </a:cubicBezTo>
                  <a:cubicBezTo>
                    <a:pt x="443" y="200"/>
                    <a:pt x="441" y="196"/>
                    <a:pt x="441" y="196"/>
                  </a:cubicBezTo>
                  <a:cubicBezTo>
                    <a:pt x="441" y="195"/>
                    <a:pt x="435" y="189"/>
                    <a:pt x="435" y="189"/>
                  </a:cubicBezTo>
                  <a:cubicBezTo>
                    <a:pt x="435" y="127"/>
                    <a:pt x="435" y="127"/>
                    <a:pt x="435" y="127"/>
                  </a:cubicBezTo>
                  <a:cubicBezTo>
                    <a:pt x="435" y="126"/>
                    <a:pt x="434" y="126"/>
                    <a:pt x="434" y="125"/>
                  </a:cubicBezTo>
                  <a:cubicBezTo>
                    <a:pt x="434" y="125"/>
                    <a:pt x="434" y="124"/>
                    <a:pt x="434" y="124"/>
                  </a:cubicBezTo>
                  <a:cubicBezTo>
                    <a:pt x="434" y="123"/>
                    <a:pt x="433" y="124"/>
                    <a:pt x="433" y="124"/>
                  </a:cubicBezTo>
                  <a:cubicBezTo>
                    <a:pt x="432" y="125"/>
                    <a:pt x="432" y="125"/>
                    <a:pt x="431" y="125"/>
                  </a:cubicBezTo>
                  <a:cubicBezTo>
                    <a:pt x="431" y="124"/>
                    <a:pt x="431" y="124"/>
                    <a:pt x="431" y="124"/>
                  </a:cubicBezTo>
                  <a:cubicBezTo>
                    <a:pt x="431" y="124"/>
                    <a:pt x="431" y="124"/>
                    <a:pt x="430" y="124"/>
                  </a:cubicBezTo>
                  <a:cubicBezTo>
                    <a:pt x="429" y="123"/>
                    <a:pt x="429" y="124"/>
                    <a:pt x="429" y="125"/>
                  </a:cubicBezTo>
                  <a:cubicBezTo>
                    <a:pt x="429" y="125"/>
                    <a:pt x="428" y="125"/>
                    <a:pt x="428" y="125"/>
                  </a:cubicBezTo>
                  <a:cubicBezTo>
                    <a:pt x="428" y="124"/>
                    <a:pt x="428" y="124"/>
                    <a:pt x="427" y="124"/>
                  </a:cubicBezTo>
                  <a:cubicBezTo>
                    <a:pt x="427" y="124"/>
                    <a:pt x="427" y="125"/>
                    <a:pt x="427" y="125"/>
                  </a:cubicBezTo>
                  <a:cubicBezTo>
                    <a:pt x="427" y="125"/>
                    <a:pt x="426" y="125"/>
                    <a:pt x="426" y="124"/>
                  </a:cubicBezTo>
                  <a:cubicBezTo>
                    <a:pt x="426" y="124"/>
                    <a:pt x="426" y="124"/>
                    <a:pt x="425" y="125"/>
                  </a:cubicBezTo>
                  <a:cubicBezTo>
                    <a:pt x="425" y="124"/>
                    <a:pt x="425" y="125"/>
                    <a:pt x="424" y="125"/>
                  </a:cubicBezTo>
                  <a:cubicBezTo>
                    <a:pt x="424" y="125"/>
                    <a:pt x="424" y="125"/>
                    <a:pt x="424" y="125"/>
                  </a:cubicBezTo>
                  <a:cubicBezTo>
                    <a:pt x="424" y="125"/>
                    <a:pt x="424" y="125"/>
                    <a:pt x="424" y="125"/>
                  </a:cubicBezTo>
                  <a:cubicBezTo>
                    <a:pt x="423" y="126"/>
                    <a:pt x="423" y="125"/>
                    <a:pt x="423" y="125"/>
                  </a:cubicBezTo>
                  <a:cubicBezTo>
                    <a:pt x="422" y="125"/>
                    <a:pt x="423" y="125"/>
                    <a:pt x="423" y="124"/>
                  </a:cubicBezTo>
                  <a:cubicBezTo>
                    <a:pt x="423" y="123"/>
                    <a:pt x="422" y="124"/>
                    <a:pt x="421" y="124"/>
                  </a:cubicBezTo>
                  <a:cubicBezTo>
                    <a:pt x="421" y="124"/>
                    <a:pt x="420" y="123"/>
                    <a:pt x="420" y="123"/>
                  </a:cubicBezTo>
                  <a:cubicBezTo>
                    <a:pt x="420" y="123"/>
                    <a:pt x="420" y="123"/>
                    <a:pt x="421" y="122"/>
                  </a:cubicBezTo>
                  <a:cubicBezTo>
                    <a:pt x="421" y="122"/>
                    <a:pt x="420" y="121"/>
                    <a:pt x="420" y="121"/>
                  </a:cubicBezTo>
                  <a:cubicBezTo>
                    <a:pt x="418" y="123"/>
                    <a:pt x="418" y="123"/>
                    <a:pt x="418" y="123"/>
                  </a:cubicBezTo>
                  <a:cubicBezTo>
                    <a:pt x="418" y="122"/>
                    <a:pt x="418" y="122"/>
                    <a:pt x="417" y="121"/>
                  </a:cubicBezTo>
                  <a:cubicBezTo>
                    <a:pt x="417" y="121"/>
                    <a:pt x="417" y="121"/>
                    <a:pt x="416" y="121"/>
                  </a:cubicBezTo>
                  <a:cubicBezTo>
                    <a:pt x="416" y="120"/>
                    <a:pt x="416" y="120"/>
                    <a:pt x="416" y="120"/>
                  </a:cubicBezTo>
                  <a:cubicBezTo>
                    <a:pt x="416" y="120"/>
                    <a:pt x="415" y="120"/>
                    <a:pt x="415" y="120"/>
                  </a:cubicBezTo>
                  <a:cubicBezTo>
                    <a:pt x="415" y="120"/>
                    <a:pt x="415" y="120"/>
                    <a:pt x="414" y="120"/>
                  </a:cubicBezTo>
                  <a:cubicBezTo>
                    <a:pt x="414" y="119"/>
                    <a:pt x="414" y="119"/>
                    <a:pt x="414" y="119"/>
                  </a:cubicBezTo>
                  <a:cubicBezTo>
                    <a:pt x="413" y="119"/>
                    <a:pt x="413" y="120"/>
                    <a:pt x="413" y="120"/>
                  </a:cubicBezTo>
                  <a:cubicBezTo>
                    <a:pt x="413" y="120"/>
                    <a:pt x="412" y="120"/>
                    <a:pt x="411" y="119"/>
                  </a:cubicBezTo>
                  <a:cubicBezTo>
                    <a:pt x="411" y="119"/>
                    <a:pt x="411" y="119"/>
                    <a:pt x="411" y="119"/>
                  </a:cubicBezTo>
                  <a:cubicBezTo>
                    <a:pt x="411" y="119"/>
                    <a:pt x="410" y="119"/>
                    <a:pt x="410" y="118"/>
                  </a:cubicBezTo>
                  <a:cubicBezTo>
                    <a:pt x="410" y="118"/>
                    <a:pt x="410" y="118"/>
                    <a:pt x="410" y="117"/>
                  </a:cubicBezTo>
                  <a:cubicBezTo>
                    <a:pt x="410" y="117"/>
                    <a:pt x="409" y="117"/>
                    <a:pt x="409" y="117"/>
                  </a:cubicBezTo>
                  <a:cubicBezTo>
                    <a:pt x="409" y="117"/>
                    <a:pt x="410" y="117"/>
                    <a:pt x="410" y="117"/>
                  </a:cubicBezTo>
                  <a:cubicBezTo>
                    <a:pt x="409" y="116"/>
                    <a:pt x="408" y="117"/>
                    <a:pt x="408" y="117"/>
                  </a:cubicBezTo>
                  <a:cubicBezTo>
                    <a:pt x="408" y="117"/>
                    <a:pt x="408" y="118"/>
                    <a:pt x="407" y="118"/>
                  </a:cubicBezTo>
                  <a:cubicBezTo>
                    <a:pt x="407" y="118"/>
                    <a:pt x="407" y="117"/>
                    <a:pt x="407" y="117"/>
                  </a:cubicBezTo>
                  <a:cubicBezTo>
                    <a:pt x="406" y="117"/>
                    <a:pt x="406" y="116"/>
                    <a:pt x="406" y="116"/>
                  </a:cubicBezTo>
                  <a:cubicBezTo>
                    <a:pt x="406" y="116"/>
                    <a:pt x="405" y="116"/>
                    <a:pt x="405" y="116"/>
                  </a:cubicBezTo>
                  <a:cubicBezTo>
                    <a:pt x="405" y="116"/>
                    <a:pt x="405" y="116"/>
                    <a:pt x="404" y="115"/>
                  </a:cubicBezTo>
                  <a:cubicBezTo>
                    <a:pt x="404" y="115"/>
                    <a:pt x="404" y="115"/>
                    <a:pt x="404" y="115"/>
                  </a:cubicBezTo>
                  <a:cubicBezTo>
                    <a:pt x="404" y="114"/>
                    <a:pt x="404" y="114"/>
                    <a:pt x="403" y="114"/>
                  </a:cubicBezTo>
                  <a:cubicBezTo>
                    <a:pt x="403" y="114"/>
                    <a:pt x="403" y="113"/>
                    <a:pt x="403" y="113"/>
                  </a:cubicBezTo>
                  <a:cubicBezTo>
                    <a:pt x="403" y="112"/>
                    <a:pt x="402" y="112"/>
                    <a:pt x="401" y="112"/>
                  </a:cubicBezTo>
                  <a:cubicBezTo>
                    <a:pt x="400" y="112"/>
                    <a:pt x="399" y="112"/>
                    <a:pt x="399" y="111"/>
                  </a:cubicBezTo>
                  <a:cubicBezTo>
                    <a:pt x="399" y="110"/>
                    <a:pt x="399" y="110"/>
                    <a:pt x="398" y="110"/>
                  </a:cubicBezTo>
                  <a:cubicBezTo>
                    <a:pt x="398" y="110"/>
                    <a:pt x="398" y="111"/>
                    <a:pt x="398" y="111"/>
                  </a:cubicBezTo>
                  <a:cubicBezTo>
                    <a:pt x="397" y="111"/>
                    <a:pt x="397" y="109"/>
                    <a:pt x="397" y="109"/>
                  </a:cubicBezTo>
                  <a:cubicBezTo>
                    <a:pt x="396" y="108"/>
                    <a:pt x="395" y="108"/>
                    <a:pt x="394" y="108"/>
                  </a:cubicBezTo>
                  <a:cubicBezTo>
                    <a:pt x="393" y="108"/>
                    <a:pt x="393" y="109"/>
                    <a:pt x="393" y="110"/>
                  </a:cubicBezTo>
                  <a:cubicBezTo>
                    <a:pt x="393" y="110"/>
                    <a:pt x="393" y="110"/>
                    <a:pt x="393" y="110"/>
                  </a:cubicBezTo>
                  <a:cubicBezTo>
                    <a:pt x="392" y="110"/>
                    <a:pt x="392" y="111"/>
                    <a:pt x="392" y="111"/>
                  </a:cubicBezTo>
                  <a:cubicBezTo>
                    <a:pt x="391" y="112"/>
                    <a:pt x="390" y="112"/>
                    <a:pt x="389" y="112"/>
                  </a:cubicBezTo>
                  <a:cubicBezTo>
                    <a:pt x="388" y="112"/>
                    <a:pt x="387" y="112"/>
                    <a:pt x="386" y="112"/>
                  </a:cubicBezTo>
                  <a:cubicBezTo>
                    <a:pt x="385" y="112"/>
                    <a:pt x="385" y="112"/>
                    <a:pt x="385" y="111"/>
                  </a:cubicBezTo>
                  <a:cubicBezTo>
                    <a:pt x="385" y="111"/>
                    <a:pt x="384" y="111"/>
                    <a:pt x="384" y="111"/>
                  </a:cubicBezTo>
                  <a:cubicBezTo>
                    <a:pt x="384" y="111"/>
                    <a:pt x="384" y="111"/>
                    <a:pt x="383" y="111"/>
                  </a:cubicBezTo>
                  <a:cubicBezTo>
                    <a:pt x="383" y="111"/>
                    <a:pt x="383" y="111"/>
                    <a:pt x="382" y="111"/>
                  </a:cubicBezTo>
                  <a:cubicBezTo>
                    <a:pt x="382" y="110"/>
                    <a:pt x="382" y="110"/>
                    <a:pt x="382" y="110"/>
                  </a:cubicBezTo>
                  <a:cubicBezTo>
                    <a:pt x="381" y="109"/>
                    <a:pt x="381" y="109"/>
                    <a:pt x="381" y="109"/>
                  </a:cubicBezTo>
                  <a:cubicBezTo>
                    <a:pt x="380" y="109"/>
                    <a:pt x="380" y="110"/>
                    <a:pt x="379" y="110"/>
                  </a:cubicBezTo>
                  <a:cubicBezTo>
                    <a:pt x="379" y="110"/>
                    <a:pt x="379" y="110"/>
                    <a:pt x="379" y="110"/>
                  </a:cubicBezTo>
                  <a:cubicBezTo>
                    <a:pt x="378" y="111"/>
                    <a:pt x="377" y="110"/>
                    <a:pt x="376" y="111"/>
                  </a:cubicBezTo>
                  <a:cubicBezTo>
                    <a:pt x="376" y="111"/>
                    <a:pt x="376" y="111"/>
                    <a:pt x="376" y="112"/>
                  </a:cubicBezTo>
                  <a:cubicBezTo>
                    <a:pt x="376" y="112"/>
                    <a:pt x="376" y="112"/>
                    <a:pt x="375" y="112"/>
                  </a:cubicBezTo>
                  <a:cubicBezTo>
                    <a:pt x="375" y="112"/>
                    <a:pt x="374" y="112"/>
                    <a:pt x="374" y="112"/>
                  </a:cubicBezTo>
                  <a:cubicBezTo>
                    <a:pt x="373" y="113"/>
                    <a:pt x="373" y="113"/>
                    <a:pt x="373" y="113"/>
                  </a:cubicBezTo>
                  <a:cubicBezTo>
                    <a:pt x="373" y="113"/>
                    <a:pt x="372" y="113"/>
                    <a:pt x="372" y="113"/>
                  </a:cubicBezTo>
                  <a:cubicBezTo>
                    <a:pt x="372" y="113"/>
                    <a:pt x="372" y="113"/>
                    <a:pt x="371" y="112"/>
                  </a:cubicBezTo>
                  <a:cubicBezTo>
                    <a:pt x="371" y="112"/>
                    <a:pt x="370" y="112"/>
                    <a:pt x="370" y="112"/>
                  </a:cubicBezTo>
                  <a:cubicBezTo>
                    <a:pt x="370" y="112"/>
                    <a:pt x="370" y="111"/>
                    <a:pt x="370" y="111"/>
                  </a:cubicBezTo>
                  <a:cubicBezTo>
                    <a:pt x="369" y="111"/>
                    <a:pt x="369" y="112"/>
                    <a:pt x="368" y="112"/>
                  </a:cubicBezTo>
                  <a:cubicBezTo>
                    <a:pt x="368" y="112"/>
                    <a:pt x="368" y="111"/>
                    <a:pt x="367" y="111"/>
                  </a:cubicBezTo>
                  <a:cubicBezTo>
                    <a:pt x="367" y="112"/>
                    <a:pt x="367" y="112"/>
                    <a:pt x="367" y="112"/>
                  </a:cubicBezTo>
                  <a:cubicBezTo>
                    <a:pt x="366" y="113"/>
                    <a:pt x="366" y="113"/>
                    <a:pt x="365" y="113"/>
                  </a:cubicBezTo>
                  <a:cubicBezTo>
                    <a:pt x="365" y="113"/>
                    <a:pt x="364" y="113"/>
                    <a:pt x="363" y="113"/>
                  </a:cubicBezTo>
                  <a:cubicBezTo>
                    <a:pt x="363" y="113"/>
                    <a:pt x="362" y="113"/>
                    <a:pt x="362" y="114"/>
                  </a:cubicBezTo>
                  <a:cubicBezTo>
                    <a:pt x="361" y="114"/>
                    <a:pt x="361" y="114"/>
                    <a:pt x="361" y="115"/>
                  </a:cubicBezTo>
                  <a:cubicBezTo>
                    <a:pt x="361" y="115"/>
                    <a:pt x="361" y="116"/>
                    <a:pt x="361" y="116"/>
                  </a:cubicBezTo>
                  <a:cubicBezTo>
                    <a:pt x="360" y="117"/>
                    <a:pt x="359" y="116"/>
                    <a:pt x="359" y="116"/>
                  </a:cubicBezTo>
                  <a:cubicBezTo>
                    <a:pt x="358" y="116"/>
                    <a:pt x="357" y="116"/>
                    <a:pt x="357" y="116"/>
                  </a:cubicBezTo>
                  <a:cubicBezTo>
                    <a:pt x="356" y="116"/>
                    <a:pt x="356" y="117"/>
                    <a:pt x="356" y="118"/>
                  </a:cubicBezTo>
                  <a:cubicBezTo>
                    <a:pt x="356" y="118"/>
                    <a:pt x="356" y="119"/>
                    <a:pt x="355" y="120"/>
                  </a:cubicBezTo>
                  <a:cubicBezTo>
                    <a:pt x="355" y="120"/>
                    <a:pt x="354" y="118"/>
                    <a:pt x="354" y="118"/>
                  </a:cubicBezTo>
                  <a:cubicBezTo>
                    <a:pt x="353" y="117"/>
                    <a:pt x="353" y="116"/>
                    <a:pt x="352" y="116"/>
                  </a:cubicBezTo>
                  <a:cubicBezTo>
                    <a:pt x="351" y="116"/>
                    <a:pt x="350" y="116"/>
                    <a:pt x="350" y="116"/>
                  </a:cubicBezTo>
                  <a:cubicBezTo>
                    <a:pt x="349" y="116"/>
                    <a:pt x="349" y="115"/>
                    <a:pt x="349" y="115"/>
                  </a:cubicBezTo>
                  <a:cubicBezTo>
                    <a:pt x="349" y="115"/>
                    <a:pt x="349" y="114"/>
                    <a:pt x="348" y="114"/>
                  </a:cubicBezTo>
                  <a:cubicBezTo>
                    <a:pt x="348" y="114"/>
                    <a:pt x="344" y="113"/>
                    <a:pt x="345" y="112"/>
                  </a:cubicBezTo>
                  <a:cubicBezTo>
                    <a:pt x="346" y="112"/>
                    <a:pt x="346" y="112"/>
                    <a:pt x="346" y="111"/>
                  </a:cubicBezTo>
                  <a:cubicBezTo>
                    <a:pt x="346" y="110"/>
                    <a:pt x="345" y="109"/>
                    <a:pt x="344" y="110"/>
                  </a:cubicBezTo>
                  <a:cubicBezTo>
                    <a:pt x="344" y="111"/>
                    <a:pt x="344" y="111"/>
                    <a:pt x="344" y="111"/>
                  </a:cubicBezTo>
                  <a:cubicBezTo>
                    <a:pt x="343" y="112"/>
                    <a:pt x="343" y="112"/>
                    <a:pt x="343" y="113"/>
                  </a:cubicBezTo>
                  <a:cubicBezTo>
                    <a:pt x="342" y="113"/>
                    <a:pt x="341" y="114"/>
                    <a:pt x="340" y="113"/>
                  </a:cubicBezTo>
                  <a:cubicBezTo>
                    <a:pt x="340" y="113"/>
                    <a:pt x="340" y="112"/>
                    <a:pt x="339" y="112"/>
                  </a:cubicBezTo>
                  <a:cubicBezTo>
                    <a:pt x="339" y="112"/>
                    <a:pt x="339" y="112"/>
                    <a:pt x="338" y="112"/>
                  </a:cubicBezTo>
                  <a:cubicBezTo>
                    <a:pt x="338" y="112"/>
                    <a:pt x="338" y="112"/>
                    <a:pt x="337" y="112"/>
                  </a:cubicBezTo>
                  <a:cubicBezTo>
                    <a:pt x="337" y="113"/>
                    <a:pt x="337" y="112"/>
                    <a:pt x="337" y="112"/>
                  </a:cubicBezTo>
                  <a:cubicBezTo>
                    <a:pt x="337" y="112"/>
                    <a:pt x="337" y="112"/>
                    <a:pt x="337" y="111"/>
                  </a:cubicBezTo>
                  <a:cubicBezTo>
                    <a:pt x="337" y="111"/>
                    <a:pt x="336" y="110"/>
                    <a:pt x="336" y="109"/>
                  </a:cubicBezTo>
                  <a:cubicBezTo>
                    <a:pt x="335" y="109"/>
                    <a:pt x="335" y="109"/>
                    <a:pt x="335" y="109"/>
                  </a:cubicBezTo>
                  <a:cubicBezTo>
                    <a:pt x="335" y="109"/>
                    <a:pt x="334" y="109"/>
                    <a:pt x="333" y="109"/>
                  </a:cubicBezTo>
                  <a:cubicBezTo>
                    <a:pt x="333" y="109"/>
                    <a:pt x="333" y="110"/>
                    <a:pt x="333" y="110"/>
                  </a:cubicBezTo>
                  <a:cubicBezTo>
                    <a:pt x="333" y="111"/>
                    <a:pt x="333" y="111"/>
                    <a:pt x="333" y="112"/>
                  </a:cubicBezTo>
                  <a:cubicBezTo>
                    <a:pt x="332" y="112"/>
                    <a:pt x="331" y="112"/>
                    <a:pt x="331" y="113"/>
                  </a:cubicBezTo>
                  <a:cubicBezTo>
                    <a:pt x="331" y="113"/>
                    <a:pt x="331" y="113"/>
                    <a:pt x="331" y="113"/>
                  </a:cubicBezTo>
                  <a:cubicBezTo>
                    <a:pt x="331" y="113"/>
                    <a:pt x="330" y="113"/>
                    <a:pt x="330" y="113"/>
                  </a:cubicBezTo>
                  <a:cubicBezTo>
                    <a:pt x="330" y="113"/>
                    <a:pt x="329" y="114"/>
                    <a:pt x="329" y="114"/>
                  </a:cubicBezTo>
                  <a:cubicBezTo>
                    <a:pt x="329" y="115"/>
                    <a:pt x="329" y="115"/>
                    <a:pt x="329" y="116"/>
                  </a:cubicBezTo>
                  <a:cubicBezTo>
                    <a:pt x="330" y="116"/>
                    <a:pt x="329" y="116"/>
                    <a:pt x="329" y="117"/>
                  </a:cubicBezTo>
                  <a:cubicBezTo>
                    <a:pt x="329" y="117"/>
                    <a:pt x="329" y="118"/>
                    <a:pt x="329" y="118"/>
                  </a:cubicBezTo>
                  <a:cubicBezTo>
                    <a:pt x="327" y="118"/>
                    <a:pt x="326" y="117"/>
                    <a:pt x="326" y="116"/>
                  </a:cubicBezTo>
                  <a:cubicBezTo>
                    <a:pt x="326" y="115"/>
                    <a:pt x="326" y="115"/>
                    <a:pt x="326" y="114"/>
                  </a:cubicBezTo>
                  <a:cubicBezTo>
                    <a:pt x="326" y="114"/>
                    <a:pt x="326" y="113"/>
                    <a:pt x="326" y="113"/>
                  </a:cubicBezTo>
                  <a:cubicBezTo>
                    <a:pt x="326" y="112"/>
                    <a:pt x="326" y="112"/>
                    <a:pt x="326" y="111"/>
                  </a:cubicBezTo>
                  <a:cubicBezTo>
                    <a:pt x="326" y="111"/>
                    <a:pt x="326" y="110"/>
                    <a:pt x="325" y="110"/>
                  </a:cubicBezTo>
                  <a:cubicBezTo>
                    <a:pt x="325" y="110"/>
                    <a:pt x="325" y="111"/>
                    <a:pt x="324" y="111"/>
                  </a:cubicBezTo>
                  <a:cubicBezTo>
                    <a:pt x="324" y="112"/>
                    <a:pt x="324" y="112"/>
                    <a:pt x="324" y="112"/>
                  </a:cubicBezTo>
                  <a:cubicBezTo>
                    <a:pt x="323" y="112"/>
                    <a:pt x="323" y="112"/>
                    <a:pt x="323" y="112"/>
                  </a:cubicBezTo>
                  <a:cubicBezTo>
                    <a:pt x="322" y="111"/>
                    <a:pt x="322" y="111"/>
                    <a:pt x="321" y="112"/>
                  </a:cubicBezTo>
                  <a:cubicBezTo>
                    <a:pt x="321" y="112"/>
                    <a:pt x="321" y="112"/>
                    <a:pt x="321" y="112"/>
                  </a:cubicBezTo>
                  <a:cubicBezTo>
                    <a:pt x="320" y="113"/>
                    <a:pt x="320" y="113"/>
                    <a:pt x="320" y="113"/>
                  </a:cubicBezTo>
                  <a:cubicBezTo>
                    <a:pt x="320" y="114"/>
                    <a:pt x="319" y="114"/>
                    <a:pt x="318" y="114"/>
                  </a:cubicBezTo>
                  <a:cubicBezTo>
                    <a:pt x="317" y="114"/>
                    <a:pt x="317" y="113"/>
                    <a:pt x="316" y="113"/>
                  </a:cubicBezTo>
                  <a:cubicBezTo>
                    <a:pt x="316" y="112"/>
                    <a:pt x="317" y="112"/>
                    <a:pt x="317" y="111"/>
                  </a:cubicBezTo>
                  <a:cubicBezTo>
                    <a:pt x="316" y="110"/>
                    <a:pt x="314" y="111"/>
                    <a:pt x="313" y="111"/>
                  </a:cubicBezTo>
                  <a:cubicBezTo>
                    <a:pt x="313" y="111"/>
                    <a:pt x="313" y="111"/>
                    <a:pt x="312" y="110"/>
                  </a:cubicBezTo>
                  <a:cubicBezTo>
                    <a:pt x="312" y="110"/>
                    <a:pt x="312" y="109"/>
                    <a:pt x="312" y="109"/>
                  </a:cubicBezTo>
                  <a:cubicBezTo>
                    <a:pt x="312" y="108"/>
                    <a:pt x="311" y="108"/>
                    <a:pt x="310" y="108"/>
                  </a:cubicBezTo>
                  <a:cubicBezTo>
                    <a:pt x="310" y="107"/>
                    <a:pt x="310" y="107"/>
                    <a:pt x="309" y="107"/>
                  </a:cubicBezTo>
                  <a:cubicBezTo>
                    <a:pt x="309" y="107"/>
                    <a:pt x="308" y="107"/>
                    <a:pt x="308" y="108"/>
                  </a:cubicBezTo>
                  <a:cubicBezTo>
                    <a:pt x="308" y="108"/>
                    <a:pt x="307" y="108"/>
                    <a:pt x="307" y="109"/>
                  </a:cubicBezTo>
                  <a:cubicBezTo>
                    <a:pt x="306" y="109"/>
                    <a:pt x="306" y="109"/>
                    <a:pt x="306" y="110"/>
                  </a:cubicBezTo>
                  <a:cubicBezTo>
                    <a:pt x="305" y="110"/>
                    <a:pt x="304" y="111"/>
                    <a:pt x="303" y="111"/>
                  </a:cubicBezTo>
                  <a:cubicBezTo>
                    <a:pt x="303" y="112"/>
                    <a:pt x="303" y="112"/>
                    <a:pt x="302" y="112"/>
                  </a:cubicBezTo>
                  <a:cubicBezTo>
                    <a:pt x="301" y="112"/>
                    <a:pt x="301" y="112"/>
                    <a:pt x="300" y="111"/>
                  </a:cubicBezTo>
                  <a:cubicBezTo>
                    <a:pt x="300" y="111"/>
                    <a:pt x="299" y="111"/>
                    <a:pt x="299" y="110"/>
                  </a:cubicBezTo>
                  <a:cubicBezTo>
                    <a:pt x="298" y="110"/>
                    <a:pt x="299" y="108"/>
                    <a:pt x="299" y="108"/>
                  </a:cubicBezTo>
                  <a:cubicBezTo>
                    <a:pt x="299" y="108"/>
                    <a:pt x="299" y="107"/>
                    <a:pt x="299" y="107"/>
                  </a:cubicBezTo>
                  <a:cubicBezTo>
                    <a:pt x="299" y="107"/>
                    <a:pt x="299" y="107"/>
                    <a:pt x="298" y="107"/>
                  </a:cubicBezTo>
                  <a:cubicBezTo>
                    <a:pt x="297" y="107"/>
                    <a:pt x="296" y="106"/>
                    <a:pt x="296" y="106"/>
                  </a:cubicBezTo>
                  <a:cubicBezTo>
                    <a:pt x="295" y="106"/>
                    <a:pt x="295" y="106"/>
                    <a:pt x="295" y="105"/>
                  </a:cubicBezTo>
                  <a:cubicBezTo>
                    <a:pt x="295" y="104"/>
                    <a:pt x="294" y="103"/>
                    <a:pt x="294" y="102"/>
                  </a:cubicBezTo>
                  <a:cubicBezTo>
                    <a:pt x="294" y="102"/>
                    <a:pt x="294" y="101"/>
                    <a:pt x="294" y="100"/>
                  </a:cubicBezTo>
                  <a:cubicBezTo>
                    <a:pt x="293" y="100"/>
                    <a:pt x="293" y="101"/>
                    <a:pt x="292" y="102"/>
                  </a:cubicBezTo>
                  <a:cubicBezTo>
                    <a:pt x="291" y="102"/>
                    <a:pt x="290" y="101"/>
                    <a:pt x="289" y="101"/>
                  </a:cubicBezTo>
                  <a:cubicBezTo>
                    <a:pt x="288" y="100"/>
                    <a:pt x="287" y="100"/>
                    <a:pt x="286" y="100"/>
                  </a:cubicBezTo>
                  <a:cubicBezTo>
                    <a:pt x="285" y="100"/>
                    <a:pt x="285" y="101"/>
                    <a:pt x="285" y="101"/>
                  </a:cubicBezTo>
                  <a:cubicBezTo>
                    <a:pt x="284" y="102"/>
                    <a:pt x="284" y="102"/>
                    <a:pt x="284" y="102"/>
                  </a:cubicBezTo>
                  <a:cubicBezTo>
                    <a:pt x="283" y="103"/>
                    <a:pt x="282" y="103"/>
                    <a:pt x="281" y="103"/>
                  </a:cubicBezTo>
                  <a:cubicBezTo>
                    <a:pt x="280" y="102"/>
                    <a:pt x="279" y="101"/>
                    <a:pt x="278" y="100"/>
                  </a:cubicBezTo>
                  <a:cubicBezTo>
                    <a:pt x="277" y="99"/>
                    <a:pt x="275" y="100"/>
                    <a:pt x="273" y="100"/>
                  </a:cubicBezTo>
                  <a:cubicBezTo>
                    <a:pt x="273" y="101"/>
                    <a:pt x="272" y="101"/>
                    <a:pt x="271" y="101"/>
                  </a:cubicBezTo>
                  <a:cubicBezTo>
                    <a:pt x="271" y="101"/>
                    <a:pt x="270" y="99"/>
                    <a:pt x="269" y="100"/>
                  </a:cubicBezTo>
                  <a:cubicBezTo>
                    <a:pt x="269" y="100"/>
                    <a:pt x="268" y="100"/>
                    <a:pt x="268" y="100"/>
                  </a:cubicBezTo>
                  <a:cubicBezTo>
                    <a:pt x="267" y="100"/>
                    <a:pt x="267" y="99"/>
                    <a:pt x="266" y="99"/>
                  </a:cubicBezTo>
                  <a:cubicBezTo>
                    <a:pt x="266" y="99"/>
                    <a:pt x="265" y="98"/>
                    <a:pt x="265" y="98"/>
                  </a:cubicBezTo>
                  <a:cubicBezTo>
                    <a:pt x="265" y="98"/>
                    <a:pt x="264" y="97"/>
                    <a:pt x="264" y="97"/>
                  </a:cubicBezTo>
                  <a:cubicBezTo>
                    <a:pt x="263" y="97"/>
                    <a:pt x="263" y="97"/>
                    <a:pt x="263" y="98"/>
                  </a:cubicBezTo>
                  <a:cubicBezTo>
                    <a:pt x="262" y="98"/>
                    <a:pt x="262" y="98"/>
                    <a:pt x="261" y="98"/>
                  </a:cubicBezTo>
                  <a:cubicBezTo>
                    <a:pt x="260" y="98"/>
                    <a:pt x="259" y="97"/>
                    <a:pt x="258" y="97"/>
                  </a:cubicBezTo>
                  <a:cubicBezTo>
                    <a:pt x="258" y="97"/>
                    <a:pt x="257" y="97"/>
                    <a:pt x="257" y="97"/>
                  </a:cubicBezTo>
                  <a:cubicBezTo>
                    <a:pt x="256" y="96"/>
                    <a:pt x="256" y="94"/>
                    <a:pt x="256" y="93"/>
                  </a:cubicBezTo>
                  <a:cubicBezTo>
                    <a:pt x="256" y="93"/>
                    <a:pt x="256" y="92"/>
                    <a:pt x="255" y="92"/>
                  </a:cubicBezTo>
                  <a:cubicBezTo>
                    <a:pt x="255" y="92"/>
                    <a:pt x="255" y="91"/>
                    <a:pt x="254" y="91"/>
                  </a:cubicBezTo>
                  <a:cubicBezTo>
                    <a:pt x="254" y="90"/>
                    <a:pt x="254" y="90"/>
                    <a:pt x="254" y="90"/>
                  </a:cubicBezTo>
                  <a:cubicBezTo>
                    <a:pt x="254" y="89"/>
                    <a:pt x="253" y="90"/>
                    <a:pt x="253" y="89"/>
                  </a:cubicBezTo>
                  <a:cubicBezTo>
                    <a:pt x="253" y="89"/>
                    <a:pt x="252" y="89"/>
                    <a:pt x="252" y="88"/>
                  </a:cubicBezTo>
                  <a:cubicBezTo>
                    <a:pt x="252" y="88"/>
                    <a:pt x="252" y="88"/>
                    <a:pt x="251" y="88"/>
                  </a:cubicBezTo>
                  <a:cubicBezTo>
                    <a:pt x="251" y="87"/>
                    <a:pt x="251" y="87"/>
                    <a:pt x="251" y="87"/>
                  </a:cubicBezTo>
                  <a:cubicBezTo>
                    <a:pt x="250" y="88"/>
                    <a:pt x="250" y="88"/>
                    <a:pt x="250" y="89"/>
                  </a:cubicBezTo>
                  <a:cubicBezTo>
                    <a:pt x="250" y="89"/>
                    <a:pt x="250" y="90"/>
                    <a:pt x="249" y="91"/>
                  </a:cubicBezTo>
                  <a:cubicBezTo>
                    <a:pt x="249" y="91"/>
                    <a:pt x="248" y="90"/>
                    <a:pt x="248" y="90"/>
                  </a:cubicBezTo>
                  <a:cubicBezTo>
                    <a:pt x="247" y="90"/>
                    <a:pt x="246" y="89"/>
                    <a:pt x="246" y="89"/>
                  </a:cubicBezTo>
                  <a:cubicBezTo>
                    <a:pt x="245" y="89"/>
                    <a:pt x="245" y="89"/>
                    <a:pt x="244" y="89"/>
                  </a:cubicBezTo>
                  <a:cubicBezTo>
                    <a:pt x="244" y="89"/>
                    <a:pt x="243" y="90"/>
                    <a:pt x="243" y="90"/>
                  </a:cubicBezTo>
                  <a:cubicBezTo>
                    <a:pt x="242" y="90"/>
                    <a:pt x="241" y="90"/>
                    <a:pt x="240" y="90"/>
                  </a:cubicBezTo>
                  <a:cubicBezTo>
                    <a:pt x="240" y="90"/>
                    <a:pt x="239" y="90"/>
                    <a:pt x="238" y="90"/>
                  </a:cubicBezTo>
                  <a:cubicBezTo>
                    <a:pt x="238" y="90"/>
                    <a:pt x="238" y="89"/>
                    <a:pt x="238" y="89"/>
                  </a:cubicBezTo>
                  <a:cubicBezTo>
                    <a:pt x="237" y="88"/>
                    <a:pt x="236" y="87"/>
                    <a:pt x="236" y="87"/>
                  </a:cubicBezTo>
                  <a:cubicBezTo>
                    <a:pt x="235" y="86"/>
                    <a:pt x="234" y="85"/>
                    <a:pt x="233" y="84"/>
                  </a:cubicBezTo>
                  <a:cubicBezTo>
                    <a:pt x="233" y="83"/>
                    <a:pt x="232" y="83"/>
                    <a:pt x="231" y="82"/>
                  </a:cubicBezTo>
                  <a:cubicBezTo>
                    <a:pt x="231" y="82"/>
                    <a:pt x="231" y="82"/>
                    <a:pt x="230" y="82"/>
                  </a:cubicBezTo>
                  <a:cubicBezTo>
                    <a:pt x="230" y="83"/>
                    <a:pt x="229" y="83"/>
                    <a:pt x="229" y="82"/>
                  </a:cubicBezTo>
                  <a:cubicBezTo>
                    <a:pt x="229" y="0"/>
                    <a:pt x="229" y="0"/>
                    <a:pt x="229" y="0"/>
                  </a:cubicBezTo>
                  <a:cubicBezTo>
                    <a:pt x="124" y="0"/>
                    <a:pt x="124" y="0"/>
                    <a:pt x="124" y="0"/>
                  </a:cubicBezTo>
                  <a:cubicBezTo>
                    <a:pt x="123" y="189"/>
                    <a:pt x="123" y="189"/>
                    <a:pt x="123" y="189"/>
                  </a:cubicBezTo>
                  <a:cubicBezTo>
                    <a:pt x="0" y="188"/>
                    <a:pt x="0" y="188"/>
                    <a:pt x="0" y="188"/>
                  </a:cubicBezTo>
                  <a:cubicBezTo>
                    <a:pt x="0" y="188"/>
                    <a:pt x="0" y="190"/>
                    <a:pt x="0" y="190"/>
                  </a:cubicBezTo>
                  <a:cubicBezTo>
                    <a:pt x="0" y="190"/>
                    <a:pt x="0" y="190"/>
                    <a:pt x="0" y="190"/>
                  </a:cubicBezTo>
                  <a:cubicBezTo>
                    <a:pt x="1" y="191"/>
                    <a:pt x="1" y="191"/>
                    <a:pt x="1" y="191"/>
                  </a:cubicBezTo>
                  <a:cubicBezTo>
                    <a:pt x="0" y="192"/>
                    <a:pt x="0" y="192"/>
                    <a:pt x="0" y="192"/>
                  </a:cubicBezTo>
                  <a:cubicBezTo>
                    <a:pt x="0" y="192"/>
                    <a:pt x="0" y="193"/>
                    <a:pt x="0" y="193"/>
                  </a:cubicBezTo>
                  <a:cubicBezTo>
                    <a:pt x="0" y="193"/>
                    <a:pt x="0" y="194"/>
                    <a:pt x="0" y="195"/>
                  </a:cubicBezTo>
                  <a:cubicBezTo>
                    <a:pt x="1" y="195"/>
                    <a:pt x="2" y="196"/>
                    <a:pt x="2" y="196"/>
                  </a:cubicBezTo>
                  <a:cubicBezTo>
                    <a:pt x="3" y="196"/>
                    <a:pt x="4" y="197"/>
                    <a:pt x="4" y="197"/>
                  </a:cubicBezTo>
                  <a:cubicBezTo>
                    <a:pt x="5" y="199"/>
                    <a:pt x="5" y="199"/>
                    <a:pt x="5" y="199"/>
                  </a:cubicBezTo>
                  <a:cubicBezTo>
                    <a:pt x="6" y="198"/>
                    <a:pt x="6" y="198"/>
                    <a:pt x="6" y="198"/>
                  </a:cubicBezTo>
                  <a:cubicBezTo>
                    <a:pt x="9" y="201"/>
                    <a:pt x="9" y="201"/>
                    <a:pt x="9" y="201"/>
                  </a:cubicBezTo>
                  <a:cubicBezTo>
                    <a:pt x="12" y="206"/>
                    <a:pt x="12" y="206"/>
                    <a:pt x="12" y="206"/>
                  </a:cubicBezTo>
                  <a:cubicBezTo>
                    <a:pt x="15" y="210"/>
                    <a:pt x="15" y="210"/>
                    <a:pt x="15" y="210"/>
                  </a:cubicBezTo>
                  <a:cubicBezTo>
                    <a:pt x="15" y="210"/>
                    <a:pt x="19" y="212"/>
                    <a:pt x="19" y="212"/>
                  </a:cubicBezTo>
                  <a:cubicBezTo>
                    <a:pt x="19" y="212"/>
                    <a:pt x="22" y="214"/>
                    <a:pt x="22" y="214"/>
                  </a:cubicBezTo>
                  <a:cubicBezTo>
                    <a:pt x="24" y="215"/>
                    <a:pt x="24" y="215"/>
                    <a:pt x="24" y="215"/>
                  </a:cubicBezTo>
                  <a:cubicBezTo>
                    <a:pt x="28" y="220"/>
                    <a:pt x="28" y="220"/>
                    <a:pt x="28" y="220"/>
                  </a:cubicBezTo>
                  <a:cubicBezTo>
                    <a:pt x="30" y="223"/>
                    <a:pt x="30" y="223"/>
                    <a:pt x="30" y="223"/>
                  </a:cubicBezTo>
                  <a:cubicBezTo>
                    <a:pt x="36" y="226"/>
                    <a:pt x="36" y="226"/>
                    <a:pt x="36" y="226"/>
                  </a:cubicBezTo>
                  <a:cubicBezTo>
                    <a:pt x="37" y="230"/>
                    <a:pt x="37" y="230"/>
                    <a:pt x="37" y="230"/>
                  </a:cubicBezTo>
                  <a:cubicBezTo>
                    <a:pt x="42" y="233"/>
                    <a:pt x="42" y="233"/>
                    <a:pt x="42" y="233"/>
                  </a:cubicBezTo>
                  <a:cubicBezTo>
                    <a:pt x="42" y="235"/>
                    <a:pt x="42" y="235"/>
                    <a:pt x="42" y="235"/>
                  </a:cubicBezTo>
                  <a:cubicBezTo>
                    <a:pt x="47" y="237"/>
                    <a:pt x="47" y="237"/>
                    <a:pt x="47" y="237"/>
                  </a:cubicBezTo>
                  <a:cubicBezTo>
                    <a:pt x="49" y="237"/>
                    <a:pt x="49" y="237"/>
                    <a:pt x="49" y="237"/>
                  </a:cubicBezTo>
                  <a:cubicBezTo>
                    <a:pt x="49" y="237"/>
                    <a:pt x="49" y="238"/>
                    <a:pt x="49" y="238"/>
                  </a:cubicBezTo>
                  <a:cubicBezTo>
                    <a:pt x="49" y="238"/>
                    <a:pt x="52" y="239"/>
                    <a:pt x="52" y="239"/>
                  </a:cubicBezTo>
                  <a:cubicBezTo>
                    <a:pt x="52" y="239"/>
                    <a:pt x="54" y="242"/>
                    <a:pt x="54" y="242"/>
                  </a:cubicBezTo>
                  <a:cubicBezTo>
                    <a:pt x="56" y="242"/>
                    <a:pt x="56" y="242"/>
                    <a:pt x="56" y="242"/>
                  </a:cubicBezTo>
                  <a:cubicBezTo>
                    <a:pt x="57" y="245"/>
                    <a:pt x="57" y="245"/>
                    <a:pt x="57" y="245"/>
                  </a:cubicBezTo>
                  <a:cubicBezTo>
                    <a:pt x="59" y="245"/>
                    <a:pt x="59" y="245"/>
                    <a:pt x="59" y="245"/>
                  </a:cubicBezTo>
                  <a:cubicBezTo>
                    <a:pt x="61" y="249"/>
                    <a:pt x="61" y="249"/>
                    <a:pt x="61" y="249"/>
                  </a:cubicBezTo>
                  <a:cubicBezTo>
                    <a:pt x="61" y="254"/>
                    <a:pt x="61" y="254"/>
                    <a:pt x="61" y="254"/>
                  </a:cubicBezTo>
                  <a:cubicBezTo>
                    <a:pt x="67" y="260"/>
                    <a:pt x="67" y="260"/>
                    <a:pt x="67" y="260"/>
                  </a:cubicBezTo>
                  <a:cubicBezTo>
                    <a:pt x="67" y="272"/>
                    <a:pt x="67" y="272"/>
                    <a:pt x="67" y="272"/>
                  </a:cubicBezTo>
                  <a:cubicBezTo>
                    <a:pt x="67" y="272"/>
                    <a:pt x="71" y="277"/>
                    <a:pt x="71" y="277"/>
                  </a:cubicBezTo>
                  <a:cubicBezTo>
                    <a:pt x="71" y="277"/>
                    <a:pt x="72" y="283"/>
                    <a:pt x="72" y="283"/>
                  </a:cubicBezTo>
                  <a:cubicBezTo>
                    <a:pt x="75" y="286"/>
                    <a:pt x="75" y="286"/>
                    <a:pt x="75" y="286"/>
                  </a:cubicBezTo>
                  <a:cubicBezTo>
                    <a:pt x="75" y="286"/>
                    <a:pt x="80" y="288"/>
                    <a:pt x="80" y="288"/>
                  </a:cubicBezTo>
                  <a:cubicBezTo>
                    <a:pt x="80" y="288"/>
                    <a:pt x="83" y="289"/>
                    <a:pt x="83" y="289"/>
                  </a:cubicBezTo>
                  <a:cubicBezTo>
                    <a:pt x="83" y="289"/>
                    <a:pt x="85" y="293"/>
                    <a:pt x="85" y="293"/>
                  </a:cubicBezTo>
                  <a:cubicBezTo>
                    <a:pt x="85" y="293"/>
                    <a:pt x="89" y="296"/>
                    <a:pt x="89" y="296"/>
                  </a:cubicBezTo>
                  <a:cubicBezTo>
                    <a:pt x="91" y="297"/>
                    <a:pt x="91" y="297"/>
                    <a:pt x="91" y="297"/>
                  </a:cubicBezTo>
                  <a:cubicBezTo>
                    <a:pt x="98" y="298"/>
                    <a:pt x="98" y="298"/>
                    <a:pt x="98" y="298"/>
                  </a:cubicBezTo>
                  <a:cubicBezTo>
                    <a:pt x="98" y="300"/>
                    <a:pt x="98" y="300"/>
                    <a:pt x="98" y="300"/>
                  </a:cubicBezTo>
                  <a:cubicBezTo>
                    <a:pt x="98" y="300"/>
                    <a:pt x="100" y="300"/>
                    <a:pt x="100" y="300"/>
                  </a:cubicBezTo>
                  <a:cubicBezTo>
                    <a:pt x="100" y="300"/>
                    <a:pt x="100" y="302"/>
                    <a:pt x="100" y="302"/>
                  </a:cubicBezTo>
                  <a:cubicBezTo>
                    <a:pt x="100" y="302"/>
                    <a:pt x="103" y="302"/>
                    <a:pt x="103" y="302"/>
                  </a:cubicBezTo>
                  <a:cubicBezTo>
                    <a:pt x="103" y="302"/>
                    <a:pt x="106" y="302"/>
                    <a:pt x="106" y="302"/>
                  </a:cubicBezTo>
                  <a:cubicBezTo>
                    <a:pt x="109" y="306"/>
                    <a:pt x="109" y="306"/>
                    <a:pt x="109" y="306"/>
                  </a:cubicBezTo>
                  <a:cubicBezTo>
                    <a:pt x="112" y="309"/>
                    <a:pt x="112" y="309"/>
                    <a:pt x="112" y="309"/>
                  </a:cubicBezTo>
                  <a:cubicBezTo>
                    <a:pt x="114" y="307"/>
                    <a:pt x="114" y="307"/>
                    <a:pt x="114" y="307"/>
                  </a:cubicBezTo>
                  <a:cubicBezTo>
                    <a:pt x="115" y="310"/>
                    <a:pt x="115" y="310"/>
                    <a:pt x="115" y="310"/>
                  </a:cubicBezTo>
                  <a:cubicBezTo>
                    <a:pt x="121" y="310"/>
                    <a:pt x="121" y="310"/>
                    <a:pt x="121" y="310"/>
                  </a:cubicBezTo>
                  <a:cubicBezTo>
                    <a:pt x="122" y="307"/>
                    <a:pt x="122" y="307"/>
                    <a:pt x="122" y="307"/>
                  </a:cubicBezTo>
                  <a:cubicBezTo>
                    <a:pt x="122" y="307"/>
                    <a:pt x="125" y="304"/>
                    <a:pt x="125" y="304"/>
                  </a:cubicBezTo>
                  <a:cubicBezTo>
                    <a:pt x="125" y="304"/>
                    <a:pt x="125" y="303"/>
                    <a:pt x="125" y="303"/>
                  </a:cubicBezTo>
                  <a:cubicBezTo>
                    <a:pt x="125" y="303"/>
                    <a:pt x="126" y="301"/>
                    <a:pt x="126" y="301"/>
                  </a:cubicBezTo>
                  <a:cubicBezTo>
                    <a:pt x="126" y="301"/>
                    <a:pt x="127" y="302"/>
                    <a:pt x="127" y="302"/>
                  </a:cubicBezTo>
                  <a:cubicBezTo>
                    <a:pt x="130" y="300"/>
                    <a:pt x="130" y="300"/>
                    <a:pt x="130" y="300"/>
                  </a:cubicBezTo>
                  <a:cubicBezTo>
                    <a:pt x="130" y="300"/>
                    <a:pt x="129" y="299"/>
                    <a:pt x="129" y="299"/>
                  </a:cubicBezTo>
                  <a:cubicBezTo>
                    <a:pt x="128" y="298"/>
                    <a:pt x="128" y="298"/>
                    <a:pt x="129" y="298"/>
                  </a:cubicBezTo>
                  <a:cubicBezTo>
                    <a:pt x="129" y="298"/>
                    <a:pt x="129" y="297"/>
                    <a:pt x="129" y="297"/>
                  </a:cubicBezTo>
                  <a:cubicBezTo>
                    <a:pt x="129" y="297"/>
                    <a:pt x="129" y="296"/>
                    <a:pt x="129" y="296"/>
                  </a:cubicBezTo>
                  <a:cubicBezTo>
                    <a:pt x="129" y="295"/>
                    <a:pt x="130" y="294"/>
                    <a:pt x="130" y="294"/>
                  </a:cubicBezTo>
                  <a:cubicBezTo>
                    <a:pt x="130" y="294"/>
                    <a:pt x="132" y="293"/>
                    <a:pt x="132" y="293"/>
                  </a:cubicBezTo>
                  <a:cubicBezTo>
                    <a:pt x="132" y="288"/>
                    <a:pt x="132" y="288"/>
                    <a:pt x="132" y="288"/>
                  </a:cubicBezTo>
                  <a:cubicBezTo>
                    <a:pt x="137" y="279"/>
                    <a:pt x="137" y="279"/>
                    <a:pt x="137" y="279"/>
                  </a:cubicBezTo>
                  <a:cubicBezTo>
                    <a:pt x="138" y="280"/>
                    <a:pt x="138" y="280"/>
                    <a:pt x="138" y="280"/>
                  </a:cubicBezTo>
                  <a:cubicBezTo>
                    <a:pt x="140" y="278"/>
                    <a:pt x="140" y="278"/>
                    <a:pt x="140" y="278"/>
                  </a:cubicBezTo>
                  <a:cubicBezTo>
                    <a:pt x="141" y="279"/>
                    <a:pt x="141" y="279"/>
                    <a:pt x="141" y="279"/>
                  </a:cubicBezTo>
                  <a:cubicBezTo>
                    <a:pt x="143" y="277"/>
                    <a:pt x="143" y="277"/>
                    <a:pt x="143" y="277"/>
                  </a:cubicBezTo>
                  <a:cubicBezTo>
                    <a:pt x="143" y="277"/>
                    <a:pt x="145" y="278"/>
                    <a:pt x="145" y="278"/>
                  </a:cubicBezTo>
                  <a:cubicBezTo>
                    <a:pt x="145" y="278"/>
                    <a:pt x="146" y="279"/>
                    <a:pt x="146" y="279"/>
                  </a:cubicBezTo>
                  <a:cubicBezTo>
                    <a:pt x="147" y="276"/>
                    <a:pt x="147" y="276"/>
                    <a:pt x="147" y="276"/>
                  </a:cubicBezTo>
                  <a:cubicBezTo>
                    <a:pt x="149" y="274"/>
                    <a:pt x="149" y="274"/>
                    <a:pt x="149" y="274"/>
                  </a:cubicBezTo>
                  <a:cubicBezTo>
                    <a:pt x="158" y="278"/>
                    <a:pt x="158" y="278"/>
                    <a:pt x="158" y="278"/>
                  </a:cubicBezTo>
                  <a:cubicBezTo>
                    <a:pt x="160" y="276"/>
                    <a:pt x="160" y="276"/>
                    <a:pt x="160" y="276"/>
                  </a:cubicBezTo>
                  <a:cubicBezTo>
                    <a:pt x="162" y="278"/>
                    <a:pt x="162" y="278"/>
                    <a:pt x="162" y="278"/>
                  </a:cubicBezTo>
                  <a:cubicBezTo>
                    <a:pt x="164" y="277"/>
                    <a:pt x="164" y="277"/>
                    <a:pt x="164" y="277"/>
                  </a:cubicBezTo>
                  <a:cubicBezTo>
                    <a:pt x="166" y="277"/>
                    <a:pt x="166" y="277"/>
                    <a:pt x="166" y="277"/>
                  </a:cubicBezTo>
                  <a:cubicBezTo>
                    <a:pt x="167" y="277"/>
                    <a:pt x="167" y="277"/>
                    <a:pt x="167" y="277"/>
                  </a:cubicBezTo>
                  <a:cubicBezTo>
                    <a:pt x="167" y="278"/>
                    <a:pt x="167" y="278"/>
                    <a:pt x="167" y="278"/>
                  </a:cubicBezTo>
                  <a:cubicBezTo>
                    <a:pt x="167" y="278"/>
                    <a:pt x="169" y="278"/>
                    <a:pt x="169" y="278"/>
                  </a:cubicBezTo>
                  <a:cubicBezTo>
                    <a:pt x="170" y="278"/>
                    <a:pt x="171" y="279"/>
                    <a:pt x="171" y="279"/>
                  </a:cubicBezTo>
                  <a:cubicBezTo>
                    <a:pt x="171" y="279"/>
                    <a:pt x="173" y="279"/>
                    <a:pt x="173" y="279"/>
                  </a:cubicBezTo>
                  <a:cubicBezTo>
                    <a:pt x="173" y="279"/>
                    <a:pt x="175" y="278"/>
                    <a:pt x="175" y="278"/>
                  </a:cubicBezTo>
                  <a:cubicBezTo>
                    <a:pt x="176" y="277"/>
                    <a:pt x="176" y="277"/>
                    <a:pt x="176" y="277"/>
                  </a:cubicBezTo>
                  <a:cubicBezTo>
                    <a:pt x="176" y="279"/>
                    <a:pt x="176" y="279"/>
                    <a:pt x="176" y="279"/>
                  </a:cubicBezTo>
                  <a:cubicBezTo>
                    <a:pt x="176" y="279"/>
                    <a:pt x="178" y="278"/>
                    <a:pt x="178" y="278"/>
                  </a:cubicBezTo>
                  <a:cubicBezTo>
                    <a:pt x="178" y="278"/>
                    <a:pt x="178" y="278"/>
                    <a:pt x="178" y="278"/>
                  </a:cubicBezTo>
                  <a:cubicBezTo>
                    <a:pt x="179" y="279"/>
                    <a:pt x="179" y="279"/>
                    <a:pt x="179" y="279"/>
                  </a:cubicBezTo>
                  <a:cubicBezTo>
                    <a:pt x="180" y="279"/>
                    <a:pt x="180" y="279"/>
                    <a:pt x="180" y="279"/>
                  </a:cubicBezTo>
                  <a:cubicBezTo>
                    <a:pt x="180" y="280"/>
                    <a:pt x="180" y="280"/>
                    <a:pt x="180" y="280"/>
                  </a:cubicBezTo>
                  <a:cubicBezTo>
                    <a:pt x="182" y="283"/>
                    <a:pt x="182" y="283"/>
                    <a:pt x="182" y="283"/>
                  </a:cubicBezTo>
                  <a:cubicBezTo>
                    <a:pt x="184" y="283"/>
                    <a:pt x="184" y="283"/>
                    <a:pt x="184" y="283"/>
                  </a:cubicBezTo>
                  <a:cubicBezTo>
                    <a:pt x="184" y="286"/>
                    <a:pt x="184" y="286"/>
                    <a:pt x="184" y="286"/>
                  </a:cubicBezTo>
                  <a:cubicBezTo>
                    <a:pt x="186" y="284"/>
                    <a:pt x="186" y="284"/>
                    <a:pt x="186" y="284"/>
                  </a:cubicBezTo>
                  <a:cubicBezTo>
                    <a:pt x="186" y="288"/>
                    <a:pt x="186" y="288"/>
                    <a:pt x="186" y="288"/>
                  </a:cubicBezTo>
                  <a:cubicBezTo>
                    <a:pt x="192" y="290"/>
                    <a:pt x="192" y="290"/>
                    <a:pt x="192" y="290"/>
                  </a:cubicBezTo>
                  <a:cubicBezTo>
                    <a:pt x="194" y="294"/>
                    <a:pt x="194" y="294"/>
                    <a:pt x="194" y="294"/>
                  </a:cubicBezTo>
                  <a:cubicBezTo>
                    <a:pt x="201" y="298"/>
                    <a:pt x="201" y="298"/>
                    <a:pt x="201" y="298"/>
                  </a:cubicBezTo>
                  <a:cubicBezTo>
                    <a:pt x="202" y="302"/>
                    <a:pt x="202" y="302"/>
                    <a:pt x="202" y="302"/>
                  </a:cubicBezTo>
                  <a:cubicBezTo>
                    <a:pt x="206" y="305"/>
                    <a:pt x="206" y="305"/>
                    <a:pt x="206" y="305"/>
                  </a:cubicBezTo>
                  <a:cubicBezTo>
                    <a:pt x="206" y="311"/>
                    <a:pt x="206" y="311"/>
                    <a:pt x="206" y="311"/>
                  </a:cubicBezTo>
                  <a:cubicBezTo>
                    <a:pt x="210" y="316"/>
                    <a:pt x="210" y="316"/>
                    <a:pt x="210" y="316"/>
                  </a:cubicBezTo>
                  <a:cubicBezTo>
                    <a:pt x="211" y="321"/>
                    <a:pt x="211" y="321"/>
                    <a:pt x="211" y="321"/>
                  </a:cubicBezTo>
                  <a:cubicBezTo>
                    <a:pt x="215" y="325"/>
                    <a:pt x="215" y="325"/>
                    <a:pt x="215" y="325"/>
                  </a:cubicBezTo>
                  <a:cubicBezTo>
                    <a:pt x="215" y="328"/>
                    <a:pt x="215" y="328"/>
                    <a:pt x="215" y="328"/>
                  </a:cubicBezTo>
                  <a:cubicBezTo>
                    <a:pt x="218" y="328"/>
                    <a:pt x="218" y="328"/>
                    <a:pt x="218" y="328"/>
                  </a:cubicBezTo>
                  <a:cubicBezTo>
                    <a:pt x="216" y="330"/>
                    <a:pt x="216" y="330"/>
                    <a:pt x="216" y="330"/>
                  </a:cubicBezTo>
                  <a:cubicBezTo>
                    <a:pt x="217" y="332"/>
                    <a:pt x="217" y="332"/>
                    <a:pt x="217" y="332"/>
                  </a:cubicBezTo>
                  <a:cubicBezTo>
                    <a:pt x="218" y="335"/>
                    <a:pt x="218" y="335"/>
                    <a:pt x="218" y="335"/>
                  </a:cubicBezTo>
                  <a:cubicBezTo>
                    <a:pt x="219" y="337"/>
                    <a:pt x="219" y="337"/>
                    <a:pt x="219" y="337"/>
                  </a:cubicBezTo>
                  <a:cubicBezTo>
                    <a:pt x="221" y="339"/>
                    <a:pt x="221" y="339"/>
                    <a:pt x="221" y="339"/>
                  </a:cubicBezTo>
                  <a:cubicBezTo>
                    <a:pt x="221" y="340"/>
                    <a:pt x="221" y="340"/>
                    <a:pt x="221" y="340"/>
                  </a:cubicBezTo>
                  <a:cubicBezTo>
                    <a:pt x="226" y="342"/>
                    <a:pt x="226" y="342"/>
                    <a:pt x="226" y="342"/>
                  </a:cubicBezTo>
                  <a:cubicBezTo>
                    <a:pt x="229" y="348"/>
                    <a:pt x="229" y="348"/>
                    <a:pt x="229" y="348"/>
                  </a:cubicBezTo>
                  <a:cubicBezTo>
                    <a:pt x="231" y="349"/>
                    <a:pt x="231" y="349"/>
                    <a:pt x="231" y="349"/>
                  </a:cubicBezTo>
                  <a:cubicBezTo>
                    <a:pt x="234" y="357"/>
                    <a:pt x="234" y="357"/>
                    <a:pt x="234" y="357"/>
                  </a:cubicBezTo>
                  <a:cubicBezTo>
                    <a:pt x="236" y="357"/>
                    <a:pt x="236" y="357"/>
                    <a:pt x="236" y="357"/>
                  </a:cubicBezTo>
                  <a:cubicBezTo>
                    <a:pt x="239" y="361"/>
                    <a:pt x="239" y="361"/>
                    <a:pt x="239" y="361"/>
                  </a:cubicBezTo>
                  <a:cubicBezTo>
                    <a:pt x="244" y="363"/>
                    <a:pt x="244" y="363"/>
                    <a:pt x="244" y="363"/>
                  </a:cubicBezTo>
                  <a:cubicBezTo>
                    <a:pt x="245" y="365"/>
                    <a:pt x="245" y="365"/>
                    <a:pt x="245" y="365"/>
                  </a:cubicBezTo>
                  <a:cubicBezTo>
                    <a:pt x="247" y="370"/>
                    <a:pt x="247" y="370"/>
                    <a:pt x="247" y="370"/>
                  </a:cubicBezTo>
                  <a:cubicBezTo>
                    <a:pt x="247" y="370"/>
                    <a:pt x="246" y="372"/>
                    <a:pt x="246" y="372"/>
                  </a:cubicBezTo>
                  <a:cubicBezTo>
                    <a:pt x="246" y="372"/>
                    <a:pt x="245" y="375"/>
                    <a:pt x="245" y="375"/>
                  </a:cubicBezTo>
                  <a:cubicBezTo>
                    <a:pt x="248" y="377"/>
                    <a:pt x="248" y="377"/>
                    <a:pt x="248" y="377"/>
                  </a:cubicBezTo>
                  <a:cubicBezTo>
                    <a:pt x="249" y="383"/>
                    <a:pt x="249" y="383"/>
                    <a:pt x="249" y="383"/>
                  </a:cubicBezTo>
                  <a:cubicBezTo>
                    <a:pt x="248" y="385"/>
                    <a:pt x="248" y="385"/>
                    <a:pt x="248" y="385"/>
                  </a:cubicBezTo>
                  <a:cubicBezTo>
                    <a:pt x="250" y="388"/>
                    <a:pt x="250" y="388"/>
                    <a:pt x="250" y="388"/>
                  </a:cubicBezTo>
                  <a:cubicBezTo>
                    <a:pt x="250" y="389"/>
                    <a:pt x="250" y="389"/>
                    <a:pt x="250" y="389"/>
                  </a:cubicBezTo>
                  <a:cubicBezTo>
                    <a:pt x="252" y="390"/>
                    <a:pt x="252" y="390"/>
                    <a:pt x="252" y="390"/>
                  </a:cubicBezTo>
                  <a:cubicBezTo>
                    <a:pt x="252" y="392"/>
                    <a:pt x="252" y="392"/>
                    <a:pt x="252" y="392"/>
                  </a:cubicBezTo>
                  <a:cubicBezTo>
                    <a:pt x="254" y="393"/>
                    <a:pt x="254" y="393"/>
                    <a:pt x="254" y="393"/>
                  </a:cubicBezTo>
                  <a:cubicBezTo>
                    <a:pt x="256" y="397"/>
                    <a:pt x="256" y="397"/>
                    <a:pt x="256" y="397"/>
                  </a:cubicBezTo>
                  <a:cubicBezTo>
                    <a:pt x="256" y="397"/>
                    <a:pt x="257" y="399"/>
                    <a:pt x="257" y="400"/>
                  </a:cubicBezTo>
                  <a:cubicBezTo>
                    <a:pt x="257" y="400"/>
                    <a:pt x="257" y="405"/>
                    <a:pt x="257" y="405"/>
                  </a:cubicBezTo>
                  <a:cubicBezTo>
                    <a:pt x="260" y="407"/>
                    <a:pt x="260" y="407"/>
                    <a:pt x="260" y="407"/>
                  </a:cubicBezTo>
                  <a:cubicBezTo>
                    <a:pt x="260" y="407"/>
                    <a:pt x="259" y="409"/>
                    <a:pt x="259" y="409"/>
                  </a:cubicBezTo>
                  <a:cubicBezTo>
                    <a:pt x="259" y="409"/>
                    <a:pt x="260" y="410"/>
                    <a:pt x="260" y="410"/>
                  </a:cubicBezTo>
                  <a:cubicBezTo>
                    <a:pt x="264" y="410"/>
                    <a:pt x="264" y="410"/>
                    <a:pt x="264" y="410"/>
                  </a:cubicBezTo>
                  <a:cubicBezTo>
                    <a:pt x="265" y="411"/>
                    <a:pt x="265" y="411"/>
                    <a:pt x="265" y="411"/>
                  </a:cubicBezTo>
                  <a:cubicBezTo>
                    <a:pt x="266" y="410"/>
                    <a:pt x="266" y="410"/>
                    <a:pt x="266" y="410"/>
                  </a:cubicBezTo>
                  <a:cubicBezTo>
                    <a:pt x="267" y="412"/>
                    <a:pt x="267" y="412"/>
                    <a:pt x="267" y="412"/>
                  </a:cubicBezTo>
                  <a:cubicBezTo>
                    <a:pt x="268" y="412"/>
                    <a:pt x="268" y="412"/>
                    <a:pt x="268" y="412"/>
                  </a:cubicBezTo>
                  <a:cubicBezTo>
                    <a:pt x="270" y="411"/>
                    <a:pt x="270" y="411"/>
                    <a:pt x="270" y="411"/>
                  </a:cubicBezTo>
                  <a:cubicBezTo>
                    <a:pt x="275" y="417"/>
                    <a:pt x="275" y="417"/>
                    <a:pt x="275" y="417"/>
                  </a:cubicBezTo>
                  <a:cubicBezTo>
                    <a:pt x="278" y="416"/>
                    <a:pt x="278" y="416"/>
                    <a:pt x="278" y="416"/>
                  </a:cubicBezTo>
                  <a:cubicBezTo>
                    <a:pt x="281" y="418"/>
                    <a:pt x="281" y="418"/>
                    <a:pt x="281" y="418"/>
                  </a:cubicBezTo>
                  <a:cubicBezTo>
                    <a:pt x="283" y="417"/>
                    <a:pt x="283" y="417"/>
                    <a:pt x="283" y="417"/>
                  </a:cubicBezTo>
                  <a:cubicBezTo>
                    <a:pt x="284" y="419"/>
                    <a:pt x="284" y="419"/>
                    <a:pt x="284" y="419"/>
                  </a:cubicBezTo>
                  <a:cubicBezTo>
                    <a:pt x="286" y="419"/>
                    <a:pt x="286" y="419"/>
                    <a:pt x="286" y="419"/>
                  </a:cubicBezTo>
                  <a:cubicBezTo>
                    <a:pt x="287" y="422"/>
                    <a:pt x="287" y="422"/>
                    <a:pt x="287" y="422"/>
                  </a:cubicBezTo>
                  <a:cubicBezTo>
                    <a:pt x="288" y="421"/>
                    <a:pt x="288" y="421"/>
                    <a:pt x="288" y="421"/>
                  </a:cubicBezTo>
                  <a:cubicBezTo>
                    <a:pt x="288" y="422"/>
                    <a:pt x="288" y="422"/>
                    <a:pt x="288" y="422"/>
                  </a:cubicBezTo>
                  <a:cubicBezTo>
                    <a:pt x="292" y="424"/>
                    <a:pt x="292" y="424"/>
                    <a:pt x="292" y="424"/>
                  </a:cubicBezTo>
                  <a:cubicBezTo>
                    <a:pt x="293" y="423"/>
                    <a:pt x="293" y="423"/>
                    <a:pt x="293" y="423"/>
                  </a:cubicBezTo>
                  <a:cubicBezTo>
                    <a:pt x="295" y="423"/>
                    <a:pt x="295" y="423"/>
                    <a:pt x="295" y="423"/>
                  </a:cubicBezTo>
                  <a:cubicBezTo>
                    <a:pt x="295" y="424"/>
                    <a:pt x="295" y="424"/>
                    <a:pt x="295" y="424"/>
                  </a:cubicBezTo>
                  <a:cubicBezTo>
                    <a:pt x="297" y="423"/>
                    <a:pt x="297" y="423"/>
                    <a:pt x="297" y="423"/>
                  </a:cubicBezTo>
                  <a:cubicBezTo>
                    <a:pt x="303" y="423"/>
                    <a:pt x="303" y="423"/>
                    <a:pt x="303" y="423"/>
                  </a:cubicBezTo>
                  <a:cubicBezTo>
                    <a:pt x="306" y="424"/>
                    <a:pt x="306" y="424"/>
                    <a:pt x="306" y="424"/>
                  </a:cubicBezTo>
                  <a:cubicBezTo>
                    <a:pt x="310" y="425"/>
                    <a:pt x="310" y="425"/>
                    <a:pt x="310" y="425"/>
                  </a:cubicBezTo>
                  <a:cubicBezTo>
                    <a:pt x="310" y="425"/>
                    <a:pt x="318" y="432"/>
                    <a:pt x="318" y="432"/>
                  </a:cubicBezTo>
                  <a:cubicBezTo>
                    <a:pt x="318" y="432"/>
                    <a:pt x="318" y="431"/>
                    <a:pt x="318" y="431"/>
                  </a:cubicBezTo>
                  <a:cubicBezTo>
                    <a:pt x="318" y="430"/>
                    <a:pt x="319" y="432"/>
                    <a:pt x="319" y="432"/>
                  </a:cubicBezTo>
                  <a:cubicBezTo>
                    <a:pt x="319" y="432"/>
                    <a:pt x="320" y="431"/>
                    <a:pt x="320" y="430"/>
                  </a:cubicBezTo>
                  <a:cubicBezTo>
                    <a:pt x="320" y="430"/>
                    <a:pt x="320" y="428"/>
                    <a:pt x="320" y="428"/>
                  </a:cubicBezTo>
                  <a:cubicBezTo>
                    <a:pt x="320" y="428"/>
                    <a:pt x="324" y="428"/>
                    <a:pt x="324" y="428"/>
                  </a:cubicBezTo>
                  <a:cubicBezTo>
                    <a:pt x="325" y="428"/>
                    <a:pt x="327" y="428"/>
                    <a:pt x="327" y="428"/>
                  </a:cubicBezTo>
                  <a:cubicBezTo>
                    <a:pt x="327" y="428"/>
                    <a:pt x="327" y="427"/>
                    <a:pt x="327" y="426"/>
                  </a:cubicBezTo>
                  <a:cubicBezTo>
                    <a:pt x="328" y="426"/>
                    <a:pt x="327" y="426"/>
                    <a:pt x="327" y="426"/>
                  </a:cubicBezTo>
                  <a:cubicBezTo>
                    <a:pt x="327" y="426"/>
                    <a:pt x="326" y="427"/>
                    <a:pt x="326" y="427"/>
                  </a:cubicBezTo>
                  <a:cubicBezTo>
                    <a:pt x="326" y="427"/>
                    <a:pt x="325" y="427"/>
                    <a:pt x="325" y="426"/>
                  </a:cubicBezTo>
                  <a:cubicBezTo>
                    <a:pt x="325" y="426"/>
                    <a:pt x="326" y="426"/>
                    <a:pt x="326" y="425"/>
                  </a:cubicBezTo>
                  <a:cubicBezTo>
                    <a:pt x="326" y="425"/>
                    <a:pt x="326" y="424"/>
                    <a:pt x="326" y="424"/>
                  </a:cubicBezTo>
                  <a:cubicBezTo>
                    <a:pt x="326" y="423"/>
                    <a:pt x="326" y="423"/>
                    <a:pt x="325" y="423"/>
                  </a:cubicBezTo>
                  <a:cubicBezTo>
                    <a:pt x="324" y="423"/>
                    <a:pt x="324" y="423"/>
                    <a:pt x="323" y="422"/>
                  </a:cubicBezTo>
                  <a:cubicBezTo>
                    <a:pt x="323" y="421"/>
                    <a:pt x="322" y="421"/>
                    <a:pt x="322" y="420"/>
                  </a:cubicBezTo>
                  <a:cubicBezTo>
                    <a:pt x="322" y="420"/>
                    <a:pt x="322" y="419"/>
                    <a:pt x="322" y="418"/>
                  </a:cubicBezTo>
                  <a:cubicBezTo>
                    <a:pt x="321" y="418"/>
                    <a:pt x="322" y="417"/>
                    <a:pt x="322" y="416"/>
                  </a:cubicBezTo>
                  <a:cubicBezTo>
                    <a:pt x="321" y="415"/>
                    <a:pt x="321" y="415"/>
                    <a:pt x="321" y="415"/>
                  </a:cubicBezTo>
                  <a:cubicBezTo>
                    <a:pt x="321" y="415"/>
                    <a:pt x="321" y="414"/>
                    <a:pt x="321" y="413"/>
                  </a:cubicBezTo>
                  <a:cubicBezTo>
                    <a:pt x="321" y="413"/>
                    <a:pt x="320" y="412"/>
                    <a:pt x="320" y="411"/>
                  </a:cubicBezTo>
                  <a:cubicBezTo>
                    <a:pt x="319" y="410"/>
                    <a:pt x="318" y="409"/>
                    <a:pt x="318" y="409"/>
                  </a:cubicBezTo>
                  <a:cubicBezTo>
                    <a:pt x="318" y="409"/>
                    <a:pt x="318" y="407"/>
                    <a:pt x="318" y="407"/>
                  </a:cubicBezTo>
                  <a:cubicBezTo>
                    <a:pt x="318" y="407"/>
                    <a:pt x="318" y="407"/>
                    <a:pt x="318" y="406"/>
                  </a:cubicBezTo>
                  <a:cubicBezTo>
                    <a:pt x="319" y="406"/>
                    <a:pt x="318" y="405"/>
                    <a:pt x="318" y="404"/>
                  </a:cubicBezTo>
                  <a:cubicBezTo>
                    <a:pt x="318" y="404"/>
                    <a:pt x="318" y="404"/>
                    <a:pt x="318" y="403"/>
                  </a:cubicBezTo>
                  <a:cubicBezTo>
                    <a:pt x="317" y="403"/>
                    <a:pt x="318" y="402"/>
                    <a:pt x="318" y="402"/>
                  </a:cubicBezTo>
                  <a:cubicBezTo>
                    <a:pt x="318" y="402"/>
                    <a:pt x="318" y="401"/>
                    <a:pt x="317" y="401"/>
                  </a:cubicBezTo>
                  <a:cubicBezTo>
                    <a:pt x="317" y="400"/>
                    <a:pt x="317" y="400"/>
                    <a:pt x="317" y="399"/>
                  </a:cubicBezTo>
                  <a:cubicBezTo>
                    <a:pt x="317" y="399"/>
                    <a:pt x="317" y="397"/>
                    <a:pt x="316" y="397"/>
                  </a:cubicBezTo>
                  <a:cubicBezTo>
                    <a:pt x="316" y="396"/>
                    <a:pt x="314" y="395"/>
                    <a:pt x="314" y="394"/>
                  </a:cubicBezTo>
                  <a:cubicBezTo>
                    <a:pt x="313" y="393"/>
                    <a:pt x="313" y="393"/>
                    <a:pt x="313" y="393"/>
                  </a:cubicBezTo>
                  <a:cubicBezTo>
                    <a:pt x="313" y="392"/>
                    <a:pt x="314" y="393"/>
                    <a:pt x="314" y="392"/>
                  </a:cubicBezTo>
                  <a:cubicBezTo>
                    <a:pt x="314" y="392"/>
                    <a:pt x="314" y="392"/>
                    <a:pt x="314" y="392"/>
                  </a:cubicBezTo>
                  <a:cubicBezTo>
                    <a:pt x="314" y="391"/>
                    <a:pt x="314" y="389"/>
                    <a:pt x="314" y="389"/>
                  </a:cubicBezTo>
                  <a:cubicBezTo>
                    <a:pt x="314" y="389"/>
                    <a:pt x="314" y="388"/>
                    <a:pt x="314" y="388"/>
                  </a:cubicBezTo>
                  <a:cubicBezTo>
                    <a:pt x="315" y="387"/>
                    <a:pt x="317" y="388"/>
                    <a:pt x="317" y="388"/>
                  </a:cubicBezTo>
                  <a:cubicBezTo>
                    <a:pt x="317" y="388"/>
                    <a:pt x="317" y="387"/>
                    <a:pt x="317" y="387"/>
                  </a:cubicBezTo>
                  <a:cubicBezTo>
                    <a:pt x="317" y="387"/>
                    <a:pt x="317" y="386"/>
                    <a:pt x="317" y="386"/>
                  </a:cubicBezTo>
                  <a:cubicBezTo>
                    <a:pt x="317" y="386"/>
                    <a:pt x="316" y="385"/>
                    <a:pt x="316" y="385"/>
                  </a:cubicBezTo>
                  <a:cubicBezTo>
                    <a:pt x="316" y="385"/>
                    <a:pt x="317" y="384"/>
                    <a:pt x="317" y="384"/>
                  </a:cubicBezTo>
                  <a:cubicBezTo>
                    <a:pt x="317" y="384"/>
                    <a:pt x="317" y="383"/>
                    <a:pt x="317" y="381"/>
                  </a:cubicBezTo>
                  <a:cubicBezTo>
                    <a:pt x="317" y="381"/>
                    <a:pt x="317" y="381"/>
                    <a:pt x="317" y="380"/>
                  </a:cubicBezTo>
                  <a:cubicBezTo>
                    <a:pt x="317" y="380"/>
                    <a:pt x="317" y="380"/>
                    <a:pt x="317" y="380"/>
                  </a:cubicBezTo>
                  <a:cubicBezTo>
                    <a:pt x="317" y="379"/>
                    <a:pt x="318" y="379"/>
                    <a:pt x="318" y="379"/>
                  </a:cubicBezTo>
                  <a:cubicBezTo>
                    <a:pt x="318" y="378"/>
                    <a:pt x="316" y="378"/>
                    <a:pt x="316" y="378"/>
                  </a:cubicBezTo>
                  <a:cubicBezTo>
                    <a:pt x="315" y="378"/>
                    <a:pt x="315" y="379"/>
                    <a:pt x="315" y="379"/>
                  </a:cubicBezTo>
                  <a:cubicBezTo>
                    <a:pt x="315" y="379"/>
                    <a:pt x="314" y="378"/>
                    <a:pt x="314" y="378"/>
                  </a:cubicBezTo>
                  <a:cubicBezTo>
                    <a:pt x="313" y="378"/>
                    <a:pt x="312" y="378"/>
                    <a:pt x="311" y="378"/>
                  </a:cubicBezTo>
                  <a:cubicBezTo>
                    <a:pt x="311" y="378"/>
                    <a:pt x="310" y="378"/>
                    <a:pt x="309" y="378"/>
                  </a:cubicBezTo>
                  <a:cubicBezTo>
                    <a:pt x="309" y="377"/>
                    <a:pt x="309" y="377"/>
                    <a:pt x="309" y="377"/>
                  </a:cubicBezTo>
                  <a:cubicBezTo>
                    <a:pt x="309" y="377"/>
                    <a:pt x="309" y="377"/>
                    <a:pt x="309" y="377"/>
                  </a:cubicBezTo>
                  <a:cubicBezTo>
                    <a:pt x="308" y="377"/>
                    <a:pt x="308" y="377"/>
                    <a:pt x="309" y="377"/>
                  </a:cubicBezTo>
                  <a:cubicBezTo>
                    <a:pt x="309" y="376"/>
                    <a:pt x="310" y="377"/>
                    <a:pt x="310" y="376"/>
                  </a:cubicBezTo>
                  <a:cubicBezTo>
                    <a:pt x="310" y="376"/>
                    <a:pt x="311" y="376"/>
                    <a:pt x="311" y="376"/>
                  </a:cubicBezTo>
                  <a:cubicBezTo>
                    <a:pt x="312" y="376"/>
                    <a:pt x="312" y="376"/>
                    <a:pt x="313" y="375"/>
                  </a:cubicBezTo>
                  <a:cubicBezTo>
                    <a:pt x="313" y="375"/>
                    <a:pt x="314" y="374"/>
                    <a:pt x="315" y="375"/>
                  </a:cubicBezTo>
                  <a:cubicBezTo>
                    <a:pt x="315" y="375"/>
                    <a:pt x="314" y="376"/>
                    <a:pt x="314" y="376"/>
                  </a:cubicBezTo>
                  <a:cubicBezTo>
                    <a:pt x="314" y="376"/>
                    <a:pt x="315" y="377"/>
                    <a:pt x="315" y="377"/>
                  </a:cubicBezTo>
                  <a:cubicBezTo>
                    <a:pt x="315" y="376"/>
                    <a:pt x="315" y="376"/>
                    <a:pt x="316" y="376"/>
                  </a:cubicBezTo>
                  <a:cubicBezTo>
                    <a:pt x="316" y="376"/>
                    <a:pt x="317" y="376"/>
                    <a:pt x="317" y="376"/>
                  </a:cubicBezTo>
                  <a:cubicBezTo>
                    <a:pt x="318" y="376"/>
                    <a:pt x="318" y="375"/>
                    <a:pt x="318" y="375"/>
                  </a:cubicBezTo>
                  <a:cubicBezTo>
                    <a:pt x="319" y="375"/>
                    <a:pt x="319" y="375"/>
                    <a:pt x="319" y="375"/>
                  </a:cubicBezTo>
                  <a:cubicBezTo>
                    <a:pt x="319" y="374"/>
                    <a:pt x="319" y="374"/>
                    <a:pt x="319" y="374"/>
                  </a:cubicBezTo>
                  <a:cubicBezTo>
                    <a:pt x="319" y="373"/>
                    <a:pt x="319" y="373"/>
                    <a:pt x="320" y="372"/>
                  </a:cubicBezTo>
                  <a:cubicBezTo>
                    <a:pt x="320" y="372"/>
                    <a:pt x="320" y="372"/>
                    <a:pt x="320" y="371"/>
                  </a:cubicBezTo>
                  <a:cubicBezTo>
                    <a:pt x="320" y="371"/>
                    <a:pt x="320" y="370"/>
                    <a:pt x="321" y="369"/>
                  </a:cubicBezTo>
                  <a:cubicBezTo>
                    <a:pt x="321" y="369"/>
                    <a:pt x="320" y="368"/>
                    <a:pt x="321" y="367"/>
                  </a:cubicBezTo>
                  <a:cubicBezTo>
                    <a:pt x="321" y="367"/>
                    <a:pt x="321" y="366"/>
                    <a:pt x="322" y="366"/>
                  </a:cubicBezTo>
                  <a:cubicBezTo>
                    <a:pt x="322" y="365"/>
                    <a:pt x="322" y="365"/>
                    <a:pt x="322" y="365"/>
                  </a:cubicBezTo>
                  <a:cubicBezTo>
                    <a:pt x="323" y="364"/>
                    <a:pt x="323" y="364"/>
                    <a:pt x="323" y="363"/>
                  </a:cubicBezTo>
                  <a:cubicBezTo>
                    <a:pt x="323" y="363"/>
                    <a:pt x="323" y="362"/>
                    <a:pt x="324" y="362"/>
                  </a:cubicBezTo>
                  <a:cubicBezTo>
                    <a:pt x="324" y="362"/>
                    <a:pt x="324" y="361"/>
                    <a:pt x="324" y="361"/>
                  </a:cubicBezTo>
                  <a:cubicBezTo>
                    <a:pt x="324" y="361"/>
                    <a:pt x="323" y="360"/>
                    <a:pt x="323" y="360"/>
                  </a:cubicBezTo>
                  <a:cubicBezTo>
                    <a:pt x="323" y="360"/>
                    <a:pt x="322" y="360"/>
                    <a:pt x="321" y="360"/>
                  </a:cubicBezTo>
                  <a:cubicBezTo>
                    <a:pt x="321" y="359"/>
                    <a:pt x="320" y="359"/>
                    <a:pt x="320" y="358"/>
                  </a:cubicBezTo>
                  <a:cubicBezTo>
                    <a:pt x="320" y="358"/>
                    <a:pt x="320" y="358"/>
                    <a:pt x="320" y="358"/>
                  </a:cubicBezTo>
                  <a:cubicBezTo>
                    <a:pt x="320" y="357"/>
                    <a:pt x="319" y="357"/>
                    <a:pt x="319" y="357"/>
                  </a:cubicBezTo>
                  <a:cubicBezTo>
                    <a:pt x="319" y="357"/>
                    <a:pt x="319" y="356"/>
                    <a:pt x="319" y="356"/>
                  </a:cubicBezTo>
                  <a:cubicBezTo>
                    <a:pt x="319" y="356"/>
                    <a:pt x="319" y="356"/>
                    <a:pt x="319" y="355"/>
                  </a:cubicBezTo>
                  <a:cubicBezTo>
                    <a:pt x="319" y="355"/>
                    <a:pt x="318" y="355"/>
                    <a:pt x="318" y="354"/>
                  </a:cubicBezTo>
                  <a:cubicBezTo>
                    <a:pt x="318" y="354"/>
                    <a:pt x="318" y="354"/>
                    <a:pt x="319" y="354"/>
                  </a:cubicBezTo>
                  <a:cubicBezTo>
                    <a:pt x="319" y="354"/>
                    <a:pt x="320" y="354"/>
                    <a:pt x="321" y="354"/>
                  </a:cubicBezTo>
                  <a:cubicBezTo>
                    <a:pt x="321" y="353"/>
                    <a:pt x="321" y="353"/>
                    <a:pt x="321" y="353"/>
                  </a:cubicBezTo>
                  <a:cubicBezTo>
                    <a:pt x="321" y="353"/>
                    <a:pt x="322" y="353"/>
                    <a:pt x="322" y="353"/>
                  </a:cubicBezTo>
                  <a:cubicBezTo>
                    <a:pt x="323" y="353"/>
                    <a:pt x="323" y="353"/>
                    <a:pt x="324" y="353"/>
                  </a:cubicBezTo>
                  <a:cubicBezTo>
                    <a:pt x="324" y="354"/>
                    <a:pt x="324" y="354"/>
                    <a:pt x="325" y="354"/>
                  </a:cubicBezTo>
                  <a:cubicBezTo>
                    <a:pt x="325" y="355"/>
                    <a:pt x="325" y="355"/>
                    <a:pt x="326" y="355"/>
                  </a:cubicBezTo>
                  <a:cubicBezTo>
                    <a:pt x="326" y="355"/>
                    <a:pt x="327" y="355"/>
                    <a:pt x="327" y="355"/>
                  </a:cubicBezTo>
                  <a:cubicBezTo>
                    <a:pt x="327" y="355"/>
                    <a:pt x="327" y="355"/>
                    <a:pt x="327" y="355"/>
                  </a:cubicBezTo>
                  <a:cubicBezTo>
                    <a:pt x="327" y="354"/>
                    <a:pt x="327" y="354"/>
                    <a:pt x="327" y="354"/>
                  </a:cubicBezTo>
                  <a:cubicBezTo>
                    <a:pt x="328" y="353"/>
                    <a:pt x="329" y="352"/>
                    <a:pt x="329" y="351"/>
                  </a:cubicBezTo>
                  <a:cubicBezTo>
                    <a:pt x="330" y="350"/>
                    <a:pt x="330" y="349"/>
                    <a:pt x="331" y="348"/>
                  </a:cubicBezTo>
                  <a:cubicBezTo>
                    <a:pt x="331" y="347"/>
                    <a:pt x="331" y="346"/>
                    <a:pt x="331" y="346"/>
                  </a:cubicBezTo>
                  <a:cubicBezTo>
                    <a:pt x="331" y="346"/>
                    <a:pt x="331" y="346"/>
                    <a:pt x="330" y="346"/>
                  </a:cubicBezTo>
                  <a:cubicBezTo>
                    <a:pt x="330" y="346"/>
                    <a:pt x="330" y="346"/>
                    <a:pt x="329" y="346"/>
                  </a:cubicBezTo>
                  <a:cubicBezTo>
                    <a:pt x="329" y="346"/>
                    <a:pt x="329" y="347"/>
                    <a:pt x="329" y="347"/>
                  </a:cubicBezTo>
                  <a:cubicBezTo>
                    <a:pt x="328" y="347"/>
                    <a:pt x="328" y="347"/>
                    <a:pt x="327" y="347"/>
                  </a:cubicBezTo>
                  <a:cubicBezTo>
                    <a:pt x="326" y="346"/>
                    <a:pt x="326" y="346"/>
                    <a:pt x="326" y="345"/>
                  </a:cubicBezTo>
                  <a:cubicBezTo>
                    <a:pt x="325" y="345"/>
                    <a:pt x="326" y="345"/>
                    <a:pt x="326" y="345"/>
                  </a:cubicBezTo>
                  <a:cubicBezTo>
                    <a:pt x="327" y="345"/>
                    <a:pt x="327" y="344"/>
                    <a:pt x="328" y="344"/>
                  </a:cubicBezTo>
                  <a:cubicBezTo>
                    <a:pt x="328" y="344"/>
                    <a:pt x="328" y="343"/>
                    <a:pt x="329" y="343"/>
                  </a:cubicBezTo>
                  <a:cubicBezTo>
                    <a:pt x="329" y="343"/>
                    <a:pt x="329" y="343"/>
                    <a:pt x="329" y="343"/>
                  </a:cubicBezTo>
                  <a:cubicBezTo>
                    <a:pt x="330" y="343"/>
                    <a:pt x="330" y="343"/>
                    <a:pt x="330" y="342"/>
                  </a:cubicBezTo>
                  <a:cubicBezTo>
                    <a:pt x="330" y="342"/>
                    <a:pt x="331" y="342"/>
                    <a:pt x="331" y="342"/>
                  </a:cubicBezTo>
                  <a:cubicBezTo>
                    <a:pt x="331" y="342"/>
                    <a:pt x="331" y="341"/>
                    <a:pt x="332" y="341"/>
                  </a:cubicBezTo>
                  <a:cubicBezTo>
                    <a:pt x="332" y="341"/>
                    <a:pt x="333" y="341"/>
                    <a:pt x="333" y="341"/>
                  </a:cubicBezTo>
                  <a:cubicBezTo>
                    <a:pt x="333" y="342"/>
                    <a:pt x="333" y="342"/>
                    <a:pt x="333" y="343"/>
                  </a:cubicBezTo>
                  <a:cubicBezTo>
                    <a:pt x="333" y="343"/>
                    <a:pt x="333" y="343"/>
                    <a:pt x="334" y="343"/>
                  </a:cubicBezTo>
                  <a:cubicBezTo>
                    <a:pt x="334" y="343"/>
                    <a:pt x="335" y="343"/>
                    <a:pt x="336" y="343"/>
                  </a:cubicBezTo>
                  <a:cubicBezTo>
                    <a:pt x="336" y="343"/>
                    <a:pt x="337" y="342"/>
                    <a:pt x="338" y="342"/>
                  </a:cubicBezTo>
                  <a:cubicBezTo>
                    <a:pt x="338" y="341"/>
                    <a:pt x="339" y="340"/>
                    <a:pt x="340" y="340"/>
                  </a:cubicBezTo>
                  <a:cubicBezTo>
                    <a:pt x="340" y="339"/>
                    <a:pt x="340" y="339"/>
                    <a:pt x="340" y="338"/>
                  </a:cubicBezTo>
                  <a:cubicBezTo>
                    <a:pt x="340" y="338"/>
                    <a:pt x="340" y="338"/>
                    <a:pt x="340" y="337"/>
                  </a:cubicBezTo>
                  <a:cubicBezTo>
                    <a:pt x="340" y="337"/>
                    <a:pt x="340" y="337"/>
                    <a:pt x="340" y="336"/>
                  </a:cubicBezTo>
                  <a:cubicBezTo>
                    <a:pt x="340" y="336"/>
                    <a:pt x="340" y="336"/>
                    <a:pt x="340" y="336"/>
                  </a:cubicBezTo>
                  <a:cubicBezTo>
                    <a:pt x="339" y="336"/>
                    <a:pt x="340" y="335"/>
                    <a:pt x="340" y="335"/>
                  </a:cubicBezTo>
                  <a:cubicBezTo>
                    <a:pt x="340" y="334"/>
                    <a:pt x="339" y="334"/>
                    <a:pt x="339" y="333"/>
                  </a:cubicBezTo>
                  <a:cubicBezTo>
                    <a:pt x="338" y="333"/>
                    <a:pt x="338" y="333"/>
                    <a:pt x="339" y="332"/>
                  </a:cubicBezTo>
                  <a:cubicBezTo>
                    <a:pt x="340" y="332"/>
                    <a:pt x="342" y="332"/>
                    <a:pt x="343" y="333"/>
                  </a:cubicBezTo>
                  <a:cubicBezTo>
                    <a:pt x="343" y="333"/>
                    <a:pt x="343" y="334"/>
                    <a:pt x="343" y="335"/>
                  </a:cubicBezTo>
                  <a:cubicBezTo>
                    <a:pt x="343" y="336"/>
                    <a:pt x="343" y="335"/>
                    <a:pt x="344" y="335"/>
                  </a:cubicBezTo>
                  <a:cubicBezTo>
                    <a:pt x="345" y="335"/>
                    <a:pt x="345" y="336"/>
                    <a:pt x="346" y="335"/>
                  </a:cubicBezTo>
                  <a:cubicBezTo>
                    <a:pt x="347" y="335"/>
                    <a:pt x="348" y="334"/>
                    <a:pt x="348" y="334"/>
                  </a:cubicBezTo>
                  <a:cubicBezTo>
                    <a:pt x="349" y="333"/>
                    <a:pt x="350" y="333"/>
                    <a:pt x="351" y="332"/>
                  </a:cubicBezTo>
                  <a:cubicBezTo>
                    <a:pt x="352" y="332"/>
                    <a:pt x="353" y="332"/>
                    <a:pt x="353" y="331"/>
                  </a:cubicBezTo>
                  <a:cubicBezTo>
                    <a:pt x="353" y="330"/>
                    <a:pt x="352" y="330"/>
                    <a:pt x="352" y="329"/>
                  </a:cubicBezTo>
                  <a:cubicBezTo>
                    <a:pt x="352" y="329"/>
                    <a:pt x="352" y="329"/>
                    <a:pt x="351" y="328"/>
                  </a:cubicBezTo>
                  <a:cubicBezTo>
                    <a:pt x="351" y="328"/>
                    <a:pt x="350" y="327"/>
                    <a:pt x="349" y="327"/>
                  </a:cubicBezTo>
                  <a:cubicBezTo>
                    <a:pt x="349" y="326"/>
                    <a:pt x="348" y="326"/>
                    <a:pt x="347" y="326"/>
                  </a:cubicBezTo>
                  <a:cubicBezTo>
                    <a:pt x="347" y="326"/>
                    <a:pt x="347" y="326"/>
                    <a:pt x="347" y="325"/>
                  </a:cubicBezTo>
                  <a:cubicBezTo>
                    <a:pt x="346" y="325"/>
                    <a:pt x="346" y="325"/>
                    <a:pt x="346" y="325"/>
                  </a:cubicBezTo>
                  <a:cubicBezTo>
                    <a:pt x="346" y="325"/>
                    <a:pt x="346" y="324"/>
                    <a:pt x="346" y="324"/>
                  </a:cubicBezTo>
                  <a:cubicBezTo>
                    <a:pt x="346" y="323"/>
                    <a:pt x="346" y="322"/>
                    <a:pt x="346" y="322"/>
                  </a:cubicBezTo>
                  <a:cubicBezTo>
                    <a:pt x="346" y="322"/>
                    <a:pt x="346" y="321"/>
                    <a:pt x="347" y="321"/>
                  </a:cubicBezTo>
                  <a:cubicBezTo>
                    <a:pt x="347" y="321"/>
                    <a:pt x="347" y="320"/>
                    <a:pt x="347" y="321"/>
                  </a:cubicBezTo>
                  <a:cubicBezTo>
                    <a:pt x="348" y="321"/>
                    <a:pt x="347" y="322"/>
                    <a:pt x="348" y="323"/>
                  </a:cubicBezTo>
                  <a:cubicBezTo>
                    <a:pt x="348" y="323"/>
                    <a:pt x="349" y="323"/>
                    <a:pt x="349" y="323"/>
                  </a:cubicBezTo>
                  <a:cubicBezTo>
                    <a:pt x="350" y="323"/>
                    <a:pt x="351" y="323"/>
                    <a:pt x="351" y="324"/>
                  </a:cubicBezTo>
                  <a:cubicBezTo>
                    <a:pt x="352" y="324"/>
                    <a:pt x="351" y="324"/>
                    <a:pt x="352" y="324"/>
                  </a:cubicBezTo>
                  <a:cubicBezTo>
                    <a:pt x="352" y="324"/>
                    <a:pt x="353" y="324"/>
                    <a:pt x="353" y="324"/>
                  </a:cubicBezTo>
                  <a:cubicBezTo>
                    <a:pt x="354" y="324"/>
                    <a:pt x="353" y="323"/>
                    <a:pt x="353" y="322"/>
                  </a:cubicBezTo>
                  <a:cubicBezTo>
                    <a:pt x="353" y="322"/>
                    <a:pt x="354" y="321"/>
                    <a:pt x="354" y="321"/>
                  </a:cubicBezTo>
                  <a:cubicBezTo>
                    <a:pt x="354" y="321"/>
                    <a:pt x="355" y="322"/>
                    <a:pt x="355" y="322"/>
                  </a:cubicBezTo>
                  <a:cubicBezTo>
                    <a:pt x="355" y="323"/>
                    <a:pt x="355" y="323"/>
                    <a:pt x="355" y="323"/>
                  </a:cubicBezTo>
                  <a:cubicBezTo>
                    <a:pt x="356" y="323"/>
                    <a:pt x="356" y="323"/>
                    <a:pt x="356" y="323"/>
                  </a:cubicBezTo>
                  <a:cubicBezTo>
                    <a:pt x="357" y="323"/>
                    <a:pt x="357" y="322"/>
                    <a:pt x="357" y="322"/>
                  </a:cubicBezTo>
                  <a:cubicBezTo>
                    <a:pt x="358" y="322"/>
                    <a:pt x="358" y="321"/>
                    <a:pt x="359" y="321"/>
                  </a:cubicBezTo>
                  <a:cubicBezTo>
                    <a:pt x="359" y="321"/>
                    <a:pt x="360" y="320"/>
                    <a:pt x="360" y="321"/>
                  </a:cubicBezTo>
                  <a:cubicBezTo>
                    <a:pt x="360" y="321"/>
                    <a:pt x="360" y="321"/>
                    <a:pt x="360" y="322"/>
                  </a:cubicBezTo>
                  <a:cubicBezTo>
                    <a:pt x="360" y="322"/>
                    <a:pt x="360" y="323"/>
                    <a:pt x="360" y="323"/>
                  </a:cubicBezTo>
                  <a:cubicBezTo>
                    <a:pt x="360" y="324"/>
                    <a:pt x="360" y="324"/>
                    <a:pt x="360" y="324"/>
                  </a:cubicBezTo>
                  <a:cubicBezTo>
                    <a:pt x="360" y="325"/>
                    <a:pt x="360" y="325"/>
                    <a:pt x="360" y="325"/>
                  </a:cubicBezTo>
                  <a:cubicBezTo>
                    <a:pt x="360" y="326"/>
                    <a:pt x="360" y="325"/>
                    <a:pt x="361" y="325"/>
                  </a:cubicBezTo>
                  <a:cubicBezTo>
                    <a:pt x="361" y="325"/>
                    <a:pt x="361" y="325"/>
                    <a:pt x="362" y="325"/>
                  </a:cubicBezTo>
                  <a:cubicBezTo>
                    <a:pt x="362" y="325"/>
                    <a:pt x="363" y="325"/>
                    <a:pt x="363" y="325"/>
                  </a:cubicBezTo>
                  <a:cubicBezTo>
                    <a:pt x="363" y="325"/>
                    <a:pt x="363" y="324"/>
                    <a:pt x="364" y="324"/>
                  </a:cubicBezTo>
                  <a:cubicBezTo>
                    <a:pt x="364" y="324"/>
                    <a:pt x="365" y="324"/>
                    <a:pt x="365" y="324"/>
                  </a:cubicBezTo>
                  <a:cubicBezTo>
                    <a:pt x="366" y="324"/>
                    <a:pt x="366" y="324"/>
                    <a:pt x="366" y="324"/>
                  </a:cubicBezTo>
                  <a:cubicBezTo>
                    <a:pt x="366" y="323"/>
                    <a:pt x="367" y="323"/>
                    <a:pt x="367" y="323"/>
                  </a:cubicBezTo>
                  <a:cubicBezTo>
                    <a:pt x="367" y="323"/>
                    <a:pt x="367" y="323"/>
                    <a:pt x="367" y="323"/>
                  </a:cubicBezTo>
                  <a:cubicBezTo>
                    <a:pt x="368" y="323"/>
                    <a:pt x="368" y="323"/>
                    <a:pt x="368" y="323"/>
                  </a:cubicBezTo>
                  <a:cubicBezTo>
                    <a:pt x="368" y="324"/>
                    <a:pt x="368" y="324"/>
                    <a:pt x="368" y="325"/>
                  </a:cubicBezTo>
                  <a:cubicBezTo>
                    <a:pt x="367" y="325"/>
                    <a:pt x="367" y="325"/>
                    <a:pt x="366" y="326"/>
                  </a:cubicBezTo>
                  <a:cubicBezTo>
                    <a:pt x="365" y="326"/>
                    <a:pt x="365" y="326"/>
                    <a:pt x="364" y="327"/>
                  </a:cubicBezTo>
                  <a:cubicBezTo>
                    <a:pt x="362" y="327"/>
                    <a:pt x="361" y="328"/>
                    <a:pt x="359" y="329"/>
                  </a:cubicBezTo>
                  <a:cubicBezTo>
                    <a:pt x="359" y="329"/>
                    <a:pt x="358" y="330"/>
                    <a:pt x="357" y="330"/>
                  </a:cubicBezTo>
                  <a:cubicBezTo>
                    <a:pt x="357" y="330"/>
                    <a:pt x="356" y="331"/>
                    <a:pt x="357" y="331"/>
                  </a:cubicBezTo>
                  <a:cubicBezTo>
                    <a:pt x="357" y="332"/>
                    <a:pt x="357" y="331"/>
                    <a:pt x="357" y="331"/>
                  </a:cubicBezTo>
                  <a:cubicBezTo>
                    <a:pt x="358" y="331"/>
                    <a:pt x="359" y="330"/>
                    <a:pt x="359" y="330"/>
                  </a:cubicBezTo>
                  <a:cubicBezTo>
                    <a:pt x="360" y="330"/>
                    <a:pt x="361" y="329"/>
                    <a:pt x="362" y="328"/>
                  </a:cubicBezTo>
                  <a:cubicBezTo>
                    <a:pt x="363" y="328"/>
                    <a:pt x="364" y="327"/>
                    <a:pt x="365" y="327"/>
                  </a:cubicBezTo>
                  <a:cubicBezTo>
                    <a:pt x="366" y="326"/>
                    <a:pt x="367" y="326"/>
                    <a:pt x="368" y="326"/>
                  </a:cubicBezTo>
                  <a:cubicBezTo>
                    <a:pt x="369" y="325"/>
                    <a:pt x="369" y="325"/>
                    <a:pt x="370" y="324"/>
                  </a:cubicBezTo>
                  <a:cubicBezTo>
                    <a:pt x="370" y="324"/>
                    <a:pt x="370" y="324"/>
                    <a:pt x="370" y="323"/>
                  </a:cubicBezTo>
                  <a:cubicBezTo>
                    <a:pt x="370" y="323"/>
                    <a:pt x="370" y="323"/>
                    <a:pt x="370" y="323"/>
                  </a:cubicBezTo>
                  <a:cubicBezTo>
                    <a:pt x="370" y="321"/>
                    <a:pt x="372" y="320"/>
                    <a:pt x="374" y="320"/>
                  </a:cubicBezTo>
                  <a:cubicBezTo>
                    <a:pt x="375" y="319"/>
                    <a:pt x="375" y="319"/>
                    <a:pt x="376" y="319"/>
                  </a:cubicBezTo>
                  <a:cubicBezTo>
                    <a:pt x="377" y="319"/>
                    <a:pt x="378" y="319"/>
                    <a:pt x="379" y="319"/>
                  </a:cubicBezTo>
                  <a:cubicBezTo>
                    <a:pt x="380" y="318"/>
                    <a:pt x="381" y="318"/>
                    <a:pt x="381" y="318"/>
                  </a:cubicBezTo>
                  <a:cubicBezTo>
                    <a:pt x="382" y="317"/>
                    <a:pt x="383" y="317"/>
                    <a:pt x="383" y="316"/>
                  </a:cubicBezTo>
                  <a:cubicBezTo>
                    <a:pt x="384" y="316"/>
                    <a:pt x="385" y="315"/>
                    <a:pt x="386" y="315"/>
                  </a:cubicBezTo>
                  <a:cubicBezTo>
                    <a:pt x="388" y="314"/>
                    <a:pt x="389" y="314"/>
                    <a:pt x="389" y="314"/>
                  </a:cubicBezTo>
                  <a:cubicBezTo>
                    <a:pt x="391" y="313"/>
                    <a:pt x="392" y="312"/>
                    <a:pt x="393" y="311"/>
                  </a:cubicBezTo>
                  <a:cubicBezTo>
                    <a:pt x="393" y="310"/>
                    <a:pt x="393" y="310"/>
                    <a:pt x="394" y="310"/>
                  </a:cubicBezTo>
                  <a:cubicBezTo>
                    <a:pt x="394" y="309"/>
                    <a:pt x="395" y="309"/>
                    <a:pt x="395" y="309"/>
                  </a:cubicBezTo>
                  <a:cubicBezTo>
                    <a:pt x="396" y="309"/>
                    <a:pt x="397" y="308"/>
                    <a:pt x="397" y="307"/>
                  </a:cubicBezTo>
                  <a:cubicBezTo>
                    <a:pt x="397" y="307"/>
                    <a:pt x="397" y="306"/>
                    <a:pt x="397" y="306"/>
                  </a:cubicBezTo>
                  <a:cubicBezTo>
                    <a:pt x="397" y="306"/>
                    <a:pt x="397" y="306"/>
                    <a:pt x="396" y="306"/>
                  </a:cubicBezTo>
                  <a:cubicBezTo>
                    <a:pt x="396" y="306"/>
                    <a:pt x="396" y="306"/>
                    <a:pt x="396" y="305"/>
                  </a:cubicBezTo>
                  <a:cubicBezTo>
                    <a:pt x="396" y="305"/>
                    <a:pt x="395" y="305"/>
                    <a:pt x="395" y="305"/>
                  </a:cubicBezTo>
                  <a:cubicBezTo>
                    <a:pt x="395" y="305"/>
                    <a:pt x="396" y="304"/>
                    <a:pt x="396" y="304"/>
                  </a:cubicBezTo>
                  <a:cubicBezTo>
                    <a:pt x="396" y="304"/>
                    <a:pt x="396" y="303"/>
                    <a:pt x="396" y="303"/>
                  </a:cubicBezTo>
                  <a:cubicBezTo>
                    <a:pt x="397" y="303"/>
                    <a:pt x="397" y="303"/>
                    <a:pt x="398" y="302"/>
                  </a:cubicBezTo>
                  <a:cubicBezTo>
                    <a:pt x="399" y="302"/>
                    <a:pt x="400" y="302"/>
                    <a:pt x="400" y="301"/>
                  </a:cubicBezTo>
                  <a:cubicBezTo>
                    <a:pt x="401" y="300"/>
                    <a:pt x="402" y="300"/>
                    <a:pt x="402" y="299"/>
                  </a:cubicBezTo>
                  <a:cubicBezTo>
                    <a:pt x="403" y="299"/>
                    <a:pt x="403" y="299"/>
                    <a:pt x="403" y="299"/>
                  </a:cubicBezTo>
                  <a:cubicBezTo>
                    <a:pt x="403" y="298"/>
                    <a:pt x="404" y="298"/>
                    <a:pt x="404" y="298"/>
                  </a:cubicBezTo>
                  <a:cubicBezTo>
                    <a:pt x="404" y="298"/>
                    <a:pt x="405" y="298"/>
                    <a:pt x="406" y="297"/>
                  </a:cubicBezTo>
                  <a:cubicBezTo>
                    <a:pt x="406" y="297"/>
                    <a:pt x="406" y="296"/>
                    <a:pt x="406" y="296"/>
                  </a:cubicBezTo>
                  <a:cubicBezTo>
                    <a:pt x="406" y="295"/>
                    <a:pt x="406" y="295"/>
                    <a:pt x="406" y="294"/>
                  </a:cubicBezTo>
                  <a:cubicBezTo>
                    <a:pt x="406" y="293"/>
                    <a:pt x="406" y="293"/>
                    <a:pt x="405" y="292"/>
                  </a:cubicBezTo>
                  <a:cubicBezTo>
                    <a:pt x="405" y="292"/>
                    <a:pt x="405" y="292"/>
                    <a:pt x="405" y="292"/>
                  </a:cubicBezTo>
                  <a:cubicBezTo>
                    <a:pt x="405" y="292"/>
                    <a:pt x="404" y="292"/>
                    <a:pt x="404" y="291"/>
                  </a:cubicBezTo>
                  <a:cubicBezTo>
                    <a:pt x="403" y="291"/>
                    <a:pt x="404" y="291"/>
                    <a:pt x="404" y="290"/>
                  </a:cubicBezTo>
                  <a:cubicBezTo>
                    <a:pt x="404" y="290"/>
                    <a:pt x="405" y="290"/>
                    <a:pt x="404" y="289"/>
                  </a:cubicBezTo>
                  <a:cubicBezTo>
                    <a:pt x="404" y="289"/>
                    <a:pt x="403" y="289"/>
                    <a:pt x="403" y="289"/>
                  </a:cubicBezTo>
                  <a:cubicBezTo>
                    <a:pt x="403" y="289"/>
                    <a:pt x="403" y="289"/>
                    <a:pt x="402" y="289"/>
                  </a:cubicBezTo>
                  <a:cubicBezTo>
                    <a:pt x="402" y="288"/>
                    <a:pt x="402" y="288"/>
                    <a:pt x="401" y="287"/>
                  </a:cubicBezTo>
                  <a:cubicBezTo>
                    <a:pt x="402" y="287"/>
                    <a:pt x="402" y="287"/>
                    <a:pt x="402" y="286"/>
                  </a:cubicBezTo>
                  <a:cubicBezTo>
                    <a:pt x="402" y="286"/>
                    <a:pt x="402" y="285"/>
                    <a:pt x="401" y="285"/>
                  </a:cubicBezTo>
                  <a:cubicBezTo>
                    <a:pt x="402" y="285"/>
                    <a:pt x="402" y="285"/>
                    <a:pt x="402" y="284"/>
                  </a:cubicBezTo>
                  <a:cubicBezTo>
                    <a:pt x="402" y="284"/>
                    <a:pt x="402" y="283"/>
                    <a:pt x="402" y="283"/>
                  </a:cubicBezTo>
                  <a:cubicBezTo>
                    <a:pt x="402" y="281"/>
                    <a:pt x="401" y="281"/>
                    <a:pt x="400" y="281"/>
                  </a:cubicBezTo>
                  <a:cubicBezTo>
                    <a:pt x="400" y="281"/>
                    <a:pt x="399" y="280"/>
                    <a:pt x="399" y="280"/>
                  </a:cubicBezTo>
                  <a:cubicBezTo>
                    <a:pt x="399" y="279"/>
                    <a:pt x="399" y="279"/>
                    <a:pt x="399" y="279"/>
                  </a:cubicBezTo>
                  <a:cubicBezTo>
                    <a:pt x="399" y="278"/>
                    <a:pt x="399" y="277"/>
                    <a:pt x="399" y="277"/>
                  </a:cubicBezTo>
                  <a:cubicBezTo>
                    <a:pt x="400" y="276"/>
                    <a:pt x="400" y="277"/>
                    <a:pt x="400" y="278"/>
                  </a:cubicBezTo>
                  <a:cubicBezTo>
                    <a:pt x="401" y="278"/>
                    <a:pt x="401" y="279"/>
                    <a:pt x="401" y="279"/>
                  </a:cubicBezTo>
                  <a:cubicBezTo>
                    <a:pt x="401" y="280"/>
                    <a:pt x="402" y="280"/>
                    <a:pt x="402" y="280"/>
                  </a:cubicBezTo>
                  <a:cubicBezTo>
                    <a:pt x="403" y="281"/>
                    <a:pt x="404" y="282"/>
                    <a:pt x="404" y="282"/>
                  </a:cubicBezTo>
                  <a:cubicBezTo>
                    <a:pt x="405" y="283"/>
                    <a:pt x="406" y="283"/>
                    <a:pt x="407" y="282"/>
                  </a:cubicBezTo>
                  <a:cubicBezTo>
                    <a:pt x="407" y="282"/>
                    <a:pt x="407" y="281"/>
                    <a:pt x="407" y="281"/>
                  </a:cubicBezTo>
                  <a:cubicBezTo>
                    <a:pt x="408" y="280"/>
                    <a:pt x="408" y="279"/>
                    <a:pt x="409" y="279"/>
                  </a:cubicBezTo>
                  <a:cubicBezTo>
                    <a:pt x="410" y="279"/>
                    <a:pt x="411" y="279"/>
                    <a:pt x="412" y="279"/>
                  </a:cubicBezTo>
                  <a:cubicBezTo>
                    <a:pt x="412" y="279"/>
                    <a:pt x="412" y="279"/>
                    <a:pt x="412" y="280"/>
                  </a:cubicBezTo>
                  <a:cubicBezTo>
                    <a:pt x="413" y="280"/>
                    <a:pt x="412" y="281"/>
                    <a:pt x="412" y="281"/>
                  </a:cubicBezTo>
                  <a:cubicBezTo>
                    <a:pt x="412" y="282"/>
                    <a:pt x="412" y="282"/>
                    <a:pt x="412" y="283"/>
                  </a:cubicBezTo>
                  <a:cubicBezTo>
                    <a:pt x="412" y="283"/>
                    <a:pt x="412" y="284"/>
                    <a:pt x="412" y="285"/>
                  </a:cubicBezTo>
                  <a:cubicBezTo>
                    <a:pt x="412" y="285"/>
                    <a:pt x="411" y="286"/>
                    <a:pt x="411" y="286"/>
                  </a:cubicBezTo>
                  <a:cubicBezTo>
                    <a:pt x="411" y="287"/>
                    <a:pt x="411" y="287"/>
                    <a:pt x="411" y="288"/>
                  </a:cubicBezTo>
                  <a:cubicBezTo>
                    <a:pt x="411" y="289"/>
                    <a:pt x="412" y="288"/>
                    <a:pt x="412" y="288"/>
                  </a:cubicBezTo>
                  <a:cubicBezTo>
                    <a:pt x="413" y="288"/>
                    <a:pt x="414" y="288"/>
                    <a:pt x="415" y="287"/>
                  </a:cubicBezTo>
                  <a:cubicBezTo>
                    <a:pt x="416" y="287"/>
                    <a:pt x="417" y="287"/>
                    <a:pt x="417" y="287"/>
                  </a:cubicBezTo>
                  <a:cubicBezTo>
                    <a:pt x="418" y="287"/>
                    <a:pt x="419" y="287"/>
                    <a:pt x="419" y="288"/>
                  </a:cubicBezTo>
                  <a:cubicBezTo>
                    <a:pt x="419" y="288"/>
                    <a:pt x="418" y="288"/>
                    <a:pt x="418" y="289"/>
                  </a:cubicBezTo>
                  <a:cubicBezTo>
                    <a:pt x="417" y="289"/>
                    <a:pt x="416" y="290"/>
                    <a:pt x="416" y="290"/>
                  </a:cubicBezTo>
                  <a:cubicBezTo>
                    <a:pt x="415" y="291"/>
                    <a:pt x="413" y="291"/>
                    <a:pt x="412" y="291"/>
                  </a:cubicBezTo>
                  <a:cubicBezTo>
                    <a:pt x="412" y="292"/>
                    <a:pt x="411" y="293"/>
                    <a:pt x="411" y="293"/>
                  </a:cubicBezTo>
                  <a:cubicBezTo>
                    <a:pt x="410" y="293"/>
                    <a:pt x="410" y="294"/>
                    <a:pt x="410" y="294"/>
                  </a:cubicBezTo>
                  <a:cubicBezTo>
                    <a:pt x="410" y="294"/>
                    <a:pt x="411" y="293"/>
                    <a:pt x="412" y="293"/>
                  </a:cubicBezTo>
                  <a:cubicBezTo>
                    <a:pt x="413" y="293"/>
                    <a:pt x="414" y="292"/>
                    <a:pt x="415" y="291"/>
                  </a:cubicBezTo>
                  <a:cubicBezTo>
                    <a:pt x="417" y="290"/>
                    <a:pt x="419" y="289"/>
                    <a:pt x="421" y="289"/>
                  </a:cubicBezTo>
                  <a:cubicBezTo>
                    <a:pt x="423" y="288"/>
                    <a:pt x="425" y="287"/>
                    <a:pt x="427" y="286"/>
                  </a:cubicBezTo>
                  <a:cubicBezTo>
                    <a:pt x="428" y="286"/>
                    <a:pt x="429" y="285"/>
                    <a:pt x="431" y="284"/>
                  </a:cubicBezTo>
                  <a:cubicBezTo>
                    <a:pt x="432" y="284"/>
                    <a:pt x="433" y="284"/>
                    <a:pt x="434" y="283"/>
                  </a:cubicBezTo>
                  <a:cubicBezTo>
                    <a:pt x="434" y="283"/>
                    <a:pt x="435" y="283"/>
                    <a:pt x="435" y="283"/>
                  </a:cubicBezTo>
                  <a:cubicBezTo>
                    <a:pt x="436" y="282"/>
                    <a:pt x="438" y="282"/>
                    <a:pt x="439" y="282"/>
                  </a:cubicBezTo>
                  <a:cubicBezTo>
                    <a:pt x="440" y="283"/>
                    <a:pt x="441" y="283"/>
                    <a:pt x="441" y="282"/>
                  </a:cubicBezTo>
                  <a:cubicBezTo>
                    <a:pt x="442" y="281"/>
                    <a:pt x="441" y="281"/>
                    <a:pt x="441" y="280"/>
                  </a:cubicBezTo>
                  <a:cubicBezTo>
                    <a:pt x="440" y="280"/>
                    <a:pt x="439" y="279"/>
                    <a:pt x="439" y="279"/>
                  </a:cubicBezTo>
                  <a:cubicBezTo>
                    <a:pt x="439" y="278"/>
                    <a:pt x="439" y="277"/>
                    <a:pt x="439" y="277"/>
                  </a:cubicBezTo>
                  <a:cubicBezTo>
                    <a:pt x="439" y="276"/>
                    <a:pt x="439" y="276"/>
                    <a:pt x="440" y="275"/>
                  </a:cubicBezTo>
                  <a:cubicBezTo>
                    <a:pt x="440" y="274"/>
                    <a:pt x="440" y="274"/>
                    <a:pt x="441" y="273"/>
                  </a:cubicBezTo>
                  <a:cubicBezTo>
                    <a:pt x="441" y="272"/>
                    <a:pt x="440" y="272"/>
                    <a:pt x="441" y="271"/>
                  </a:cubicBezTo>
                  <a:cubicBezTo>
                    <a:pt x="441" y="270"/>
                    <a:pt x="443" y="270"/>
                    <a:pt x="443" y="271"/>
                  </a:cubicBezTo>
                  <a:cubicBezTo>
                    <a:pt x="444" y="269"/>
                    <a:pt x="446" y="267"/>
                    <a:pt x="446" y="267"/>
                  </a:cubicBezTo>
                  <a:cubicBezTo>
                    <a:pt x="446" y="266"/>
                    <a:pt x="446" y="262"/>
                    <a:pt x="446" y="262"/>
                  </a:cubicBezTo>
                  <a:cubicBezTo>
                    <a:pt x="446" y="261"/>
                    <a:pt x="446" y="259"/>
                    <a:pt x="446" y="258"/>
                  </a:cubicBezTo>
                  <a:cubicBezTo>
                    <a:pt x="446" y="258"/>
                    <a:pt x="445" y="257"/>
                    <a:pt x="444" y="256"/>
                  </a:cubicBezTo>
                  <a:cubicBezTo>
                    <a:pt x="444" y="255"/>
                    <a:pt x="445" y="255"/>
                    <a:pt x="445" y="254"/>
                  </a:cubicBezTo>
                  <a:cubicBezTo>
                    <a:pt x="445" y="254"/>
                    <a:pt x="446" y="253"/>
                    <a:pt x="446" y="252"/>
                  </a:cubicBezTo>
                  <a:cubicBezTo>
                    <a:pt x="446" y="252"/>
                    <a:pt x="446" y="249"/>
                    <a:pt x="446" y="249"/>
                  </a:cubicBezTo>
                  <a:cubicBezTo>
                    <a:pt x="446" y="248"/>
                    <a:pt x="445" y="247"/>
                    <a:pt x="445" y="247"/>
                  </a:cubicBezTo>
                  <a:cubicBezTo>
                    <a:pt x="445" y="246"/>
                    <a:pt x="447" y="246"/>
                    <a:pt x="447" y="245"/>
                  </a:cubicBezTo>
                  <a:cubicBezTo>
                    <a:pt x="448" y="245"/>
                    <a:pt x="449" y="242"/>
                    <a:pt x="450" y="241"/>
                  </a:cubicBezTo>
                  <a:cubicBezTo>
                    <a:pt x="450" y="240"/>
                    <a:pt x="451" y="237"/>
                    <a:pt x="451" y="237"/>
                  </a:cubicBezTo>
                  <a:cubicBezTo>
                    <a:pt x="451" y="236"/>
                    <a:pt x="452" y="234"/>
                    <a:pt x="452" y="234"/>
                  </a:cubicBezTo>
                  <a:cubicBezTo>
                    <a:pt x="452" y="233"/>
                    <a:pt x="452" y="232"/>
                    <a:pt x="452" y="232"/>
                  </a:cubicBezTo>
                  <a:cubicBezTo>
                    <a:pt x="452" y="231"/>
                    <a:pt x="451" y="230"/>
                    <a:pt x="451" y="229"/>
                  </a:cubicBezTo>
                  <a:close/>
                </a:path>
              </a:pathLst>
            </a:custGeom>
            <a:solidFill>
              <a:srgbClr val="FF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3" name="Freeform 16">
              <a:extLst>
                <a:ext uri="{FF2B5EF4-FFF2-40B4-BE49-F238E27FC236}">
                  <a16:creationId xmlns:a16="http://schemas.microsoft.com/office/drawing/2014/main" id="{D69C8791-6AAD-0488-4C5F-FE361D0263C6}"/>
                </a:ext>
              </a:extLst>
            </p:cNvPr>
            <p:cNvSpPr>
              <a:spLocks/>
            </p:cNvSpPr>
            <p:nvPr/>
          </p:nvSpPr>
          <p:spPr bwMode="auto">
            <a:xfrm>
              <a:off x="7230200" y="3272944"/>
              <a:ext cx="1179673" cy="284179"/>
            </a:xfrm>
            <a:custGeom>
              <a:avLst/>
              <a:gdLst>
                <a:gd name="T0" fmla="*/ 211 w 298"/>
                <a:gd name="T1" fmla="*/ 62 h 72"/>
                <a:gd name="T2" fmla="*/ 216 w 298"/>
                <a:gd name="T3" fmla="*/ 58 h 72"/>
                <a:gd name="T4" fmla="*/ 217 w 298"/>
                <a:gd name="T5" fmla="*/ 54 h 72"/>
                <a:gd name="T6" fmla="*/ 226 w 298"/>
                <a:gd name="T7" fmla="*/ 48 h 72"/>
                <a:gd name="T8" fmla="*/ 240 w 298"/>
                <a:gd name="T9" fmla="*/ 44 h 72"/>
                <a:gd name="T10" fmla="*/ 243 w 298"/>
                <a:gd name="T11" fmla="*/ 41 h 72"/>
                <a:gd name="T12" fmla="*/ 248 w 298"/>
                <a:gd name="T13" fmla="*/ 38 h 72"/>
                <a:gd name="T14" fmla="*/ 254 w 298"/>
                <a:gd name="T15" fmla="*/ 37 h 72"/>
                <a:gd name="T16" fmla="*/ 257 w 298"/>
                <a:gd name="T17" fmla="*/ 31 h 72"/>
                <a:gd name="T18" fmla="*/ 263 w 298"/>
                <a:gd name="T19" fmla="*/ 27 h 72"/>
                <a:gd name="T20" fmla="*/ 265 w 298"/>
                <a:gd name="T21" fmla="*/ 30 h 72"/>
                <a:gd name="T22" fmla="*/ 272 w 298"/>
                <a:gd name="T23" fmla="*/ 26 h 72"/>
                <a:gd name="T24" fmla="*/ 279 w 298"/>
                <a:gd name="T25" fmla="*/ 22 h 72"/>
                <a:gd name="T26" fmla="*/ 286 w 298"/>
                <a:gd name="T27" fmla="*/ 23 h 72"/>
                <a:gd name="T28" fmla="*/ 293 w 298"/>
                <a:gd name="T29" fmla="*/ 14 h 72"/>
                <a:gd name="T30" fmla="*/ 296 w 298"/>
                <a:gd name="T31" fmla="*/ 11 h 72"/>
                <a:gd name="T32" fmla="*/ 298 w 298"/>
                <a:gd name="T33" fmla="*/ 4 h 72"/>
                <a:gd name="T34" fmla="*/ 214 w 298"/>
                <a:gd name="T35" fmla="*/ 3 h 72"/>
                <a:gd name="T36" fmla="*/ 104 w 298"/>
                <a:gd name="T37" fmla="*/ 2 h 72"/>
                <a:gd name="T38" fmla="*/ 77 w 298"/>
                <a:gd name="T39" fmla="*/ 0 h 72"/>
                <a:gd name="T40" fmla="*/ 30 w 298"/>
                <a:gd name="T41" fmla="*/ 8 h 72"/>
                <a:gd name="T42" fmla="*/ 28 w 298"/>
                <a:gd name="T43" fmla="*/ 8 h 72"/>
                <a:gd name="T44" fmla="*/ 28 w 298"/>
                <a:gd name="T45" fmla="*/ 5 h 72"/>
                <a:gd name="T46" fmla="*/ 26 w 298"/>
                <a:gd name="T47" fmla="*/ 6 h 72"/>
                <a:gd name="T48" fmla="*/ 25 w 298"/>
                <a:gd name="T49" fmla="*/ 14 h 72"/>
                <a:gd name="T50" fmla="*/ 25 w 298"/>
                <a:gd name="T51" fmla="*/ 17 h 72"/>
                <a:gd name="T52" fmla="*/ 22 w 298"/>
                <a:gd name="T53" fmla="*/ 18 h 72"/>
                <a:gd name="T54" fmla="*/ 23 w 298"/>
                <a:gd name="T55" fmla="*/ 20 h 72"/>
                <a:gd name="T56" fmla="*/ 22 w 298"/>
                <a:gd name="T57" fmla="*/ 25 h 72"/>
                <a:gd name="T58" fmla="*/ 21 w 298"/>
                <a:gd name="T59" fmla="*/ 27 h 72"/>
                <a:gd name="T60" fmla="*/ 20 w 298"/>
                <a:gd name="T61" fmla="*/ 29 h 72"/>
                <a:gd name="T62" fmla="*/ 21 w 298"/>
                <a:gd name="T63" fmla="*/ 34 h 72"/>
                <a:gd name="T64" fmla="*/ 19 w 298"/>
                <a:gd name="T65" fmla="*/ 36 h 72"/>
                <a:gd name="T66" fmla="*/ 17 w 298"/>
                <a:gd name="T67" fmla="*/ 38 h 72"/>
                <a:gd name="T68" fmla="*/ 14 w 298"/>
                <a:gd name="T69" fmla="*/ 40 h 72"/>
                <a:gd name="T70" fmla="*/ 13 w 298"/>
                <a:gd name="T71" fmla="*/ 43 h 72"/>
                <a:gd name="T72" fmla="*/ 14 w 298"/>
                <a:gd name="T73" fmla="*/ 46 h 72"/>
                <a:gd name="T74" fmla="*/ 13 w 298"/>
                <a:gd name="T75" fmla="*/ 49 h 72"/>
                <a:gd name="T76" fmla="*/ 9 w 298"/>
                <a:gd name="T77" fmla="*/ 49 h 72"/>
                <a:gd name="T78" fmla="*/ 8 w 298"/>
                <a:gd name="T79" fmla="*/ 54 h 72"/>
                <a:gd name="T80" fmla="*/ 8 w 298"/>
                <a:gd name="T81" fmla="*/ 51 h 72"/>
                <a:gd name="T82" fmla="*/ 6 w 298"/>
                <a:gd name="T83" fmla="*/ 55 h 72"/>
                <a:gd name="T84" fmla="*/ 8 w 298"/>
                <a:gd name="T85" fmla="*/ 56 h 72"/>
                <a:gd name="T86" fmla="*/ 6 w 298"/>
                <a:gd name="T87" fmla="*/ 59 h 72"/>
                <a:gd name="T88" fmla="*/ 6 w 298"/>
                <a:gd name="T89" fmla="*/ 62 h 72"/>
                <a:gd name="T90" fmla="*/ 7 w 298"/>
                <a:gd name="T91" fmla="*/ 64 h 72"/>
                <a:gd name="T92" fmla="*/ 5 w 298"/>
                <a:gd name="T93" fmla="*/ 66 h 72"/>
                <a:gd name="T94" fmla="*/ 0 w 298"/>
                <a:gd name="T95" fmla="*/ 72 h 72"/>
                <a:gd name="T96" fmla="*/ 207 w 298"/>
                <a:gd name="T97"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8" h="72">
                  <a:moveTo>
                    <a:pt x="207" y="62"/>
                  </a:moveTo>
                  <a:cubicBezTo>
                    <a:pt x="208" y="61"/>
                    <a:pt x="209" y="60"/>
                    <a:pt x="210" y="60"/>
                  </a:cubicBezTo>
                  <a:cubicBezTo>
                    <a:pt x="210" y="60"/>
                    <a:pt x="211" y="62"/>
                    <a:pt x="211" y="62"/>
                  </a:cubicBezTo>
                  <a:cubicBezTo>
                    <a:pt x="211" y="62"/>
                    <a:pt x="213" y="61"/>
                    <a:pt x="213" y="61"/>
                  </a:cubicBezTo>
                  <a:cubicBezTo>
                    <a:pt x="214" y="61"/>
                    <a:pt x="215" y="60"/>
                    <a:pt x="216" y="60"/>
                  </a:cubicBezTo>
                  <a:cubicBezTo>
                    <a:pt x="216" y="60"/>
                    <a:pt x="217" y="59"/>
                    <a:pt x="216" y="58"/>
                  </a:cubicBezTo>
                  <a:cubicBezTo>
                    <a:pt x="216" y="58"/>
                    <a:pt x="216" y="57"/>
                    <a:pt x="216" y="57"/>
                  </a:cubicBezTo>
                  <a:cubicBezTo>
                    <a:pt x="216" y="57"/>
                    <a:pt x="217" y="56"/>
                    <a:pt x="217" y="56"/>
                  </a:cubicBezTo>
                  <a:cubicBezTo>
                    <a:pt x="217" y="55"/>
                    <a:pt x="217" y="54"/>
                    <a:pt x="217" y="54"/>
                  </a:cubicBezTo>
                  <a:cubicBezTo>
                    <a:pt x="217" y="54"/>
                    <a:pt x="220" y="51"/>
                    <a:pt x="220" y="51"/>
                  </a:cubicBezTo>
                  <a:cubicBezTo>
                    <a:pt x="220" y="51"/>
                    <a:pt x="224" y="48"/>
                    <a:pt x="224" y="48"/>
                  </a:cubicBezTo>
                  <a:cubicBezTo>
                    <a:pt x="224" y="48"/>
                    <a:pt x="226" y="48"/>
                    <a:pt x="226" y="48"/>
                  </a:cubicBezTo>
                  <a:cubicBezTo>
                    <a:pt x="235" y="48"/>
                    <a:pt x="235" y="48"/>
                    <a:pt x="235" y="48"/>
                  </a:cubicBezTo>
                  <a:cubicBezTo>
                    <a:pt x="235" y="48"/>
                    <a:pt x="238" y="45"/>
                    <a:pt x="238" y="45"/>
                  </a:cubicBezTo>
                  <a:cubicBezTo>
                    <a:pt x="239" y="44"/>
                    <a:pt x="240" y="44"/>
                    <a:pt x="240" y="44"/>
                  </a:cubicBezTo>
                  <a:cubicBezTo>
                    <a:pt x="240" y="43"/>
                    <a:pt x="242" y="43"/>
                    <a:pt x="242" y="43"/>
                  </a:cubicBezTo>
                  <a:cubicBezTo>
                    <a:pt x="242" y="43"/>
                    <a:pt x="243" y="43"/>
                    <a:pt x="243" y="42"/>
                  </a:cubicBezTo>
                  <a:cubicBezTo>
                    <a:pt x="243" y="42"/>
                    <a:pt x="243" y="41"/>
                    <a:pt x="243" y="41"/>
                  </a:cubicBezTo>
                  <a:cubicBezTo>
                    <a:pt x="244" y="41"/>
                    <a:pt x="245" y="41"/>
                    <a:pt x="245" y="41"/>
                  </a:cubicBezTo>
                  <a:cubicBezTo>
                    <a:pt x="245" y="40"/>
                    <a:pt x="246" y="40"/>
                    <a:pt x="247" y="39"/>
                  </a:cubicBezTo>
                  <a:cubicBezTo>
                    <a:pt x="247" y="39"/>
                    <a:pt x="247" y="39"/>
                    <a:pt x="248" y="38"/>
                  </a:cubicBezTo>
                  <a:cubicBezTo>
                    <a:pt x="248" y="38"/>
                    <a:pt x="250" y="38"/>
                    <a:pt x="250" y="38"/>
                  </a:cubicBezTo>
                  <a:cubicBezTo>
                    <a:pt x="251" y="38"/>
                    <a:pt x="252" y="38"/>
                    <a:pt x="252" y="38"/>
                  </a:cubicBezTo>
                  <a:cubicBezTo>
                    <a:pt x="253" y="38"/>
                    <a:pt x="253" y="37"/>
                    <a:pt x="254" y="37"/>
                  </a:cubicBezTo>
                  <a:cubicBezTo>
                    <a:pt x="254" y="36"/>
                    <a:pt x="255" y="35"/>
                    <a:pt x="255" y="34"/>
                  </a:cubicBezTo>
                  <a:cubicBezTo>
                    <a:pt x="255" y="34"/>
                    <a:pt x="255" y="33"/>
                    <a:pt x="255" y="32"/>
                  </a:cubicBezTo>
                  <a:cubicBezTo>
                    <a:pt x="256" y="32"/>
                    <a:pt x="257" y="31"/>
                    <a:pt x="257" y="31"/>
                  </a:cubicBezTo>
                  <a:cubicBezTo>
                    <a:pt x="258" y="32"/>
                    <a:pt x="259" y="32"/>
                    <a:pt x="259" y="32"/>
                  </a:cubicBezTo>
                  <a:cubicBezTo>
                    <a:pt x="260" y="29"/>
                    <a:pt x="260" y="29"/>
                    <a:pt x="260" y="29"/>
                  </a:cubicBezTo>
                  <a:cubicBezTo>
                    <a:pt x="260" y="29"/>
                    <a:pt x="262" y="27"/>
                    <a:pt x="263" y="27"/>
                  </a:cubicBezTo>
                  <a:cubicBezTo>
                    <a:pt x="263" y="27"/>
                    <a:pt x="264" y="26"/>
                    <a:pt x="265" y="26"/>
                  </a:cubicBezTo>
                  <a:cubicBezTo>
                    <a:pt x="265" y="26"/>
                    <a:pt x="266" y="28"/>
                    <a:pt x="266" y="28"/>
                  </a:cubicBezTo>
                  <a:cubicBezTo>
                    <a:pt x="266" y="28"/>
                    <a:pt x="265" y="29"/>
                    <a:pt x="265" y="30"/>
                  </a:cubicBezTo>
                  <a:cubicBezTo>
                    <a:pt x="265" y="30"/>
                    <a:pt x="267" y="31"/>
                    <a:pt x="268" y="31"/>
                  </a:cubicBezTo>
                  <a:cubicBezTo>
                    <a:pt x="269" y="30"/>
                    <a:pt x="270" y="30"/>
                    <a:pt x="271" y="29"/>
                  </a:cubicBezTo>
                  <a:cubicBezTo>
                    <a:pt x="271" y="28"/>
                    <a:pt x="271" y="27"/>
                    <a:pt x="272" y="26"/>
                  </a:cubicBezTo>
                  <a:cubicBezTo>
                    <a:pt x="273" y="25"/>
                    <a:pt x="273" y="24"/>
                    <a:pt x="274" y="24"/>
                  </a:cubicBezTo>
                  <a:cubicBezTo>
                    <a:pt x="276" y="23"/>
                    <a:pt x="277" y="24"/>
                    <a:pt x="278" y="23"/>
                  </a:cubicBezTo>
                  <a:cubicBezTo>
                    <a:pt x="278" y="23"/>
                    <a:pt x="279" y="23"/>
                    <a:pt x="279" y="22"/>
                  </a:cubicBezTo>
                  <a:cubicBezTo>
                    <a:pt x="280" y="22"/>
                    <a:pt x="280" y="23"/>
                    <a:pt x="281" y="23"/>
                  </a:cubicBezTo>
                  <a:cubicBezTo>
                    <a:pt x="282" y="24"/>
                    <a:pt x="283" y="25"/>
                    <a:pt x="284" y="25"/>
                  </a:cubicBezTo>
                  <a:cubicBezTo>
                    <a:pt x="284" y="24"/>
                    <a:pt x="285" y="24"/>
                    <a:pt x="286" y="23"/>
                  </a:cubicBezTo>
                  <a:cubicBezTo>
                    <a:pt x="286" y="23"/>
                    <a:pt x="288" y="18"/>
                    <a:pt x="289" y="17"/>
                  </a:cubicBezTo>
                  <a:cubicBezTo>
                    <a:pt x="290" y="16"/>
                    <a:pt x="291" y="15"/>
                    <a:pt x="292" y="15"/>
                  </a:cubicBezTo>
                  <a:cubicBezTo>
                    <a:pt x="292" y="14"/>
                    <a:pt x="293" y="13"/>
                    <a:pt x="293" y="14"/>
                  </a:cubicBezTo>
                  <a:cubicBezTo>
                    <a:pt x="294" y="14"/>
                    <a:pt x="296" y="14"/>
                    <a:pt x="296" y="15"/>
                  </a:cubicBezTo>
                  <a:cubicBezTo>
                    <a:pt x="297" y="15"/>
                    <a:pt x="296" y="13"/>
                    <a:pt x="296" y="13"/>
                  </a:cubicBezTo>
                  <a:cubicBezTo>
                    <a:pt x="296" y="12"/>
                    <a:pt x="295" y="12"/>
                    <a:pt x="296" y="11"/>
                  </a:cubicBezTo>
                  <a:cubicBezTo>
                    <a:pt x="296" y="10"/>
                    <a:pt x="297" y="10"/>
                    <a:pt x="297" y="9"/>
                  </a:cubicBezTo>
                  <a:cubicBezTo>
                    <a:pt x="297" y="9"/>
                    <a:pt x="296" y="7"/>
                    <a:pt x="296" y="7"/>
                  </a:cubicBezTo>
                  <a:cubicBezTo>
                    <a:pt x="296" y="6"/>
                    <a:pt x="298" y="4"/>
                    <a:pt x="298" y="4"/>
                  </a:cubicBezTo>
                  <a:cubicBezTo>
                    <a:pt x="298" y="3"/>
                    <a:pt x="298" y="3"/>
                    <a:pt x="298" y="3"/>
                  </a:cubicBezTo>
                  <a:cubicBezTo>
                    <a:pt x="260" y="3"/>
                    <a:pt x="260" y="3"/>
                    <a:pt x="260" y="3"/>
                  </a:cubicBezTo>
                  <a:cubicBezTo>
                    <a:pt x="214" y="3"/>
                    <a:pt x="214" y="3"/>
                    <a:pt x="214" y="3"/>
                  </a:cubicBezTo>
                  <a:cubicBezTo>
                    <a:pt x="172" y="3"/>
                    <a:pt x="172" y="3"/>
                    <a:pt x="172" y="3"/>
                  </a:cubicBezTo>
                  <a:cubicBezTo>
                    <a:pt x="127" y="1"/>
                    <a:pt x="127" y="1"/>
                    <a:pt x="127" y="1"/>
                  </a:cubicBezTo>
                  <a:cubicBezTo>
                    <a:pt x="104" y="2"/>
                    <a:pt x="104" y="2"/>
                    <a:pt x="104" y="2"/>
                  </a:cubicBezTo>
                  <a:cubicBezTo>
                    <a:pt x="85" y="2"/>
                    <a:pt x="85" y="2"/>
                    <a:pt x="85" y="2"/>
                  </a:cubicBezTo>
                  <a:cubicBezTo>
                    <a:pt x="84" y="0"/>
                    <a:pt x="84" y="0"/>
                    <a:pt x="84" y="0"/>
                  </a:cubicBezTo>
                  <a:cubicBezTo>
                    <a:pt x="77" y="0"/>
                    <a:pt x="77" y="0"/>
                    <a:pt x="77" y="0"/>
                  </a:cubicBezTo>
                  <a:cubicBezTo>
                    <a:pt x="78" y="3"/>
                    <a:pt x="78" y="3"/>
                    <a:pt x="78" y="3"/>
                  </a:cubicBezTo>
                  <a:cubicBezTo>
                    <a:pt x="77" y="8"/>
                    <a:pt x="77" y="8"/>
                    <a:pt x="77" y="8"/>
                  </a:cubicBezTo>
                  <a:cubicBezTo>
                    <a:pt x="30" y="8"/>
                    <a:pt x="30" y="8"/>
                    <a:pt x="30" y="8"/>
                  </a:cubicBezTo>
                  <a:cubicBezTo>
                    <a:pt x="30" y="8"/>
                    <a:pt x="30" y="9"/>
                    <a:pt x="29" y="9"/>
                  </a:cubicBezTo>
                  <a:cubicBezTo>
                    <a:pt x="29" y="9"/>
                    <a:pt x="29" y="10"/>
                    <a:pt x="28" y="9"/>
                  </a:cubicBezTo>
                  <a:cubicBezTo>
                    <a:pt x="28" y="9"/>
                    <a:pt x="28" y="9"/>
                    <a:pt x="28" y="8"/>
                  </a:cubicBezTo>
                  <a:cubicBezTo>
                    <a:pt x="28" y="8"/>
                    <a:pt x="27" y="8"/>
                    <a:pt x="27" y="8"/>
                  </a:cubicBezTo>
                  <a:cubicBezTo>
                    <a:pt x="27" y="8"/>
                    <a:pt x="28" y="7"/>
                    <a:pt x="28" y="7"/>
                  </a:cubicBezTo>
                  <a:cubicBezTo>
                    <a:pt x="28" y="6"/>
                    <a:pt x="28" y="5"/>
                    <a:pt x="28" y="5"/>
                  </a:cubicBezTo>
                  <a:cubicBezTo>
                    <a:pt x="28" y="4"/>
                    <a:pt x="27" y="4"/>
                    <a:pt x="26" y="4"/>
                  </a:cubicBezTo>
                  <a:cubicBezTo>
                    <a:pt x="26" y="5"/>
                    <a:pt x="26" y="5"/>
                    <a:pt x="26" y="5"/>
                  </a:cubicBezTo>
                  <a:cubicBezTo>
                    <a:pt x="26" y="6"/>
                    <a:pt x="26" y="6"/>
                    <a:pt x="26" y="6"/>
                  </a:cubicBezTo>
                  <a:cubicBezTo>
                    <a:pt x="25" y="7"/>
                    <a:pt x="26" y="8"/>
                    <a:pt x="26" y="8"/>
                  </a:cubicBezTo>
                  <a:cubicBezTo>
                    <a:pt x="27" y="10"/>
                    <a:pt x="27" y="12"/>
                    <a:pt x="27" y="14"/>
                  </a:cubicBezTo>
                  <a:cubicBezTo>
                    <a:pt x="26" y="14"/>
                    <a:pt x="26" y="14"/>
                    <a:pt x="25" y="14"/>
                  </a:cubicBezTo>
                  <a:cubicBezTo>
                    <a:pt x="24" y="14"/>
                    <a:pt x="24" y="14"/>
                    <a:pt x="24" y="14"/>
                  </a:cubicBezTo>
                  <a:cubicBezTo>
                    <a:pt x="24" y="14"/>
                    <a:pt x="24" y="14"/>
                    <a:pt x="24" y="15"/>
                  </a:cubicBezTo>
                  <a:cubicBezTo>
                    <a:pt x="24" y="16"/>
                    <a:pt x="24" y="16"/>
                    <a:pt x="25" y="17"/>
                  </a:cubicBezTo>
                  <a:cubicBezTo>
                    <a:pt x="25" y="17"/>
                    <a:pt x="26" y="18"/>
                    <a:pt x="26" y="18"/>
                  </a:cubicBezTo>
                  <a:cubicBezTo>
                    <a:pt x="26" y="18"/>
                    <a:pt x="25" y="18"/>
                    <a:pt x="25" y="18"/>
                  </a:cubicBezTo>
                  <a:cubicBezTo>
                    <a:pt x="24" y="18"/>
                    <a:pt x="23" y="18"/>
                    <a:pt x="22" y="18"/>
                  </a:cubicBezTo>
                  <a:cubicBezTo>
                    <a:pt x="22" y="18"/>
                    <a:pt x="21" y="18"/>
                    <a:pt x="21" y="18"/>
                  </a:cubicBezTo>
                  <a:cubicBezTo>
                    <a:pt x="21" y="18"/>
                    <a:pt x="21" y="19"/>
                    <a:pt x="22" y="19"/>
                  </a:cubicBezTo>
                  <a:cubicBezTo>
                    <a:pt x="22" y="20"/>
                    <a:pt x="23" y="20"/>
                    <a:pt x="23" y="20"/>
                  </a:cubicBezTo>
                  <a:cubicBezTo>
                    <a:pt x="23" y="21"/>
                    <a:pt x="24" y="21"/>
                    <a:pt x="24" y="22"/>
                  </a:cubicBezTo>
                  <a:cubicBezTo>
                    <a:pt x="24" y="22"/>
                    <a:pt x="24" y="23"/>
                    <a:pt x="24" y="24"/>
                  </a:cubicBezTo>
                  <a:cubicBezTo>
                    <a:pt x="23" y="24"/>
                    <a:pt x="23" y="24"/>
                    <a:pt x="22" y="25"/>
                  </a:cubicBezTo>
                  <a:cubicBezTo>
                    <a:pt x="22" y="25"/>
                    <a:pt x="22" y="26"/>
                    <a:pt x="22" y="26"/>
                  </a:cubicBezTo>
                  <a:cubicBezTo>
                    <a:pt x="22" y="26"/>
                    <a:pt x="21" y="26"/>
                    <a:pt x="21" y="26"/>
                  </a:cubicBezTo>
                  <a:cubicBezTo>
                    <a:pt x="21" y="26"/>
                    <a:pt x="21" y="26"/>
                    <a:pt x="21" y="27"/>
                  </a:cubicBezTo>
                  <a:cubicBezTo>
                    <a:pt x="21" y="27"/>
                    <a:pt x="21" y="28"/>
                    <a:pt x="20" y="28"/>
                  </a:cubicBezTo>
                  <a:cubicBezTo>
                    <a:pt x="20" y="28"/>
                    <a:pt x="20" y="28"/>
                    <a:pt x="20" y="28"/>
                  </a:cubicBezTo>
                  <a:cubicBezTo>
                    <a:pt x="20" y="28"/>
                    <a:pt x="20" y="29"/>
                    <a:pt x="20" y="29"/>
                  </a:cubicBezTo>
                  <a:cubicBezTo>
                    <a:pt x="20" y="29"/>
                    <a:pt x="22" y="32"/>
                    <a:pt x="22" y="33"/>
                  </a:cubicBezTo>
                  <a:cubicBezTo>
                    <a:pt x="22" y="33"/>
                    <a:pt x="23" y="33"/>
                    <a:pt x="22" y="34"/>
                  </a:cubicBezTo>
                  <a:cubicBezTo>
                    <a:pt x="22" y="34"/>
                    <a:pt x="22" y="34"/>
                    <a:pt x="21" y="34"/>
                  </a:cubicBezTo>
                  <a:cubicBezTo>
                    <a:pt x="21" y="33"/>
                    <a:pt x="21" y="33"/>
                    <a:pt x="20" y="33"/>
                  </a:cubicBezTo>
                  <a:cubicBezTo>
                    <a:pt x="20" y="33"/>
                    <a:pt x="19" y="33"/>
                    <a:pt x="18" y="34"/>
                  </a:cubicBezTo>
                  <a:cubicBezTo>
                    <a:pt x="18" y="34"/>
                    <a:pt x="18" y="35"/>
                    <a:pt x="19" y="36"/>
                  </a:cubicBezTo>
                  <a:cubicBezTo>
                    <a:pt x="19" y="36"/>
                    <a:pt x="20" y="36"/>
                    <a:pt x="20" y="36"/>
                  </a:cubicBezTo>
                  <a:cubicBezTo>
                    <a:pt x="20" y="37"/>
                    <a:pt x="19" y="37"/>
                    <a:pt x="19" y="37"/>
                  </a:cubicBezTo>
                  <a:cubicBezTo>
                    <a:pt x="18" y="37"/>
                    <a:pt x="18" y="37"/>
                    <a:pt x="17" y="38"/>
                  </a:cubicBezTo>
                  <a:cubicBezTo>
                    <a:pt x="17" y="38"/>
                    <a:pt x="17" y="38"/>
                    <a:pt x="16" y="39"/>
                  </a:cubicBezTo>
                  <a:cubicBezTo>
                    <a:pt x="16" y="39"/>
                    <a:pt x="16" y="40"/>
                    <a:pt x="15" y="40"/>
                  </a:cubicBezTo>
                  <a:cubicBezTo>
                    <a:pt x="15" y="40"/>
                    <a:pt x="14" y="40"/>
                    <a:pt x="14" y="40"/>
                  </a:cubicBezTo>
                  <a:cubicBezTo>
                    <a:pt x="13" y="40"/>
                    <a:pt x="13" y="39"/>
                    <a:pt x="12" y="40"/>
                  </a:cubicBezTo>
                  <a:cubicBezTo>
                    <a:pt x="12" y="41"/>
                    <a:pt x="12" y="42"/>
                    <a:pt x="12" y="42"/>
                  </a:cubicBezTo>
                  <a:cubicBezTo>
                    <a:pt x="13" y="43"/>
                    <a:pt x="13" y="43"/>
                    <a:pt x="13" y="43"/>
                  </a:cubicBezTo>
                  <a:cubicBezTo>
                    <a:pt x="14" y="43"/>
                    <a:pt x="14" y="43"/>
                    <a:pt x="15" y="43"/>
                  </a:cubicBezTo>
                  <a:cubicBezTo>
                    <a:pt x="15" y="44"/>
                    <a:pt x="15" y="44"/>
                    <a:pt x="15" y="45"/>
                  </a:cubicBezTo>
                  <a:cubicBezTo>
                    <a:pt x="15" y="45"/>
                    <a:pt x="14" y="45"/>
                    <a:pt x="14" y="46"/>
                  </a:cubicBezTo>
                  <a:cubicBezTo>
                    <a:pt x="13" y="46"/>
                    <a:pt x="12" y="46"/>
                    <a:pt x="12" y="47"/>
                  </a:cubicBezTo>
                  <a:cubicBezTo>
                    <a:pt x="12" y="48"/>
                    <a:pt x="13" y="48"/>
                    <a:pt x="13" y="48"/>
                  </a:cubicBezTo>
                  <a:cubicBezTo>
                    <a:pt x="13" y="48"/>
                    <a:pt x="13" y="49"/>
                    <a:pt x="13" y="49"/>
                  </a:cubicBezTo>
                  <a:cubicBezTo>
                    <a:pt x="13" y="49"/>
                    <a:pt x="12" y="49"/>
                    <a:pt x="12" y="49"/>
                  </a:cubicBezTo>
                  <a:cubicBezTo>
                    <a:pt x="12" y="49"/>
                    <a:pt x="11" y="48"/>
                    <a:pt x="11" y="48"/>
                  </a:cubicBezTo>
                  <a:cubicBezTo>
                    <a:pt x="10" y="48"/>
                    <a:pt x="10" y="48"/>
                    <a:pt x="9" y="49"/>
                  </a:cubicBezTo>
                  <a:cubicBezTo>
                    <a:pt x="9" y="49"/>
                    <a:pt x="9" y="50"/>
                    <a:pt x="9" y="51"/>
                  </a:cubicBezTo>
                  <a:cubicBezTo>
                    <a:pt x="10" y="52"/>
                    <a:pt x="10" y="52"/>
                    <a:pt x="9" y="53"/>
                  </a:cubicBezTo>
                  <a:cubicBezTo>
                    <a:pt x="9" y="53"/>
                    <a:pt x="8" y="54"/>
                    <a:pt x="8" y="54"/>
                  </a:cubicBezTo>
                  <a:cubicBezTo>
                    <a:pt x="8" y="54"/>
                    <a:pt x="8" y="54"/>
                    <a:pt x="8" y="53"/>
                  </a:cubicBezTo>
                  <a:cubicBezTo>
                    <a:pt x="8" y="53"/>
                    <a:pt x="8" y="53"/>
                    <a:pt x="8" y="52"/>
                  </a:cubicBezTo>
                  <a:cubicBezTo>
                    <a:pt x="8" y="52"/>
                    <a:pt x="8" y="52"/>
                    <a:pt x="8" y="51"/>
                  </a:cubicBezTo>
                  <a:cubicBezTo>
                    <a:pt x="6" y="51"/>
                    <a:pt x="6" y="52"/>
                    <a:pt x="6" y="53"/>
                  </a:cubicBezTo>
                  <a:cubicBezTo>
                    <a:pt x="5" y="54"/>
                    <a:pt x="4" y="54"/>
                    <a:pt x="4" y="55"/>
                  </a:cubicBezTo>
                  <a:cubicBezTo>
                    <a:pt x="5" y="55"/>
                    <a:pt x="5" y="55"/>
                    <a:pt x="6" y="55"/>
                  </a:cubicBezTo>
                  <a:cubicBezTo>
                    <a:pt x="6" y="55"/>
                    <a:pt x="6" y="54"/>
                    <a:pt x="7" y="54"/>
                  </a:cubicBezTo>
                  <a:cubicBezTo>
                    <a:pt x="7" y="55"/>
                    <a:pt x="7" y="55"/>
                    <a:pt x="7" y="55"/>
                  </a:cubicBezTo>
                  <a:cubicBezTo>
                    <a:pt x="7" y="55"/>
                    <a:pt x="7" y="55"/>
                    <a:pt x="8" y="56"/>
                  </a:cubicBezTo>
                  <a:cubicBezTo>
                    <a:pt x="8" y="56"/>
                    <a:pt x="7" y="57"/>
                    <a:pt x="7" y="57"/>
                  </a:cubicBezTo>
                  <a:cubicBezTo>
                    <a:pt x="7" y="57"/>
                    <a:pt x="7" y="58"/>
                    <a:pt x="7" y="58"/>
                  </a:cubicBezTo>
                  <a:cubicBezTo>
                    <a:pt x="7" y="58"/>
                    <a:pt x="6" y="59"/>
                    <a:pt x="6" y="59"/>
                  </a:cubicBezTo>
                  <a:cubicBezTo>
                    <a:pt x="6" y="59"/>
                    <a:pt x="5" y="59"/>
                    <a:pt x="5" y="59"/>
                  </a:cubicBezTo>
                  <a:cubicBezTo>
                    <a:pt x="5" y="60"/>
                    <a:pt x="5" y="60"/>
                    <a:pt x="5" y="60"/>
                  </a:cubicBezTo>
                  <a:cubicBezTo>
                    <a:pt x="5" y="61"/>
                    <a:pt x="6" y="61"/>
                    <a:pt x="6" y="62"/>
                  </a:cubicBezTo>
                  <a:cubicBezTo>
                    <a:pt x="7" y="62"/>
                    <a:pt x="7" y="62"/>
                    <a:pt x="7" y="62"/>
                  </a:cubicBezTo>
                  <a:cubicBezTo>
                    <a:pt x="7" y="63"/>
                    <a:pt x="7" y="63"/>
                    <a:pt x="7" y="63"/>
                  </a:cubicBezTo>
                  <a:cubicBezTo>
                    <a:pt x="7" y="64"/>
                    <a:pt x="7" y="64"/>
                    <a:pt x="7" y="64"/>
                  </a:cubicBezTo>
                  <a:cubicBezTo>
                    <a:pt x="7" y="64"/>
                    <a:pt x="7" y="65"/>
                    <a:pt x="7" y="65"/>
                  </a:cubicBezTo>
                  <a:cubicBezTo>
                    <a:pt x="7" y="65"/>
                    <a:pt x="7" y="66"/>
                    <a:pt x="7" y="66"/>
                  </a:cubicBezTo>
                  <a:cubicBezTo>
                    <a:pt x="6" y="66"/>
                    <a:pt x="5" y="66"/>
                    <a:pt x="5" y="66"/>
                  </a:cubicBezTo>
                  <a:cubicBezTo>
                    <a:pt x="4" y="67"/>
                    <a:pt x="4" y="69"/>
                    <a:pt x="4" y="69"/>
                  </a:cubicBezTo>
                  <a:cubicBezTo>
                    <a:pt x="3" y="70"/>
                    <a:pt x="1" y="69"/>
                    <a:pt x="0" y="70"/>
                  </a:cubicBezTo>
                  <a:cubicBezTo>
                    <a:pt x="0" y="71"/>
                    <a:pt x="0" y="71"/>
                    <a:pt x="0" y="72"/>
                  </a:cubicBezTo>
                  <a:cubicBezTo>
                    <a:pt x="206" y="72"/>
                    <a:pt x="206" y="72"/>
                    <a:pt x="206" y="72"/>
                  </a:cubicBezTo>
                  <a:cubicBezTo>
                    <a:pt x="206" y="72"/>
                    <a:pt x="207" y="65"/>
                    <a:pt x="207" y="65"/>
                  </a:cubicBezTo>
                  <a:cubicBezTo>
                    <a:pt x="207" y="64"/>
                    <a:pt x="207" y="62"/>
                    <a:pt x="207" y="62"/>
                  </a:cubicBez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4" name="Freeform 17">
              <a:extLst>
                <a:ext uri="{FF2B5EF4-FFF2-40B4-BE49-F238E27FC236}">
                  <a16:creationId xmlns:a16="http://schemas.microsoft.com/office/drawing/2014/main" id="{7BD49CF8-7AA0-B26D-12D7-D6D75850A33F}"/>
                </a:ext>
              </a:extLst>
            </p:cNvPr>
            <p:cNvSpPr>
              <a:spLocks/>
            </p:cNvSpPr>
            <p:nvPr/>
          </p:nvSpPr>
          <p:spPr bwMode="auto">
            <a:xfrm>
              <a:off x="5348340" y="1576128"/>
              <a:ext cx="1040888" cy="660882"/>
            </a:xfrm>
            <a:custGeom>
              <a:avLst/>
              <a:gdLst>
                <a:gd name="T0" fmla="*/ 193 w 263"/>
                <a:gd name="T1" fmla="*/ 147 h 167"/>
                <a:gd name="T2" fmla="*/ 203 w 263"/>
                <a:gd name="T3" fmla="*/ 150 h 167"/>
                <a:gd name="T4" fmla="*/ 207 w 263"/>
                <a:gd name="T5" fmla="*/ 154 h 167"/>
                <a:gd name="T6" fmla="*/ 212 w 263"/>
                <a:gd name="T7" fmla="*/ 153 h 167"/>
                <a:gd name="T8" fmla="*/ 214 w 263"/>
                <a:gd name="T9" fmla="*/ 149 h 167"/>
                <a:gd name="T10" fmla="*/ 219 w 263"/>
                <a:gd name="T11" fmla="*/ 151 h 167"/>
                <a:gd name="T12" fmla="*/ 222 w 263"/>
                <a:gd name="T13" fmla="*/ 151 h 167"/>
                <a:gd name="T14" fmla="*/ 227 w 263"/>
                <a:gd name="T15" fmla="*/ 150 h 167"/>
                <a:gd name="T16" fmla="*/ 229 w 263"/>
                <a:gd name="T17" fmla="*/ 149 h 167"/>
                <a:gd name="T18" fmla="*/ 232 w 263"/>
                <a:gd name="T19" fmla="*/ 150 h 167"/>
                <a:gd name="T20" fmla="*/ 235 w 263"/>
                <a:gd name="T21" fmla="*/ 150 h 167"/>
                <a:gd name="T22" fmla="*/ 236 w 263"/>
                <a:gd name="T23" fmla="*/ 152 h 167"/>
                <a:gd name="T24" fmla="*/ 239 w 263"/>
                <a:gd name="T25" fmla="*/ 154 h 167"/>
                <a:gd name="T26" fmla="*/ 244 w 263"/>
                <a:gd name="T27" fmla="*/ 155 h 167"/>
                <a:gd name="T28" fmla="*/ 244 w 263"/>
                <a:gd name="T29" fmla="*/ 156 h 167"/>
                <a:gd name="T30" fmla="*/ 249 w 263"/>
                <a:gd name="T31" fmla="*/ 156 h 167"/>
                <a:gd name="T32" fmla="*/ 251 w 263"/>
                <a:gd name="T33" fmla="*/ 159 h 167"/>
                <a:gd name="T34" fmla="*/ 254 w 263"/>
                <a:gd name="T35" fmla="*/ 159 h 167"/>
                <a:gd name="T36" fmla="*/ 253 w 263"/>
                <a:gd name="T37" fmla="*/ 162 h 167"/>
                <a:gd name="T38" fmla="*/ 257 w 263"/>
                <a:gd name="T39" fmla="*/ 166 h 167"/>
                <a:gd name="T40" fmla="*/ 258 w 263"/>
                <a:gd name="T41" fmla="*/ 166 h 167"/>
                <a:gd name="T42" fmla="*/ 261 w 263"/>
                <a:gd name="T43" fmla="*/ 167 h 167"/>
                <a:gd name="T44" fmla="*/ 262 w 263"/>
                <a:gd name="T45" fmla="*/ 165 h 167"/>
                <a:gd name="T46" fmla="*/ 260 w 263"/>
                <a:gd name="T47" fmla="*/ 162 h 167"/>
                <a:gd name="T48" fmla="*/ 260 w 263"/>
                <a:gd name="T49" fmla="*/ 160 h 167"/>
                <a:gd name="T50" fmla="*/ 256 w 263"/>
                <a:gd name="T51" fmla="*/ 156 h 167"/>
                <a:gd name="T52" fmla="*/ 256 w 263"/>
                <a:gd name="T53" fmla="*/ 154 h 167"/>
                <a:gd name="T54" fmla="*/ 259 w 263"/>
                <a:gd name="T55" fmla="*/ 151 h 167"/>
                <a:gd name="T56" fmla="*/ 259 w 263"/>
                <a:gd name="T57" fmla="*/ 147 h 167"/>
                <a:gd name="T58" fmla="*/ 261 w 263"/>
                <a:gd name="T59" fmla="*/ 146 h 167"/>
                <a:gd name="T60" fmla="*/ 260 w 263"/>
                <a:gd name="T61" fmla="*/ 142 h 167"/>
                <a:gd name="T62" fmla="*/ 261 w 263"/>
                <a:gd name="T63" fmla="*/ 141 h 167"/>
                <a:gd name="T64" fmla="*/ 263 w 263"/>
                <a:gd name="T65" fmla="*/ 140 h 167"/>
                <a:gd name="T66" fmla="*/ 263 w 263"/>
                <a:gd name="T67" fmla="*/ 138 h 167"/>
                <a:gd name="T68" fmla="*/ 262 w 263"/>
                <a:gd name="T69" fmla="*/ 133 h 167"/>
                <a:gd name="T70" fmla="*/ 258 w 263"/>
                <a:gd name="T71" fmla="*/ 132 h 167"/>
                <a:gd name="T72" fmla="*/ 258 w 263"/>
                <a:gd name="T73" fmla="*/ 130 h 167"/>
                <a:gd name="T74" fmla="*/ 258 w 263"/>
                <a:gd name="T75" fmla="*/ 129 h 167"/>
                <a:gd name="T76" fmla="*/ 260 w 263"/>
                <a:gd name="T77" fmla="*/ 128 h 167"/>
                <a:gd name="T78" fmla="*/ 260 w 263"/>
                <a:gd name="T79" fmla="*/ 124 h 167"/>
                <a:gd name="T80" fmla="*/ 257 w 263"/>
                <a:gd name="T81" fmla="*/ 122 h 167"/>
                <a:gd name="T82" fmla="*/ 257 w 263"/>
                <a:gd name="T83" fmla="*/ 120 h 167"/>
                <a:gd name="T84" fmla="*/ 262 w 263"/>
                <a:gd name="T85" fmla="*/ 120 h 167"/>
                <a:gd name="T86" fmla="*/ 262 w 263"/>
                <a:gd name="T87" fmla="*/ 32 h 167"/>
                <a:gd name="T88" fmla="*/ 261 w 263"/>
                <a:gd name="T89" fmla="*/ 30 h 167"/>
                <a:gd name="T90" fmla="*/ 258 w 263"/>
                <a:gd name="T91" fmla="*/ 28 h 167"/>
                <a:gd name="T92" fmla="*/ 254 w 263"/>
                <a:gd name="T93" fmla="*/ 27 h 167"/>
                <a:gd name="T94" fmla="*/ 251 w 263"/>
                <a:gd name="T95" fmla="*/ 21 h 167"/>
                <a:gd name="T96" fmla="*/ 249 w 263"/>
                <a:gd name="T97" fmla="*/ 17 h 167"/>
                <a:gd name="T98" fmla="*/ 249 w 263"/>
                <a:gd name="T99" fmla="*/ 15 h 167"/>
                <a:gd name="T100" fmla="*/ 251 w 263"/>
                <a:gd name="T101" fmla="*/ 14 h 167"/>
                <a:gd name="T102" fmla="*/ 255 w 263"/>
                <a:gd name="T103" fmla="*/ 11 h 167"/>
                <a:gd name="T104" fmla="*/ 258 w 263"/>
                <a:gd name="T105" fmla="*/ 6 h 167"/>
                <a:gd name="T106" fmla="*/ 258 w 263"/>
                <a:gd name="T107" fmla="*/ 0 h 167"/>
                <a:gd name="T108" fmla="*/ 0 w 263"/>
                <a:gd name="T109" fmla="*/ 0 h 167"/>
                <a:gd name="T110" fmla="*/ 0 w 263"/>
                <a:gd name="T111" fmla="*/ 47 h 167"/>
                <a:gd name="T112" fmla="*/ 0 w 263"/>
                <a:gd name="T113" fmla="*/ 143 h 167"/>
                <a:gd name="T114" fmla="*/ 192 w 263"/>
                <a:gd name="T115" fmla="*/ 143 h 167"/>
                <a:gd name="T116" fmla="*/ 193 w 263"/>
                <a:gd name="T117"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3" h="167">
                  <a:moveTo>
                    <a:pt x="193" y="147"/>
                  </a:moveTo>
                  <a:cubicBezTo>
                    <a:pt x="193" y="147"/>
                    <a:pt x="203" y="150"/>
                    <a:pt x="203" y="150"/>
                  </a:cubicBezTo>
                  <a:cubicBezTo>
                    <a:pt x="203" y="150"/>
                    <a:pt x="207" y="154"/>
                    <a:pt x="207" y="154"/>
                  </a:cubicBezTo>
                  <a:cubicBezTo>
                    <a:pt x="207" y="155"/>
                    <a:pt x="212" y="153"/>
                    <a:pt x="212" y="153"/>
                  </a:cubicBezTo>
                  <a:cubicBezTo>
                    <a:pt x="214" y="149"/>
                    <a:pt x="214" y="149"/>
                    <a:pt x="214" y="149"/>
                  </a:cubicBezTo>
                  <a:cubicBezTo>
                    <a:pt x="214" y="149"/>
                    <a:pt x="219" y="151"/>
                    <a:pt x="219" y="151"/>
                  </a:cubicBezTo>
                  <a:cubicBezTo>
                    <a:pt x="220" y="151"/>
                    <a:pt x="221" y="151"/>
                    <a:pt x="222" y="151"/>
                  </a:cubicBezTo>
                  <a:cubicBezTo>
                    <a:pt x="222" y="151"/>
                    <a:pt x="227" y="150"/>
                    <a:pt x="227" y="150"/>
                  </a:cubicBezTo>
                  <a:cubicBezTo>
                    <a:pt x="228" y="150"/>
                    <a:pt x="229" y="149"/>
                    <a:pt x="229" y="149"/>
                  </a:cubicBezTo>
                  <a:cubicBezTo>
                    <a:pt x="232" y="150"/>
                    <a:pt x="232" y="150"/>
                    <a:pt x="232" y="150"/>
                  </a:cubicBezTo>
                  <a:cubicBezTo>
                    <a:pt x="235" y="150"/>
                    <a:pt x="235" y="150"/>
                    <a:pt x="235" y="150"/>
                  </a:cubicBezTo>
                  <a:cubicBezTo>
                    <a:pt x="235" y="150"/>
                    <a:pt x="236" y="152"/>
                    <a:pt x="236" y="152"/>
                  </a:cubicBezTo>
                  <a:cubicBezTo>
                    <a:pt x="236" y="153"/>
                    <a:pt x="239" y="154"/>
                    <a:pt x="239" y="154"/>
                  </a:cubicBezTo>
                  <a:cubicBezTo>
                    <a:pt x="244" y="155"/>
                    <a:pt x="244" y="155"/>
                    <a:pt x="244" y="155"/>
                  </a:cubicBezTo>
                  <a:cubicBezTo>
                    <a:pt x="244" y="156"/>
                    <a:pt x="244" y="156"/>
                    <a:pt x="244" y="156"/>
                  </a:cubicBezTo>
                  <a:cubicBezTo>
                    <a:pt x="249" y="156"/>
                    <a:pt x="249" y="156"/>
                    <a:pt x="249" y="156"/>
                  </a:cubicBezTo>
                  <a:cubicBezTo>
                    <a:pt x="249" y="156"/>
                    <a:pt x="251" y="159"/>
                    <a:pt x="251" y="159"/>
                  </a:cubicBezTo>
                  <a:cubicBezTo>
                    <a:pt x="251" y="159"/>
                    <a:pt x="254" y="159"/>
                    <a:pt x="254" y="159"/>
                  </a:cubicBezTo>
                  <a:cubicBezTo>
                    <a:pt x="254" y="159"/>
                    <a:pt x="253" y="162"/>
                    <a:pt x="253" y="162"/>
                  </a:cubicBezTo>
                  <a:cubicBezTo>
                    <a:pt x="253" y="162"/>
                    <a:pt x="257" y="166"/>
                    <a:pt x="257" y="166"/>
                  </a:cubicBezTo>
                  <a:cubicBezTo>
                    <a:pt x="258" y="166"/>
                    <a:pt x="258" y="166"/>
                    <a:pt x="258" y="166"/>
                  </a:cubicBezTo>
                  <a:cubicBezTo>
                    <a:pt x="261" y="167"/>
                    <a:pt x="261" y="167"/>
                    <a:pt x="261" y="167"/>
                  </a:cubicBezTo>
                  <a:cubicBezTo>
                    <a:pt x="261" y="167"/>
                    <a:pt x="262" y="165"/>
                    <a:pt x="262" y="165"/>
                  </a:cubicBezTo>
                  <a:cubicBezTo>
                    <a:pt x="262" y="165"/>
                    <a:pt x="260" y="162"/>
                    <a:pt x="260" y="162"/>
                  </a:cubicBezTo>
                  <a:cubicBezTo>
                    <a:pt x="260" y="161"/>
                    <a:pt x="260" y="161"/>
                    <a:pt x="260" y="160"/>
                  </a:cubicBezTo>
                  <a:cubicBezTo>
                    <a:pt x="260" y="160"/>
                    <a:pt x="256" y="157"/>
                    <a:pt x="256" y="156"/>
                  </a:cubicBezTo>
                  <a:cubicBezTo>
                    <a:pt x="256" y="156"/>
                    <a:pt x="256" y="154"/>
                    <a:pt x="256" y="154"/>
                  </a:cubicBezTo>
                  <a:cubicBezTo>
                    <a:pt x="256" y="154"/>
                    <a:pt x="259" y="151"/>
                    <a:pt x="259" y="151"/>
                  </a:cubicBezTo>
                  <a:cubicBezTo>
                    <a:pt x="259" y="151"/>
                    <a:pt x="259" y="148"/>
                    <a:pt x="259" y="147"/>
                  </a:cubicBezTo>
                  <a:cubicBezTo>
                    <a:pt x="259" y="147"/>
                    <a:pt x="261" y="146"/>
                    <a:pt x="261" y="146"/>
                  </a:cubicBezTo>
                  <a:cubicBezTo>
                    <a:pt x="261" y="145"/>
                    <a:pt x="260" y="142"/>
                    <a:pt x="260" y="142"/>
                  </a:cubicBezTo>
                  <a:cubicBezTo>
                    <a:pt x="260" y="141"/>
                    <a:pt x="261" y="141"/>
                    <a:pt x="261" y="141"/>
                  </a:cubicBezTo>
                  <a:cubicBezTo>
                    <a:pt x="262" y="140"/>
                    <a:pt x="263" y="140"/>
                    <a:pt x="263" y="140"/>
                  </a:cubicBezTo>
                  <a:cubicBezTo>
                    <a:pt x="263" y="139"/>
                    <a:pt x="263" y="138"/>
                    <a:pt x="263" y="138"/>
                  </a:cubicBezTo>
                  <a:cubicBezTo>
                    <a:pt x="263" y="137"/>
                    <a:pt x="262" y="133"/>
                    <a:pt x="262" y="133"/>
                  </a:cubicBezTo>
                  <a:cubicBezTo>
                    <a:pt x="262" y="133"/>
                    <a:pt x="258" y="132"/>
                    <a:pt x="258" y="132"/>
                  </a:cubicBezTo>
                  <a:cubicBezTo>
                    <a:pt x="258" y="130"/>
                    <a:pt x="258" y="130"/>
                    <a:pt x="258" y="130"/>
                  </a:cubicBezTo>
                  <a:cubicBezTo>
                    <a:pt x="258" y="129"/>
                    <a:pt x="258" y="129"/>
                    <a:pt x="258" y="129"/>
                  </a:cubicBezTo>
                  <a:cubicBezTo>
                    <a:pt x="260" y="128"/>
                    <a:pt x="260" y="128"/>
                    <a:pt x="260" y="128"/>
                  </a:cubicBezTo>
                  <a:cubicBezTo>
                    <a:pt x="260" y="128"/>
                    <a:pt x="260" y="125"/>
                    <a:pt x="260" y="124"/>
                  </a:cubicBezTo>
                  <a:cubicBezTo>
                    <a:pt x="260" y="124"/>
                    <a:pt x="258" y="122"/>
                    <a:pt x="257" y="122"/>
                  </a:cubicBezTo>
                  <a:cubicBezTo>
                    <a:pt x="257" y="121"/>
                    <a:pt x="257" y="120"/>
                    <a:pt x="257" y="120"/>
                  </a:cubicBezTo>
                  <a:cubicBezTo>
                    <a:pt x="262" y="120"/>
                    <a:pt x="262" y="120"/>
                    <a:pt x="262" y="120"/>
                  </a:cubicBezTo>
                  <a:cubicBezTo>
                    <a:pt x="262" y="32"/>
                    <a:pt x="262" y="32"/>
                    <a:pt x="262" y="32"/>
                  </a:cubicBezTo>
                  <a:cubicBezTo>
                    <a:pt x="262" y="32"/>
                    <a:pt x="262" y="30"/>
                    <a:pt x="261" y="30"/>
                  </a:cubicBezTo>
                  <a:cubicBezTo>
                    <a:pt x="261" y="29"/>
                    <a:pt x="258" y="28"/>
                    <a:pt x="258" y="28"/>
                  </a:cubicBezTo>
                  <a:cubicBezTo>
                    <a:pt x="258" y="28"/>
                    <a:pt x="254" y="27"/>
                    <a:pt x="254" y="27"/>
                  </a:cubicBezTo>
                  <a:cubicBezTo>
                    <a:pt x="254" y="27"/>
                    <a:pt x="251" y="22"/>
                    <a:pt x="251" y="21"/>
                  </a:cubicBezTo>
                  <a:cubicBezTo>
                    <a:pt x="250" y="21"/>
                    <a:pt x="249" y="17"/>
                    <a:pt x="249" y="17"/>
                  </a:cubicBezTo>
                  <a:cubicBezTo>
                    <a:pt x="249" y="17"/>
                    <a:pt x="249" y="15"/>
                    <a:pt x="249" y="15"/>
                  </a:cubicBezTo>
                  <a:cubicBezTo>
                    <a:pt x="249" y="15"/>
                    <a:pt x="250" y="15"/>
                    <a:pt x="251" y="14"/>
                  </a:cubicBezTo>
                  <a:cubicBezTo>
                    <a:pt x="251" y="14"/>
                    <a:pt x="255" y="11"/>
                    <a:pt x="255" y="11"/>
                  </a:cubicBezTo>
                  <a:cubicBezTo>
                    <a:pt x="255" y="11"/>
                    <a:pt x="258" y="6"/>
                    <a:pt x="258" y="6"/>
                  </a:cubicBezTo>
                  <a:cubicBezTo>
                    <a:pt x="259" y="6"/>
                    <a:pt x="258" y="0"/>
                    <a:pt x="258" y="0"/>
                  </a:cubicBezTo>
                  <a:cubicBezTo>
                    <a:pt x="0" y="0"/>
                    <a:pt x="0" y="0"/>
                    <a:pt x="0" y="0"/>
                  </a:cubicBezTo>
                  <a:cubicBezTo>
                    <a:pt x="0" y="47"/>
                    <a:pt x="0" y="47"/>
                    <a:pt x="0" y="47"/>
                  </a:cubicBezTo>
                  <a:cubicBezTo>
                    <a:pt x="0" y="143"/>
                    <a:pt x="0" y="143"/>
                    <a:pt x="0" y="143"/>
                  </a:cubicBezTo>
                  <a:cubicBezTo>
                    <a:pt x="192" y="143"/>
                    <a:pt x="192" y="143"/>
                    <a:pt x="192" y="143"/>
                  </a:cubicBezTo>
                  <a:lnTo>
                    <a:pt x="193" y="147"/>
                  </a:lnTo>
                  <a:close/>
                </a:path>
              </a:pathLst>
            </a:custGeom>
            <a:solidFill>
              <a:schemeClr val="bg1">
                <a:lumMod val="85000"/>
              </a:schemeClr>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5" name="Freeform 18">
              <a:extLst>
                <a:ext uri="{FF2B5EF4-FFF2-40B4-BE49-F238E27FC236}">
                  <a16:creationId xmlns:a16="http://schemas.microsoft.com/office/drawing/2014/main" id="{DC60BFDA-E039-9734-A6FD-4635157EC73A}"/>
                </a:ext>
              </a:extLst>
            </p:cNvPr>
            <p:cNvSpPr>
              <a:spLocks/>
            </p:cNvSpPr>
            <p:nvPr/>
          </p:nvSpPr>
          <p:spPr bwMode="auto">
            <a:xfrm>
              <a:off x="8175261" y="3522426"/>
              <a:ext cx="662534" cy="515488"/>
            </a:xfrm>
            <a:custGeom>
              <a:avLst/>
              <a:gdLst>
                <a:gd name="T0" fmla="*/ 84 w 167"/>
                <a:gd name="T1" fmla="*/ 5 h 130"/>
                <a:gd name="T2" fmla="*/ 81 w 167"/>
                <a:gd name="T3" fmla="*/ 2 h 130"/>
                <a:gd name="T4" fmla="*/ 37 w 167"/>
                <a:gd name="T5" fmla="*/ 0 h 130"/>
                <a:gd name="T6" fmla="*/ 25 w 167"/>
                <a:gd name="T7" fmla="*/ 3 h 130"/>
                <a:gd name="T8" fmla="*/ 9 w 167"/>
                <a:gd name="T9" fmla="*/ 9 h 130"/>
                <a:gd name="T10" fmla="*/ 2 w 167"/>
                <a:gd name="T11" fmla="*/ 22 h 130"/>
                <a:gd name="T12" fmla="*/ 16 w 167"/>
                <a:gd name="T13" fmla="*/ 30 h 130"/>
                <a:gd name="T14" fmla="*/ 24 w 167"/>
                <a:gd name="T15" fmla="*/ 45 h 130"/>
                <a:gd name="T16" fmla="*/ 41 w 167"/>
                <a:gd name="T17" fmla="*/ 66 h 130"/>
                <a:gd name="T18" fmla="*/ 50 w 167"/>
                <a:gd name="T19" fmla="*/ 78 h 130"/>
                <a:gd name="T20" fmla="*/ 55 w 167"/>
                <a:gd name="T21" fmla="*/ 83 h 130"/>
                <a:gd name="T22" fmla="*/ 65 w 167"/>
                <a:gd name="T23" fmla="*/ 97 h 130"/>
                <a:gd name="T24" fmla="*/ 75 w 167"/>
                <a:gd name="T25" fmla="*/ 114 h 130"/>
                <a:gd name="T26" fmla="*/ 78 w 167"/>
                <a:gd name="T27" fmla="*/ 124 h 130"/>
                <a:gd name="T28" fmla="*/ 84 w 167"/>
                <a:gd name="T29" fmla="*/ 129 h 130"/>
                <a:gd name="T30" fmla="*/ 88 w 167"/>
                <a:gd name="T31" fmla="*/ 124 h 130"/>
                <a:gd name="T32" fmla="*/ 93 w 167"/>
                <a:gd name="T33" fmla="*/ 125 h 130"/>
                <a:gd name="T34" fmla="*/ 91 w 167"/>
                <a:gd name="T35" fmla="*/ 123 h 130"/>
                <a:gd name="T36" fmla="*/ 88 w 167"/>
                <a:gd name="T37" fmla="*/ 121 h 130"/>
                <a:gd name="T38" fmla="*/ 87 w 167"/>
                <a:gd name="T39" fmla="*/ 116 h 130"/>
                <a:gd name="T40" fmla="*/ 87 w 167"/>
                <a:gd name="T41" fmla="*/ 112 h 130"/>
                <a:gd name="T42" fmla="*/ 88 w 167"/>
                <a:gd name="T43" fmla="*/ 111 h 130"/>
                <a:gd name="T44" fmla="*/ 90 w 167"/>
                <a:gd name="T45" fmla="*/ 117 h 130"/>
                <a:gd name="T46" fmla="*/ 94 w 167"/>
                <a:gd name="T47" fmla="*/ 115 h 130"/>
                <a:gd name="T48" fmla="*/ 94 w 167"/>
                <a:gd name="T49" fmla="*/ 120 h 130"/>
                <a:gd name="T50" fmla="*/ 100 w 167"/>
                <a:gd name="T51" fmla="*/ 118 h 130"/>
                <a:gd name="T52" fmla="*/ 98 w 167"/>
                <a:gd name="T53" fmla="*/ 115 h 130"/>
                <a:gd name="T54" fmla="*/ 92 w 167"/>
                <a:gd name="T55" fmla="*/ 112 h 130"/>
                <a:gd name="T56" fmla="*/ 93 w 167"/>
                <a:gd name="T57" fmla="*/ 110 h 130"/>
                <a:gd name="T58" fmla="*/ 97 w 167"/>
                <a:gd name="T59" fmla="*/ 109 h 130"/>
                <a:gd name="T60" fmla="*/ 99 w 167"/>
                <a:gd name="T61" fmla="*/ 108 h 130"/>
                <a:gd name="T62" fmla="*/ 104 w 167"/>
                <a:gd name="T63" fmla="*/ 112 h 130"/>
                <a:gd name="T64" fmla="*/ 109 w 167"/>
                <a:gd name="T65" fmla="*/ 110 h 130"/>
                <a:gd name="T66" fmla="*/ 105 w 167"/>
                <a:gd name="T67" fmla="*/ 107 h 130"/>
                <a:gd name="T68" fmla="*/ 108 w 167"/>
                <a:gd name="T69" fmla="*/ 105 h 130"/>
                <a:gd name="T70" fmla="*/ 110 w 167"/>
                <a:gd name="T71" fmla="*/ 110 h 130"/>
                <a:gd name="T72" fmla="*/ 116 w 167"/>
                <a:gd name="T73" fmla="*/ 108 h 130"/>
                <a:gd name="T74" fmla="*/ 120 w 167"/>
                <a:gd name="T75" fmla="*/ 106 h 130"/>
                <a:gd name="T76" fmla="*/ 120 w 167"/>
                <a:gd name="T77" fmla="*/ 103 h 130"/>
                <a:gd name="T78" fmla="*/ 118 w 167"/>
                <a:gd name="T79" fmla="*/ 101 h 130"/>
                <a:gd name="T80" fmla="*/ 125 w 167"/>
                <a:gd name="T81" fmla="*/ 101 h 130"/>
                <a:gd name="T82" fmla="*/ 128 w 167"/>
                <a:gd name="T83" fmla="*/ 98 h 130"/>
                <a:gd name="T84" fmla="*/ 131 w 167"/>
                <a:gd name="T85" fmla="*/ 92 h 130"/>
                <a:gd name="T86" fmla="*/ 137 w 167"/>
                <a:gd name="T87" fmla="*/ 92 h 130"/>
                <a:gd name="T88" fmla="*/ 141 w 167"/>
                <a:gd name="T89" fmla="*/ 87 h 130"/>
                <a:gd name="T90" fmla="*/ 144 w 167"/>
                <a:gd name="T91" fmla="*/ 85 h 130"/>
                <a:gd name="T92" fmla="*/ 142 w 167"/>
                <a:gd name="T93" fmla="*/ 80 h 130"/>
                <a:gd name="T94" fmla="*/ 147 w 167"/>
                <a:gd name="T95" fmla="*/ 74 h 130"/>
                <a:gd name="T96" fmla="*/ 154 w 167"/>
                <a:gd name="T97" fmla="*/ 66 h 130"/>
                <a:gd name="T98" fmla="*/ 159 w 167"/>
                <a:gd name="T99" fmla="*/ 60 h 130"/>
                <a:gd name="T100" fmla="*/ 164 w 167"/>
                <a:gd name="T101" fmla="*/ 5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130">
                  <a:moveTo>
                    <a:pt x="128" y="17"/>
                  </a:moveTo>
                  <a:cubicBezTo>
                    <a:pt x="89" y="16"/>
                    <a:pt x="89" y="16"/>
                    <a:pt x="89" y="16"/>
                  </a:cubicBezTo>
                  <a:cubicBezTo>
                    <a:pt x="89" y="16"/>
                    <a:pt x="89" y="11"/>
                    <a:pt x="89" y="11"/>
                  </a:cubicBezTo>
                  <a:cubicBezTo>
                    <a:pt x="89" y="11"/>
                    <a:pt x="85" y="5"/>
                    <a:pt x="85" y="5"/>
                  </a:cubicBezTo>
                  <a:cubicBezTo>
                    <a:pt x="85" y="5"/>
                    <a:pt x="84" y="5"/>
                    <a:pt x="84" y="5"/>
                  </a:cubicBezTo>
                  <a:cubicBezTo>
                    <a:pt x="84" y="5"/>
                    <a:pt x="83" y="5"/>
                    <a:pt x="82" y="5"/>
                  </a:cubicBezTo>
                  <a:cubicBezTo>
                    <a:pt x="82" y="5"/>
                    <a:pt x="81" y="6"/>
                    <a:pt x="81" y="6"/>
                  </a:cubicBezTo>
                  <a:cubicBezTo>
                    <a:pt x="81" y="6"/>
                    <a:pt x="80" y="5"/>
                    <a:pt x="80" y="5"/>
                  </a:cubicBezTo>
                  <a:cubicBezTo>
                    <a:pt x="80" y="5"/>
                    <a:pt x="81" y="4"/>
                    <a:pt x="81" y="4"/>
                  </a:cubicBezTo>
                  <a:cubicBezTo>
                    <a:pt x="81" y="4"/>
                    <a:pt x="81" y="2"/>
                    <a:pt x="81" y="2"/>
                  </a:cubicBezTo>
                  <a:cubicBezTo>
                    <a:pt x="81" y="2"/>
                    <a:pt x="75" y="2"/>
                    <a:pt x="75" y="2"/>
                  </a:cubicBezTo>
                  <a:cubicBezTo>
                    <a:pt x="75" y="2"/>
                    <a:pt x="66" y="1"/>
                    <a:pt x="66" y="1"/>
                  </a:cubicBezTo>
                  <a:cubicBezTo>
                    <a:pt x="66" y="1"/>
                    <a:pt x="47" y="0"/>
                    <a:pt x="47" y="0"/>
                  </a:cubicBezTo>
                  <a:cubicBezTo>
                    <a:pt x="47" y="0"/>
                    <a:pt x="42" y="0"/>
                    <a:pt x="42" y="0"/>
                  </a:cubicBezTo>
                  <a:cubicBezTo>
                    <a:pt x="41" y="0"/>
                    <a:pt x="38" y="0"/>
                    <a:pt x="37" y="0"/>
                  </a:cubicBezTo>
                  <a:cubicBezTo>
                    <a:pt x="36" y="1"/>
                    <a:pt x="35" y="1"/>
                    <a:pt x="35" y="0"/>
                  </a:cubicBezTo>
                  <a:cubicBezTo>
                    <a:pt x="35" y="0"/>
                    <a:pt x="34" y="0"/>
                    <a:pt x="33" y="0"/>
                  </a:cubicBezTo>
                  <a:cubicBezTo>
                    <a:pt x="33" y="0"/>
                    <a:pt x="32" y="1"/>
                    <a:pt x="31" y="2"/>
                  </a:cubicBezTo>
                  <a:cubicBezTo>
                    <a:pt x="31" y="2"/>
                    <a:pt x="30" y="2"/>
                    <a:pt x="29" y="2"/>
                  </a:cubicBezTo>
                  <a:cubicBezTo>
                    <a:pt x="29" y="2"/>
                    <a:pt x="26" y="3"/>
                    <a:pt x="25" y="3"/>
                  </a:cubicBezTo>
                  <a:cubicBezTo>
                    <a:pt x="24" y="3"/>
                    <a:pt x="24" y="4"/>
                    <a:pt x="23" y="4"/>
                  </a:cubicBezTo>
                  <a:cubicBezTo>
                    <a:pt x="22" y="4"/>
                    <a:pt x="22" y="5"/>
                    <a:pt x="22" y="5"/>
                  </a:cubicBezTo>
                  <a:cubicBezTo>
                    <a:pt x="22" y="5"/>
                    <a:pt x="20" y="5"/>
                    <a:pt x="19" y="5"/>
                  </a:cubicBezTo>
                  <a:cubicBezTo>
                    <a:pt x="19" y="5"/>
                    <a:pt x="18" y="6"/>
                    <a:pt x="18" y="6"/>
                  </a:cubicBezTo>
                  <a:cubicBezTo>
                    <a:pt x="18" y="6"/>
                    <a:pt x="9" y="9"/>
                    <a:pt x="9" y="9"/>
                  </a:cubicBezTo>
                  <a:cubicBezTo>
                    <a:pt x="9" y="11"/>
                    <a:pt x="9" y="11"/>
                    <a:pt x="9" y="11"/>
                  </a:cubicBezTo>
                  <a:cubicBezTo>
                    <a:pt x="9" y="11"/>
                    <a:pt x="5" y="14"/>
                    <a:pt x="4" y="14"/>
                  </a:cubicBezTo>
                  <a:cubicBezTo>
                    <a:pt x="4" y="15"/>
                    <a:pt x="3" y="16"/>
                    <a:pt x="2" y="17"/>
                  </a:cubicBezTo>
                  <a:cubicBezTo>
                    <a:pt x="1" y="17"/>
                    <a:pt x="1" y="20"/>
                    <a:pt x="1" y="21"/>
                  </a:cubicBezTo>
                  <a:cubicBezTo>
                    <a:pt x="0" y="22"/>
                    <a:pt x="1" y="22"/>
                    <a:pt x="2" y="22"/>
                  </a:cubicBezTo>
                  <a:cubicBezTo>
                    <a:pt x="2" y="23"/>
                    <a:pt x="3" y="23"/>
                    <a:pt x="3" y="24"/>
                  </a:cubicBezTo>
                  <a:cubicBezTo>
                    <a:pt x="4" y="24"/>
                    <a:pt x="5" y="25"/>
                    <a:pt x="7" y="25"/>
                  </a:cubicBezTo>
                  <a:cubicBezTo>
                    <a:pt x="9" y="25"/>
                    <a:pt x="8" y="26"/>
                    <a:pt x="8" y="27"/>
                  </a:cubicBezTo>
                  <a:cubicBezTo>
                    <a:pt x="9" y="27"/>
                    <a:pt x="10" y="28"/>
                    <a:pt x="11" y="29"/>
                  </a:cubicBezTo>
                  <a:cubicBezTo>
                    <a:pt x="12" y="30"/>
                    <a:pt x="14" y="30"/>
                    <a:pt x="16" y="30"/>
                  </a:cubicBezTo>
                  <a:cubicBezTo>
                    <a:pt x="18" y="30"/>
                    <a:pt x="18" y="31"/>
                    <a:pt x="18" y="32"/>
                  </a:cubicBezTo>
                  <a:cubicBezTo>
                    <a:pt x="18" y="33"/>
                    <a:pt x="19" y="35"/>
                    <a:pt x="19" y="36"/>
                  </a:cubicBezTo>
                  <a:cubicBezTo>
                    <a:pt x="19" y="36"/>
                    <a:pt x="21" y="39"/>
                    <a:pt x="22" y="39"/>
                  </a:cubicBezTo>
                  <a:cubicBezTo>
                    <a:pt x="22" y="40"/>
                    <a:pt x="22" y="42"/>
                    <a:pt x="22" y="43"/>
                  </a:cubicBezTo>
                  <a:cubicBezTo>
                    <a:pt x="22" y="45"/>
                    <a:pt x="24" y="45"/>
                    <a:pt x="24" y="45"/>
                  </a:cubicBezTo>
                  <a:cubicBezTo>
                    <a:pt x="25" y="46"/>
                    <a:pt x="26" y="48"/>
                    <a:pt x="27" y="49"/>
                  </a:cubicBezTo>
                  <a:cubicBezTo>
                    <a:pt x="27" y="50"/>
                    <a:pt x="28" y="52"/>
                    <a:pt x="28" y="53"/>
                  </a:cubicBezTo>
                  <a:cubicBezTo>
                    <a:pt x="29" y="53"/>
                    <a:pt x="35" y="57"/>
                    <a:pt x="36" y="57"/>
                  </a:cubicBezTo>
                  <a:cubicBezTo>
                    <a:pt x="37" y="58"/>
                    <a:pt x="40" y="62"/>
                    <a:pt x="40" y="62"/>
                  </a:cubicBezTo>
                  <a:cubicBezTo>
                    <a:pt x="40" y="63"/>
                    <a:pt x="40" y="66"/>
                    <a:pt x="41" y="66"/>
                  </a:cubicBezTo>
                  <a:cubicBezTo>
                    <a:pt x="41" y="67"/>
                    <a:pt x="45" y="69"/>
                    <a:pt x="46" y="69"/>
                  </a:cubicBezTo>
                  <a:cubicBezTo>
                    <a:pt x="47" y="70"/>
                    <a:pt x="48" y="72"/>
                    <a:pt x="49" y="72"/>
                  </a:cubicBezTo>
                  <a:cubicBezTo>
                    <a:pt x="50" y="73"/>
                    <a:pt x="50" y="74"/>
                    <a:pt x="50" y="74"/>
                  </a:cubicBezTo>
                  <a:cubicBezTo>
                    <a:pt x="50" y="74"/>
                    <a:pt x="49" y="75"/>
                    <a:pt x="49" y="76"/>
                  </a:cubicBezTo>
                  <a:cubicBezTo>
                    <a:pt x="49" y="76"/>
                    <a:pt x="50" y="78"/>
                    <a:pt x="50" y="78"/>
                  </a:cubicBezTo>
                  <a:cubicBezTo>
                    <a:pt x="50" y="78"/>
                    <a:pt x="51" y="78"/>
                    <a:pt x="52" y="79"/>
                  </a:cubicBezTo>
                  <a:cubicBezTo>
                    <a:pt x="53" y="79"/>
                    <a:pt x="52" y="79"/>
                    <a:pt x="52" y="80"/>
                  </a:cubicBezTo>
                  <a:cubicBezTo>
                    <a:pt x="52" y="80"/>
                    <a:pt x="53" y="81"/>
                    <a:pt x="53" y="81"/>
                  </a:cubicBezTo>
                  <a:cubicBezTo>
                    <a:pt x="53" y="81"/>
                    <a:pt x="53" y="82"/>
                    <a:pt x="53" y="82"/>
                  </a:cubicBezTo>
                  <a:cubicBezTo>
                    <a:pt x="54" y="82"/>
                    <a:pt x="55" y="83"/>
                    <a:pt x="55" y="83"/>
                  </a:cubicBezTo>
                  <a:cubicBezTo>
                    <a:pt x="56" y="83"/>
                    <a:pt x="56" y="85"/>
                    <a:pt x="56" y="85"/>
                  </a:cubicBezTo>
                  <a:cubicBezTo>
                    <a:pt x="56" y="86"/>
                    <a:pt x="56" y="86"/>
                    <a:pt x="57" y="86"/>
                  </a:cubicBezTo>
                  <a:cubicBezTo>
                    <a:pt x="57" y="86"/>
                    <a:pt x="61" y="88"/>
                    <a:pt x="62" y="88"/>
                  </a:cubicBezTo>
                  <a:cubicBezTo>
                    <a:pt x="62" y="89"/>
                    <a:pt x="64" y="91"/>
                    <a:pt x="65" y="92"/>
                  </a:cubicBezTo>
                  <a:cubicBezTo>
                    <a:pt x="65" y="92"/>
                    <a:pt x="65" y="96"/>
                    <a:pt x="65" y="97"/>
                  </a:cubicBezTo>
                  <a:cubicBezTo>
                    <a:pt x="66" y="97"/>
                    <a:pt x="67" y="99"/>
                    <a:pt x="67" y="99"/>
                  </a:cubicBezTo>
                  <a:cubicBezTo>
                    <a:pt x="68" y="100"/>
                    <a:pt x="67" y="104"/>
                    <a:pt x="68" y="104"/>
                  </a:cubicBezTo>
                  <a:cubicBezTo>
                    <a:pt x="68" y="104"/>
                    <a:pt x="68" y="105"/>
                    <a:pt x="68" y="106"/>
                  </a:cubicBezTo>
                  <a:cubicBezTo>
                    <a:pt x="68" y="106"/>
                    <a:pt x="68" y="107"/>
                    <a:pt x="68" y="108"/>
                  </a:cubicBezTo>
                  <a:cubicBezTo>
                    <a:pt x="68" y="108"/>
                    <a:pt x="75" y="114"/>
                    <a:pt x="75" y="114"/>
                  </a:cubicBezTo>
                  <a:cubicBezTo>
                    <a:pt x="75" y="114"/>
                    <a:pt x="75" y="115"/>
                    <a:pt x="75" y="115"/>
                  </a:cubicBezTo>
                  <a:cubicBezTo>
                    <a:pt x="75" y="116"/>
                    <a:pt x="75" y="117"/>
                    <a:pt x="76" y="117"/>
                  </a:cubicBezTo>
                  <a:cubicBezTo>
                    <a:pt x="76" y="117"/>
                    <a:pt x="76" y="118"/>
                    <a:pt x="77" y="119"/>
                  </a:cubicBezTo>
                  <a:cubicBezTo>
                    <a:pt x="78" y="120"/>
                    <a:pt x="78" y="120"/>
                    <a:pt x="78" y="121"/>
                  </a:cubicBezTo>
                  <a:cubicBezTo>
                    <a:pt x="78" y="122"/>
                    <a:pt x="78" y="124"/>
                    <a:pt x="78" y="124"/>
                  </a:cubicBezTo>
                  <a:cubicBezTo>
                    <a:pt x="78" y="125"/>
                    <a:pt x="78" y="128"/>
                    <a:pt x="78" y="128"/>
                  </a:cubicBezTo>
                  <a:cubicBezTo>
                    <a:pt x="78" y="129"/>
                    <a:pt x="79" y="129"/>
                    <a:pt x="80" y="129"/>
                  </a:cubicBezTo>
                  <a:cubicBezTo>
                    <a:pt x="80" y="129"/>
                    <a:pt x="82" y="129"/>
                    <a:pt x="82" y="129"/>
                  </a:cubicBezTo>
                  <a:cubicBezTo>
                    <a:pt x="83" y="129"/>
                    <a:pt x="83" y="130"/>
                    <a:pt x="83" y="130"/>
                  </a:cubicBezTo>
                  <a:cubicBezTo>
                    <a:pt x="84" y="130"/>
                    <a:pt x="84" y="130"/>
                    <a:pt x="84" y="129"/>
                  </a:cubicBezTo>
                  <a:cubicBezTo>
                    <a:pt x="84" y="129"/>
                    <a:pt x="84" y="129"/>
                    <a:pt x="85" y="128"/>
                  </a:cubicBezTo>
                  <a:cubicBezTo>
                    <a:pt x="85" y="128"/>
                    <a:pt x="85" y="127"/>
                    <a:pt x="86" y="127"/>
                  </a:cubicBezTo>
                  <a:cubicBezTo>
                    <a:pt x="86" y="126"/>
                    <a:pt x="87" y="126"/>
                    <a:pt x="87" y="125"/>
                  </a:cubicBezTo>
                  <a:cubicBezTo>
                    <a:pt x="87" y="125"/>
                    <a:pt x="87" y="124"/>
                    <a:pt x="87" y="124"/>
                  </a:cubicBezTo>
                  <a:cubicBezTo>
                    <a:pt x="87" y="124"/>
                    <a:pt x="87" y="124"/>
                    <a:pt x="88" y="124"/>
                  </a:cubicBezTo>
                  <a:cubicBezTo>
                    <a:pt x="88" y="124"/>
                    <a:pt x="88" y="125"/>
                    <a:pt x="89" y="125"/>
                  </a:cubicBezTo>
                  <a:cubicBezTo>
                    <a:pt x="89" y="125"/>
                    <a:pt x="90" y="125"/>
                    <a:pt x="90" y="126"/>
                  </a:cubicBezTo>
                  <a:cubicBezTo>
                    <a:pt x="90" y="126"/>
                    <a:pt x="90" y="127"/>
                    <a:pt x="90" y="127"/>
                  </a:cubicBezTo>
                  <a:cubicBezTo>
                    <a:pt x="90" y="128"/>
                    <a:pt x="91" y="127"/>
                    <a:pt x="91" y="127"/>
                  </a:cubicBezTo>
                  <a:cubicBezTo>
                    <a:pt x="92" y="126"/>
                    <a:pt x="92" y="126"/>
                    <a:pt x="93" y="125"/>
                  </a:cubicBezTo>
                  <a:cubicBezTo>
                    <a:pt x="93" y="125"/>
                    <a:pt x="94" y="125"/>
                    <a:pt x="94" y="124"/>
                  </a:cubicBezTo>
                  <a:cubicBezTo>
                    <a:pt x="93" y="124"/>
                    <a:pt x="93" y="124"/>
                    <a:pt x="93" y="124"/>
                  </a:cubicBezTo>
                  <a:cubicBezTo>
                    <a:pt x="92" y="123"/>
                    <a:pt x="92" y="123"/>
                    <a:pt x="92" y="123"/>
                  </a:cubicBezTo>
                  <a:cubicBezTo>
                    <a:pt x="92" y="123"/>
                    <a:pt x="92" y="123"/>
                    <a:pt x="92" y="123"/>
                  </a:cubicBezTo>
                  <a:cubicBezTo>
                    <a:pt x="92" y="123"/>
                    <a:pt x="91" y="123"/>
                    <a:pt x="91" y="123"/>
                  </a:cubicBezTo>
                  <a:cubicBezTo>
                    <a:pt x="91" y="123"/>
                    <a:pt x="90" y="124"/>
                    <a:pt x="90" y="124"/>
                  </a:cubicBezTo>
                  <a:cubicBezTo>
                    <a:pt x="90" y="124"/>
                    <a:pt x="89" y="124"/>
                    <a:pt x="89" y="123"/>
                  </a:cubicBezTo>
                  <a:cubicBezTo>
                    <a:pt x="89" y="123"/>
                    <a:pt x="89" y="123"/>
                    <a:pt x="89" y="122"/>
                  </a:cubicBezTo>
                  <a:cubicBezTo>
                    <a:pt x="89" y="122"/>
                    <a:pt x="89" y="122"/>
                    <a:pt x="89" y="121"/>
                  </a:cubicBezTo>
                  <a:cubicBezTo>
                    <a:pt x="88" y="121"/>
                    <a:pt x="88" y="121"/>
                    <a:pt x="88" y="121"/>
                  </a:cubicBezTo>
                  <a:cubicBezTo>
                    <a:pt x="88" y="121"/>
                    <a:pt x="87" y="120"/>
                    <a:pt x="87" y="120"/>
                  </a:cubicBezTo>
                  <a:cubicBezTo>
                    <a:pt x="87" y="120"/>
                    <a:pt x="87" y="119"/>
                    <a:pt x="87" y="119"/>
                  </a:cubicBezTo>
                  <a:cubicBezTo>
                    <a:pt x="87" y="119"/>
                    <a:pt x="88" y="118"/>
                    <a:pt x="88" y="118"/>
                  </a:cubicBezTo>
                  <a:cubicBezTo>
                    <a:pt x="88" y="118"/>
                    <a:pt x="88" y="117"/>
                    <a:pt x="88" y="117"/>
                  </a:cubicBezTo>
                  <a:cubicBezTo>
                    <a:pt x="87" y="116"/>
                    <a:pt x="87" y="116"/>
                    <a:pt x="87" y="116"/>
                  </a:cubicBezTo>
                  <a:cubicBezTo>
                    <a:pt x="87" y="116"/>
                    <a:pt x="87" y="116"/>
                    <a:pt x="87" y="116"/>
                  </a:cubicBezTo>
                  <a:cubicBezTo>
                    <a:pt x="87" y="115"/>
                    <a:pt x="87" y="115"/>
                    <a:pt x="87" y="114"/>
                  </a:cubicBezTo>
                  <a:cubicBezTo>
                    <a:pt x="87" y="114"/>
                    <a:pt x="87" y="114"/>
                    <a:pt x="87" y="114"/>
                  </a:cubicBezTo>
                  <a:cubicBezTo>
                    <a:pt x="88" y="114"/>
                    <a:pt x="88" y="113"/>
                    <a:pt x="88" y="113"/>
                  </a:cubicBezTo>
                  <a:cubicBezTo>
                    <a:pt x="88" y="113"/>
                    <a:pt x="88" y="112"/>
                    <a:pt x="87" y="112"/>
                  </a:cubicBezTo>
                  <a:cubicBezTo>
                    <a:pt x="87" y="112"/>
                    <a:pt x="87" y="112"/>
                    <a:pt x="87" y="111"/>
                  </a:cubicBezTo>
                  <a:cubicBezTo>
                    <a:pt x="87" y="111"/>
                    <a:pt x="87" y="111"/>
                    <a:pt x="86" y="111"/>
                  </a:cubicBezTo>
                  <a:cubicBezTo>
                    <a:pt x="86" y="111"/>
                    <a:pt x="86" y="111"/>
                    <a:pt x="86" y="111"/>
                  </a:cubicBezTo>
                  <a:cubicBezTo>
                    <a:pt x="86" y="111"/>
                    <a:pt x="86" y="111"/>
                    <a:pt x="87" y="111"/>
                  </a:cubicBezTo>
                  <a:cubicBezTo>
                    <a:pt x="87" y="111"/>
                    <a:pt x="87" y="111"/>
                    <a:pt x="88" y="111"/>
                  </a:cubicBezTo>
                  <a:cubicBezTo>
                    <a:pt x="88" y="111"/>
                    <a:pt x="88" y="112"/>
                    <a:pt x="88" y="112"/>
                  </a:cubicBezTo>
                  <a:cubicBezTo>
                    <a:pt x="89" y="112"/>
                    <a:pt x="89" y="112"/>
                    <a:pt x="89" y="112"/>
                  </a:cubicBezTo>
                  <a:cubicBezTo>
                    <a:pt x="90" y="112"/>
                    <a:pt x="90" y="113"/>
                    <a:pt x="90" y="113"/>
                  </a:cubicBezTo>
                  <a:cubicBezTo>
                    <a:pt x="90" y="114"/>
                    <a:pt x="90" y="115"/>
                    <a:pt x="90" y="116"/>
                  </a:cubicBezTo>
                  <a:cubicBezTo>
                    <a:pt x="90" y="116"/>
                    <a:pt x="90" y="117"/>
                    <a:pt x="90" y="117"/>
                  </a:cubicBezTo>
                  <a:cubicBezTo>
                    <a:pt x="90" y="117"/>
                    <a:pt x="90" y="117"/>
                    <a:pt x="91" y="117"/>
                  </a:cubicBezTo>
                  <a:cubicBezTo>
                    <a:pt x="91" y="117"/>
                    <a:pt x="91" y="118"/>
                    <a:pt x="92" y="118"/>
                  </a:cubicBezTo>
                  <a:cubicBezTo>
                    <a:pt x="92" y="118"/>
                    <a:pt x="93" y="118"/>
                    <a:pt x="93" y="118"/>
                  </a:cubicBezTo>
                  <a:cubicBezTo>
                    <a:pt x="93" y="117"/>
                    <a:pt x="93" y="117"/>
                    <a:pt x="93" y="117"/>
                  </a:cubicBezTo>
                  <a:cubicBezTo>
                    <a:pt x="93" y="116"/>
                    <a:pt x="93" y="115"/>
                    <a:pt x="94" y="115"/>
                  </a:cubicBezTo>
                  <a:cubicBezTo>
                    <a:pt x="95" y="115"/>
                    <a:pt x="94" y="116"/>
                    <a:pt x="94" y="116"/>
                  </a:cubicBezTo>
                  <a:cubicBezTo>
                    <a:pt x="94" y="117"/>
                    <a:pt x="93" y="117"/>
                    <a:pt x="94" y="118"/>
                  </a:cubicBezTo>
                  <a:cubicBezTo>
                    <a:pt x="94" y="118"/>
                    <a:pt x="94" y="118"/>
                    <a:pt x="94" y="118"/>
                  </a:cubicBezTo>
                  <a:cubicBezTo>
                    <a:pt x="94" y="119"/>
                    <a:pt x="94" y="119"/>
                    <a:pt x="94" y="119"/>
                  </a:cubicBezTo>
                  <a:cubicBezTo>
                    <a:pt x="94" y="119"/>
                    <a:pt x="94" y="120"/>
                    <a:pt x="94" y="120"/>
                  </a:cubicBezTo>
                  <a:cubicBezTo>
                    <a:pt x="95" y="120"/>
                    <a:pt x="95" y="120"/>
                    <a:pt x="95" y="120"/>
                  </a:cubicBezTo>
                  <a:cubicBezTo>
                    <a:pt x="95" y="121"/>
                    <a:pt x="95" y="121"/>
                    <a:pt x="96" y="121"/>
                  </a:cubicBezTo>
                  <a:cubicBezTo>
                    <a:pt x="96" y="121"/>
                    <a:pt x="97" y="120"/>
                    <a:pt x="98" y="120"/>
                  </a:cubicBezTo>
                  <a:cubicBezTo>
                    <a:pt x="98" y="119"/>
                    <a:pt x="99" y="119"/>
                    <a:pt x="99" y="119"/>
                  </a:cubicBezTo>
                  <a:cubicBezTo>
                    <a:pt x="99" y="118"/>
                    <a:pt x="99" y="118"/>
                    <a:pt x="100" y="118"/>
                  </a:cubicBezTo>
                  <a:cubicBezTo>
                    <a:pt x="100" y="118"/>
                    <a:pt x="101" y="117"/>
                    <a:pt x="101" y="117"/>
                  </a:cubicBezTo>
                  <a:cubicBezTo>
                    <a:pt x="101" y="117"/>
                    <a:pt x="101" y="117"/>
                    <a:pt x="101" y="117"/>
                  </a:cubicBezTo>
                  <a:cubicBezTo>
                    <a:pt x="100" y="116"/>
                    <a:pt x="100" y="116"/>
                    <a:pt x="100" y="116"/>
                  </a:cubicBezTo>
                  <a:cubicBezTo>
                    <a:pt x="99" y="116"/>
                    <a:pt x="99" y="116"/>
                    <a:pt x="99" y="115"/>
                  </a:cubicBezTo>
                  <a:cubicBezTo>
                    <a:pt x="99" y="115"/>
                    <a:pt x="98" y="115"/>
                    <a:pt x="98" y="115"/>
                  </a:cubicBezTo>
                  <a:cubicBezTo>
                    <a:pt x="98" y="115"/>
                    <a:pt x="97" y="114"/>
                    <a:pt x="97" y="114"/>
                  </a:cubicBezTo>
                  <a:cubicBezTo>
                    <a:pt x="97" y="114"/>
                    <a:pt x="96" y="114"/>
                    <a:pt x="96" y="114"/>
                  </a:cubicBezTo>
                  <a:cubicBezTo>
                    <a:pt x="96" y="114"/>
                    <a:pt x="95" y="114"/>
                    <a:pt x="95" y="114"/>
                  </a:cubicBezTo>
                  <a:cubicBezTo>
                    <a:pt x="95" y="113"/>
                    <a:pt x="94" y="113"/>
                    <a:pt x="94" y="113"/>
                  </a:cubicBezTo>
                  <a:cubicBezTo>
                    <a:pt x="93" y="113"/>
                    <a:pt x="93" y="113"/>
                    <a:pt x="92" y="112"/>
                  </a:cubicBezTo>
                  <a:cubicBezTo>
                    <a:pt x="92" y="112"/>
                    <a:pt x="92" y="112"/>
                    <a:pt x="92" y="112"/>
                  </a:cubicBezTo>
                  <a:cubicBezTo>
                    <a:pt x="92" y="112"/>
                    <a:pt x="91" y="112"/>
                    <a:pt x="91" y="111"/>
                  </a:cubicBezTo>
                  <a:cubicBezTo>
                    <a:pt x="91" y="111"/>
                    <a:pt x="91" y="111"/>
                    <a:pt x="91" y="110"/>
                  </a:cubicBezTo>
                  <a:cubicBezTo>
                    <a:pt x="92" y="110"/>
                    <a:pt x="92" y="110"/>
                    <a:pt x="92" y="110"/>
                  </a:cubicBezTo>
                  <a:cubicBezTo>
                    <a:pt x="93" y="110"/>
                    <a:pt x="93" y="110"/>
                    <a:pt x="93" y="110"/>
                  </a:cubicBezTo>
                  <a:cubicBezTo>
                    <a:pt x="93" y="110"/>
                    <a:pt x="93" y="109"/>
                    <a:pt x="93" y="109"/>
                  </a:cubicBezTo>
                  <a:cubicBezTo>
                    <a:pt x="94" y="109"/>
                    <a:pt x="94" y="109"/>
                    <a:pt x="94" y="109"/>
                  </a:cubicBezTo>
                  <a:cubicBezTo>
                    <a:pt x="94" y="109"/>
                    <a:pt x="95" y="109"/>
                    <a:pt x="96" y="109"/>
                  </a:cubicBezTo>
                  <a:cubicBezTo>
                    <a:pt x="96" y="109"/>
                    <a:pt x="96" y="110"/>
                    <a:pt x="96" y="110"/>
                  </a:cubicBezTo>
                  <a:cubicBezTo>
                    <a:pt x="96" y="110"/>
                    <a:pt x="97" y="110"/>
                    <a:pt x="97" y="109"/>
                  </a:cubicBezTo>
                  <a:cubicBezTo>
                    <a:pt x="97" y="109"/>
                    <a:pt x="97" y="109"/>
                    <a:pt x="98" y="109"/>
                  </a:cubicBezTo>
                  <a:cubicBezTo>
                    <a:pt x="98" y="109"/>
                    <a:pt x="98" y="109"/>
                    <a:pt x="98" y="108"/>
                  </a:cubicBezTo>
                  <a:cubicBezTo>
                    <a:pt x="98" y="108"/>
                    <a:pt x="98" y="108"/>
                    <a:pt x="98" y="108"/>
                  </a:cubicBezTo>
                  <a:cubicBezTo>
                    <a:pt x="98" y="107"/>
                    <a:pt x="99" y="107"/>
                    <a:pt x="99" y="108"/>
                  </a:cubicBezTo>
                  <a:cubicBezTo>
                    <a:pt x="99" y="108"/>
                    <a:pt x="99" y="108"/>
                    <a:pt x="99" y="108"/>
                  </a:cubicBezTo>
                  <a:cubicBezTo>
                    <a:pt x="99" y="109"/>
                    <a:pt x="99" y="109"/>
                    <a:pt x="99" y="110"/>
                  </a:cubicBezTo>
                  <a:cubicBezTo>
                    <a:pt x="100" y="110"/>
                    <a:pt x="100" y="111"/>
                    <a:pt x="101" y="111"/>
                  </a:cubicBezTo>
                  <a:cubicBezTo>
                    <a:pt x="101" y="111"/>
                    <a:pt x="102" y="112"/>
                    <a:pt x="102" y="112"/>
                  </a:cubicBezTo>
                  <a:cubicBezTo>
                    <a:pt x="103" y="112"/>
                    <a:pt x="103" y="112"/>
                    <a:pt x="103" y="112"/>
                  </a:cubicBezTo>
                  <a:cubicBezTo>
                    <a:pt x="103" y="112"/>
                    <a:pt x="104" y="112"/>
                    <a:pt x="104" y="112"/>
                  </a:cubicBezTo>
                  <a:cubicBezTo>
                    <a:pt x="104" y="113"/>
                    <a:pt x="105" y="113"/>
                    <a:pt x="105" y="113"/>
                  </a:cubicBezTo>
                  <a:cubicBezTo>
                    <a:pt x="106" y="114"/>
                    <a:pt x="106" y="113"/>
                    <a:pt x="107" y="113"/>
                  </a:cubicBezTo>
                  <a:cubicBezTo>
                    <a:pt x="107" y="112"/>
                    <a:pt x="108" y="112"/>
                    <a:pt x="108" y="112"/>
                  </a:cubicBezTo>
                  <a:cubicBezTo>
                    <a:pt x="108" y="112"/>
                    <a:pt x="108" y="111"/>
                    <a:pt x="109" y="111"/>
                  </a:cubicBezTo>
                  <a:cubicBezTo>
                    <a:pt x="109" y="111"/>
                    <a:pt x="109" y="111"/>
                    <a:pt x="109" y="110"/>
                  </a:cubicBezTo>
                  <a:cubicBezTo>
                    <a:pt x="109" y="110"/>
                    <a:pt x="109" y="109"/>
                    <a:pt x="109" y="109"/>
                  </a:cubicBezTo>
                  <a:cubicBezTo>
                    <a:pt x="109" y="109"/>
                    <a:pt x="108" y="109"/>
                    <a:pt x="108" y="109"/>
                  </a:cubicBezTo>
                  <a:cubicBezTo>
                    <a:pt x="108" y="109"/>
                    <a:pt x="108" y="109"/>
                    <a:pt x="107" y="109"/>
                  </a:cubicBezTo>
                  <a:cubicBezTo>
                    <a:pt x="107" y="108"/>
                    <a:pt x="107" y="108"/>
                    <a:pt x="106" y="108"/>
                  </a:cubicBezTo>
                  <a:cubicBezTo>
                    <a:pt x="106" y="107"/>
                    <a:pt x="106" y="107"/>
                    <a:pt x="105" y="107"/>
                  </a:cubicBezTo>
                  <a:cubicBezTo>
                    <a:pt x="105" y="106"/>
                    <a:pt x="105" y="106"/>
                    <a:pt x="104" y="106"/>
                  </a:cubicBezTo>
                  <a:cubicBezTo>
                    <a:pt x="104" y="106"/>
                    <a:pt x="105" y="106"/>
                    <a:pt x="105" y="105"/>
                  </a:cubicBezTo>
                  <a:cubicBezTo>
                    <a:pt x="106" y="105"/>
                    <a:pt x="107" y="106"/>
                    <a:pt x="107" y="106"/>
                  </a:cubicBezTo>
                  <a:cubicBezTo>
                    <a:pt x="108" y="106"/>
                    <a:pt x="108" y="106"/>
                    <a:pt x="108" y="105"/>
                  </a:cubicBezTo>
                  <a:cubicBezTo>
                    <a:pt x="108" y="105"/>
                    <a:pt x="108" y="105"/>
                    <a:pt x="108" y="105"/>
                  </a:cubicBezTo>
                  <a:cubicBezTo>
                    <a:pt x="109" y="105"/>
                    <a:pt x="109" y="106"/>
                    <a:pt x="109" y="106"/>
                  </a:cubicBezTo>
                  <a:cubicBezTo>
                    <a:pt x="109" y="106"/>
                    <a:pt x="109" y="106"/>
                    <a:pt x="108" y="107"/>
                  </a:cubicBezTo>
                  <a:cubicBezTo>
                    <a:pt x="108" y="107"/>
                    <a:pt x="108" y="107"/>
                    <a:pt x="108" y="107"/>
                  </a:cubicBezTo>
                  <a:cubicBezTo>
                    <a:pt x="108" y="108"/>
                    <a:pt x="109" y="109"/>
                    <a:pt x="109" y="109"/>
                  </a:cubicBezTo>
                  <a:cubicBezTo>
                    <a:pt x="109" y="109"/>
                    <a:pt x="110" y="109"/>
                    <a:pt x="110" y="110"/>
                  </a:cubicBezTo>
                  <a:cubicBezTo>
                    <a:pt x="110" y="110"/>
                    <a:pt x="110" y="110"/>
                    <a:pt x="111" y="110"/>
                  </a:cubicBezTo>
                  <a:cubicBezTo>
                    <a:pt x="111" y="110"/>
                    <a:pt x="112" y="109"/>
                    <a:pt x="112" y="109"/>
                  </a:cubicBezTo>
                  <a:cubicBezTo>
                    <a:pt x="112" y="109"/>
                    <a:pt x="113" y="109"/>
                    <a:pt x="114" y="109"/>
                  </a:cubicBezTo>
                  <a:cubicBezTo>
                    <a:pt x="114" y="109"/>
                    <a:pt x="115" y="109"/>
                    <a:pt x="115" y="109"/>
                  </a:cubicBezTo>
                  <a:cubicBezTo>
                    <a:pt x="116" y="109"/>
                    <a:pt x="116" y="109"/>
                    <a:pt x="116" y="108"/>
                  </a:cubicBezTo>
                  <a:cubicBezTo>
                    <a:pt x="116" y="108"/>
                    <a:pt x="116" y="108"/>
                    <a:pt x="116" y="107"/>
                  </a:cubicBezTo>
                  <a:cubicBezTo>
                    <a:pt x="117" y="107"/>
                    <a:pt x="116" y="107"/>
                    <a:pt x="117" y="107"/>
                  </a:cubicBezTo>
                  <a:cubicBezTo>
                    <a:pt x="117" y="106"/>
                    <a:pt x="117" y="107"/>
                    <a:pt x="118" y="107"/>
                  </a:cubicBezTo>
                  <a:cubicBezTo>
                    <a:pt x="118" y="107"/>
                    <a:pt x="119" y="107"/>
                    <a:pt x="119" y="106"/>
                  </a:cubicBezTo>
                  <a:cubicBezTo>
                    <a:pt x="119" y="106"/>
                    <a:pt x="119" y="106"/>
                    <a:pt x="120" y="106"/>
                  </a:cubicBezTo>
                  <a:cubicBezTo>
                    <a:pt x="120" y="106"/>
                    <a:pt x="120" y="106"/>
                    <a:pt x="120" y="106"/>
                  </a:cubicBezTo>
                  <a:cubicBezTo>
                    <a:pt x="120" y="105"/>
                    <a:pt x="120" y="105"/>
                    <a:pt x="120" y="105"/>
                  </a:cubicBezTo>
                  <a:cubicBezTo>
                    <a:pt x="120" y="104"/>
                    <a:pt x="121" y="104"/>
                    <a:pt x="121" y="104"/>
                  </a:cubicBezTo>
                  <a:cubicBezTo>
                    <a:pt x="121" y="104"/>
                    <a:pt x="121" y="104"/>
                    <a:pt x="120" y="104"/>
                  </a:cubicBezTo>
                  <a:cubicBezTo>
                    <a:pt x="120" y="103"/>
                    <a:pt x="120" y="103"/>
                    <a:pt x="120" y="103"/>
                  </a:cubicBezTo>
                  <a:cubicBezTo>
                    <a:pt x="119" y="102"/>
                    <a:pt x="119" y="102"/>
                    <a:pt x="118" y="102"/>
                  </a:cubicBezTo>
                  <a:cubicBezTo>
                    <a:pt x="118" y="102"/>
                    <a:pt x="118" y="101"/>
                    <a:pt x="117" y="100"/>
                  </a:cubicBezTo>
                  <a:cubicBezTo>
                    <a:pt x="117" y="100"/>
                    <a:pt x="117" y="100"/>
                    <a:pt x="117" y="99"/>
                  </a:cubicBezTo>
                  <a:cubicBezTo>
                    <a:pt x="118" y="99"/>
                    <a:pt x="118" y="100"/>
                    <a:pt x="118" y="100"/>
                  </a:cubicBezTo>
                  <a:cubicBezTo>
                    <a:pt x="118" y="100"/>
                    <a:pt x="118" y="101"/>
                    <a:pt x="118" y="101"/>
                  </a:cubicBezTo>
                  <a:cubicBezTo>
                    <a:pt x="119" y="101"/>
                    <a:pt x="119" y="102"/>
                    <a:pt x="119" y="102"/>
                  </a:cubicBezTo>
                  <a:cubicBezTo>
                    <a:pt x="120" y="102"/>
                    <a:pt x="120" y="102"/>
                    <a:pt x="121" y="102"/>
                  </a:cubicBezTo>
                  <a:cubicBezTo>
                    <a:pt x="122" y="102"/>
                    <a:pt x="122" y="102"/>
                    <a:pt x="122" y="102"/>
                  </a:cubicBezTo>
                  <a:cubicBezTo>
                    <a:pt x="123" y="101"/>
                    <a:pt x="124" y="101"/>
                    <a:pt x="124" y="101"/>
                  </a:cubicBezTo>
                  <a:cubicBezTo>
                    <a:pt x="125" y="101"/>
                    <a:pt x="125" y="101"/>
                    <a:pt x="125" y="101"/>
                  </a:cubicBezTo>
                  <a:cubicBezTo>
                    <a:pt x="126" y="101"/>
                    <a:pt x="126" y="101"/>
                    <a:pt x="126" y="100"/>
                  </a:cubicBezTo>
                  <a:cubicBezTo>
                    <a:pt x="126" y="100"/>
                    <a:pt x="126" y="100"/>
                    <a:pt x="126" y="100"/>
                  </a:cubicBezTo>
                  <a:cubicBezTo>
                    <a:pt x="126" y="99"/>
                    <a:pt x="125" y="99"/>
                    <a:pt x="125" y="99"/>
                  </a:cubicBezTo>
                  <a:cubicBezTo>
                    <a:pt x="125" y="99"/>
                    <a:pt x="125" y="98"/>
                    <a:pt x="126" y="98"/>
                  </a:cubicBezTo>
                  <a:cubicBezTo>
                    <a:pt x="126" y="98"/>
                    <a:pt x="127" y="98"/>
                    <a:pt x="128" y="98"/>
                  </a:cubicBezTo>
                  <a:cubicBezTo>
                    <a:pt x="128" y="97"/>
                    <a:pt x="129" y="97"/>
                    <a:pt x="129" y="96"/>
                  </a:cubicBezTo>
                  <a:cubicBezTo>
                    <a:pt x="129" y="96"/>
                    <a:pt x="130" y="95"/>
                    <a:pt x="130" y="95"/>
                  </a:cubicBezTo>
                  <a:cubicBezTo>
                    <a:pt x="130" y="95"/>
                    <a:pt x="130" y="94"/>
                    <a:pt x="130" y="94"/>
                  </a:cubicBezTo>
                  <a:cubicBezTo>
                    <a:pt x="130" y="94"/>
                    <a:pt x="131" y="94"/>
                    <a:pt x="131" y="93"/>
                  </a:cubicBezTo>
                  <a:cubicBezTo>
                    <a:pt x="131" y="93"/>
                    <a:pt x="131" y="93"/>
                    <a:pt x="131" y="92"/>
                  </a:cubicBezTo>
                  <a:cubicBezTo>
                    <a:pt x="131" y="92"/>
                    <a:pt x="132" y="91"/>
                    <a:pt x="132" y="91"/>
                  </a:cubicBezTo>
                  <a:cubicBezTo>
                    <a:pt x="133" y="91"/>
                    <a:pt x="133" y="91"/>
                    <a:pt x="134" y="91"/>
                  </a:cubicBezTo>
                  <a:cubicBezTo>
                    <a:pt x="134" y="91"/>
                    <a:pt x="134" y="91"/>
                    <a:pt x="135" y="91"/>
                  </a:cubicBezTo>
                  <a:cubicBezTo>
                    <a:pt x="135" y="91"/>
                    <a:pt x="135" y="91"/>
                    <a:pt x="135" y="92"/>
                  </a:cubicBezTo>
                  <a:cubicBezTo>
                    <a:pt x="136" y="92"/>
                    <a:pt x="136" y="92"/>
                    <a:pt x="137" y="92"/>
                  </a:cubicBezTo>
                  <a:cubicBezTo>
                    <a:pt x="137" y="91"/>
                    <a:pt x="138" y="92"/>
                    <a:pt x="138" y="91"/>
                  </a:cubicBezTo>
                  <a:cubicBezTo>
                    <a:pt x="138" y="91"/>
                    <a:pt x="138" y="90"/>
                    <a:pt x="138" y="90"/>
                  </a:cubicBezTo>
                  <a:cubicBezTo>
                    <a:pt x="138" y="89"/>
                    <a:pt x="139" y="89"/>
                    <a:pt x="139" y="89"/>
                  </a:cubicBezTo>
                  <a:cubicBezTo>
                    <a:pt x="139" y="89"/>
                    <a:pt x="140" y="88"/>
                    <a:pt x="140" y="88"/>
                  </a:cubicBezTo>
                  <a:cubicBezTo>
                    <a:pt x="140" y="88"/>
                    <a:pt x="141" y="87"/>
                    <a:pt x="141" y="87"/>
                  </a:cubicBezTo>
                  <a:cubicBezTo>
                    <a:pt x="141" y="87"/>
                    <a:pt x="141" y="86"/>
                    <a:pt x="142" y="86"/>
                  </a:cubicBezTo>
                  <a:cubicBezTo>
                    <a:pt x="142" y="86"/>
                    <a:pt x="142" y="86"/>
                    <a:pt x="142" y="86"/>
                  </a:cubicBezTo>
                  <a:cubicBezTo>
                    <a:pt x="143" y="86"/>
                    <a:pt x="143" y="86"/>
                    <a:pt x="143" y="86"/>
                  </a:cubicBezTo>
                  <a:cubicBezTo>
                    <a:pt x="143" y="86"/>
                    <a:pt x="143" y="86"/>
                    <a:pt x="143" y="86"/>
                  </a:cubicBezTo>
                  <a:cubicBezTo>
                    <a:pt x="144" y="86"/>
                    <a:pt x="144" y="86"/>
                    <a:pt x="144" y="85"/>
                  </a:cubicBezTo>
                  <a:cubicBezTo>
                    <a:pt x="144" y="85"/>
                    <a:pt x="144" y="85"/>
                    <a:pt x="144" y="85"/>
                  </a:cubicBezTo>
                  <a:cubicBezTo>
                    <a:pt x="144" y="84"/>
                    <a:pt x="145" y="83"/>
                    <a:pt x="144" y="82"/>
                  </a:cubicBezTo>
                  <a:cubicBezTo>
                    <a:pt x="144" y="82"/>
                    <a:pt x="144" y="82"/>
                    <a:pt x="144" y="82"/>
                  </a:cubicBezTo>
                  <a:cubicBezTo>
                    <a:pt x="144" y="81"/>
                    <a:pt x="143" y="81"/>
                    <a:pt x="143" y="81"/>
                  </a:cubicBezTo>
                  <a:cubicBezTo>
                    <a:pt x="143" y="80"/>
                    <a:pt x="142" y="80"/>
                    <a:pt x="142" y="80"/>
                  </a:cubicBezTo>
                  <a:cubicBezTo>
                    <a:pt x="142" y="79"/>
                    <a:pt x="142" y="79"/>
                    <a:pt x="142" y="79"/>
                  </a:cubicBezTo>
                  <a:cubicBezTo>
                    <a:pt x="142" y="78"/>
                    <a:pt x="144" y="79"/>
                    <a:pt x="144" y="79"/>
                  </a:cubicBezTo>
                  <a:cubicBezTo>
                    <a:pt x="145" y="78"/>
                    <a:pt x="146" y="78"/>
                    <a:pt x="146" y="77"/>
                  </a:cubicBezTo>
                  <a:cubicBezTo>
                    <a:pt x="146" y="77"/>
                    <a:pt x="147" y="76"/>
                    <a:pt x="147" y="75"/>
                  </a:cubicBezTo>
                  <a:cubicBezTo>
                    <a:pt x="147" y="75"/>
                    <a:pt x="147" y="74"/>
                    <a:pt x="147" y="74"/>
                  </a:cubicBezTo>
                  <a:cubicBezTo>
                    <a:pt x="148" y="73"/>
                    <a:pt x="148" y="72"/>
                    <a:pt x="149" y="72"/>
                  </a:cubicBezTo>
                  <a:cubicBezTo>
                    <a:pt x="149" y="71"/>
                    <a:pt x="149" y="71"/>
                    <a:pt x="150" y="70"/>
                  </a:cubicBezTo>
                  <a:cubicBezTo>
                    <a:pt x="151" y="70"/>
                    <a:pt x="151" y="69"/>
                    <a:pt x="151" y="68"/>
                  </a:cubicBezTo>
                  <a:cubicBezTo>
                    <a:pt x="152" y="68"/>
                    <a:pt x="152" y="67"/>
                    <a:pt x="153" y="67"/>
                  </a:cubicBezTo>
                  <a:cubicBezTo>
                    <a:pt x="153" y="66"/>
                    <a:pt x="154" y="66"/>
                    <a:pt x="154" y="66"/>
                  </a:cubicBezTo>
                  <a:cubicBezTo>
                    <a:pt x="154" y="65"/>
                    <a:pt x="154" y="65"/>
                    <a:pt x="155" y="64"/>
                  </a:cubicBezTo>
                  <a:cubicBezTo>
                    <a:pt x="155" y="64"/>
                    <a:pt x="155" y="64"/>
                    <a:pt x="155" y="63"/>
                  </a:cubicBezTo>
                  <a:cubicBezTo>
                    <a:pt x="156" y="63"/>
                    <a:pt x="156" y="63"/>
                    <a:pt x="156" y="63"/>
                  </a:cubicBezTo>
                  <a:cubicBezTo>
                    <a:pt x="157" y="62"/>
                    <a:pt x="157" y="62"/>
                    <a:pt x="158" y="61"/>
                  </a:cubicBezTo>
                  <a:cubicBezTo>
                    <a:pt x="158" y="61"/>
                    <a:pt x="159" y="61"/>
                    <a:pt x="159" y="60"/>
                  </a:cubicBezTo>
                  <a:cubicBezTo>
                    <a:pt x="159" y="60"/>
                    <a:pt x="160" y="60"/>
                    <a:pt x="160" y="60"/>
                  </a:cubicBezTo>
                  <a:cubicBezTo>
                    <a:pt x="160" y="60"/>
                    <a:pt x="160" y="60"/>
                    <a:pt x="161" y="59"/>
                  </a:cubicBezTo>
                  <a:cubicBezTo>
                    <a:pt x="161" y="59"/>
                    <a:pt x="161" y="59"/>
                    <a:pt x="161" y="59"/>
                  </a:cubicBezTo>
                  <a:cubicBezTo>
                    <a:pt x="162" y="59"/>
                    <a:pt x="162" y="59"/>
                    <a:pt x="163" y="59"/>
                  </a:cubicBezTo>
                  <a:cubicBezTo>
                    <a:pt x="163" y="59"/>
                    <a:pt x="164" y="58"/>
                    <a:pt x="164" y="58"/>
                  </a:cubicBezTo>
                  <a:cubicBezTo>
                    <a:pt x="165" y="58"/>
                    <a:pt x="165" y="58"/>
                    <a:pt x="166" y="57"/>
                  </a:cubicBezTo>
                  <a:cubicBezTo>
                    <a:pt x="166" y="57"/>
                    <a:pt x="166" y="57"/>
                    <a:pt x="167" y="57"/>
                  </a:cubicBezTo>
                  <a:cubicBezTo>
                    <a:pt x="167" y="57"/>
                    <a:pt x="167" y="57"/>
                    <a:pt x="167" y="57"/>
                  </a:cubicBezTo>
                  <a:lnTo>
                    <a:pt x="128" y="17"/>
                  </a:ln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6" name="Freeform 19">
              <a:extLst>
                <a:ext uri="{FF2B5EF4-FFF2-40B4-BE49-F238E27FC236}">
                  <a16:creationId xmlns:a16="http://schemas.microsoft.com/office/drawing/2014/main" id="{787B10CE-D082-D15C-1B75-531413134FDD}"/>
                </a:ext>
              </a:extLst>
            </p:cNvPr>
            <p:cNvSpPr>
              <a:spLocks noEditPoints="1"/>
            </p:cNvSpPr>
            <p:nvPr/>
          </p:nvSpPr>
          <p:spPr bwMode="auto">
            <a:xfrm>
              <a:off x="9753115" y="2324578"/>
              <a:ext cx="102437" cy="127219"/>
            </a:xfrm>
            <a:custGeom>
              <a:avLst/>
              <a:gdLst>
                <a:gd name="T0" fmla="*/ 18 w 26"/>
                <a:gd name="T1" fmla="*/ 25 h 32"/>
                <a:gd name="T2" fmla="*/ 18 w 26"/>
                <a:gd name="T3" fmla="*/ 24 h 32"/>
                <a:gd name="T4" fmla="*/ 19 w 26"/>
                <a:gd name="T5" fmla="*/ 23 h 32"/>
                <a:gd name="T6" fmla="*/ 19 w 26"/>
                <a:gd name="T7" fmla="*/ 21 h 32"/>
                <a:gd name="T8" fmla="*/ 20 w 26"/>
                <a:gd name="T9" fmla="*/ 20 h 32"/>
                <a:gd name="T10" fmla="*/ 21 w 26"/>
                <a:gd name="T11" fmla="*/ 22 h 32"/>
                <a:gd name="T12" fmla="*/ 20 w 26"/>
                <a:gd name="T13" fmla="*/ 25 h 32"/>
                <a:gd name="T14" fmla="*/ 19 w 26"/>
                <a:gd name="T15" fmla="*/ 26 h 32"/>
                <a:gd name="T16" fmla="*/ 18 w 26"/>
                <a:gd name="T17" fmla="*/ 26 h 32"/>
                <a:gd name="T18" fmla="*/ 17 w 26"/>
                <a:gd name="T19" fmla="*/ 25 h 32"/>
                <a:gd name="T20" fmla="*/ 17 w 26"/>
                <a:gd name="T21" fmla="*/ 24 h 32"/>
                <a:gd name="T22" fmla="*/ 16 w 26"/>
                <a:gd name="T23" fmla="*/ 23 h 32"/>
                <a:gd name="T24" fmla="*/ 16 w 26"/>
                <a:gd name="T25" fmla="*/ 24 h 32"/>
                <a:gd name="T26" fmla="*/ 17 w 26"/>
                <a:gd name="T27" fmla="*/ 25 h 32"/>
                <a:gd name="T28" fmla="*/ 23 w 26"/>
                <a:gd name="T29" fmla="*/ 16 h 32"/>
                <a:gd name="T30" fmla="*/ 23 w 26"/>
                <a:gd name="T31" fmla="*/ 17 h 32"/>
                <a:gd name="T32" fmla="*/ 22 w 26"/>
                <a:gd name="T33" fmla="*/ 18 h 32"/>
                <a:gd name="T34" fmla="*/ 21 w 26"/>
                <a:gd name="T35" fmla="*/ 20 h 32"/>
                <a:gd name="T36" fmla="*/ 22 w 26"/>
                <a:gd name="T37" fmla="*/ 21 h 32"/>
                <a:gd name="T38" fmla="*/ 23 w 26"/>
                <a:gd name="T39" fmla="*/ 23 h 32"/>
                <a:gd name="T40" fmla="*/ 23 w 26"/>
                <a:gd name="T41" fmla="*/ 26 h 32"/>
                <a:gd name="T42" fmla="*/ 24 w 26"/>
                <a:gd name="T43" fmla="*/ 25 h 32"/>
                <a:gd name="T44" fmla="*/ 26 w 26"/>
                <a:gd name="T45" fmla="*/ 25 h 32"/>
                <a:gd name="T46" fmla="*/ 24 w 26"/>
                <a:gd name="T47" fmla="*/ 17 h 32"/>
                <a:gd name="T48" fmla="*/ 16 w 26"/>
                <a:gd name="T49" fmla="*/ 4 h 32"/>
                <a:gd name="T50" fmla="*/ 1 w 26"/>
                <a:gd name="T51" fmla="*/ 0 h 32"/>
                <a:gd name="T52" fmla="*/ 0 w 26"/>
                <a:gd name="T53" fmla="*/ 30 h 32"/>
                <a:gd name="T54" fmla="*/ 3 w 26"/>
                <a:gd name="T55" fmla="*/ 32 h 32"/>
                <a:gd name="T56" fmla="*/ 4 w 26"/>
                <a:gd name="T57" fmla="*/ 31 h 32"/>
                <a:gd name="T58" fmla="*/ 7 w 26"/>
                <a:gd name="T59" fmla="*/ 31 h 32"/>
                <a:gd name="T60" fmla="*/ 9 w 26"/>
                <a:gd name="T61" fmla="*/ 30 h 32"/>
                <a:gd name="T62" fmla="*/ 12 w 26"/>
                <a:gd name="T63" fmla="*/ 30 h 32"/>
                <a:gd name="T64" fmla="*/ 13 w 26"/>
                <a:gd name="T65" fmla="*/ 29 h 32"/>
                <a:gd name="T66" fmla="*/ 14 w 26"/>
                <a:gd name="T67" fmla="*/ 27 h 32"/>
                <a:gd name="T68" fmla="*/ 14 w 26"/>
                <a:gd name="T69" fmla="*/ 25 h 32"/>
                <a:gd name="T70" fmla="*/ 15 w 26"/>
                <a:gd name="T71" fmla="*/ 23 h 32"/>
                <a:gd name="T72" fmla="*/ 15 w 26"/>
                <a:gd name="T73" fmla="*/ 21 h 32"/>
                <a:gd name="T74" fmla="*/ 15 w 26"/>
                <a:gd name="T75" fmla="*/ 20 h 32"/>
                <a:gd name="T76" fmla="*/ 15 w 26"/>
                <a:gd name="T77" fmla="*/ 19 h 32"/>
                <a:gd name="T78" fmla="*/ 14 w 26"/>
                <a:gd name="T79" fmla="*/ 18 h 32"/>
                <a:gd name="T80" fmla="*/ 15 w 26"/>
                <a:gd name="T81" fmla="*/ 17 h 32"/>
                <a:gd name="T82" fmla="*/ 16 w 26"/>
                <a:gd name="T83" fmla="*/ 17 h 32"/>
                <a:gd name="T84" fmla="*/ 16 w 26"/>
                <a:gd name="T85" fmla="*/ 14 h 32"/>
                <a:gd name="T86" fmla="*/ 16 w 26"/>
                <a:gd name="T87" fmla="*/ 11 h 32"/>
                <a:gd name="T88" fmla="*/ 17 w 26"/>
                <a:gd name="T89" fmla="*/ 11 h 32"/>
                <a:gd name="T90" fmla="*/ 18 w 26"/>
                <a:gd name="T91" fmla="*/ 12 h 32"/>
                <a:gd name="T92" fmla="*/ 19 w 26"/>
                <a:gd name="T93" fmla="*/ 14 h 32"/>
                <a:gd name="T94" fmla="*/ 19 w 26"/>
                <a:gd name="T95" fmla="*/ 15 h 32"/>
                <a:gd name="T96" fmla="*/ 21 w 26"/>
                <a:gd name="T97" fmla="*/ 14 h 32"/>
                <a:gd name="T98" fmla="*/ 17 w 26"/>
                <a:gd name="T99"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 h="32">
                  <a:moveTo>
                    <a:pt x="18" y="25"/>
                  </a:moveTo>
                  <a:cubicBezTo>
                    <a:pt x="18" y="25"/>
                    <a:pt x="18" y="25"/>
                    <a:pt x="18" y="25"/>
                  </a:cubicBezTo>
                  <a:cubicBezTo>
                    <a:pt x="18" y="25"/>
                    <a:pt x="18" y="25"/>
                    <a:pt x="18" y="25"/>
                  </a:cubicBezTo>
                  <a:cubicBezTo>
                    <a:pt x="18" y="24"/>
                    <a:pt x="18" y="24"/>
                    <a:pt x="18" y="24"/>
                  </a:cubicBezTo>
                  <a:cubicBezTo>
                    <a:pt x="19" y="24"/>
                    <a:pt x="19" y="24"/>
                    <a:pt x="19" y="24"/>
                  </a:cubicBezTo>
                  <a:cubicBezTo>
                    <a:pt x="19" y="23"/>
                    <a:pt x="19" y="23"/>
                    <a:pt x="19" y="23"/>
                  </a:cubicBezTo>
                  <a:cubicBezTo>
                    <a:pt x="19" y="23"/>
                    <a:pt x="19" y="22"/>
                    <a:pt x="19" y="22"/>
                  </a:cubicBezTo>
                  <a:cubicBezTo>
                    <a:pt x="19" y="22"/>
                    <a:pt x="19" y="21"/>
                    <a:pt x="19" y="21"/>
                  </a:cubicBezTo>
                  <a:cubicBezTo>
                    <a:pt x="19" y="21"/>
                    <a:pt x="19" y="21"/>
                    <a:pt x="19" y="20"/>
                  </a:cubicBezTo>
                  <a:cubicBezTo>
                    <a:pt x="20" y="20"/>
                    <a:pt x="20" y="20"/>
                    <a:pt x="20" y="20"/>
                  </a:cubicBezTo>
                  <a:cubicBezTo>
                    <a:pt x="20" y="19"/>
                    <a:pt x="21" y="19"/>
                    <a:pt x="21" y="20"/>
                  </a:cubicBezTo>
                  <a:cubicBezTo>
                    <a:pt x="21" y="21"/>
                    <a:pt x="21" y="21"/>
                    <a:pt x="21" y="22"/>
                  </a:cubicBezTo>
                  <a:cubicBezTo>
                    <a:pt x="21" y="23"/>
                    <a:pt x="21" y="24"/>
                    <a:pt x="21" y="24"/>
                  </a:cubicBezTo>
                  <a:cubicBezTo>
                    <a:pt x="21" y="25"/>
                    <a:pt x="21" y="25"/>
                    <a:pt x="20" y="25"/>
                  </a:cubicBezTo>
                  <a:cubicBezTo>
                    <a:pt x="20" y="25"/>
                    <a:pt x="20" y="25"/>
                    <a:pt x="20" y="25"/>
                  </a:cubicBezTo>
                  <a:cubicBezTo>
                    <a:pt x="20" y="26"/>
                    <a:pt x="19" y="26"/>
                    <a:pt x="19" y="26"/>
                  </a:cubicBezTo>
                  <a:cubicBezTo>
                    <a:pt x="19" y="26"/>
                    <a:pt x="19" y="26"/>
                    <a:pt x="19" y="26"/>
                  </a:cubicBezTo>
                  <a:cubicBezTo>
                    <a:pt x="19" y="26"/>
                    <a:pt x="18" y="26"/>
                    <a:pt x="18" y="26"/>
                  </a:cubicBezTo>
                  <a:cubicBezTo>
                    <a:pt x="18" y="26"/>
                    <a:pt x="18" y="26"/>
                    <a:pt x="18" y="25"/>
                  </a:cubicBezTo>
                  <a:close/>
                  <a:moveTo>
                    <a:pt x="17" y="25"/>
                  </a:moveTo>
                  <a:cubicBezTo>
                    <a:pt x="17" y="25"/>
                    <a:pt x="17" y="25"/>
                    <a:pt x="17" y="25"/>
                  </a:cubicBezTo>
                  <a:cubicBezTo>
                    <a:pt x="17" y="24"/>
                    <a:pt x="17" y="24"/>
                    <a:pt x="17" y="24"/>
                  </a:cubicBezTo>
                  <a:cubicBezTo>
                    <a:pt x="17" y="23"/>
                    <a:pt x="17" y="23"/>
                    <a:pt x="17" y="22"/>
                  </a:cubicBezTo>
                  <a:cubicBezTo>
                    <a:pt x="17" y="22"/>
                    <a:pt x="16" y="23"/>
                    <a:pt x="16" y="23"/>
                  </a:cubicBezTo>
                  <a:cubicBezTo>
                    <a:pt x="16" y="23"/>
                    <a:pt x="16" y="23"/>
                    <a:pt x="16" y="23"/>
                  </a:cubicBezTo>
                  <a:cubicBezTo>
                    <a:pt x="16" y="23"/>
                    <a:pt x="16" y="24"/>
                    <a:pt x="16" y="24"/>
                  </a:cubicBezTo>
                  <a:cubicBezTo>
                    <a:pt x="16" y="24"/>
                    <a:pt x="16" y="24"/>
                    <a:pt x="16" y="25"/>
                  </a:cubicBezTo>
                  <a:cubicBezTo>
                    <a:pt x="16" y="25"/>
                    <a:pt x="16" y="25"/>
                    <a:pt x="17" y="25"/>
                  </a:cubicBezTo>
                  <a:close/>
                  <a:moveTo>
                    <a:pt x="24" y="17"/>
                  </a:moveTo>
                  <a:cubicBezTo>
                    <a:pt x="23" y="16"/>
                    <a:pt x="23" y="16"/>
                    <a:pt x="23" y="16"/>
                  </a:cubicBezTo>
                  <a:cubicBezTo>
                    <a:pt x="23" y="16"/>
                    <a:pt x="23" y="16"/>
                    <a:pt x="23" y="17"/>
                  </a:cubicBezTo>
                  <a:cubicBezTo>
                    <a:pt x="23" y="17"/>
                    <a:pt x="23" y="17"/>
                    <a:pt x="23" y="17"/>
                  </a:cubicBezTo>
                  <a:cubicBezTo>
                    <a:pt x="22" y="17"/>
                    <a:pt x="22" y="17"/>
                    <a:pt x="22" y="17"/>
                  </a:cubicBezTo>
                  <a:cubicBezTo>
                    <a:pt x="22" y="18"/>
                    <a:pt x="22" y="18"/>
                    <a:pt x="22" y="18"/>
                  </a:cubicBezTo>
                  <a:cubicBezTo>
                    <a:pt x="22" y="18"/>
                    <a:pt x="21" y="18"/>
                    <a:pt x="21" y="19"/>
                  </a:cubicBezTo>
                  <a:cubicBezTo>
                    <a:pt x="21" y="19"/>
                    <a:pt x="21" y="19"/>
                    <a:pt x="21" y="20"/>
                  </a:cubicBezTo>
                  <a:cubicBezTo>
                    <a:pt x="22" y="20"/>
                    <a:pt x="22" y="20"/>
                    <a:pt x="22" y="20"/>
                  </a:cubicBezTo>
                  <a:cubicBezTo>
                    <a:pt x="22" y="20"/>
                    <a:pt x="22" y="20"/>
                    <a:pt x="22" y="21"/>
                  </a:cubicBezTo>
                  <a:cubicBezTo>
                    <a:pt x="22" y="21"/>
                    <a:pt x="22" y="21"/>
                    <a:pt x="22" y="22"/>
                  </a:cubicBezTo>
                  <a:cubicBezTo>
                    <a:pt x="23" y="22"/>
                    <a:pt x="23" y="23"/>
                    <a:pt x="23" y="23"/>
                  </a:cubicBezTo>
                  <a:cubicBezTo>
                    <a:pt x="23" y="24"/>
                    <a:pt x="23" y="24"/>
                    <a:pt x="23" y="25"/>
                  </a:cubicBezTo>
                  <a:cubicBezTo>
                    <a:pt x="23" y="25"/>
                    <a:pt x="23" y="26"/>
                    <a:pt x="23" y="26"/>
                  </a:cubicBezTo>
                  <a:cubicBezTo>
                    <a:pt x="23" y="26"/>
                    <a:pt x="24" y="26"/>
                    <a:pt x="24" y="26"/>
                  </a:cubicBezTo>
                  <a:cubicBezTo>
                    <a:pt x="24" y="26"/>
                    <a:pt x="24" y="25"/>
                    <a:pt x="24" y="25"/>
                  </a:cubicBezTo>
                  <a:cubicBezTo>
                    <a:pt x="24" y="25"/>
                    <a:pt x="25" y="25"/>
                    <a:pt x="25" y="25"/>
                  </a:cubicBezTo>
                  <a:cubicBezTo>
                    <a:pt x="25" y="24"/>
                    <a:pt x="26" y="25"/>
                    <a:pt x="26" y="25"/>
                  </a:cubicBezTo>
                  <a:cubicBezTo>
                    <a:pt x="26" y="23"/>
                    <a:pt x="25" y="19"/>
                    <a:pt x="25" y="19"/>
                  </a:cubicBezTo>
                  <a:cubicBezTo>
                    <a:pt x="25" y="19"/>
                    <a:pt x="24" y="17"/>
                    <a:pt x="24" y="17"/>
                  </a:cubicBezTo>
                  <a:close/>
                  <a:moveTo>
                    <a:pt x="17" y="6"/>
                  </a:moveTo>
                  <a:cubicBezTo>
                    <a:pt x="17" y="6"/>
                    <a:pt x="16" y="5"/>
                    <a:pt x="16" y="4"/>
                  </a:cubicBezTo>
                  <a:cubicBezTo>
                    <a:pt x="16" y="4"/>
                    <a:pt x="16" y="0"/>
                    <a:pt x="16" y="0"/>
                  </a:cubicBezTo>
                  <a:cubicBezTo>
                    <a:pt x="1" y="0"/>
                    <a:pt x="1" y="0"/>
                    <a:pt x="1" y="0"/>
                  </a:cubicBezTo>
                  <a:cubicBezTo>
                    <a:pt x="1" y="26"/>
                    <a:pt x="1" y="26"/>
                    <a:pt x="1" y="26"/>
                  </a:cubicBezTo>
                  <a:cubicBezTo>
                    <a:pt x="0" y="30"/>
                    <a:pt x="0" y="30"/>
                    <a:pt x="0" y="30"/>
                  </a:cubicBezTo>
                  <a:cubicBezTo>
                    <a:pt x="0" y="32"/>
                    <a:pt x="0" y="32"/>
                    <a:pt x="0" y="32"/>
                  </a:cubicBezTo>
                  <a:cubicBezTo>
                    <a:pt x="1" y="32"/>
                    <a:pt x="2" y="32"/>
                    <a:pt x="3" y="32"/>
                  </a:cubicBezTo>
                  <a:cubicBezTo>
                    <a:pt x="3" y="32"/>
                    <a:pt x="3" y="32"/>
                    <a:pt x="4" y="32"/>
                  </a:cubicBezTo>
                  <a:cubicBezTo>
                    <a:pt x="4" y="31"/>
                    <a:pt x="4" y="31"/>
                    <a:pt x="4" y="31"/>
                  </a:cubicBezTo>
                  <a:cubicBezTo>
                    <a:pt x="5" y="31"/>
                    <a:pt x="6" y="31"/>
                    <a:pt x="6" y="31"/>
                  </a:cubicBezTo>
                  <a:cubicBezTo>
                    <a:pt x="6" y="31"/>
                    <a:pt x="7" y="31"/>
                    <a:pt x="7" y="31"/>
                  </a:cubicBezTo>
                  <a:cubicBezTo>
                    <a:pt x="7" y="31"/>
                    <a:pt x="7" y="31"/>
                    <a:pt x="8" y="31"/>
                  </a:cubicBezTo>
                  <a:cubicBezTo>
                    <a:pt x="8" y="30"/>
                    <a:pt x="8" y="30"/>
                    <a:pt x="9" y="30"/>
                  </a:cubicBezTo>
                  <a:cubicBezTo>
                    <a:pt x="9" y="31"/>
                    <a:pt x="10" y="31"/>
                    <a:pt x="10" y="31"/>
                  </a:cubicBezTo>
                  <a:cubicBezTo>
                    <a:pt x="11" y="31"/>
                    <a:pt x="11" y="31"/>
                    <a:pt x="12" y="30"/>
                  </a:cubicBezTo>
                  <a:cubicBezTo>
                    <a:pt x="12" y="30"/>
                    <a:pt x="12" y="30"/>
                    <a:pt x="12" y="30"/>
                  </a:cubicBezTo>
                  <a:cubicBezTo>
                    <a:pt x="12" y="30"/>
                    <a:pt x="12" y="29"/>
                    <a:pt x="13" y="29"/>
                  </a:cubicBezTo>
                  <a:cubicBezTo>
                    <a:pt x="13" y="29"/>
                    <a:pt x="13" y="29"/>
                    <a:pt x="14" y="28"/>
                  </a:cubicBezTo>
                  <a:cubicBezTo>
                    <a:pt x="14" y="28"/>
                    <a:pt x="14" y="27"/>
                    <a:pt x="14" y="27"/>
                  </a:cubicBezTo>
                  <a:cubicBezTo>
                    <a:pt x="14" y="27"/>
                    <a:pt x="14" y="26"/>
                    <a:pt x="14" y="25"/>
                  </a:cubicBezTo>
                  <a:cubicBezTo>
                    <a:pt x="14" y="25"/>
                    <a:pt x="14" y="25"/>
                    <a:pt x="14" y="25"/>
                  </a:cubicBezTo>
                  <a:cubicBezTo>
                    <a:pt x="14" y="25"/>
                    <a:pt x="14" y="25"/>
                    <a:pt x="15" y="24"/>
                  </a:cubicBezTo>
                  <a:cubicBezTo>
                    <a:pt x="15" y="24"/>
                    <a:pt x="15" y="24"/>
                    <a:pt x="15" y="23"/>
                  </a:cubicBezTo>
                  <a:cubicBezTo>
                    <a:pt x="15" y="23"/>
                    <a:pt x="15" y="23"/>
                    <a:pt x="15" y="22"/>
                  </a:cubicBezTo>
                  <a:cubicBezTo>
                    <a:pt x="15" y="22"/>
                    <a:pt x="15" y="22"/>
                    <a:pt x="15" y="21"/>
                  </a:cubicBezTo>
                  <a:cubicBezTo>
                    <a:pt x="16" y="21"/>
                    <a:pt x="16" y="21"/>
                    <a:pt x="16" y="21"/>
                  </a:cubicBezTo>
                  <a:cubicBezTo>
                    <a:pt x="16" y="20"/>
                    <a:pt x="16" y="20"/>
                    <a:pt x="15" y="20"/>
                  </a:cubicBezTo>
                  <a:cubicBezTo>
                    <a:pt x="15" y="20"/>
                    <a:pt x="15" y="20"/>
                    <a:pt x="15" y="19"/>
                  </a:cubicBezTo>
                  <a:cubicBezTo>
                    <a:pt x="15" y="19"/>
                    <a:pt x="15" y="19"/>
                    <a:pt x="15" y="19"/>
                  </a:cubicBezTo>
                  <a:cubicBezTo>
                    <a:pt x="14" y="18"/>
                    <a:pt x="14" y="18"/>
                    <a:pt x="14" y="18"/>
                  </a:cubicBezTo>
                  <a:cubicBezTo>
                    <a:pt x="14" y="18"/>
                    <a:pt x="14" y="18"/>
                    <a:pt x="14" y="18"/>
                  </a:cubicBezTo>
                  <a:cubicBezTo>
                    <a:pt x="14" y="17"/>
                    <a:pt x="14" y="17"/>
                    <a:pt x="14" y="17"/>
                  </a:cubicBezTo>
                  <a:cubicBezTo>
                    <a:pt x="14" y="17"/>
                    <a:pt x="15" y="17"/>
                    <a:pt x="15" y="17"/>
                  </a:cubicBezTo>
                  <a:cubicBezTo>
                    <a:pt x="15" y="17"/>
                    <a:pt x="15" y="17"/>
                    <a:pt x="16" y="17"/>
                  </a:cubicBezTo>
                  <a:cubicBezTo>
                    <a:pt x="16" y="17"/>
                    <a:pt x="16" y="17"/>
                    <a:pt x="16" y="17"/>
                  </a:cubicBezTo>
                  <a:cubicBezTo>
                    <a:pt x="16" y="16"/>
                    <a:pt x="16" y="16"/>
                    <a:pt x="16" y="16"/>
                  </a:cubicBezTo>
                  <a:cubicBezTo>
                    <a:pt x="16" y="15"/>
                    <a:pt x="16" y="15"/>
                    <a:pt x="16" y="14"/>
                  </a:cubicBezTo>
                  <a:cubicBezTo>
                    <a:pt x="16" y="14"/>
                    <a:pt x="16" y="13"/>
                    <a:pt x="16" y="12"/>
                  </a:cubicBezTo>
                  <a:cubicBezTo>
                    <a:pt x="16" y="12"/>
                    <a:pt x="16" y="12"/>
                    <a:pt x="16" y="11"/>
                  </a:cubicBezTo>
                  <a:cubicBezTo>
                    <a:pt x="16" y="11"/>
                    <a:pt x="16" y="11"/>
                    <a:pt x="17" y="11"/>
                  </a:cubicBezTo>
                  <a:cubicBezTo>
                    <a:pt x="17" y="11"/>
                    <a:pt x="17" y="11"/>
                    <a:pt x="17" y="11"/>
                  </a:cubicBezTo>
                  <a:cubicBezTo>
                    <a:pt x="17" y="11"/>
                    <a:pt x="17" y="12"/>
                    <a:pt x="17" y="12"/>
                  </a:cubicBezTo>
                  <a:cubicBezTo>
                    <a:pt x="17" y="12"/>
                    <a:pt x="17" y="12"/>
                    <a:pt x="18" y="12"/>
                  </a:cubicBezTo>
                  <a:cubicBezTo>
                    <a:pt x="18" y="13"/>
                    <a:pt x="18" y="13"/>
                    <a:pt x="18" y="13"/>
                  </a:cubicBezTo>
                  <a:cubicBezTo>
                    <a:pt x="18" y="13"/>
                    <a:pt x="19" y="14"/>
                    <a:pt x="19" y="14"/>
                  </a:cubicBezTo>
                  <a:cubicBezTo>
                    <a:pt x="19" y="14"/>
                    <a:pt x="19" y="14"/>
                    <a:pt x="19" y="14"/>
                  </a:cubicBezTo>
                  <a:cubicBezTo>
                    <a:pt x="19" y="14"/>
                    <a:pt x="19" y="14"/>
                    <a:pt x="19" y="15"/>
                  </a:cubicBezTo>
                  <a:cubicBezTo>
                    <a:pt x="19" y="15"/>
                    <a:pt x="20" y="15"/>
                    <a:pt x="20" y="15"/>
                  </a:cubicBezTo>
                  <a:cubicBezTo>
                    <a:pt x="20" y="15"/>
                    <a:pt x="21" y="15"/>
                    <a:pt x="21" y="14"/>
                  </a:cubicBezTo>
                  <a:cubicBezTo>
                    <a:pt x="21" y="14"/>
                    <a:pt x="21" y="14"/>
                    <a:pt x="21" y="14"/>
                  </a:cubicBezTo>
                  <a:cubicBezTo>
                    <a:pt x="17" y="9"/>
                    <a:pt x="17" y="9"/>
                    <a:pt x="17" y="9"/>
                  </a:cubicBezTo>
                  <a:cubicBezTo>
                    <a:pt x="17" y="9"/>
                    <a:pt x="17" y="6"/>
                    <a:pt x="17" y="6"/>
                  </a:cubicBez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7" name="Freeform 20">
              <a:extLst>
                <a:ext uri="{FF2B5EF4-FFF2-40B4-BE49-F238E27FC236}">
                  <a16:creationId xmlns:a16="http://schemas.microsoft.com/office/drawing/2014/main" id="{5A68132B-1194-C40C-84A3-5AF3CB5576B6}"/>
                </a:ext>
              </a:extLst>
            </p:cNvPr>
            <p:cNvSpPr>
              <a:spLocks/>
            </p:cNvSpPr>
            <p:nvPr/>
          </p:nvSpPr>
          <p:spPr bwMode="auto">
            <a:xfrm>
              <a:off x="8568485" y="2281620"/>
              <a:ext cx="796362" cy="459313"/>
            </a:xfrm>
            <a:custGeom>
              <a:avLst/>
              <a:gdLst>
                <a:gd name="T0" fmla="*/ 191 w 201"/>
                <a:gd name="T1" fmla="*/ 85 h 116"/>
                <a:gd name="T2" fmla="*/ 188 w 201"/>
                <a:gd name="T3" fmla="*/ 79 h 116"/>
                <a:gd name="T4" fmla="*/ 183 w 201"/>
                <a:gd name="T5" fmla="*/ 77 h 116"/>
                <a:gd name="T6" fmla="*/ 186 w 201"/>
                <a:gd name="T7" fmla="*/ 67 h 116"/>
                <a:gd name="T8" fmla="*/ 188 w 201"/>
                <a:gd name="T9" fmla="*/ 64 h 116"/>
                <a:gd name="T10" fmla="*/ 186 w 201"/>
                <a:gd name="T11" fmla="*/ 58 h 116"/>
                <a:gd name="T12" fmla="*/ 191 w 201"/>
                <a:gd name="T13" fmla="*/ 52 h 116"/>
                <a:gd name="T14" fmla="*/ 196 w 201"/>
                <a:gd name="T15" fmla="*/ 45 h 116"/>
                <a:gd name="T16" fmla="*/ 201 w 201"/>
                <a:gd name="T17" fmla="*/ 41 h 116"/>
                <a:gd name="T18" fmla="*/ 199 w 201"/>
                <a:gd name="T19" fmla="*/ 39 h 116"/>
                <a:gd name="T20" fmla="*/ 194 w 201"/>
                <a:gd name="T21" fmla="*/ 38 h 116"/>
                <a:gd name="T22" fmla="*/ 193 w 201"/>
                <a:gd name="T23" fmla="*/ 36 h 116"/>
                <a:gd name="T24" fmla="*/ 188 w 201"/>
                <a:gd name="T25" fmla="*/ 30 h 116"/>
                <a:gd name="T26" fmla="*/ 189 w 201"/>
                <a:gd name="T27" fmla="*/ 29 h 116"/>
                <a:gd name="T28" fmla="*/ 188 w 201"/>
                <a:gd name="T29" fmla="*/ 26 h 116"/>
                <a:gd name="T30" fmla="*/ 187 w 201"/>
                <a:gd name="T31" fmla="*/ 23 h 116"/>
                <a:gd name="T32" fmla="*/ 188 w 201"/>
                <a:gd name="T33" fmla="*/ 20 h 116"/>
                <a:gd name="T34" fmla="*/ 182 w 201"/>
                <a:gd name="T35" fmla="*/ 18 h 116"/>
                <a:gd name="T36" fmla="*/ 180 w 201"/>
                <a:gd name="T37" fmla="*/ 14 h 116"/>
                <a:gd name="T38" fmla="*/ 26 w 201"/>
                <a:gd name="T39" fmla="*/ 12 h 116"/>
                <a:gd name="T40" fmla="*/ 24 w 201"/>
                <a:gd name="T41" fmla="*/ 1 h 116"/>
                <a:gd name="T42" fmla="*/ 18 w 201"/>
                <a:gd name="T43" fmla="*/ 4 h 116"/>
                <a:gd name="T44" fmla="*/ 14 w 201"/>
                <a:gd name="T45" fmla="*/ 6 h 116"/>
                <a:gd name="T46" fmla="*/ 12 w 201"/>
                <a:gd name="T47" fmla="*/ 6 h 116"/>
                <a:gd name="T48" fmla="*/ 9 w 201"/>
                <a:gd name="T49" fmla="*/ 9 h 116"/>
                <a:gd name="T50" fmla="*/ 6 w 201"/>
                <a:gd name="T51" fmla="*/ 10 h 116"/>
                <a:gd name="T52" fmla="*/ 1 w 201"/>
                <a:gd name="T53" fmla="*/ 13 h 116"/>
                <a:gd name="T54" fmla="*/ 0 w 201"/>
                <a:gd name="T55" fmla="*/ 116 h 116"/>
                <a:gd name="T56" fmla="*/ 169 w 201"/>
                <a:gd name="T57" fmla="*/ 111 h 116"/>
                <a:gd name="T58" fmla="*/ 179 w 201"/>
                <a:gd name="T59" fmla="*/ 110 h 116"/>
                <a:gd name="T60" fmla="*/ 182 w 201"/>
                <a:gd name="T61" fmla="*/ 109 h 116"/>
                <a:gd name="T62" fmla="*/ 185 w 201"/>
                <a:gd name="T63" fmla="*/ 109 h 116"/>
                <a:gd name="T64" fmla="*/ 195 w 201"/>
                <a:gd name="T65" fmla="*/ 99 h 116"/>
                <a:gd name="T66" fmla="*/ 199 w 201"/>
                <a:gd name="T67" fmla="*/ 95 h 116"/>
                <a:gd name="T68" fmla="*/ 192 w 201"/>
                <a:gd name="T69" fmla="*/ 8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1" h="116">
                  <a:moveTo>
                    <a:pt x="192" y="88"/>
                  </a:moveTo>
                  <a:cubicBezTo>
                    <a:pt x="191" y="85"/>
                    <a:pt x="191" y="85"/>
                    <a:pt x="191" y="85"/>
                  </a:cubicBezTo>
                  <a:cubicBezTo>
                    <a:pt x="187" y="84"/>
                    <a:pt x="187" y="84"/>
                    <a:pt x="187" y="84"/>
                  </a:cubicBezTo>
                  <a:cubicBezTo>
                    <a:pt x="188" y="79"/>
                    <a:pt x="188" y="79"/>
                    <a:pt x="188" y="79"/>
                  </a:cubicBezTo>
                  <a:cubicBezTo>
                    <a:pt x="186" y="77"/>
                    <a:pt x="186" y="77"/>
                    <a:pt x="186" y="77"/>
                  </a:cubicBezTo>
                  <a:cubicBezTo>
                    <a:pt x="183" y="77"/>
                    <a:pt x="183" y="77"/>
                    <a:pt x="183" y="77"/>
                  </a:cubicBezTo>
                  <a:cubicBezTo>
                    <a:pt x="183" y="69"/>
                    <a:pt x="183" y="69"/>
                    <a:pt x="183" y="69"/>
                  </a:cubicBezTo>
                  <a:cubicBezTo>
                    <a:pt x="186" y="67"/>
                    <a:pt x="186" y="67"/>
                    <a:pt x="186" y="67"/>
                  </a:cubicBezTo>
                  <a:cubicBezTo>
                    <a:pt x="187" y="65"/>
                    <a:pt x="187" y="65"/>
                    <a:pt x="187" y="65"/>
                  </a:cubicBezTo>
                  <a:cubicBezTo>
                    <a:pt x="188" y="64"/>
                    <a:pt x="188" y="64"/>
                    <a:pt x="188" y="64"/>
                  </a:cubicBezTo>
                  <a:cubicBezTo>
                    <a:pt x="186" y="61"/>
                    <a:pt x="186" y="61"/>
                    <a:pt x="186" y="61"/>
                  </a:cubicBezTo>
                  <a:cubicBezTo>
                    <a:pt x="186" y="58"/>
                    <a:pt x="186" y="58"/>
                    <a:pt x="186" y="58"/>
                  </a:cubicBezTo>
                  <a:cubicBezTo>
                    <a:pt x="191" y="54"/>
                    <a:pt x="191" y="54"/>
                    <a:pt x="191" y="54"/>
                  </a:cubicBezTo>
                  <a:cubicBezTo>
                    <a:pt x="191" y="52"/>
                    <a:pt x="191" y="52"/>
                    <a:pt x="191" y="52"/>
                  </a:cubicBezTo>
                  <a:cubicBezTo>
                    <a:pt x="194" y="50"/>
                    <a:pt x="194" y="50"/>
                    <a:pt x="194" y="50"/>
                  </a:cubicBezTo>
                  <a:cubicBezTo>
                    <a:pt x="196" y="45"/>
                    <a:pt x="196" y="45"/>
                    <a:pt x="196" y="45"/>
                  </a:cubicBezTo>
                  <a:cubicBezTo>
                    <a:pt x="197" y="43"/>
                    <a:pt x="197" y="43"/>
                    <a:pt x="197" y="43"/>
                  </a:cubicBezTo>
                  <a:cubicBezTo>
                    <a:pt x="201" y="41"/>
                    <a:pt x="201" y="41"/>
                    <a:pt x="201" y="41"/>
                  </a:cubicBezTo>
                  <a:cubicBezTo>
                    <a:pt x="200" y="41"/>
                    <a:pt x="200" y="41"/>
                    <a:pt x="200" y="41"/>
                  </a:cubicBezTo>
                  <a:cubicBezTo>
                    <a:pt x="200" y="41"/>
                    <a:pt x="199" y="39"/>
                    <a:pt x="199" y="39"/>
                  </a:cubicBezTo>
                  <a:cubicBezTo>
                    <a:pt x="199" y="38"/>
                    <a:pt x="198" y="38"/>
                    <a:pt x="198" y="38"/>
                  </a:cubicBezTo>
                  <a:cubicBezTo>
                    <a:pt x="197" y="38"/>
                    <a:pt x="195" y="38"/>
                    <a:pt x="194" y="38"/>
                  </a:cubicBezTo>
                  <a:cubicBezTo>
                    <a:pt x="193" y="38"/>
                    <a:pt x="193" y="37"/>
                    <a:pt x="193" y="37"/>
                  </a:cubicBezTo>
                  <a:cubicBezTo>
                    <a:pt x="193" y="37"/>
                    <a:pt x="193" y="36"/>
                    <a:pt x="193" y="36"/>
                  </a:cubicBezTo>
                  <a:cubicBezTo>
                    <a:pt x="192" y="36"/>
                    <a:pt x="191" y="36"/>
                    <a:pt x="190" y="36"/>
                  </a:cubicBezTo>
                  <a:cubicBezTo>
                    <a:pt x="190" y="36"/>
                    <a:pt x="188" y="30"/>
                    <a:pt x="188" y="30"/>
                  </a:cubicBezTo>
                  <a:cubicBezTo>
                    <a:pt x="188" y="30"/>
                    <a:pt x="188" y="30"/>
                    <a:pt x="188" y="30"/>
                  </a:cubicBezTo>
                  <a:cubicBezTo>
                    <a:pt x="189" y="30"/>
                    <a:pt x="189" y="29"/>
                    <a:pt x="189" y="29"/>
                  </a:cubicBezTo>
                  <a:cubicBezTo>
                    <a:pt x="189" y="29"/>
                    <a:pt x="188" y="28"/>
                    <a:pt x="188" y="27"/>
                  </a:cubicBezTo>
                  <a:cubicBezTo>
                    <a:pt x="188" y="27"/>
                    <a:pt x="188" y="26"/>
                    <a:pt x="188" y="26"/>
                  </a:cubicBezTo>
                  <a:cubicBezTo>
                    <a:pt x="188" y="26"/>
                    <a:pt x="188" y="24"/>
                    <a:pt x="188" y="24"/>
                  </a:cubicBezTo>
                  <a:cubicBezTo>
                    <a:pt x="188" y="23"/>
                    <a:pt x="187" y="23"/>
                    <a:pt x="187" y="23"/>
                  </a:cubicBezTo>
                  <a:cubicBezTo>
                    <a:pt x="187" y="22"/>
                    <a:pt x="187" y="22"/>
                    <a:pt x="187" y="22"/>
                  </a:cubicBezTo>
                  <a:cubicBezTo>
                    <a:pt x="187" y="22"/>
                    <a:pt x="188" y="20"/>
                    <a:pt x="188" y="20"/>
                  </a:cubicBezTo>
                  <a:cubicBezTo>
                    <a:pt x="188" y="20"/>
                    <a:pt x="184" y="18"/>
                    <a:pt x="184" y="18"/>
                  </a:cubicBezTo>
                  <a:cubicBezTo>
                    <a:pt x="184" y="17"/>
                    <a:pt x="183" y="18"/>
                    <a:pt x="182" y="18"/>
                  </a:cubicBezTo>
                  <a:cubicBezTo>
                    <a:pt x="182" y="18"/>
                    <a:pt x="181" y="18"/>
                    <a:pt x="181" y="18"/>
                  </a:cubicBezTo>
                  <a:cubicBezTo>
                    <a:pt x="181" y="18"/>
                    <a:pt x="180" y="15"/>
                    <a:pt x="180" y="14"/>
                  </a:cubicBezTo>
                  <a:cubicBezTo>
                    <a:pt x="180" y="14"/>
                    <a:pt x="178" y="12"/>
                    <a:pt x="178" y="12"/>
                  </a:cubicBezTo>
                  <a:cubicBezTo>
                    <a:pt x="26" y="12"/>
                    <a:pt x="26" y="12"/>
                    <a:pt x="26" y="12"/>
                  </a:cubicBezTo>
                  <a:cubicBezTo>
                    <a:pt x="26" y="0"/>
                    <a:pt x="26" y="0"/>
                    <a:pt x="26" y="0"/>
                  </a:cubicBezTo>
                  <a:cubicBezTo>
                    <a:pt x="25" y="0"/>
                    <a:pt x="25" y="1"/>
                    <a:pt x="24" y="1"/>
                  </a:cubicBezTo>
                  <a:cubicBezTo>
                    <a:pt x="23" y="1"/>
                    <a:pt x="23" y="2"/>
                    <a:pt x="22" y="2"/>
                  </a:cubicBezTo>
                  <a:cubicBezTo>
                    <a:pt x="20" y="3"/>
                    <a:pt x="19" y="3"/>
                    <a:pt x="18" y="4"/>
                  </a:cubicBezTo>
                  <a:cubicBezTo>
                    <a:pt x="17" y="5"/>
                    <a:pt x="16" y="5"/>
                    <a:pt x="15" y="6"/>
                  </a:cubicBezTo>
                  <a:cubicBezTo>
                    <a:pt x="15" y="6"/>
                    <a:pt x="14" y="6"/>
                    <a:pt x="14" y="6"/>
                  </a:cubicBezTo>
                  <a:cubicBezTo>
                    <a:pt x="13" y="6"/>
                    <a:pt x="14" y="5"/>
                    <a:pt x="14" y="5"/>
                  </a:cubicBezTo>
                  <a:cubicBezTo>
                    <a:pt x="13" y="5"/>
                    <a:pt x="12" y="6"/>
                    <a:pt x="12" y="6"/>
                  </a:cubicBezTo>
                  <a:cubicBezTo>
                    <a:pt x="11" y="7"/>
                    <a:pt x="11" y="7"/>
                    <a:pt x="11" y="7"/>
                  </a:cubicBezTo>
                  <a:cubicBezTo>
                    <a:pt x="10" y="8"/>
                    <a:pt x="10" y="8"/>
                    <a:pt x="9" y="9"/>
                  </a:cubicBezTo>
                  <a:cubicBezTo>
                    <a:pt x="9" y="9"/>
                    <a:pt x="8" y="9"/>
                    <a:pt x="8" y="10"/>
                  </a:cubicBezTo>
                  <a:cubicBezTo>
                    <a:pt x="7" y="10"/>
                    <a:pt x="7" y="10"/>
                    <a:pt x="6" y="10"/>
                  </a:cubicBezTo>
                  <a:cubicBezTo>
                    <a:pt x="5" y="11"/>
                    <a:pt x="5" y="11"/>
                    <a:pt x="4" y="12"/>
                  </a:cubicBezTo>
                  <a:cubicBezTo>
                    <a:pt x="3" y="12"/>
                    <a:pt x="2" y="13"/>
                    <a:pt x="1" y="13"/>
                  </a:cubicBezTo>
                  <a:cubicBezTo>
                    <a:pt x="1" y="13"/>
                    <a:pt x="0" y="13"/>
                    <a:pt x="0" y="14"/>
                  </a:cubicBezTo>
                  <a:cubicBezTo>
                    <a:pt x="0" y="116"/>
                    <a:pt x="0" y="116"/>
                    <a:pt x="0" y="116"/>
                  </a:cubicBezTo>
                  <a:cubicBezTo>
                    <a:pt x="163" y="116"/>
                    <a:pt x="163" y="116"/>
                    <a:pt x="163" y="116"/>
                  </a:cubicBezTo>
                  <a:cubicBezTo>
                    <a:pt x="169" y="111"/>
                    <a:pt x="169" y="111"/>
                    <a:pt x="169" y="111"/>
                  </a:cubicBezTo>
                  <a:cubicBezTo>
                    <a:pt x="176" y="112"/>
                    <a:pt x="176" y="112"/>
                    <a:pt x="176" y="112"/>
                  </a:cubicBezTo>
                  <a:cubicBezTo>
                    <a:pt x="176" y="111"/>
                    <a:pt x="178" y="110"/>
                    <a:pt x="179" y="110"/>
                  </a:cubicBezTo>
                  <a:cubicBezTo>
                    <a:pt x="179" y="110"/>
                    <a:pt x="180" y="110"/>
                    <a:pt x="180" y="110"/>
                  </a:cubicBezTo>
                  <a:cubicBezTo>
                    <a:pt x="181" y="110"/>
                    <a:pt x="182" y="109"/>
                    <a:pt x="182" y="109"/>
                  </a:cubicBezTo>
                  <a:cubicBezTo>
                    <a:pt x="183" y="109"/>
                    <a:pt x="183" y="109"/>
                    <a:pt x="184" y="108"/>
                  </a:cubicBezTo>
                  <a:cubicBezTo>
                    <a:pt x="184" y="108"/>
                    <a:pt x="185" y="108"/>
                    <a:pt x="185" y="109"/>
                  </a:cubicBezTo>
                  <a:cubicBezTo>
                    <a:pt x="185" y="105"/>
                    <a:pt x="185" y="105"/>
                    <a:pt x="185" y="105"/>
                  </a:cubicBezTo>
                  <a:cubicBezTo>
                    <a:pt x="195" y="99"/>
                    <a:pt x="195" y="99"/>
                    <a:pt x="195" y="99"/>
                  </a:cubicBezTo>
                  <a:cubicBezTo>
                    <a:pt x="198" y="98"/>
                    <a:pt x="198" y="98"/>
                    <a:pt x="198" y="98"/>
                  </a:cubicBezTo>
                  <a:cubicBezTo>
                    <a:pt x="199" y="95"/>
                    <a:pt x="199" y="95"/>
                    <a:pt x="199" y="95"/>
                  </a:cubicBezTo>
                  <a:cubicBezTo>
                    <a:pt x="198" y="94"/>
                    <a:pt x="198" y="94"/>
                    <a:pt x="198" y="94"/>
                  </a:cubicBezTo>
                  <a:lnTo>
                    <a:pt x="192" y="88"/>
                  </a:lnTo>
                  <a:close/>
                </a:path>
              </a:pathLst>
            </a:custGeom>
            <a:solidFill>
              <a:srgbClr val="C0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8" name="Freeform 21">
              <a:extLst>
                <a:ext uri="{FF2B5EF4-FFF2-40B4-BE49-F238E27FC236}">
                  <a16:creationId xmlns:a16="http://schemas.microsoft.com/office/drawing/2014/main" id="{F55C12DB-FA0F-9956-C50D-FF3FC0A3DF09}"/>
                </a:ext>
              </a:extLst>
            </p:cNvPr>
            <p:cNvSpPr>
              <a:spLocks/>
            </p:cNvSpPr>
            <p:nvPr/>
          </p:nvSpPr>
          <p:spPr bwMode="auto">
            <a:xfrm>
              <a:off x="2542898" y="1524910"/>
              <a:ext cx="1105325" cy="804623"/>
            </a:xfrm>
            <a:custGeom>
              <a:avLst/>
              <a:gdLst>
                <a:gd name="T0" fmla="*/ 262 w 279"/>
                <a:gd name="T1" fmla="*/ 99 h 203"/>
                <a:gd name="T2" fmla="*/ 254 w 279"/>
                <a:gd name="T3" fmla="*/ 94 h 203"/>
                <a:gd name="T4" fmla="*/ 253 w 279"/>
                <a:gd name="T5" fmla="*/ 86 h 203"/>
                <a:gd name="T6" fmla="*/ 262 w 279"/>
                <a:gd name="T7" fmla="*/ 72 h 203"/>
                <a:gd name="T8" fmla="*/ 267 w 279"/>
                <a:gd name="T9" fmla="*/ 61 h 203"/>
                <a:gd name="T10" fmla="*/ 277 w 279"/>
                <a:gd name="T11" fmla="*/ 36 h 203"/>
                <a:gd name="T12" fmla="*/ 277 w 279"/>
                <a:gd name="T13" fmla="*/ 23 h 203"/>
                <a:gd name="T14" fmla="*/ 191 w 279"/>
                <a:gd name="T15" fmla="*/ 11 h 203"/>
                <a:gd name="T16" fmla="*/ 181 w 279"/>
                <a:gd name="T17" fmla="*/ 14 h 203"/>
                <a:gd name="T18" fmla="*/ 173 w 279"/>
                <a:gd name="T19" fmla="*/ 15 h 203"/>
                <a:gd name="T20" fmla="*/ 165 w 279"/>
                <a:gd name="T21" fmla="*/ 19 h 203"/>
                <a:gd name="T22" fmla="*/ 151 w 279"/>
                <a:gd name="T23" fmla="*/ 24 h 203"/>
                <a:gd name="T24" fmla="*/ 137 w 279"/>
                <a:gd name="T25" fmla="*/ 24 h 203"/>
                <a:gd name="T26" fmla="*/ 124 w 279"/>
                <a:gd name="T27" fmla="*/ 28 h 203"/>
                <a:gd name="T28" fmla="*/ 115 w 279"/>
                <a:gd name="T29" fmla="*/ 28 h 203"/>
                <a:gd name="T30" fmla="*/ 109 w 279"/>
                <a:gd name="T31" fmla="*/ 26 h 203"/>
                <a:gd name="T32" fmla="*/ 101 w 279"/>
                <a:gd name="T33" fmla="*/ 26 h 203"/>
                <a:gd name="T34" fmla="*/ 84 w 279"/>
                <a:gd name="T35" fmla="*/ 32 h 203"/>
                <a:gd name="T36" fmla="*/ 69 w 279"/>
                <a:gd name="T37" fmla="*/ 32 h 203"/>
                <a:gd name="T38" fmla="*/ 59 w 279"/>
                <a:gd name="T39" fmla="*/ 12 h 203"/>
                <a:gd name="T40" fmla="*/ 49 w 279"/>
                <a:gd name="T41" fmla="*/ 2 h 203"/>
                <a:gd name="T42" fmla="*/ 40 w 279"/>
                <a:gd name="T43" fmla="*/ 3 h 203"/>
                <a:gd name="T44" fmla="*/ 35 w 279"/>
                <a:gd name="T45" fmla="*/ 1 h 203"/>
                <a:gd name="T46" fmla="*/ 29 w 279"/>
                <a:gd name="T47" fmla="*/ 2 h 203"/>
                <a:gd name="T48" fmla="*/ 24 w 279"/>
                <a:gd name="T49" fmla="*/ 2 h 203"/>
                <a:gd name="T50" fmla="*/ 21 w 279"/>
                <a:gd name="T51" fmla="*/ 6 h 203"/>
                <a:gd name="T52" fmla="*/ 21 w 279"/>
                <a:gd name="T53" fmla="*/ 22 h 203"/>
                <a:gd name="T54" fmla="*/ 22 w 279"/>
                <a:gd name="T55" fmla="*/ 32 h 203"/>
                <a:gd name="T56" fmla="*/ 21 w 279"/>
                <a:gd name="T57" fmla="*/ 37 h 203"/>
                <a:gd name="T58" fmla="*/ 20 w 279"/>
                <a:gd name="T59" fmla="*/ 53 h 203"/>
                <a:gd name="T60" fmla="*/ 19 w 279"/>
                <a:gd name="T61" fmla="*/ 62 h 203"/>
                <a:gd name="T62" fmla="*/ 17 w 279"/>
                <a:gd name="T63" fmla="*/ 81 h 203"/>
                <a:gd name="T64" fmla="*/ 17 w 279"/>
                <a:gd name="T65" fmla="*/ 87 h 203"/>
                <a:gd name="T66" fmla="*/ 16 w 279"/>
                <a:gd name="T67" fmla="*/ 101 h 203"/>
                <a:gd name="T68" fmla="*/ 15 w 279"/>
                <a:gd name="T69" fmla="*/ 108 h 203"/>
                <a:gd name="T70" fmla="*/ 14 w 279"/>
                <a:gd name="T71" fmla="*/ 118 h 203"/>
                <a:gd name="T72" fmla="*/ 15 w 279"/>
                <a:gd name="T73" fmla="*/ 122 h 203"/>
                <a:gd name="T74" fmla="*/ 13 w 279"/>
                <a:gd name="T75" fmla="*/ 124 h 203"/>
                <a:gd name="T76" fmla="*/ 11 w 279"/>
                <a:gd name="T77" fmla="*/ 133 h 203"/>
                <a:gd name="T78" fmla="*/ 7 w 279"/>
                <a:gd name="T79" fmla="*/ 141 h 203"/>
                <a:gd name="T80" fmla="*/ 6 w 279"/>
                <a:gd name="T81" fmla="*/ 144 h 203"/>
                <a:gd name="T82" fmla="*/ 5 w 279"/>
                <a:gd name="T83" fmla="*/ 151 h 203"/>
                <a:gd name="T84" fmla="*/ 3 w 279"/>
                <a:gd name="T85" fmla="*/ 156 h 203"/>
                <a:gd name="T86" fmla="*/ 4 w 279"/>
                <a:gd name="T87" fmla="*/ 160 h 203"/>
                <a:gd name="T88" fmla="*/ 6 w 279"/>
                <a:gd name="T89" fmla="*/ 161 h 203"/>
                <a:gd name="T90" fmla="*/ 0 w 279"/>
                <a:gd name="T91" fmla="*/ 164 h 203"/>
                <a:gd name="T92" fmla="*/ 3 w 279"/>
                <a:gd name="T93" fmla="*/ 170 h 203"/>
                <a:gd name="T94" fmla="*/ 6 w 279"/>
                <a:gd name="T95" fmla="*/ 176 h 203"/>
                <a:gd name="T96" fmla="*/ 5 w 279"/>
                <a:gd name="T97" fmla="*/ 180 h 203"/>
                <a:gd name="T98" fmla="*/ 7 w 279"/>
                <a:gd name="T99" fmla="*/ 196 h 203"/>
                <a:gd name="T100" fmla="*/ 9 w 279"/>
                <a:gd name="T101" fmla="*/ 200 h 203"/>
                <a:gd name="T102" fmla="*/ 260 w 279"/>
                <a:gd name="T103"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9" h="203">
                  <a:moveTo>
                    <a:pt x="262" y="113"/>
                  </a:moveTo>
                  <a:cubicBezTo>
                    <a:pt x="262" y="111"/>
                    <a:pt x="263" y="110"/>
                    <a:pt x="263" y="109"/>
                  </a:cubicBezTo>
                  <a:cubicBezTo>
                    <a:pt x="263" y="107"/>
                    <a:pt x="261" y="106"/>
                    <a:pt x="262" y="104"/>
                  </a:cubicBezTo>
                  <a:cubicBezTo>
                    <a:pt x="263" y="104"/>
                    <a:pt x="265" y="101"/>
                    <a:pt x="264" y="100"/>
                  </a:cubicBezTo>
                  <a:cubicBezTo>
                    <a:pt x="263" y="100"/>
                    <a:pt x="262" y="100"/>
                    <a:pt x="262" y="99"/>
                  </a:cubicBezTo>
                  <a:cubicBezTo>
                    <a:pt x="262" y="99"/>
                    <a:pt x="262" y="97"/>
                    <a:pt x="262" y="97"/>
                  </a:cubicBezTo>
                  <a:cubicBezTo>
                    <a:pt x="261" y="96"/>
                    <a:pt x="261" y="97"/>
                    <a:pt x="260" y="97"/>
                  </a:cubicBezTo>
                  <a:cubicBezTo>
                    <a:pt x="260" y="97"/>
                    <a:pt x="260" y="97"/>
                    <a:pt x="259" y="97"/>
                  </a:cubicBezTo>
                  <a:cubicBezTo>
                    <a:pt x="258" y="96"/>
                    <a:pt x="257" y="95"/>
                    <a:pt x="256" y="95"/>
                  </a:cubicBezTo>
                  <a:cubicBezTo>
                    <a:pt x="256" y="96"/>
                    <a:pt x="254" y="95"/>
                    <a:pt x="254" y="94"/>
                  </a:cubicBezTo>
                  <a:cubicBezTo>
                    <a:pt x="254" y="94"/>
                    <a:pt x="254" y="93"/>
                    <a:pt x="254" y="93"/>
                  </a:cubicBezTo>
                  <a:cubicBezTo>
                    <a:pt x="254" y="92"/>
                    <a:pt x="254" y="91"/>
                    <a:pt x="253" y="91"/>
                  </a:cubicBezTo>
                  <a:cubicBezTo>
                    <a:pt x="253" y="90"/>
                    <a:pt x="252" y="90"/>
                    <a:pt x="252" y="90"/>
                  </a:cubicBezTo>
                  <a:cubicBezTo>
                    <a:pt x="252" y="89"/>
                    <a:pt x="253" y="89"/>
                    <a:pt x="253" y="89"/>
                  </a:cubicBezTo>
                  <a:cubicBezTo>
                    <a:pt x="254" y="88"/>
                    <a:pt x="253" y="87"/>
                    <a:pt x="253" y="86"/>
                  </a:cubicBezTo>
                  <a:cubicBezTo>
                    <a:pt x="254" y="84"/>
                    <a:pt x="255" y="84"/>
                    <a:pt x="256" y="82"/>
                  </a:cubicBezTo>
                  <a:cubicBezTo>
                    <a:pt x="257" y="81"/>
                    <a:pt x="257" y="79"/>
                    <a:pt x="257" y="78"/>
                  </a:cubicBezTo>
                  <a:cubicBezTo>
                    <a:pt x="258" y="77"/>
                    <a:pt x="258" y="75"/>
                    <a:pt x="259" y="74"/>
                  </a:cubicBezTo>
                  <a:cubicBezTo>
                    <a:pt x="259" y="73"/>
                    <a:pt x="259" y="73"/>
                    <a:pt x="260" y="73"/>
                  </a:cubicBezTo>
                  <a:cubicBezTo>
                    <a:pt x="260" y="72"/>
                    <a:pt x="261" y="72"/>
                    <a:pt x="262" y="72"/>
                  </a:cubicBezTo>
                  <a:cubicBezTo>
                    <a:pt x="263" y="71"/>
                    <a:pt x="263" y="71"/>
                    <a:pt x="263" y="70"/>
                  </a:cubicBezTo>
                  <a:cubicBezTo>
                    <a:pt x="264" y="69"/>
                    <a:pt x="264" y="68"/>
                    <a:pt x="265" y="67"/>
                  </a:cubicBezTo>
                  <a:cubicBezTo>
                    <a:pt x="266" y="66"/>
                    <a:pt x="266" y="65"/>
                    <a:pt x="266" y="64"/>
                  </a:cubicBezTo>
                  <a:cubicBezTo>
                    <a:pt x="266" y="63"/>
                    <a:pt x="266" y="63"/>
                    <a:pt x="267" y="62"/>
                  </a:cubicBezTo>
                  <a:cubicBezTo>
                    <a:pt x="267" y="61"/>
                    <a:pt x="267" y="61"/>
                    <a:pt x="267" y="61"/>
                  </a:cubicBezTo>
                  <a:cubicBezTo>
                    <a:pt x="266" y="60"/>
                    <a:pt x="266" y="60"/>
                    <a:pt x="266" y="60"/>
                  </a:cubicBezTo>
                  <a:cubicBezTo>
                    <a:pt x="266" y="59"/>
                    <a:pt x="266" y="59"/>
                    <a:pt x="266" y="59"/>
                  </a:cubicBezTo>
                  <a:cubicBezTo>
                    <a:pt x="270" y="53"/>
                    <a:pt x="270" y="53"/>
                    <a:pt x="270" y="53"/>
                  </a:cubicBezTo>
                  <a:cubicBezTo>
                    <a:pt x="270" y="53"/>
                    <a:pt x="272" y="46"/>
                    <a:pt x="272" y="46"/>
                  </a:cubicBezTo>
                  <a:cubicBezTo>
                    <a:pt x="272" y="46"/>
                    <a:pt x="277" y="36"/>
                    <a:pt x="277" y="36"/>
                  </a:cubicBezTo>
                  <a:cubicBezTo>
                    <a:pt x="277" y="36"/>
                    <a:pt x="277" y="35"/>
                    <a:pt x="277" y="34"/>
                  </a:cubicBezTo>
                  <a:cubicBezTo>
                    <a:pt x="278" y="34"/>
                    <a:pt x="279" y="31"/>
                    <a:pt x="279" y="31"/>
                  </a:cubicBezTo>
                  <a:cubicBezTo>
                    <a:pt x="278" y="28"/>
                    <a:pt x="278" y="28"/>
                    <a:pt x="278" y="28"/>
                  </a:cubicBezTo>
                  <a:cubicBezTo>
                    <a:pt x="278" y="28"/>
                    <a:pt x="277" y="26"/>
                    <a:pt x="277" y="26"/>
                  </a:cubicBezTo>
                  <a:cubicBezTo>
                    <a:pt x="277" y="25"/>
                    <a:pt x="277" y="23"/>
                    <a:pt x="277" y="23"/>
                  </a:cubicBezTo>
                  <a:cubicBezTo>
                    <a:pt x="277" y="23"/>
                    <a:pt x="273" y="21"/>
                    <a:pt x="273" y="21"/>
                  </a:cubicBezTo>
                  <a:cubicBezTo>
                    <a:pt x="272" y="21"/>
                    <a:pt x="269" y="19"/>
                    <a:pt x="269" y="19"/>
                  </a:cubicBezTo>
                  <a:cubicBezTo>
                    <a:pt x="264" y="11"/>
                    <a:pt x="264" y="11"/>
                    <a:pt x="264" y="11"/>
                  </a:cubicBezTo>
                  <a:cubicBezTo>
                    <a:pt x="193" y="11"/>
                    <a:pt x="193" y="11"/>
                    <a:pt x="193" y="11"/>
                  </a:cubicBezTo>
                  <a:cubicBezTo>
                    <a:pt x="192" y="11"/>
                    <a:pt x="192" y="11"/>
                    <a:pt x="191" y="11"/>
                  </a:cubicBezTo>
                  <a:cubicBezTo>
                    <a:pt x="191" y="12"/>
                    <a:pt x="190" y="12"/>
                    <a:pt x="190" y="12"/>
                  </a:cubicBezTo>
                  <a:cubicBezTo>
                    <a:pt x="189" y="13"/>
                    <a:pt x="189" y="13"/>
                    <a:pt x="188" y="14"/>
                  </a:cubicBezTo>
                  <a:cubicBezTo>
                    <a:pt x="187" y="14"/>
                    <a:pt x="187" y="14"/>
                    <a:pt x="186" y="14"/>
                  </a:cubicBezTo>
                  <a:cubicBezTo>
                    <a:pt x="185" y="14"/>
                    <a:pt x="183" y="14"/>
                    <a:pt x="182" y="14"/>
                  </a:cubicBezTo>
                  <a:cubicBezTo>
                    <a:pt x="182" y="14"/>
                    <a:pt x="181" y="14"/>
                    <a:pt x="181" y="14"/>
                  </a:cubicBezTo>
                  <a:cubicBezTo>
                    <a:pt x="181" y="14"/>
                    <a:pt x="180" y="14"/>
                    <a:pt x="180" y="14"/>
                  </a:cubicBezTo>
                  <a:cubicBezTo>
                    <a:pt x="179" y="15"/>
                    <a:pt x="179" y="15"/>
                    <a:pt x="179" y="15"/>
                  </a:cubicBezTo>
                  <a:cubicBezTo>
                    <a:pt x="178" y="15"/>
                    <a:pt x="177" y="15"/>
                    <a:pt x="177" y="15"/>
                  </a:cubicBezTo>
                  <a:cubicBezTo>
                    <a:pt x="176" y="15"/>
                    <a:pt x="176" y="16"/>
                    <a:pt x="175" y="15"/>
                  </a:cubicBezTo>
                  <a:cubicBezTo>
                    <a:pt x="175" y="15"/>
                    <a:pt x="174" y="15"/>
                    <a:pt x="173" y="15"/>
                  </a:cubicBezTo>
                  <a:cubicBezTo>
                    <a:pt x="172" y="15"/>
                    <a:pt x="171" y="15"/>
                    <a:pt x="171" y="15"/>
                  </a:cubicBezTo>
                  <a:cubicBezTo>
                    <a:pt x="170" y="16"/>
                    <a:pt x="170" y="16"/>
                    <a:pt x="170" y="16"/>
                  </a:cubicBezTo>
                  <a:cubicBezTo>
                    <a:pt x="169" y="17"/>
                    <a:pt x="169" y="17"/>
                    <a:pt x="169" y="17"/>
                  </a:cubicBezTo>
                  <a:cubicBezTo>
                    <a:pt x="168" y="18"/>
                    <a:pt x="167" y="18"/>
                    <a:pt x="166" y="19"/>
                  </a:cubicBezTo>
                  <a:cubicBezTo>
                    <a:pt x="166" y="19"/>
                    <a:pt x="165" y="19"/>
                    <a:pt x="165" y="19"/>
                  </a:cubicBezTo>
                  <a:cubicBezTo>
                    <a:pt x="164" y="19"/>
                    <a:pt x="163" y="19"/>
                    <a:pt x="163" y="19"/>
                  </a:cubicBezTo>
                  <a:cubicBezTo>
                    <a:pt x="162" y="19"/>
                    <a:pt x="162" y="19"/>
                    <a:pt x="162" y="19"/>
                  </a:cubicBezTo>
                  <a:cubicBezTo>
                    <a:pt x="161" y="20"/>
                    <a:pt x="161" y="20"/>
                    <a:pt x="160" y="20"/>
                  </a:cubicBezTo>
                  <a:cubicBezTo>
                    <a:pt x="159" y="20"/>
                    <a:pt x="158" y="20"/>
                    <a:pt x="157" y="21"/>
                  </a:cubicBezTo>
                  <a:cubicBezTo>
                    <a:pt x="155" y="21"/>
                    <a:pt x="153" y="23"/>
                    <a:pt x="151" y="24"/>
                  </a:cubicBezTo>
                  <a:cubicBezTo>
                    <a:pt x="150" y="25"/>
                    <a:pt x="149" y="25"/>
                    <a:pt x="148" y="25"/>
                  </a:cubicBezTo>
                  <a:cubicBezTo>
                    <a:pt x="147" y="26"/>
                    <a:pt x="145" y="26"/>
                    <a:pt x="144" y="26"/>
                  </a:cubicBezTo>
                  <a:cubicBezTo>
                    <a:pt x="143" y="26"/>
                    <a:pt x="141" y="26"/>
                    <a:pt x="140" y="26"/>
                  </a:cubicBezTo>
                  <a:cubicBezTo>
                    <a:pt x="139" y="25"/>
                    <a:pt x="139" y="25"/>
                    <a:pt x="138" y="25"/>
                  </a:cubicBezTo>
                  <a:cubicBezTo>
                    <a:pt x="138" y="24"/>
                    <a:pt x="137" y="24"/>
                    <a:pt x="137" y="24"/>
                  </a:cubicBezTo>
                  <a:cubicBezTo>
                    <a:pt x="136" y="24"/>
                    <a:pt x="135" y="24"/>
                    <a:pt x="135" y="24"/>
                  </a:cubicBezTo>
                  <a:cubicBezTo>
                    <a:pt x="134" y="25"/>
                    <a:pt x="133" y="25"/>
                    <a:pt x="133" y="25"/>
                  </a:cubicBezTo>
                  <a:cubicBezTo>
                    <a:pt x="132" y="26"/>
                    <a:pt x="131" y="26"/>
                    <a:pt x="130" y="27"/>
                  </a:cubicBezTo>
                  <a:cubicBezTo>
                    <a:pt x="129" y="28"/>
                    <a:pt x="128" y="28"/>
                    <a:pt x="127" y="29"/>
                  </a:cubicBezTo>
                  <a:cubicBezTo>
                    <a:pt x="126" y="29"/>
                    <a:pt x="125" y="28"/>
                    <a:pt x="124" y="28"/>
                  </a:cubicBezTo>
                  <a:cubicBezTo>
                    <a:pt x="123" y="28"/>
                    <a:pt x="122" y="28"/>
                    <a:pt x="122" y="28"/>
                  </a:cubicBezTo>
                  <a:cubicBezTo>
                    <a:pt x="121" y="28"/>
                    <a:pt x="120" y="28"/>
                    <a:pt x="120" y="29"/>
                  </a:cubicBezTo>
                  <a:cubicBezTo>
                    <a:pt x="119" y="29"/>
                    <a:pt x="119" y="30"/>
                    <a:pt x="118" y="30"/>
                  </a:cubicBezTo>
                  <a:cubicBezTo>
                    <a:pt x="118" y="31"/>
                    <a:pt x="117" y="31"/>
                    <a:pt x="116" y="30"/>
                  </a:cubicBezTo>
                  <a:cubicBezTo>
                    <a:pt x="115" y="30"/>
                    <a:pt x="116" y="29"/>
                    <a:pt x="115" y="28"/>
                  </a:cubicBezTo>
                  <a:cubicBezTo>
                    <a:pt x="115" y="28"/>
                    <a:pt x="115" y="28"/>
                    <a:pt x="115" y="27"/>
                  </a:cubicBezTo>
                  <a:cubicBezTo>
                    <a:pt x="114" y="27"/>
                    <a:pt x="114" y="27"/>
                    <a:pt x="113" y="27"/>
                  </a:cubicBezTo>
                  <a:cubicBezTo>
                    <a:pt x="112" y="26"/>
                    <a:pt x="112" y="26"/>
                    <a:pt x="111" y="26"/>
                  </a:cubicBezTo>
                  <a:cubicBezTo>
                    <a:pt x="111" y="26"/>
                    <a:pt x="110" y="26"/>
                    <a:pt x="110" y="26"/>
                  </a:cubicBezTo>
                  <a:cubicBezTo>
                    <a:pt x="110" y="26"/>
                    <a:pt x="109" y="26"/>
                    <a:pt x="109" y="26"/>
                  </a:cubicBezTo>
                  <a:cubicBezTo>
                    <a:pt x="108" y="26"/>
                    <a:pt x="108" y="26"/>
                    <a:pt x="107" y="26"/>
                  </a:cubicBezTo>
                  <a:cubicBezTo>
                    <a:pt x="107" y="26"/>
                    <a:pt x="107" y="26"/>
                    <a:pt x="106" y="25"/>
                  </a:cubicBezTo>
                  <a:cubicBezTo>
                    <a:pt x="105" y="25"/>
                    <a:pt x="104" y="25"/>
                    <a:pt x="103" y="25"/>
                  </a:cubicBezTo>
                  <a:cubicBezTo>
                    <a:pt x="103" y="25"/>
                    <a:pt x="102" y="25"/>
                    <a:pt x="102" y="25"/>
                  </a:cubicBezTo>
                  <a:cubicBezTo>
                    <a:pt x="102" y="26"/>
                    <a:pt x="101" y="26"/>
                    <a:pt x="101" y="26"/>
                  </a:cubicBezTo>
                  <a:cubicBezTo>
                    <a:pt x="100" y="27"/>
                    <a:pt x="98" y="26"/>
                    <a:pt x="96" y="26"/>
                  </a:cubicBezTo>
                  <a:cubicBezTo>
                    <a:pt x="96" y="26"/>
                    <a:pt x="95" y="26"/>
                    <a:pt x="95" y="26"/>
                  </a:cubicBezTo>
                  <a:cubicBezTo>
                    <a:pt x="94" y="26"/>
                    <a:pt x="93" y="27"/>
                    <a:pt x="92" y="27"/>
                  </a:cubicBezTo>
                  <a:cubicBezTo>
                    <a:pt x="91" y="28"/>
                    <a:pt x="90" y="28"/>
                    <a:pt x="89" y="29"/>
                  </a:cubicBezTo>
                  <a:cubicBezTo>
                    <a:pt x="88" y="30"/>
                    <a:pt x="86" y="31"/>
                    <a:pt x="84" y="32"/>
                  </a:cubicBezTo>
                  <a:cubicBezTo>
                    <a:pt x="83" y="32"/>
                    <a:pt x="82" y="33"/>
                    <a:pt x="81" y="33"/>
                  </a:cubicBezTo>
                  <a:cubicBezTo>
                    <a:pt x="78" y="33"/>
                    <a:pt x="78" y="33"/>
                    <a:pt x="78" y="33"/>
                  </a:cubicBezTo>
                  <a:cubicBezTo>
                    <a:pt x="77" y="33"/>
                    <a:pt x="76" y="33"/>
                    <a:pt x="75" y="33"/>
                  </a:cubicBezTo>
                  <a:cubicBezTo>
                    <a:pt x="74" y="33"/>
                    <a:pt x="73" y="33"/>
                    <a:pt x="72" y="33"/>
                  </a:cubicBezTo>
                  <a:cubicBezTo>
                    <a:pt x="71" y="33"/>
                    <a:pt x="70" y="32"/>
                    <a:pt x="69" y="32"/>
                  </a:cubicBezTo>
                  <a:cubicBezTo>
                    <a:pt x="68" y="32"/>
                    <a:pt x="66" y="31"/>
                    <a:pt x="64" y="30"/>
                  </a:cubicBezTo>
                  <a:cubicBezTo>
                    <a:pt x="62" y="29"/>
                    <a:pt x="62" y="26"/>
                    <a:pt x="62" y="24"/>
                  </a:cubicBezTo>
                  <a:cubicBezTo>
                    <a:pt x="61" y="22"/>
                    <a:pt x="61" y="20"/>
                    <a:pt x="61" y="18"/>
                  </a:cubicBezTo>
                  <a:cubicBezTo>
                    <a:pt x="61" y="17"/>
                    <a:pt x="60" y="16"/>
                    <a:pt x="60" y="15"/>
                  </a:cubicBezTo>
                  <a:cubicBezTo>
                    <a:pt x="60" y="14"/>
                    <a:pt x="59" y="13"/>
                    <a:pt x="59" y="12"/>
                  </a:cubicBezTo>
                  <a:cubicBezTo>
                    <a:pt x="59" y="11"/>
                    <a:pt x="58" y="11"/>
                    <a:pt x="58" y="10"/>
                  </a:cubicBezTo>
                  <a:cubicBezTo>
                    <a:pt x="58" y="9"/>
                    <a:pt x="58" y="8"/>
                    <a:pt x="57" y="8"/>
                  </a:cubicBezTo>
                  <a:cubicBezTo>
                    <a:pt x="57" y="7"/>
                    <a:pt x="55" y="6"/>
                    <a:pt x="54" y="6"/>
                  </a:cubicBezTo>
                  <a:cubicBezTo>
                    <a:pt x="53" y="5"/>
                    <a:pt x="53" y="4"/>
                    <a:pt x="52" y="4"/>
                  </a:cubicBezTo>
                  <a:cubicBezTo>
                    <a:pt x="51" y="3"/>
                    <a:pt x="50" y="2"/>
                    <a:pt x="49" y="2"/>
                  </a:cubicBezTo>
                  <a:cubicBezTo>
                    <a:pt x="48" y="2"/>
                    <a:pt x="47" y="3"/>
                    <a:pt x="47" y="3"/>
                  </a:cubicBezTo>
                  <a:cubicBezTo>
                    <a:pt x="46" y="4"/>
                    <a:pt x="45" y="4"/>
                    <a:pt x="43" y="4"/>
                  </a:cubicBezTo>
                  <a:cubicBezTo>
                    <a:pt x="43" y="4"/>
                    <a:pt x="42" y="4"/>
                    <a:pt x="42" y="4"/>
                  </a:cubicBezTo>
                  <a:cubicBezTo>
                    <a:pt x="41" y="4"/>
                    <a:pt x="40" y="4"/>
                    <a:pt x="40" y="4"/>
                  </a:cubicBezTo>
                  <a:cubicBezTo>
                    <a:pt x="40" y="3"/>
                    <a:pt x="40" y="3"/>
                    <a:pt x="40" y="3"/>
                  </a:cubicBezTo>
                  <a:cubicBezTo>
                    <a:pt x="40" y="2"/>
                    <a:pt x="39" y="2"/>
                    <a:pt x="39" y="2"/>
                  </a:cubicBezTo>
                  <a:cubicBezTo>
                    <a:pt x="39" y="2"/>
                    <a:pt x="38" y="1"/>
                    <a:pt x="38" y="1"/>
                  </a:cubicBezTo>
                  <a:cubicBezTo>
                    <a:pt x="38" y="0"/>
                    <a:pt x="37" y="0"/>
                    <a:pt x="37" y="0"/>
                  </a:cubicBezTo>
                  <a:cubicBezTo>
                    <a:pt x="37" y="0"/>
                    <a:pt x="36" y="0"/>
                    <a:pt x="36" y="0"/>
                  </a:cubicBezTo>
                  <a:cubicBezTo>
                    <a:pt x="36" y="0"/>
                    <a:pt x="35" y="1"/>
                    <a:pt x="35" y="1"/>
                  </a:cubicBezTo>
                  <a:cubicBezTo>
                    <a:pt x="35" y="1"/>
                    <a:pt x="34" y="1"/>
                    <a:pt x="34" y="2"/>
                  </a:cubicBezTo>
                  <a:cubicBezTo>
                    <a:pt x="34" y="2"/>
                    <a:pt x="33" y="2"/>
                    <a:pt x="33" y="2"/>
                  </a:cubicBezTo>
                  <a:cubicBezTo>
                    <a:pt x="33" y="2"/>
                    <a:pt x="32" y="2"/>
                    <a:pt x="32" y="3"/>
                  </a:cubicBezTo>
                  <a:cubicBezTo>
                    <a:pt x="32" y="3"/>
                    <a:pt x="32" y="3"/>
                    <a:pt x="31" y="3"/>
                  </a:cubicBezTo>
                  <a:cubicBezTo>
                    <a:pt x="31" y="3"/>
                    <a:pt x="30" y="3"/>
                    <a:pt x="29" y="2"/>
                  </a:cubicBezTo>
                  <a:cubicBezTo>
                    <a:pt x="29" y="2"/>
                    <a:pt x="28" y="2"/>
                    <a:pt x="28" y="2"/>
                  </a:cubicBezTo>
                  <a:cubicBezTo>
                    <a:pt x="28" y="2"/>
                    <a:pt x="28" y="1"/>
                    <a:pt x="28" y="1"/>
                  </a:cubicBezTo>
                  <a:cubicBezTo>
                    <a:pt x="27" y="1"/>
                    <a:pt x="27" y="2"/>
                    <a:pt x="27" y="2"/>
                  </a:cubicBezTo>
                  <a:cubicBezTo>
                    <a:pt x="26" y="3"/>
                    <a:pt x="26" y="3"/>
                    <a:pt x="25" y="2"/>
                  </a:cubicBezTo>
                  <a:cubicBezTo>
                    <a:pt x="25" y="2"/>
                    <a:pt x="25" y="2"/>
                    <a:pt x="24" y="2"/>
                  </a:cubicBezTo>
                  <a:cubicBezTo>
                    <a:pt x="24" y="2"/>
                    <a:pt x="23" y="2"/>
                    <a:pt x="22" y="1"/>
                  </a:cubicBezTo>
                  <a:cubicBezTo>
                    <a:pt x="22" y="1"/>
                    <a:pt x="22" y="1"/>
                    <a:pt x="21" y="1"/>
                  </a:cubicBezTo>
                  <a:cubicBezTo>
                    <a:pt x="21" y="1"/>
                    <a:pt x="21" y="2"/>
                    <a:pt x="21" y="3"/>
                  </a:cubicBezTo>
                  <a:cubicBezTo>
                    <a:pt x="21" y="3"/>
                    <a:pt x="21" y="4"/>
                    <a:pt x="21" y="4"/>
                  </a:cubicBezTo>
                  <a:cubicBezTo>
                    <a:pt x="21" y="5"/>
                    <a:pt x="21" y="6"/>
                    <a:pt x="21" y="6"/>
                  </a:cubicBezTo>
                  <a:cubicBezTo>
                    <a:pt x="21" y="7"/>
                    <a:pt x="21" y="7"/>
                    <a:pt x="22" y="8"/>
                  </a:cubicBezTo>
                  <a:cubicBezTo>
                    <a:pt x="22" y="9"/>
                    <a:pt x="22" y="10"/>
                    <a:pt x="22" y="10"/>
                  </a:cubicBezTo>
                  <a:cubicBezTo>
                    <a:pt x="22" y="11"/>
                    <a:pt x="22" y="12"/>
                    <a:pt x="21" y="13"/>
                  </a:cubicBezTo>
                  <a:cubicBezTo>
                    <a:pt x="21" y="14"/>
                    <a:pt x="21" y="15"/>
                    <a:pt x="21" y="16"/>
                  </a:cubicBezTo>
                  <a:cubicBezTo>
                    <a:pt x="21" y="18"/>
                    <a:pt x="21" y="20"/>
                    <a:pt x="21" y="22"/>
                  </a:cubicBezTo>
                  <a:cubicBezTo>
                    <a:pt x="21" y="22"/>
                    <a:pt x="21" y="23"/>
                    <a:pt x="21" y="24"/>
                  </a:cubicBezTo>
                  <a:cubicBezTo>
                    <a:pt x="21" y="25"/>
                    <a:pt x="21" y="26"/>
                    <a:pt x="21" y="27"/>
                  </a:cubicBezTo>
                  <a:cubicBezTo>
                    <a:pt x="21" y="27"/>
                    <a:pt x="22" y="28"/>
                    <a:pt x="22" y="28"/>
                  </a:cubicBezTo>
                  <a:cubicBezTo>
                    <a:pt x="22" y="29"/>
                    <a:pt x="22" y="29"/>
                    <a:pt x="22" y="30"/>
                  </a:cubicBezTo>
                  <a:cubicBezTo>
                    <a:pt x="22" y="31"/>
                    <a:pt x="22" y="31"/>
                    <a:pt x="22" y="32"/>
                  </a:cubicBezTo>
                  <a:cubicBezTo>
                    <a:pt x="23" y="32"/>
                    <a:pt x="22" y="33"/>
                    <a:pt x="23" y="33"/>
                  </a:cubicBezTo>
                  <a:cubicBezTo>
                    <a:pt x="22" y="33"/>
                    <a:pt x="23" y="34"/>
                    <a:pt x="23" y="34"/>
                  </a:cubicBezTo>
                  <a:cubicBezTo>
                    <a:pt x="23" y="34"/>
                    <a:pt x="23" y="34"/>
                    <a:pt x="23" y="34"/>
                  </a:cubicBezTo>
                  <a:cubicBezTo>
                    <a:pt x="23" y="35"/>
                    <a:pt x="23" y="35"/>
                    <a:pt x="23" y="35"/>
                  </a:cubicBezTo>
                  <a:cubicBezTo>
                    <a:pt x="23" y="36"/>
                    <a:pt x="21" y="36"/>
                    <a:pt x="21" y="37"/>
                  </a:cubicBezTo>
                  <a:cubicBezTo>
                    <a:pt x="21" y="37"/>
                    <a:pt x="21" y="38"/>
                    <a:pt x="21" y="38"/>
                  </a:cubicBezTo>
                  <a:cubicBezTo>
                    <a:pt x="21" y="39"/>
                    <a:pt x="22" y="39"/>
                    <a:pt x="22" y="40"/>
                  </a:cubicBezTo>
                  <a:cubicBezTo>
                    <a:pt x="22" y="41"/>
                    <a:pt x="21" y="42"/>
                    <a:pt x="21" y="43"/>
                  </a:cubicBezTo>
                  <a:cubicBezTo>
                    <a:pt x="20" y="44"/>
                    <a:pt x="20" y="45"/>
                    <a:pt x="20" y="46"/>
                  </a:cubicBezTo>
                  <a:cubicBezTo>
                    <a:pt x="20" y="48"/>
                    <a:pt x="20" y="51"/>
                    <a:pt x="20" y="53"/>
                  </a:cubicBezTo>
                  <a:cubicBezTo>
                    <a:pt x="20" y="54"/>
                    <a:pt x="21" y="55"/>
                    <a:pt x="20" y="56"/>
                  </a:cubicBezTo>
                  <a:cubicBezTo>
                    <a:pt x="20" y="56"/>
                    <a:pt x="20" y="57"/>
                    <a:pt x="20" y="57"/>
                  </a:cubicBezTo>
                  <a:cubicBezTo>
                    <a:pt x="19" y="57"/>
                    <a:pt x="20" y="58"/>
                    <a:pt x="20" y="58"/>
                  </a:cubicBezTo>
                  <a:cubicBezTo>
                    <a:pt x="20" y="59"/>
                    <a:pt x="20" y="60"/>
                    <a:pt x="19" y="61"/>
                  </a:cubicBezTo>
                  <a:cubicBezTo>
                    <a:pt x="19" y="61"/>
                    <a:pt x="19" y="62"/>
                    <a:pt x="19" y="62"/>
                  </a:cubicBezTo>
                  <a:cubicBezTo>
                    <a:pt x="19" y="63"/>
                    <a:pt x="19" y="64"/>
                    <a:pt x="19" y="64"/>
                  </a:cubicBezTo>
                  <a:cubicBezTo>
                    <a:pt x="19" y="65"/>
                    <a:pt x="18" y="66"/>
                    <a:pt x="18" y="67"/>
                  </a:cubicBezTo>
                  <a:cubicBezTo>
                    <a:pt x="18" y="67"/>
                    <a:pt x="17" y="68"/>
                    <a:pt x="17" y="69"/>
                  </a:cubicBezTo>
                  <a:cubicBezTo>
                    <a:pt x="17" y="79"/>
                    <a:pt x="17" y="79"/>
                    <a:pt x="17" y="79"/>
                  </a:cubicBezTo>
                  <a:cubicBezTo>
                    <a:pt x="17" y="79"/>
                    <a:pt x="17" y="80"/>
                    <a:pt x="17" y="81"/>
                  </a:cubicBezTo>
                  <a:cubicBezTo>
                    <a:pt x="17" y="81"/>
                    <a:pt x="17" y="81"/>
                    <a:pt x="17" y="82"/>
                  </a:cubicBezTo>
                  <a:cubicBezTo>
                    <a:pt x="17" y="82"/>
                    <a:pt x="17" y="82"/>
                    <a:pt x="18" y="82"/>
                  </a:cubicBezTo>
                  <a:cubicBezTo>
                    <a:pt x="17" y="83"/>
                    <a:pt x="17" y="83"/>
                    <a:pt x="17" y="82"/>
                  </a:cubicBezTo>
                  <a:cubicBezTo>
                    <a:pt x="17" y="85"/>
                    <a:pt x="17" y="85"/>
                    <a:pt x="17" y="85"/>
                  </a:cubicBezTo>
                  <a:cubicBezTo>
                    <a:pt x="17" y="86"/>
                    <a:pt x="16" y="86"/>
                    <a:pt x="17" y="87"/>
                  </a:cubicBezTo>
                  <a:cubicBezTo>
                    <a:pt x="17" y="88"/>
                    <a:pt x="17" y="89"/>
                    <a:pt x="17" y="90"/>
                  </a:cubicBezTo>
                  <a:cubicBezTo>
                    <a:pt x="17" y="91"/>
                    <a:pt x="16" y="92"/>
                    <a:pt x="16" y="92"/>
                  </a:cubicBezTo>
                  <a:cubicBezTo>
                    <a:pt x="16" y="93"/>
                    <a:pt x="16" y="93"/>
                    <a:pt x="16" y="94"/>
                  </a:cubicBezTo>
                  <a:cubicBezTo>
                    <a:pt x="16" y="94"/>
                    <a:pt x="16" y="94"/>
                    <a:pt x="16" y="94"/>
                  </a:cubicBezTo>
                  <a:cubicBezTo>
                    <a:pt x="16" y="101"/>
                    <a:pt x="16" y="101"/>
                    <a:pt x="16" y="101"/>
                  </a:cubicBezTo>
                  <a:cubicBezTo>
                    <a:pt x="16" y="101"/>
                    <a:pt x="16" y="101"/>
                    <a:pt x="16" y="102"/>
                  </a:cubicBezTo>
                  <a:cubicBezTo>
                    <a:pt x="16" y="102"/>
                    <a:pt x="16" y="102"/>
                    <a:pt x="15" y="103"/>
                  </a:cubicBezTo>
                  <a:cubicBezTo>
                    <a:pt x="15" y="103"/>
                    <a:pt x="15" y="104"/>
                    <a:pt x="15" y="104"/>
                  </a:cubicBezTo>
                  <a:cubicBezTo>
                    <a:pt x="15" y="105"/>
                    <a:pt x="15" y="105"/>
                    <a:pt x="15" y="106"/>
                  </a:cubicBezTo>
                  <a:cubicBezTo>
                    <a:pt x="15" y="106"/>
                    <a:pt x="15" y="107"/>
                    <a:pt x="15" y="108"/>
                  </a:cubicBezTo>
                  <a:cubicBezTo>
                    <a:pt x="15" y="109"/>
                    <a:pt x="15" y="110"/>
                    <a:pt x="15" y="111"/>
                  </a:cubicBezTo>
                  <a:cubicBezTo>
                    <a:pt x="15" y="111"/>
                    <a:pt x="14" y="112"/>
                    <a:pt x="14" y="113"/>
                  </a:cubicBezTo>
                  <a:cubicBezTo>
                    <a:pt x="14" y="113"/>
                    <a:pt x="14" y="114"/>
                    <a:pt x="14" y="115"/>
                  </a:cubicBezTo>
                  <a:cubicBezTo>
                    <a:pt x="14" y="116"/>
                    <a:pt x="14" y="117"/>
                    <a:pt x="14" y="117"/>
                  </a:cubicBezTo>
                  <a:cubicBezTo>
                    <a:pt x="14" y="117"/>
                    <a:pt x="14" y="117"/>
                    <a:pt x="14" y="118"/>
                  </a:cubicBezTo>
                  <a:cubicBezTo>
                    <a:pt x="13" y="118"/>
                    <a:pt x="13" y="118"/>
                    <a:pt x="13" y="118"/>
                  </a:cubicBezTo>
                  <a:cubicBezTo>
                    <a:pt x="13" y="119"/>
                    <a:pt x="13" y="119"/>
                    <a:pt x="13" y="120"/>
                  </a:cubicBezTo>
                  <a:cubicBezTo>
                    <a:pt x="13" y="121"/>
                    <a:pt x="13" y="122"/>
                    <a:pt x="14" y="122"/>
                  </a:cubicBezTo>
                  <a:cubicBezTo>
                    <a:pt x="14" y="122"/>
                    <a:pt x="14" y="121"/>
                    <a:pt x="15" y="121"/>
                  </a:cubicBezTo>
                  <a:cubicBezTo>
                    <a:pt x="15" y="121"/>
                    <a:pt x="15" y="122"/>
                    <a:pt x="15" y="122"/>
                  </a:cubicBezTo>
                  <a:cubicBezTo>
                    <a:pt x="16" y="123"/>
                    <a:pt x="15" y="123"/>
                    <a:pt x="14" y="124"/>
                  </a:cubicBezTo>
                  <a:cubicBezTo>
                    <a:pt x="14" y="124"/>
                    <a:pt x="14" y="124"/>
                    <a:pt x="14" y="124"/>
                  </a:cubicBezTo>
                  <a:cubicBezTo>
                    <a:pt x="13" y="124"/>
                    <a:pt x="13" y="123"/>
                    <a:pt x="13" y="123"/>
                  </a:cubicBezTo>
                  <a:cubicBezTo>
                    <a:pt x="13" y="123"/>
                    <a:pt x="13" y="123"/>
                    <a:pt x="13" y="123"/>
                  </a:cubicBezTo>
                  <a:cubicBezTo>
                    <a:pt x="13" y="123"/>
                    <a:pt x="13" y="123"/>
                    <a:pt x="13" y="124"/>
                  </a:cubicBezTo>
                  <a:cubicBezTo>
                    <a:pt x="12" y="124"/>
                    <a:pt x="13" y="125"/>
                    <a:pt x="13" y="126"/>
                  </a:cubicBezTo>
                  <a:cubicBezTo>
                    <a:pt x="13" y="126"/>
                    <a:pt x="13" y="126"/>
                    <a:pt x="12" y="126"/>
                  </a:cubicBezTo>
                  <a:cubicBezTo>
                    <a:pt x="12" y="127"/>
                    <a:pt x="12" y="128"/>
                    <a:pt x="12" y="129"/>
                  </a:cubicBezTo>
                  <a:cubicBezTo>
                    <a:pt x="12" y="130"/>
                    <a:pt x="12" y="130"/>
                    <a:pt x="11" y="131"/>
                  </a:cubicBezTo>
                  <a:cubicBezTo>
                    <a:pt x="11" y="132"/>
                    <a:pt x="11" y="132"/>
                    <a:pt x="11" y="133"/>
                  </a:cubicBezTo>
                  <a:cubicBezTo>
                    <a:pt x="11" y="133"/>
                    <a:pt x="10" y="134"/>
                    <a:pt x="10" y="134"/>
                  </a:cubicBezTo>
                  <a:cubicBezTo>
                    <a:pt x="10" y="136"/>
                    <a:pt x="10" y="137"/>
                    <a:pt x="10" y="138"/>
                  </a:cubicBezTo>
                  <a:cubicBezTo>
                    <a:pt x="9" y="138"/>
                    <a:pt x="9" y="139"/>
                    <a:pt x="9" y="139"/>
                  </a:cubicBezTo>
                  <a:cubicBezTo>
                    <a:pt x="9" y="140"/>
                    <a:pt x="8" y="141"/>
                    <a:pt x="8" y="141"/>
                  </a:cubicBezTo>
                  <a:cubicBezTo>
                    <a:pt x="8" y="141"/>
                    <a:pt x="7" y="141"/>
                    <a:pt x="7" y="141"/>
                  </a:cubicBezTo>
                  <a:cubicBezTo>
                    <a:pt x="7" y="141"/>
                    <a:pt x="6" y="141"/>
                    <a:pt x="6" y="142"/>
                  </a:cubicBezTo>
                  <a:cubicBezTo>
                    <a:pt x="6" y="142"/>
                    <a:pt x="6" y="142"/>
                    <a:pt x="6" y="142"/>
                  </a:cubicBezTo>
                  <a:cubicBezTo>
                    <a:pt x="6" y="142"/>
                    <a:pt x="6" y="143"/>
                    <a:pt x="6" y="143"/>
                  </a:cubicBezTo>
                  <a:cubicBezTo>
                    <a:pt x="6" y="143"/>
                    <a:pt x="6" y="144"/>
                    <a:pt x="6" y="144"/>
                  </a:cubicBezTo>
                  <a:cubicBezTo>
                    <a:pt x="6" y="144"/>
                    <a:pt x="6" y="144"/>
                    <a:pt x="6" y="144"/>
                  </a:cubicBezTo>
                  <a:cubicBezTo>
                    <a:pt x="6" y="145"/>
                    <a:pt x="6" y="145"/>
                    <a:pt x="6" y="145"/>
                  </a:cubicBezTo>
                  <a:cubicBezTo>
                    <a:pt x="6" y="145"/>
                    <a:pt x="6" y="145"/>
                    <a:pt x="6" y="145"/>
                  </a:cubicBezTo>
                  <a:cubicBezTo>
                    <a:pt x="6" y="146"/>
                    <a:pt x="6" y="147"/>
                    <a:pt x="6" y="147"/>
                  </a:cubicBezTo>
                  <a:cubicBezTo>
                    <a:pt x="6" y="148"/>
                    <a:pt x="5" y="148"/>
                    <a:pt x="5" y="149"/>
                  </a:cubicBezTo>
                  <a:cubicBezTo>
                    <a:pt x="5" y="150"/>
                    <a:pt x="5" y="150"/>
                    <a:pt x="5" y="151"/>
                  </a:cubicBezTo>
                  <a:cubicBezTo>
                    <a:pt x="5" y="151"/>
                    <a:pt x="5" y="151"/>
                    <a:pt x="5" y="151"/>
                  </a:cubicBezTo>
                  <a:cubicBezTo>
                    <a:pt x="4" y="152"/>
                    <a:pt x="4" y="153"/>
                    <a:pt x="4" y="153"/>
                  </a:cubicBezTo>
                  <a:cubicBezTo>
                    <a:pt x="4" y="153"/>
                    <a:pt x="4" y="154"/>
                    <a:pt x="4" y="154"/>
                  </a:cubicBezTo>
                  <a:cubicBezTo>
                    <a:pt x="4" y="155"/>
                    <a:pt x="4" y="155"/>
                    <a:pt x="4" y="155"/>
                  </a:cubicBezTo>
                  <a:cubicBezTo>
                    <a:pt x="3" y="155"/>
                    <a:pt x="3" y="156"/>
                    <a:pt x="3" y="156"/>
                  </a:cubicBezTo>
                  <a:cubicBezTo>
                    <a:pt x="3" y="157"/>
                    <a:pt x="3" y="157"/>
                    <a:pt x="3" y="157"/>
                  </a:cubicBezTo>
                  <a:cubicBezTo>
                    <a:pt x="3" y="158"/>
                    <a:pt x="3" y="158"/>
                    <a:pt x="3" y="159"/>
                  </a:cubicBezTo>
                  <a:cubicBezTo>
                    <a:pt x="3" y="159"/>
                    <a:pt x="3" y="159"/>
                    <a:pt x="3" y="160"/>
                  </a:cubicBezTo>
                  <a:cubicBezTo>
                    <a:pt x="3" y="160"/>
                    <a:pt x="3" y="160"/>
                    <a:pt x="3" y="160"/>
                  </a:cubicBezTo>
                  <a:cubicBezTo>
                    <a:pt x="4" y="160"/>
                    <a:pt x="4" y="160"/>
                    <a:pt x="4" y="160"/>
                  </a:cubicBezTo>
                  <a:cubicBezTo>
                    <a:pt x="4" y="161"/>
                    <a:pt x="5" y="161"/>
                    <a:pt x="5" y="161"/>
                  </a:cubicBezTo>
                  <a:cubicBezTo>
                    <a:pt x="5" y="161"/>
                    <a:pt x="6" y="161"/>
                    <a:pt x="6" y="161"/>
                  </a:cubicBezTo>
                  <a:cubicBezTo>
                    <a:pt x="6" y="161"/>
                    <a:pt x="7" y="160"/>
                    <a:pt x="7" y="160"/>
                  </a:cubicBezTo>
                  <a:cubicBezTo>
                    <a:pt x="7" y="161"/>
                    <a:pt x="7" y="161"/>
                    <a:pt x="7" y="161"/>
                  </a:cubicBezTo>
                  <a:cubicBezTo>
                    <a:pt x="7" y="161"/>
                    <a:pt x="6" y="161"/>
                    <a:pt x="6" y="161"/>
                  </a:cubicBezTo>
                  <a:cubicBezTo>
                    <a:pt x="5" y="161"/>
                    <a:pt x="4" y="161"/>
                    <a:pt x="3" y="161"/>
                  </a:cubicBezTo>
                  <a:cubicBezTo>
                    <a:pt x="3" y="161"/>
                    <a:pt x="2" y="161"/>
                    <a:pt x="2" y="162"/>
                  </a:cubicBezTo>
                  <a:cubicBezTo>
                    <a:pt x="2" y="162"/>
                    <a:pt x="2" y="162"/>
                    <a:pt x="1" y="162"/>
                  </a:cubicBezTo>
                  <a:cubicBezTo>
                    <a:pt x="1" y="163"/>
                    <a:pt x="1" y="163"/>
                    <a:pt x="1" y="163"/>
                  </a:cubicBezTo>
                  <a:cubicBezTo>
                    <a:pt x="1" y="164"/>
                    <a:pt x="1" y="163"/>
                    <a:pt x="0" y="164"/>
                  </a:cubicBezTo>
                  <a:cubicBezTo>
                    <a:pt x="0" y="165"/>
                    <a:pt x="0" y="165"/>
                    <a:pt x="1" y="166"/>
                  </a:cubicBezTo>
                  <a:cubicBezTo>
                    <a:pt x="1" y="166"/>
                    <a:pt x="1" y="166"/>
                    <a:pt x="1" y="166"/>
                  </a:cubicBezTo>
                  <a:cubicBezTo>
                    <a:pt x="1" y="167"/>
                    <a:pt x="1" y="167"/>
                    <a:pt x="1" y="167"/>
                  </a:cubicBezTo>
                  <a:cubicBezTo>
                    <a:pt x="1" y="168"/>
                    <a:pt x="2" y="168"/>
                    <a:pt x="2" y="168"/>
                  </a:cubicBezTo>
                  <a:cubicBezTo>
                    <a:pt x="2" y="169"/>
                    <a:pt x="3" y="169"/>
                    <a:pt x="3" y="170"/>
                  </a:cubicBezTo>
                  <a:cubicBezTo>
                    <a:pt x="3" y="170"/>
                    <a:pt x="3" y="170"/>
                    <a:pt x="4" y="171"/>
                  </a:cubicBezTo>
                  <a:cubicBezTo>
                    <a:pt x="4" y="171"/>
                    <a:pt x="4" y="171"/>
                    <a:pt x="5" y="172"/>
                  </a:cubicBezTo>
                  <a:cubicBezTo>
                    <a:pt x="5" y="172"/>
                    <a:pt x="5" y="172"/>
                    <a:pt x="5" y="173"/>
                  </a:cubicBezTo>
                  <a:cubicBezTo>
                    <a:pt x="6" y="173"/>
                    <a:pt x="6" y="174"/>
                    <a:pt x="6" y="175"/>
                  </a:cubicBezTo>
                  <a:cubicBezTo>
                    <a:pt x="6" y="176"/>
                    <a:pt x="6" y="176"/>
                    <a:pt x="6" y="176"/>
                  </a:cubicBezTo>
                  <a:cubicBezTo>
                    <a:pt x="6" y="177"/>
                    <a:pt x="6" y="177"/>
                    <a:pt x="6" y="178"/>
                  </a:cubicBezTo>
                  <a:cubicBezTo>
                    <a:pt x="6" y="178"/>
                    <a:pt x="6" y="178"/>
                    <a:pt x="6" y="178"/>
                  </a:cubicBezTo>
                  <a:cubicBezTo>
                    <a:pt x="6" y="179"/>
                    <a:pt x="6" y="179"/>
                    <a:pt x="6" y="179"/>
                  </a:cubicBezTo>
                  <a:cubicBezTo>
                    <a:pt x="6" y="179"/>
                    <a:pt x="6" y="180"/>
                    <a:pt x="5" y="180"/>
                  </a:cubicBezTo>
                  <a:cubicBezTo>
                    <a:pt x="5" y="180"/>
                    <a:pt x="5" y="180"/>
                    <a:pt x="5" y="180"/>
                  </a:cubicBezTo>
                  <a:cubicBezTo>
                    <a:pt x="5" y="190"/>
                    <a:pt x="5" y="190"/>
                    <a:pt x="5" y="190"/>
                  </a:cubicBezTo>
                  <a:cubicBezTo>
                    <a:pt x="5" y="191"/>
                    <a:pt x="5" y="192"/>
                    <a:pt x="5" y="192"/>
                  </a:cubicBezTo>
                  <a:cubicBezTo>
                    <a:pt x="6" y="192"/>
                    <a:pt x="6" y="193"/>
                    <a:pt x="6" y="193"/>
                  </a:cubicBezTo>
                  <a:cubicBezTo>
                    <a:pt x="6" y="194"/>
                    <a:pt x="6" y="194"/>
                    <a:pt x="6" y="194"/>
                  </a:cubicBezTo>
                  <a:cubicBezTo>
                    <a:pt x="6" y="195"/>
                    <a:pt x="6" y="195"/>
                    <a:pt x="7" y="196"/>
                  </a:cubicBezTo>
                  <a:cubicBezTo>
                    <a:pt x="7" y="196"/>
                    <a:pt x="7" y="196"/>
                    <a:pt x="7" y="196"/>
                  </a:cubicBezTo>
                  <a:cubicBezTo>
                    <a:pt x="7" y="197"/>
                    <a:pt x="7" y="197"/>
                    <a:pt x="7" y="197"/>
                  </a:cubicBezTo>
                  <a:cubicBezTo>
                    <a:pt x="7" y="198"/>
                    <a:pt x="8" y="198"/>
                    <a:pt x="8" y="198"/>
                  </a:cubicBezTo>
                  <a:cubicBezTo>
                    <a:pt x="8" y="198"/>
                    <a:pt x="8" y="199"/>
                    <a:pt x="8" y="199"/>
                  </a:cubicBezTo>
                  <a:cubicBezTo>
                    <a:pt x="8" y="199"/>
                    <a:pt x="8" y="199"/>
                    <a:pt x="9" y="200"/>
                  </a:cubicBezTo>
                  <a:cubicBezTo>
                    <a:pt x="9" y="200"/>
                    <a:pt x="9" y="200"/>
                    <a:pt x="10" y="201"/>
                  </a:cubicBezTo>
                  <a:cubicBezTo>
                    <a:pt x="10" y="201"/>
                    <a:pt x="11" y="201"/>
                    <a:pt x="11" y="202"/>
                  </a:cubicBezTo>
                  <a:cubicBezTo>
                    <a:pt x="11" y="202"/>
                    <a:pt x="12" y="203"/>
                    <a:pt x="12" y="203"/>
                  </a:cubicBezTo>
                  <a:cubicBezTo>
                    <a:pt x="157" y="203"/>
                    <a:pt x="157" y="203"/>
                    <a:pt x="157" y="203"/>
                  </a:cubicBezTo>
                  <a:cubicBezTo>
                    <a:pt x="260" y="203"/>
                    <a:pt x="260" y="203"/>
                    <a:pt x="260" y="203"/>
                  </a:cubicBezTo>
                  <a:cubicBezTo>
                    <a:pt x="260" y="116"/>
                    <a:pt x="260" y="116"/>
                    <a:pt x="260" y="116"/>
                  </a:cubicBezTo>
                  <a:cubicBezTo>
                    <a:pt x="261" y="116"/>
                    <a:pt x="261" y="114"/>
                    <a:pt x="262" y="113"/>
                  </a:cubicBezTo>
                  <a:close/>
                </a:path>
              </a:pathLst>
            </a:custGeom>
            <a:solidFill>
              <a:srgbClr val="FFFF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9" name="Freeform 22">
              <a:extLst>
                <a:ext uri="{FF2B5EF4-FFF2-40B4-BE49-F238E27FC236}">
                  <a16:creationId xmlns:a16="http://schemas.microsoft.com/office/drawing/2014/main" id="{E61B890D-C333-7878-EEC2-0DE440FCC7C7}"/>
                </a:ext>
              </a:extLst>
            </p:cNvPr>
            <p:cNvSpPr>
              <a:spLocks/>
            </p:cNvSpPr>
            <p:nvPr/>
          </p:nvSpPr>
          <p:spPr bwMode="auto">
            <a:xfrm>
              <a:off x="5490429" y="3216769"/>
              <a:ext cx="1173065" cy="571663"/>
            </a:xfrm>
            <a:custGeom>
              <a:avLst/>
              <a:gdLst>
                <a:gd name="T0" fmla="*/ 0 w 296"/>
                <a:gd name="T1" fmla="*/ 0 h 144"/>
                <a:gd name="T2" fmla="*/ 104 w 296"/>
                <a:gd name="T3" fmla="*/ 103 h 144"/>
                <a:gd name="T4" fmla="*/ 108 w 296"/>
                <a:gd name="T5" fmla="*/ 105 h 144"/>
                <a:gd name="T6" fmla="*/ 113 w 296"/>
                <a:gd name="T7" fmla="*/ 111 h 144"/>
                <a:gd name="T8" fmla="*/ 119 w 296"/>
                <a:gd name="T9" fmla="*/ 110 h 144"/>
                <a:gd name="T10" fmla="*/ 124 w 296"/>
                <a:gd name="T11" fmla="*/ 112 h 144"/>
                <a:gd name="T12" fmla="*/ 126 w 296"/>
                <a:gd name="T13" fmla="*/ 109 h 144"/>
                <a:gd name="T14" fmla="*/ 129 w 296"/>
                <a:gd name="T15" fmla="*/ 111 h 144"/>
                <a:gd name="T16" fmla="*/ 131 w 296"/>
                <a:gd name="T17" fmla="*/ 114 h 144"/>
                <a:gd name="T18" fmla="*/ 136 w 296"/>
                <a:gd name="T19" fmla="*/ 119 h 144"/>
                <a:gd name="T20" fmla="*/ 140 w 296"/>
                <a:gd name="T21" fmla="*/ 119 h 144"/>
                <a:gd name="T22" fmla="*/ 144 w 296"/>
                <a:gd name="T23" fmla="*/ 121 h 144"/>
                <a:gd name="T24" fmla="*/ 153 w 296"/>
                <a:gd name="T25" fmla="*/ 121 h 144"/>
                <a:gd name="T26" fmla="*/ 160 w 296"/>
                <a:gd name="T27" fmla="*/ 122 h 144"/>
                <a:gd name="T28" fmla="*/ 167 w 296"/>
                <a:gd name="T29" fmla="*/ 123 h 144"/>
                <a:gd name="T30" fmla="*/ 170 w 296"/>
                <a:gd name="T31" fmla="*/ 126 h 144"/>
                <a:gd name="T32" fmla="*/ 174 w 296"/>
                <a:gd name="T33" fmla="*/ 128 h 144"/>
                <a:gd name="T34" fmla="*/ 175 w 296"/>
                <a:gd name="T35" fmla="*/ 132 h 144"/>
                <a:gd name="T36" fmla="*/ 181 w 296"/>
                <a:gd name="T37" fmla="*/ 131 h 144"/>
                <a:gd name="T38" fmla="*/ 184 w 296"/>
                <a:gd name="T39" fmla="*/ 128 h 144"/>
                <a:gd name="T40" fmla="*/ 187 w 296"/>
                <a:gd name="T41" fmla="*/ 131 h 144"/>
                <a:gd name="T42" fmla="*/ 191 w 296"/>
                <a:gd name="T43" fmla="*/ 134 h 144"/>
                <a:gd name="T44" fmla="*/ 196 w 296"/>
                <a:gd name="T45" fmla="*/ 133 h 144"/>
                <a:gd name="T46" fmla="*/ 199 w 296"/>
                <a:gd name="T47" fmla="*/ 133 h 144"/>
                <a:gd name="T48" fmla="*/ 201 w 296"/>
                <a:gd name="T49" fmla="*/ 132 h 144"/>
                <a:gd name="T50" fmla="*/ 201 w 296"/>
                <a:gd name="T51" fmla="*/ 137 h 144"/>
                <a:gd name="T52" fmla="*/ 204 w 296"/>
                <a:gd name="T53" fmla="*/ 137 h 144"/>
                <a:gd name="T54" fmla="*/ 206 w 296"/>
                <a:gd name="T55" fmla="*/ 134 h 144"/>
                <a:gd name="T56" fmla="*/ 208 w 296"/>
                <a:gd name="T57" fmla="*/ 131 h 144"/>
                <a:gd name="T58" fmla="*/ 211 w 296"/>
                <a:gd name="T59" fmla="*/ 130 h 144"/>
                <a:gd name="T60" fmla="*/ 212 w 296"/>
                <a:gd name="T61" fmla="*/ 133 h 144"/>
                <a:gd name="T62" fmla="*/ 215 w 296"/>
                <a:gd name="T63" fmla="*/ 134 h 144"/>
                <a:gd name="T64" fmla="*/ 219 w 296"/>
                <a:gd name="T65" fmla="*/ 131 h 144"/>
                <a:gd name="T66" fmla="*/ 223 w 296"/>
                <a:gd name="T67" fmla="*/ 135 h 144"/>
                <a:gd name="T68" fmla="*/ 227 w 296"/>
                <a:gd name="T69" fmla="*/ 137 h 144"/>
                <a:gd name="T70" fmla="*/ 231 w 296"/>
                <a:gd name="T71" fmla="*/ 139 h 144"/>
                <a:gd name="T72" fmla="*/ 236 w 296"/>
                <a:gd name="T73" fmla="*/ 137 h 144"/>
                <a:gd name="T74" fmla="*/ 238 w 296"/>
                <a:gd name="T75" fmla="*/ 134 h 144"/>
                <a:gd name="T76" fmla="*/ 242 w 296"/>
                <a:gd name="T77" fmla="*/ 132 h 144"/>
                <a:gd name="T78" fmla="*/ 245 w 296"/>
                <a:gd name="T79" fmla="*/ 133 h 144"/>
                <a:gd name="T80" fmla="*/ 248 w 296"/>
                <a:gd name="T81" fmla="*/ 134 h 144"/>
                <a:gd name="T82" fmla="*/ 251 w 296"/>
                <a:gd name="T83" fmla="*/ 133 h 144"/>
                <a:gd name="T84" fmla="*/ 254 w 296"/>
                <a:gd name="T85" fmla="*/ 131 h 144"/>
                <a:gd name="T86" fmla="*/ 257 w 296"/>
                <a:gd name="T87" fmla="*/ 132 h 144"/>
                <a:gd name="T88" fmla="*/ 260 w 296"/>
                <a:gd name="T89" fmla="*/ 132 h 144"/>
                <a:gd name="T90" fmla="*/ 267 w 296"/>
                <a:gd name="T91" fmla="*/ 132 h 144"/>
                <a:gd name="T92" fmla="*/ 269 w 296"/>
                <a:gd name="T93" fmla="*/ 129 h 144"/>
                <a:gd name="T94" fmla="*/ 273 w 296"/>
                <a:gd name="T95" fmla="*/ 131 h 144"/>
                <a:gd name="T96" fmla="*/ 278 w 296"/>
                <a:gd name="T97" fmla="*/ 134 h 144"/>
                <a:gd name="T98" fmla="*/ 279 w 296"/>
                <a:gd name="T99" fmla="*/ 136 h 144"/>
                <a:gd name="T100" fmla="*/ 282 w 296"/>
                <a:gd name="T101" fmla="*/ 138 h 144"/>
                <a:gd name="T102" fmla="*/ 285 w 296"/>
                <a:gd name="T103" fmla="*/ 138 h 144"/>
                <a:gd name="T104" fmla="*/ 285 w 296"/>
                <a:gd name="T105" fmla="*/ 139 h 144"/>
                <a:gd name="T106" fmla="*/ 288 w 296"/>
                <a:gd name="T107" fmla="*/ 141 h 144"/>
                <a:gd name="T108" fmla="*/ 290 w 296"/>
                <a:gd name="T109" fmla="*/ 141 h 144"/>
                <a:gd name="T110" fmla="*/ 292 w 296"/>
                <a:gd name="T111" fmla="*/ 142 h 144"/>
                <a:gd name="T112" fmla="*/ 296 w 296"/>
                <a:gd name="T113"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6" h="144">
                  <a:moveTo>
                    <a:pt x="290" y="22"/>
                  </a:moveTo>
                  <a:cubicBezTo>
                    <a:pt x="290" y="0"/>
                    <a:pt x="290" y="0"/>
                    <a:pt x="290" y="0"/>
                  </a:cubicBezTo>
                  <a:cubicBezTo>
                    <a:pt x="0" y="0"/>
                    <a:pt x="0" y="0"/>
                    <a:pt x="0" y="0"/>
                  </a:cubicBezTo>
                  <a:cubicBezTo>
                    <a:pt x="0" y="21"/>
                    <a:pt x="0" y="21"/>
                    <a:pt x="0" y="21"/>
                  </a:cubicBezTo>
                  <a:cubicBezTo>
                    <a:pt x="104" y="21"/>
                    <a:pt x="104" y="21"/>
                    <a:pt x="104" y="21"/>
                  </a:cubicBezTo>
                  <a:cubicBezTo>
                    <a:pt x="104" y="103"/>
                    <a:pt x="104" y="103"/>
                    <a:pt x="104" y="103"/>
                  </a:cubicBezTo>
                  <a:cubicBezTo>
                    <a:pt x="104" y="104"/>
                    <a:pt x="105" y="104"/>
                    <a:pt x="105" y="103"/>
                  </a:cubicBezTo>
                  <a:cubicBezTo>
                    <a:pt x="106" y="103"/>
                    <a:pt x="106" y="103"/>
                    <a:pt x="106" y="103"/>
                  </a:cubicBezTo>
                  <a:cubicBezTo>
                    <a:pt x="107" y="104"/>
                    <a:pt x="108" y="104"/>
                    <a:pt x="108" y="105"/>
                  </a:cubicBezTo>
                  <a:cubicBezTo>
                    <a:pt x="109" y="106"/>
                    <a:pt x="110" y="107"/>
                    <a:pt x="111" y="108"/>
                  </a:cubicBezTo>
                  <a:cubicBezTo>
                    <a:pt x="111" y="108"/>
                    <a:pt x="112" y="109"/>
                    <a:pt x="113" y="110"/>
                  </a:cubicBezTo>
                  <a:cubicBezTo>
                    <a:pt x="113" y="110"/>
                    <a:pt x="113" y="111"/>
                    <a:pt x="113" y="111"/>
                  </a:cubicBezTo>
                  <a:cubicBezTo>
                    <a:pt x="114" y="111"/>
                    <a:pt x="115" y="111"/>
                    <a:pt x="115" y="111"/>
                  </a:cubicBezTo>
                  <a:cubicBezTo>
                    <a:pt x="116" y="111"/>
                    <a:pt x="117" y="111"/>
                    <a:pt x="118" y="111"/>
                  </a:cubicBezTo>
                  <a:cubicBezTo>
                    <a:pt x="118" y="111"/>
                    <a:pt x="119" y="110"/>
                    <a:pt x="119" y="110"/>
                  </a:cubicBezTo>
                  <a:cubicBezTo>
                    <a:pt x="120" y="110"/>
                    <a:pt x="120" y="110"/>
                    <a:pt x="121" y="110"/>
                  </a:cubicBezTo>
                  <a:cubicBezTo>
                    <a:pt x="121" y="110"/>
                    <a:pt x="122" y="111"/>
                    <a:pt x="123" y="111"/>
                  </a:cubicBezTo>
                  <a:cubicBezTo>
                    <a:pt x="123" y="111"/>
                    <a:pt x="124" y="112"/>
                    <a:pt x="124" y="112"/>
                  </a:cubicBezTo>
                  <a:cubicBezTo>
                    <a:pt x="125" y="111"/>
                    <a:pt x="125" y="110"/>
                    <a:pt x="125" y="110"/>
                  </a:cubicBezTo>
                  <a:cubicBezTo>
                    <a:pt x="125" y="109"/>
                    <a:pt x="125" y="109"/>
                    <a:pt x="126" y="108"/>
                  </a:cubicBezTo>
                  <a:cubicBezTo>
                    <a:pt x="126" y="108"/>
                    <a:pt x="126" y="108"/>
                    <a:pt x="126" y="109"/>
                  </a:cubicBezTo>
                  <a:cubicBezTo>
                    <a:pt x="127" y="109"/>
                    <a:pt x="127" y="109"/>
                    <a:pt x="127" y="109"/>
                  </a:cubicBezTo>
                  <a:cubicBezTo>
                    <a:pt x="127" y="110"/>
                    <a:pt x="128" y="110"/>
                    <a:pt x="128" y="110"/>
                  </a:cubicBezTo>
                  <a:cubicBezTo>
                    <a:pt x="128" y="111"/>
                    <a:pt x="129" y="110"/>
                    <a:pt x="129" y="111"/>
                  </a:cubicBezTo>
                  <a:cubicBezTo>
                    <a:pt x="129" y="111"/>
                    <a:pt x="129" y="111"/>
                    <a:pt x="129" y="112"/>
                  </a:cubicBezTo>
                  <a:cubicBezTo>
                    <a:pt x="130" y="112"/>
                    <a:pt x="130" y="113"/>
                    <a:pt x="130" y="113"/>
                  </a:cubicBezTo>
                  <a:cubicBezTo>
                    <a:pt x="131" y="113"/>
                    <a:pt x="131" y="114"/>
                    <a:pt x="131" y="114"/>
                  </a:cubicBezTo>
                  <a:cubicBezTo>
                    <a:pt x="131" y="115"/>
                    <a:pt x="131" y="117"/>
                    <a:pt x="132" y="118"/>
                  </a:cubicBezTo>
                  <a:cubicBezTo>
                    <a:pt x="132" y="118"/>
                    <a:pt x="133" y="118"/>
                    <a:pt x="133" y="118"/>
                  </a:cubicBezTo>
                  <a:cubicBezTo>
                    <a:pt x="134" y="118"/>
                    <a:pt x="135" y="119"/>
                    <a:pt x="136" y="119"/>
                  </a:cubicBezTo>
                  <a:cubicBezTo>
                    <a:pt x="137" y="119"/>
                    <a:pt x="137" y="119"/>
                    <a:pt x="138" y="119"/>
                  </a:cubicBezTo>
                  <a:cubicBezTo>
                    <a:pt x="138" y="118"/>
                    <a:pt x="138" y="118"/>
                    <a:pt x="139" y="118"/>
                  </a:cubicBezTo>
                  <a:cubicBezTo>
                    <a:pt x="139" y="118"/>
                    <a:pt x="140" y="119"/>
                    <a:pt x="140" y="119"/>
                  </a:cubicBezTo>
                  <a:cubicBezTo>
                    <a:pt x="140" y="119"/>
                    <a:pt x="141" y="120"/>
                    <a:pt x="141" y="120"/>
                  </a:cubicBezTo>
                  <a:cubicBezTo>
                    <a:pt x="142" y="120"/>
                    <a:pt x="142" y="121"/>
                    <a:pt x="143" y="121"/>
                  </a:cubicBezTo>
                  <a:cubicBezTo>
                    <a:pt x="143" y="121"/>
                    <a:pt x="144" y="121"/>
                    <a:pt x="144" y="121"/>
                  </a:cubicBezTo>
                  <a:cubicBezTo>
                    <a:pt x="145" y="120"/>
                    <a:pt x="146" y="122"/>
                    <a:pt x="146" y="122"/>
                  </a:cubicBezTo>
                  <a:cubicBezTo>
                    <a:pt x="147" y="122"/>
                    <a:pt x="148" y="122"/>
                    <a:pt x="148" y="121"/>
                  </a:cubicBezTo>
                  <a:cubicBezTo>
                    <a:pt x="150" y="121"/>
                    <a:pt x="152" y="120"/>
                    <a:pt x="153" y="121"/>
                  </a:cubicBezTo>
                  <a:cubicBezTo>
                    <a:pt x="154" y="122"/>
                    <a:pt x="155" y="123"/>
                    <a:pt x="156" y="124"/>
                  </a:cubicBezTo>
                  <a:cubicBezTo>
                    <a:pt x="157" y="124"/>
                    <a:pt x="158" y="124"/>
                    <a:pt x="159" y="123"/>
                  </a:cubicBezTo>
                  <a:cubicBezTo>
                    <a:pt x="159" y="123"/>
                    <a:pt x="159" y="123"/>
                    <a:pt x="160" y="122"/>
                  </a:cubicBezTo>
                  <a:cubicBezTo>
                    <a:pt x="160" y="122"/>
                    <a:pt x="160" y="121"/>
                    <a:pt x="161" y="121"/>
                  </a:cubicBezTo>
                  <a:cubicBezTo>
                    <a:pt x="162" y="121"/>
                    <a:pt x="163" y="121"/>
                    <a:pt x="164" y="122"/>
                  </a:cubicBezTo>
                  <a:cubicBezTo>
                    <a:pt x="165" y="122"/>
                    <a:pt x="166" y="123"/>
                    <a:pt x="167" y="123"/>
                  </a:cubicBezTo>
                  <a:cubicBezTo>
                    <a:pt x="168" y="122"/>
                    <a:pt x="168" y="121"/>
                    <a:pt x="169" y="121"/>
                  </a:cubicBezTo>
                  <a:cubicBezTo>
                    <a:pt x="169" y="122"/>
                    <a:pt x="169" y="123"/>
                    <a:pt x="169" y="123"/>
                  </a:cubicBezTo>
                  <a:cubicBezTo>
                    <a:pt x="169" y="124"/>
                    <a:pt x="170" y="125"/>
                    <a:pt x="170" y="126"/>
                  </a:cubicBezTo>
                  <a:cubicBezTo>
                    <a:pt x="170" y="127"/>
                    <a:pt x="170" y="127"/>
                    <a:pt x="171" y="127"/>
                  </a:cubicBezTo>
                  <a:cubicBezTo>
                    <a:pt x="171" y="127"/>
                    <a:pt x="172" y="128"/>
                    <a:pt x="173" y="128"/>
                  </a:cubicBezTo>
                  <a:cubicBezTo>
                    <a:pt x="174" y="128"/>
                    <a:pt x="174" y="128"/>
                    <a:pt x="174" y="128"/>
                  </a:cubicBezTo>
                  <a:cubicBezTo>
                    <a:pt x="174" y="128"/>
                    <a:pt x="174" y="129"/>
                    <a:pt x="174" y="129"/>
                  </a:cubicBezTo>
                  <a:cubicBezTo>
                    <a:pt x="174" y="129"/>
                    <a:pt x="173" y="131"/>
                    <a:pt x="174" y="131"/>
                  </a:cubicBezTo>
                  <a:cubicBezTo>
                    <a:pt x="174" y="132"/>
                    <a:pt x="175" y="132"/>
                    <a:pt x="175" y="132"/>
                  </a:cubicBezTo>
                  <a:cubicBezTo>
                    <a:pt x="176" y="133"/>
                    <a:pt x="176" y="133"/>
                    <a:pt x="177" y="133"/>
                  </a:cubicBezTo>
                  <a:cubicBezTo>
                    <a:pt x="178" y="133"/>
                    <a:pt x="178" y="133"/>
                    <a:pt x="178" y="132"/>
                  </a:cubicBezTo>
                  <a:cubicBezTo>
                    <a:pt x="179" y="132"/>
                    <a:pt x="180" y="131"/>
                    <a:pt x="181" y="131"/>
                  </a:cubicBezTo>
                  <a:cubicBezTo>
                    <a:pt x="181" y="130"/>
                    <a:pt x="181" y="130"/>
                    <a:pt x="182" y="130"/>
                  </a:cubicBezTo>
                  <a:cubicBezTo>
                    <a:pt x="182" y="129"/>
                    <a:pt x="183" y="129"/>
                    <a:pt x="183" y="129"/>
                  </a:cubicBezTo>
                  <a:cubicBezTo>
                    <a:pt x="183" y="128"/>
                    <a:pt x="184" y="128"/>
                    <a:pt x="184" y="128"/>
                  </a:cubicBezTo>
                  <a:cubicBezTo>
                    <a:pt x="185" y="128"/>
                    <a:pt x="185" y="128"/>
                    <a:pt x="185" y="129"/>
                  </a:cubicBezTo>
                  <a:cubicBezTo>
                    <a:pt x="186" y="129"/>
                    <a:pt x="187" y="129"/>
                    <a:pt x="187" y="130"/>
                  </a:cubicBezTo>
                  <a:cubicBezTo>
                    <a:pt x="187" y="130"/>
                    <a:pt x="187" y="131"/>
                    <a:pt x="187" y="131"/>
                  </a:cubicBezTo>
                  <a:cubicBezTo>
                    <a:pt x="188" y="132"/>
                    <a:pt x="188" y="132"/>
                    <a:pt x="188" y="132"/>
                  </a:cubicBezTo>
                  <a:cubicBezTo>
                    <a:pt x="189" y="132"/>
                    <a:pt x="191" y="131"/>
                    <a:pt x="192" y="132"/>
                  </a:cubicBezTo>
                  <a:cubicBezTo>
                    <a:pt x="192" y="133"/>
                    <a:pt x="191" y="133"/>
                    <a:pt x="191" y="134"/>
                  </a:cubicBezTo>
                  <a:cubicBezTo>
                    <a:pt x="192" y="134"/>
                    <a:pt x="192" y="135"/>
                    <a:pt x="193" y="135"/>
                  </a:cubicBezTo>
                  <a:cubicBezTo>
                    <a:pt x="194" y="135"/>
                    <a:pt x="195" y="135"/>
                    <a:pt x="195" y="134"/>
                  </a:cubicBezTo>
                  <a:cubicBezTo>
                    <a:pt x="195" y="134"/>
                    <a:pt x="195" y="134"/>
                    <a:pt x="196" y="133"/>
                  </a:cubicBezTo>
                  <a:cubicBezTo>
                    <a:pt x="196" y="133"/>
                    <a:pt x="196" y="133"/>
                    <a:pt x="196" y="133"/>
                  </a:cubicBezTo>
                  <a:cubicBezTo>
                    <a:pt x="197" y="132"/>
                    <a:pt x="197" y="132"/>
                    <a:pt x="198" y="133"/>
                  </a:cubicBezTo>
                  <a:cubicBezTo>
                    <a:pt x="198" y="133"/>
                    <a:pt x="198" y="133"/>
                    <a:pt x="199" y="133"/>
                  </a:cubicBezTo>
                  <a:cubicBezTo>
                    <a:pt x="199" y="133"/>
                    <a:pt x="199" y="133"/>
                    <a:pt x="199" y="132"/>
                  </a:cubicBezTo>
                  <a:cubicBezTo>
                    <a:pt x="200" y="132"/>
                    <a:pt x="200" y="131"/>
                    <a:pt x="200" y="131"/>
                  </a:cubicBezTo>
                  <a:cubicBezTo>
                    <a:pt x="201" y="131"/>
                    <a:pt x="201" y="132"/>
                    <a:pt x="201" y="132"/>
                  </a:cubicBezTo>
                  <a:cubicBezTo>
                    <a:pt x="201" y="133"/>
                    <a:pt x="201" y="133"/>
                    <a:pt x="201" y="134"/>
                  </a:cubicBezTo>
                  <a:cubicBezTo>
                    <a:pt x="201" y="134"/>
                    <a:pt x="201" y="135"/>
                    <a:pt x="201" y="135"/>
                  </a:cubicBezTo>
                  <a:cubicBezTo>
                    <a:pt x="201" y="136"/>
                    <a:pt x="201" y="136"/>
                    <a:pt x="201" y="137"/>
                  </a:cubicBezTo>
                  <a:cubicBezTo>
                    <a:pt x="201" y="138"/>
                    <a:pt x="202" y="139"/>
                    <a:pt x="204" y="139"/>
                  </a:cubicBezTo>
                  <a:cubicBezTo>
                    <a:pt x="204" y="139"/>
                    <a:pt x="204" y="138"/>
                    <a:pt x="204" y="138"/>
                  </a:cubicBezTo>
                  <a:cubicBezTo>
                    <a:pt x="204" y="137"/>
                    <a:pt x="205" y="137"/>
                    <a:pt x="204" y="137"/>
                  </a:cubicBezTo>
                  <a:cubicBezTo>
                    <a:pt x="204" y="136"/>
                    <a:pt x="204" y="136"/>
                    <a:pt x="204" y="135"/>
                  </a:cubicBezTo>
                  <a:cubicBezTo>
                    <a:pt x="204" y="135"/>
                    <a:pt x="205" y="134"/>
                    <a:pt x="205" y="134"/>
                  </a:cubicBezTo>
                  <a:cubicBezTo>
                    <a:pt x="205" y="134"/>
                    <a:pt x="206" y="134"/>
                    <a:pt x="206" y="134"/>
                  </a:cubicBezTo>
                  <a:cubicBezTo>
                    <a:pt x="206" y="134"/>
                    <a:pt x="206" y="134"/>
                    <a:pt x="206" y="134"/>
                  </a:cubicBezTo>
                  <a:cubicBezTo>
                    <a:pt x="206" y="133"/>
                    <a:pt x="207" y="133"/>
                    <a:pt x="208" y="133"/>
                  </a:cubicBezTo>
                  <a:cubicBezTo>
                    <a:pt x="208" y="132"/>
                    <a:pt x="208" y="132"/>
                    <a:pt x="208" y="131"/>
                  </a:cubicBezTo>
                  <a:cubicBezTo>
                    <a:pt x="208" y="131"/>
                    <a:pt x="208" y="130"/>
                    <a:pt x="208" y="130"/>
                  </a:cubicBezTo>
                  <a:cubicBezTo>
                    <a:pt x="209" y="130"/>
                    <a:pt x="210" y="130"/>
                    <a:pt x="210" y="130"/>
                  </a:cubicBezTo>
                  <a:cubicBezTo>
                    <a:pt x="210" y="130"/>
                    <a:pt x="210" y="130"/>
                    <a:pt x="211" y="130"/>
                  </a:cubicBezTo>
                  <a:cubicBezTo>
                    <a:pt x="211" y="131"/>
                    <a:pt x="212" y="132"/>
                    <a:pt x="212" y="132"/>
                  </a:cubicBezTo>
                  <a:cubicBezTo>
                    <a:pt x="212" y="133"/>
                    <a:pt x="212" y="133"/>
                    <a:pt x="212" y="133"/>
                  </a:cubicBezTo>
                  <a:cubicBezTo>
                    <a:pt x="212" y="133"/>
                    <a:pt x="212" y="134"/>
                    <a:pt x="212" y="133"/>
                  </a:cubicBezTo>
                  <a:cubicBezTo>
                    <a:pt x="213" y="133"/>
                    <a:pt x="213" y="133"/>
                    <a:pt x="213" y="133"/>
                  </a:cubicBezTo>
                  <a:cubicBezTo>
                    <a:pt x="214" y="133"/>
                    <a:pt x="214" y="133"/>
                    <a:pt x="214" y="133"/>
                  </a:cubicBezTo>
                  <a:cubicBezTo>
                    <a:pt x="215" y="133"/>
                    <a:pt x="215" y="134"/>
                    <a:pt x="215" y="134"/>
                  </a:cubicBezTo>
                  <a:cubicBezTo>
                    <a:pt x="216" y="135"/>
                    <a:pt x="217" y="134"/>
                    <a:pt x="218" y="134"/>
                  </a:cubicBezTo>
                  <a:cubicBezTo>
                    <a:pt x="218" y="133"/>
                    <a:pt x="218" y="133"/>
                    <a:pt x="219" y="132"/>
                  </a:cubicBezTo>
                  <a:cubicBezTo>
                    <a:pt x="219" y="132"/>
                    <a:pt x="219" y="132"/>
                    <a:pt x="219" y="131"/>
                  </a:cubicBezTo>
                  <a:cubicBezTo>
                    <a:pt x="220" y="130"/>
                    <a:pt x="221" y="131"/>
                    <a:pt x="221" y="132"/>
                  </a:cubicBezTo>
                  <a:cubicBezTo>
                    <a:pt x="221" y="133"/>
                    <a:pt x="221" y="133"/>
                    <a:pt x="220" y="133"/>
                  </a:cubicBezTo>
                  <a:cubicBezTo>
                    <a:pt x="219" y="134"/>
                    <a:pt x="223" y="135"/>
                    <a:pt x="223" y="135"/>
                  </a:cubicBezTo>
                  <a:cubicBezTo>
                    <a:pt x="224" y="135"/>
                    <a:pt x="224" y="136"/>
                    <a:pt x="224" y="136"/>
                  </a:cubicBezTo>
                  <a:cubicBezTo>
                    <a:pt x="224" y="136"/>
                    <a:pt x="224" y="137"/>
                    <a:pt x="225" y="137"/>
                  </a:cubicBezTo>
                  <a:cubicBezTo>
                    <a:pt x="225" y="137"/>
                    <a:pt x="226" y="137"/>
                    <a:pt x="227" y="137"/>
                  </a:cubicBezTo>
                  <a:cubicBezTo>
                    <a:pt x="228" y="137"/>
                    <a:pt x="228" y="138"/>
                    <a:pt x="229" y="139"/>
                  </a:cubicBezTo>
                  <a:cubicBezTo>
                    <a:pt x="229" y="139"/>
                    <a:pt x="230" y="141"/>
                    <a:pt x="230" y="141"/>
                  </a:cubicBezTo>
                  <a:cubicBezTo>
                    <a:pt x="231" y="140"/>
                    <a:pt x="231" y="139"/>
                    <a:pt x="231" y="139"/>
                  </a:cubicBezTo>
                  <a:cubicBezTo>
                    <a:pt x="231" y="138"/>
                    <a:pt x="231" y="137"/>
                    <a:pt x="232" y="137"/>
                  </a:cubicBezTo>
                  <a:cubicBezTo>
                    <a:pt x="232" y="137"/>
                    <a:pt x="233" y="137"/>
                    <a:pt x="234" y="137"/>
                  </a:cubicBezTo>
                  <a:cubicBezTo>
                    <a:pt x="234" y="137"/>
                    <a:pt x="235" y="138"/>
                    <a:pt x="236" y="137"/>
                  </a:cubicBezTo>
                  <a:cubicBezTo>
                    <a:pt x="236" y="137"/>
                    <a:pt x="236" y="136"/>
                    <a:pt x="236" y="136"/>
                  </a:cubicBezTo>
                  <a:cubicBezTo>
                    <a:pt x="236" y="135"/>
                    <a:pt x="236" y="135"/>
                    <a:pt x="237" y="135"/>
                  </a:cubicBezTo>
                  <a:cubicBezTo>
                    <a:pt x="237" y="134"/>
                    <a:pt x="238" y="134"/>
                    <a:pt x="238" y="134"/>
                  </a:cubicBezTo>
                  <a:cubicBezTo>
                    <a:pt x="239" y="134"/>
                    <a:pt x="240" y="134"/>
                    <a:pt x="240" y="134"/>
                  </a:cubicBezTo>
                  <a:cubicBezTo>
                    <a:pt x="241" y="134"/>
                    <a:pt x="241" y="134"/>
                    <a:pt x="242" y="133"/>
                  </a:cubicBezTo>
                  <a:cubicBezTo>
                    <a:pt x="242" y="133"/>
                    <a:pt x="242" y="133"/>
                    <a:pt x="242" y="132"/>
                  </a:cubicBezTo>
                  <a:cubicBezTo>
                    <a:pt x="243" y="132"/>
                    <a:pt x="243" y="133"/>
                    <a:pt x="243" y="133"/>
                  </a:cubicBezTo>
                  <a:cubicBezTo>
                    <a:pt x="244" y="133"/>
                    <a:pt x="244" y="132"/>
                    <a:pt x="245" y="132"/>
                  </a:cubicBezTo>
                  <a:cubicBezTo>
                    <a:pt x="245" y="132"/>
                    <a:pt x="245" y="133"/>
                    <a:pt x="245" y="133"/>
                  </a:cubicBezTo>
                  <a:cubicBezTo>
                    <a:pt x="245" y="133"/>
                    <a:pt x="246" y="133"/>
                    <a:pt x="246" y="133"/>
                  </a:cubicBezTo>
                  <a:cubicBezTo>
                    <a:pt x="247" y="134"/>
                    <a:pt x="247" y="134"/>
                    <a:pt x="247" y="134"/>
                  </a:cubicBezTo>
                  <a:cubicBezTo>
                    <a:pt x="247" y="134"/>
                    <a:pt x="248" y="134"/>
                    <a:pt x="248" y="134"/>
                  </a:cubicBezTo>
                  <a:cubicBezTo>
                    <a:pt x="248" y="134"/>
                    <a:pt x="248" y="134"/>
                    <a:pt x="249" y="133"/>
                  </a:cubicBezTo>
                  <a:cubicBezTo>
                    <a:pt x="249" y="133"/>
                    <a:pt x="250" y="133"/>
                    <a:pt x="250" y="133"/>
                  </a:cubicBezTo>
                  <a:cubicBezTo>
                    <a:pt x="251" y="133"/>
                    <a:pt x="251" y="133"/>
                    <a:pt x="251" y="133"/>
                  </a:cubicBezTo>
                  <a:cubicBezTo>
                    <a:pt x="251" y="132"/>
                    <a:pt x="251" y="132"/>
                    <a:pt x="251" y="132"/>
                  </a:cubicBezTo>
                  <a:cubicBezTo>
                    <a:pt x="252" y="131"/>
                    <a:pt x="253" y="132"/>
                    <a:pt x="254" y="131"/>
                  </a:cubicBezTo>
                  <a:cubicBezTo>
                    <a:pt x="254" y="131"/>
                    <a:pt x="254" y="131"/>
                    <a:pt x="254" y="131"/>
                  </a:cubicBezTo>
                  <a:cubicBezTo>
                    <a:pt x="255" y="131"/>
                    <a:pt x="255" y="130"/>
                    <a:pt x="256" y="130"/>
                  </a:cubicBezTo>
                  <a:cubicBezTo>
                    <a:pt x="256" y="130"/>
                    <a:pt x="256" y="130"/>
                    <a:pt x="257" y="131"/>
                  </a:cubicBezTo>
                  <a:cubicBezTo>
                    <a:pt x="257" y="131"/>
                    <a:pt x="257" y="131"/>
                    <a:pt x="257" y="132"/>
                  </a:cubicBezTo>
                  <a:cubicBezTo>
                    <a:pt x="258" y="132"/>
                    <a:pt x="258" y="132"/>
                    <a:pt x="258" y="132"/>
                  </a:cubicBezTo>
                  <a:cubicBezTo>
                    <a:pt x="259" y="132"/>
                    <a:pt x="259" y="132"/>
                    <a:pt x="259" y="132"/>
                  </a:cubicBezTo>
                  <a:cubicBezTo>
                    <a:pt x="259" y="132"/>
                    <a:pt x="260" y="132"/>
                    <a:pt x="260" y="132"/>
                  </a:cubicBezTo>
                  <a:cubicBezTo>
                    <a:pt x="260" y="133"/>
                    <a:pt x="260" y="133"/>
                    <a:pt x="261" y="133"/>
                  </a:cubicBezTo>
                  <a:cubicBezTo>
                    <a:pt x="262" y="133"/>
                    <a:pt x="263" y="133"/>
                    <a:pt x="264" y="133"/>
                  </a:cubicBezTo>
                  <a:cubicBezTo>
                    <a:pt x="265" y="133"/>
                    <a:pt x="266" y="133"/>
                    <a:pt x="267" y="132"/>
                  </a:cubicBezTo>
                  <a:cubicBezTo>
                    <a:pt x="267" y="132"/>
                    <a:pt x="267" y="131"/>
                    <a:pt x="268" y="131"/>
                  </a:cubicBezTo>
                  <a:cubicBezTo>
                    <a:pt x="268" y="131"/>
                    <a:pt x="268" y="131"/>
                    <a:pt x="268" y="131"/>
                  </a:cubicBezTo>
                  <a:cubicBezTo>
                    <a:pt x="268" y="130"/>
                    <a:pt x="268" y="129"/>
                    <a:pt x="269" y="129"/>
                  </a:cubicBezTo>
                  <a:cubicBezTo>
                    <a:pt x="270" y="129"/>
                    <a:pt x="271" y="129"/>
                    <a:pt x="272" y="130"/>
                  </a:cubicBezTo>
                  <a:cubicBezTo>
                    <a:pt x="272" y="130"/>
                    <a:pt x="272" y="132"/>
                    <a:pt x="273" y="132"/>
                  </a:cubicBezTo>
                  <a:cubicBezTo>
                    <a:pt x="273" y="132"/>
                    <a:pt x="273" y="131"/>
                    <a:pt x="273" y="131"/>
                  </a:cubicBezTo>
                  <a:cubicBezTo>
                    <a:pt x="274" y="131"/>
                    <a:pt x="274" y="131"/>
                    <a:pt x="274" y="132"/>
                  </a:cubicBezTo>
                  <a:cubicBezTo>
                    <a:pt x="274" y="133"/>
                    <a:pt x="275" y="133"/>
                    <a:pt x="276" y="133"/>
                  </a:cubicBezTo>
                  <a:cubicBezTo>
                    <a:pt x="277" y="133"/>
                    <a:pt x="278" y="133"/>
                    <a:pt x="278" y="134"/>
                  </a:cubicBezTo>
                  <a:cubicBezTo>
                    <a:pt x="278" y="134"/>
                    <a:pt x="278" y="135"/>
                    <a:pt x="278" y="135"/>
                  </a:cubicBezTo>
                  <a:cubicBezTo>
                    <a:pt x="279" y="135"/>
                    <a:pt x="279" y="135"/>
                    <a:pt x="279" y="136"/>
                  </a:cubicBezTo>
                  <a:cubicBezTo>
                    <a:pt x="279" y="136"/>
                    <a:pt x="279" y="136"/>
                    <a:pt x="279" y="136"/>
                  </a:cubicBezTo>
                  <a:cubicBezTo>
                    <a:pt x="280" y="137"/>
                    <a:pt x="280" y="137"/>
                    <a:pt x="280" y="137"/>
                  </a:cubicBezTo>
                  <a:cubicBezTo>
                    <a:pt x="280" y="137"/>
                    <a:pt x="281" y="137"/>
                    <a:pt x="281" y="137"/>
                  </a:cubicBezTo>
                  <a:cubicBezTo>
                    <a:pt x="281" y="137"/>
                    <a:pt x="281" y="138"/>
                    <a:pt x="282" y="138"/>
                  </a:cubicBezTo>
                  <a:cubicBezTo>
                    <a:pt x="282" y="138"/>
                    <a:pt x="282" y="139"/>
                    <a:pt x="282" y="139"/>
                  </a:cubicBezTo>
                  <a:cubicBezTo>
                    <a:pt x="283" y="139"/>
                    <a:pt x="283" y="138"/>
                    <a:pt x="283" y="138"/>
                  </a:cubicBezTo>
                  <a:cubicBezTo>
                    <a:pt x="283" y="138"/>
                    <a:pt x="284" y="137"/>
                    <a:pt x="285" y="138"/>
                  </a:cubicBezTo>
                  <a:cubicBezTo>
                    <a:pt x="285" y="138"/>
                    <a:pt x="284" y="138"/>
                    <a:pt x="284" y="138"/>
                  </a:cubicBezTo>
                  <a:cubicBezTo>
                    <a:pt x="284" y="138"/>
                    <a:pt x="285" y="138"/>
                    <a:pt x="285" y="138"/>
                  </a:cubicBezTo>
                  <a:cubicBezTo>
                    <a:pt x="285" y="139"/>
                    <a:pt x="285" y="139"/>
                    <a:pt x="285" y="139"/>
                  </a:cubicBezTo>
                  <a:cubicBezTo>
                    <a:pt x="285" y="140"/>
                    <a:pt x="286" y="140"/>
                    <a:pt x="286" y="140"/>
                  </a:cubicBezTo>
                  <a:cubicBezTo>
                    <a:pt x="286" y="140"/>
                    <a:pt x="286" y="140"/>
                    <a:pt x="286" y="140"/>
                  </a:cubicBezTo>
                  <a:cubicBezTo>
                    <a:pt x="287" y="141"/>
                    <a:pt x="288" y="141"/>
                    <a:pt x="288" y="141"/>
                  </a:cubicBezTo>
                  <a:cubicBezTo>
                    <a:pt x="288" y="141"/>
                    <a:pt x="288" y="140"/>
                    <a:pt x="289" y="140"/>
                  </a:cubicBezTo>
                  <a:cubicBezTo>
                    <a:pt x="289" y="140"/>
                    <a:pt x="289" y="140"/>
                    <a:pt x="289" y="141"/>
                  </a:cubicBezTo>
                  <a:cubicBezTo>
                    <a:pt x="290" y="141"/>
                    <a:pt x="290" y="141"/>
                    <a:pt x="290" y="141"/>
                  </a:cubicBezTo>
                  <a:cubicBezTo>
                    <a:pt x="290" y="141"/>
                    <a:pt x="291" y="141"/>
                    <a:pt x="291" y="141"/>
                  </a:cubicBezTo>
                  <a:cubicBezTo>
                    <a:pt x="291" y="141"/>
                    <a:pt x="291" y="141"/>
                    <a:pt x="291" y="142"/>
                  </a:cubicBezTo>
                  <a:cubicBezTo>
                    <a:pt x="292" y="142"/>
                    <a:pt x="292" y="142"/>
                    <a:pt x="292" y="142"/>
                  </a:cubicBezTo>
                  <a:cubicBezTo>
                    <a:pt x="293" y="143"/>
                    <a:pt x="293" y="143"/>
                    <a:pt x="293" y="144"/>
                  </a:cubicBezTo>
                  <a:cubicBezTo>
                    <a:pt x="295" y="142"/>
                    <a:pt x="295" y="142"/>
                    <a:pt x="295" y="142"/>
                  </a:cubicBezTo>
                  <a:cubicBezTo>
                    <a:pt x="296" y="72"/>
                    <a:pt x="296" y="72"/>
                    <a:pt x="296" y="72"/>
                  </a:cubicBezTo>
                  <a:cubicBezTo>
                    <a:pt x="296" y="65"/>
                    <a:pt x="296" y="65"/>
                    <a:pt x="296" y="65"/>
                  </a:cubicBezTo>
                  <a:lnTo>
                    <a:pt x="290" y="22"/>
                  </a:ln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0" name="Freeform 23">
              <a:extLst>
                <a:ext uri="{FF2B5EF4-FFF2-40B4-BE49-F238E27FC236}">
                  <a16:creationId xmlns:a16="http://schemas.microsoft.com/office/drawing/2014/main" id="{86FFE0BB-B56C-C781-977B-CEA51EF3B9B0}"/>
                </a:ext>
              </a:extLst>
            </p:cNvPr>
            <p:cNvSpPr>
              <a:spLocks/>
            </p:cNvSpPr>
            <p:nvPr/>
          </p:nvSpPr>
          <p:spPr bwMode="auto">
            <a:xfrm>
              <a:off x="7978648" y="2336143"/>
              <a:ext cx="589837" cy="639403"/>
            </a:xfrm>
            <a:custGeom>
              <a:avLst/>
              <a:gdLst>
                <a:gd name="T0" fmla="*/ 135 w 149"/>
                <a:gd name="T1" fmla="*/ 4 h 161"/>
                <a:gd name="T2" fmla="*/ 120 w 149"/>
                <a:gd name="T3" fmla="*/ 11 h 161"/>
                <a:gd name="T4" fmla="*/ 115 w 149"/>
                <a:gd name="T5" fmla="*/ 15 h 161"/>
                <a:gd name="T6" fmla="*/ 109 w 149"/>
                <a:gd name="T7" fmla="*/ 19 h 161"/>
                <a:gd name="T8" fmla="*/ 107 w 149"/>
                <a:gd name="T9" fmla="*/ 21 h 161"/>
                <a:gd name="T10" fmla="*/ 99 w 149"/>
                <a:gd name="T11" fmla="*/ 21 h 161"/>
                <a:gd name="T12" fmla="*/ 95 w 149"/>
                <a:gd name="T13" fmla="*/ 21 h 161"/>
                <a:gd name="T14" fmla="*/ 89 w 149"/>
                <a:gd name="T15" fmla="*/ 24 h 161"/>
                <a:gd name="T16" fmla="*/ 83 w 149"/>
                <a:gd name="T17" fmla="*/ 26 h 161"/>
                <a:gd name="T18" fmla="*/ 80 w 149"/>
                <a:gd name="T19" fmla="*/ 26 h 161"/>
                <a:gd name="T20" fmla="*/ 75 w 149"/>
                <a:gd name="T21" fmla="*/ 24 h 161"/>
                <a:gd name="T22" fmla="*/ 72 w 149"/>
                <a:gd name="T23" fmla="*/ 23 h 161"/>
                <a:gd name="T24" fmla="*/ 68 w 149"/>
                <a:gd name="T25" fmla="*/ 24 h 161"/>
                <a:gd name="T26" fmla="*/ 63 w 149"/>
                <a:gd name="T27" fmla="*/ 25 h 161"/>
                <a:gd name="T28" fmla="*/ 66 w 149"/>
                <a:gd name="T29" fmla="*/ 22 h 161"/>
                <a:gd name="T30" fmla="*/ 72 w 149"/>
                <a:gd name="T31" fmla="*/ 21 h 161"/>
                <a:gd name="T32" fmla="*/ 70 w 149"/>
                <a:gd name="T33" fmla="*/ 20 h 161"/>
                <a:gd name="T34" fmla="*/ 68 w 149"/>
                <a:gd name="T35" fmla="*/ 19 h 161"/>
                <a:gd name="T36" fmla="*/ 63 w 149"/>
                <a:gd name="T37" fmla="*/ 20 h 161"/>
                <a:gd name="T38" fmla="*/ 57 w 149"/>
                <a:gd name="T39" fmla="*/ 15 h 161"/>
                <a:gd name="T40" fmla="*/ 50 w 149"/>
                <a:gd name="T41" fmla="*/ 12 h 161"/>
                <a:gd name="T42" fmla="*/ 1 w 149"/>
                <a:gd name="T43" fmla="*/ 12 h 161"/>
                <a:gd name="T44" fmla="*/ 1 w 149"/>
                <a:gd name="T45" fmla="*/ 128 h 161"/>
                <a:gd name="T46" fmla="*/ 5 w 149"/>
                <a:gd name="T47" fmla="*/ 130 h 161"/>
                <a:gd name="T48" fmla="*/ 9 w 149"/>
                <a:gd name="T49" fmla="*/ 130 h 161"/>
                <a:gd name="T50" fmla="*/ 14 w 149"/>
                <a:gd name="T51" fmla="*/ 130 h 161"/>
                <a:gd name="T52" fmla="*/ 18 w 149"/>
                <a:gd name="T53" fmla="*/ 134 h 161"/>
                <a:gd name="T54" fmla="*/ 20 w 149"/>
                <a:gd name="T55" fmla="*/ 139 h 161"/>
                <a:gd name="T56" fmla="*/ 27 w 149"/>
                <a:gd name="T57" fmla="*/ 144 h 161"/>
                <a:gd name="T58" fmla="*/ 35 w 149"/>
                <a:gd name="T59" fmla="*/ 147 h 161"/>
                <a:gd name="T60" fmla="*/ 42 w 149"/>
                <a:gd name="T61" fmla="*/ 148 h 161"/>
                <a:gd name="T62" fmla="*/ 46 w 149"/>
                <a:gd name="T63" fmla="*/ 148 h 161"/>
                <a:gd name="T64" fmla="*/ 51 w 149"/>
                <a:gd name="T65" fmla="*/ 151 h 161"/>
                <a:gd name="T66" fmla="*/ 55 w 149"/>
                <a:gd name="T67" fmla="*/ 151 h 161"/>
                <a:gd name="T68" fmla="*/ 59 w 149"/>
                <a:gd name="T69" fmla="*/ 149 h 161"/>
                <a:gd name="T70" fmla="*/ 65 w 149"/>
                <a:gd name="T71" fmla="*/ 145 h 161"/>
                <a:gd name="T72" fmla="*/ 67 w 149"/>
                <a:gd name="T73" fmla="*/ 148 h 161"/>
                <a:gd name="T74" fmla="*/ 71 w 149"/>
                <a:gd name="T75" fmla="*/ 153 h 161"/>
                <a:gd name="T76" fmla="*/ 76 w 149"/>
                <a:gd name="T77" fmla="*/ 158 h 161"/>
                <a:gd name="T78" fmla="*/ 81 w 149"/>
                <a:gd name="T79" fmla="*/ 160 h 161"/>
                <a:gd name="T80" fmla="*/ 87 w 149"/>
                <a:gd name="T81" fmla="*/ 155 h 161"/>
                <a:gd name="T82" fmla="*/ 92 w 149"/>
                <a:gd name="T83" fmla="*/ 152 h 161"/>
                <a:gd name="T84" fmla="*/ 92 w 149"/>
                <a:gd name="T85" fmla="*/ 142 h 161"/>
                <a:gd name="T86" fmla="*/ 96 w 149"/>
                <a:gd name="T87" fmla="*/ 134 h 161"/>
                <a:gd name="T88" fmla="*/ 100 w 149"/>
                <a:gd name="T89" fmla="*/ 136 h 161"/>
                <a:gd name="T90" fmla="*/ 100 w 149"/>
                <a:gd name="T91" fmla="*/ 140 h 161"/>
                <a:gd name="T92" fmla="*/ 103 w 149"/>
                <a:gd name="T93" fmla="*/ 137 h 161"/>
                <a:gd name="T94" fmla="*/ 104 w 149"/>
                <a:gd name="T95" fmla="*/ 132 h 161"/>
                <a:gd name="T96" fmla="*/ 106 w 149"/>
                <a:gd name="T97" fmla="*/ 126 h 161"/>
                <a:gd name="T98" fmla="*/ 111 w 149"/>
                <a:gd name="T99" fmla="*/ 122 h 161"/>
                <a:gd name="T100" fmla="*/ 114 w 149"/>
                <a:gd name="T101" fmla="*/ 118 h 161"/>
                <a:gd name="T102" fmla="*/ 119 w 149"/>
                <a:gd name="T103" fmla="*/ 119 h 161"/>
                <a:gd name="T104" fmla="*/ 133 w 149"/>
                <a:gd name="T105" fmla="*/ 109 h 161"/>
                <a:gd name="T106" fmla="*/ 137 w 149"/>
                <a:gd name="T107" fmla="*/ 104 h 161"/>
                <a:gd name="T108" fmla="*/ 138 w 149"/>
                <a:gd name="T109" fmla="*/ 98 h 161"/>
                <a:gd name="T110" fmla="*/ 141 w 149"/>
                <a:gd name="T111" fmla="*/ 93 h 161"/>
                <a:gd name="T112" fmla="*/ 146 w 149"/>
                <a:gd name="T113" fmla="*/ 76 h 161"/>
                <a:gd name="T114" fmla="*/ 146 w 149"/>
                <a:gd name="T115" fmla="*/ 68 h 161"/>
                <a:gd name="T116" fmla="*/ 144 w 149"/>
                <a:gd name="T117" fmla="*/ 61 h 161"/>
                <a:gd name="T118" fmla="*/ 149 w 149"/>
                <a:gd name="T119" fmla="*/ 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9" h="161">
                  <a:moveTo>
                    <a:pt x="146" y="1"/>
                  </a:moveTo>
                  <a:cubicBezTo>
                    <a:pt x="145" y="1"/>
                    <a:pt x="143" y="2"/>
                    <a:pt x="142" y="2"/>
                  </a:cubicBezTo>
                  <a:cubicBezTo>
                    <a:pt x="140" y="3"/>
                    <a:pt x="138" y="4"/>
                    <a:pt x="135" y="4"/>
                  </a:cubicBezTo>
                  <a:cubicBezTo>
                    <a:pt x="134" y="5"/>
                    <a:pt x="132" y="6"/>
                    <a:pt x="130" y="7"/>
                  </a:cubicBezTo>
                  <a:cubicBezTo>
                    <a:pt x="128" y="7"/>
                    <a:pt x="127" y="8"/>
                    <a:pt x="125" y="8"/>
                  </a:cubicBezTo>
                  <a:cubicBezTo>
                    <a:pt x="123" y="9"/>
                    <a:pt x="122" y="10"/>
                    <a:pt x="120" y="11"/>
                  </a:cubicBezTo>
                  <a:cubicBezTo>
                    <a:pt x="119" y="11"/>
                    <a:pt x="118" y="12"/>
                    <a:pt x="118" y="13"/>
                  </a:cubicBezTo>
                  <a:cubicBezTo>
                    <a:pt x="117" y="13"/>
                    <a:pt x="117" y="14"/>
                    <a:pt x="116" y="14"/>
                  </a:cubicBezTo>
                  <a:cubicBezTo>
                    <a:pt x="116" y="15"/>
                    <a:pt x="115" y="15"/>
                    <a:pt x="115" y="15"/>
                  </a:cubicBezTo>
                  <a:cubicBezTo>
                    <a:pt x="115" y="15"/>
                    <a:pt x="115" y="16"/>
                    <a:pt x="114" y="16"/>
                  </a:cubicBezTo>
                  <a:cubicBezTo>
                    <a:pt x="113" y="16"/>
                    <a:pt x="112" y="17"/>
                    <a:pt x="112" y="18"/>
                  </a:cubicBezTo>
                  <a:cubicBezTo>
                    <a:pt x="111" y="18"/>
                    <a:pt x="110" y="19"/>
                    <a:pt x="109" y="19"/>
                  </a:cubicBezTo>
                  <a:cubicBezTo>
                    <a:pt x="108" y="20"/>
                    <a:pt x="108" y="20"/>
                    <a:pt x="108" y="21"/>
                  </a:cubicBezTo>
                  <a:cubicBezTo>
                    <a:pt x="108" y="21"/>
                    <a:pt x="108" y="21"/>
                    <a:pt x="107" y="21"/>
                  </a:cubicBezTo>
                  <a:cubicBezTo>
                    <a:pt x="107" y="21"/>
                    <a:pt x="107" y="21"/>
                    <a:pt x="107" y="21"/>
                  </a:cubicBezTo>
                  <a:cubicBezTo>
                    <a:pt x="105" y="21"/>
                    <a:pt x="104" y="21"/>
                    <a:pt x="102" y="21"/>
                  </a:cubicBezTo>
                  <a:cubicBezTo>
                    <a:pt x="102" y="21"/>
                    <a:pt x="101" y="21"/>
                    <a:pt x="101" y="21"/>
                  </a:cubicBezTo>
                  <a:cubicBezTo>
                    <a:pt x="100" y="21"/>
                    <a:pt x="100" y="21"/>
                    <a:pt x="99" y="21"/>
                  </a:cubicBezTo>
                  <a:cubicBezTo>
                    <a:pt x="99" y="21"/>
                    <a:pt x="98" y="21"/>
                    <a:pt x="98" y="21"/>
                  </a:cubicBezTo>
                  <a:cubicBezTo>
                    <a:pt x="97" y="21"/>
                    <a:pt x="97" y="21"/>
                    <a:pt x="96" y="21"/>
                  </a:cubicBezTo>
                  <a:cubicBezTo>
                    <a:pt x="96" y="21"/>
                    <a:pt x="95" y="21"/>
                    <a:pt x="95" y="21"/>
                  </a:cubicBezTo>
                  <a:cubicBezTo>
                    <a:pt x="95" y="21"/>
                    <a:pt x="94" y="22"/>
                    <a:pt x="94" y="22"/>
                  </a:cubicBezTo>
                  <a:cubicBezTo>
                    <a:pt x="94" y="22"/>
                    <a:pt x="93" y="22"/>
                    <a:pt x="93" y="22"/>
                  </a:cubicBezTo>
                  <a:cubicBezTo>
                    <a:pt x="91" y="23"/>
                    <a:pt x="90" y="23"/>
                    <a:pt x="89" y="24"/>
                  </a:cubicBezTo>
                  <a:cubicBezTo>
                    <a:pt x="88" y="24"/>
                    <a:pt x="87" y="24"/>
                    <a:pt x="87" y="24"/>
                  </a:cubicBezTo>
                  <a:cubicBezTo>
                    <a:pt x="86" y="24"/>
                    <a:pt x="86" y="25"/>
                    <a:pt x="85" y="25"/>
                  </a:cubicBezTo>
                  <a:cubicBezTo>
                    <a:pt x="85" y="25"/>
                    <a:pt x="84" y="25"/>
                    <a:pt x="83" y="26"/>
                  </a:cubicBezTo>
                  <a:cubicBezTo>
                    <a:pt x="83" y="26"/>
                    <a:pt x="82" y="26"/>
                    <a:pt x="82" y="27"/>
                  </a:cubicBezTo>
                  <a:cubicBezTo>
                    <a:pt x="81" y="27"/>
                    <a:pt x="81" y="27"/>
                    <a:pt x="81" y="27"/>
                  </a:cubicBezTo>
                  <a:cubicBezTo>
                    <a:pt x="80" y="26"/>
                    <a:pt x="80" y="26"/>
                    <a:pt x="80" y="26"/>
                  </a:cubicBezTo>
                  <a:cubicBezTo>
                    <a:pt x="79" y="26"/>
                    <a:pt x="79" y="26"/>
                    <a:pt x="79" y="25"/>
                  </a:cubicBezTo>
                  <a:cubicBezTo>
                    <a:pt x="78" y="25"/>
                    <a:pt x="78" y="25"/>
                    <a:pt x="77" y="25"/>
                  </a:cubicBezTo>
                  <a:cubicBezTo>
                    <a:pt x="76" y="25"/>
                    <a:pt x="76" y="25"/>
                    <a:pt x="75" y="24"/>
                  </a:cubicBezTo>
                  <a:cubicBezTo>
                    <a:pt x="75" y="24"/>
                    <a:pt x="74" y="24"/>
                    <a:pt x="74" y="24"/>
                  </a:cubicBezTo>
                  <a:cubicBezTo>
                    <a:pt x="74" y="24"/>
                    <a:pt x="73" y="24"/>
                    <a:pt x="73" y="24"/>
                  </a:cubicBezTo>
                  <a:cubicBezTo>
                    <a:pt x="73" y="24"/>
                    <a:pt x="72" y="24"/>
                    <a:pt x="72" y="23"/>
                  </a:cubicBezTo>
                  <a:cubicBezTo>
                    <a:pt x="71" y="23"/>
                    <a:pt x="71" y="23"/>
                    <a:pt x="71" y="23"/>
                  </a:cubicBezTo>
                  <a:cubicBezTo>
                    <a:pt x="70" y="23"/>
                    <a:pt x="69" y="23"/>
                    <a:pt x="69" y="23"/>
                  </a:cubicBezTo>
                  <a:cubicBezTo>
                    <a:pt x="69" y="24"/>
                    <a:pt x="68" y="24"/>
                    <a:pt x="68" y="24"/>
                  </a:cubicBezTo>
                  <a:cubicBezTo>
                    <a:pt x="68" y="24"/>
                    <a:pt x="67" y="24"/>
                    <a:pt x="67" y="24"/>
                  </a:cubicBezTo>
                  <a:cubicBezTo>
                    <a:pt x="66" y="25"/>
                    <a:pt x="66" y="25"/>
                    <a:pt x="65" y="25"/>
                  </a:cubicBezTo>
                  <a:cubicBezTo>
                    <a:pt x="64" y="25"/>
                    <a:pt x="63" y="25"/>
                    <a:pt x="63" y="25"/>
                  </a:cubicBezTo>
                  <a:cubicBezTo>
                    <a:pt x="62" y="25"/>
                    <a:pt x="61" y="25"/>
                    <a:pt x="62" y="25"/>
                  </a:cubicBezTo>
                  <a:cubicBezTo>
                    <a:pt x="62" y="24"/>
                    <a:pt x="63" y="23"/>
                    <a:pt x="63" y="23"/>
                  </a:cubicBezTo>
                  <a:cubicBezTo>
                    <a:pt x="64" y="22"/>
                    <a:pt x="65" y="22"/>
                    <a:pt x="66" y="22"/>
                  </a:cubicBezTo>
                  <a:cubicBezTo>
                    <a:pt x="67" y="22"/>
                    <a:pt x="68" y="22"/>
                    <a:pt x="69" y="22"/>
                  </a:cubicBezTo>
                  <a:cubicBezTo>
                    <a:pt x="69" y="22"/>
                    <a:pt x="70" y="22"/>
                    <a:pt x="70" y="22"/>
                  </a:cubicBezTo>
                  <a:cubicBezTo>
                    <a:pt x="71" y="21"/>
                    <a:pt x="71" y="21"/>
                    <a:pt x="72" y="21"/>
                  </a:cubicBezTo>
                  <a:cubicBezTo>
                    <a:pt x="72" y="21"/>
                    <a:pt x="72" y="20"/>
                    <a:pt x="72" y="20"/>
                  </a:cubicBezTo>
                  <a:cubicBezTo>
                    <a:pt x="72" y="20"/>
                    <a:pt x="71" y="20"/>
                    <a:pt x="71" y="20"/>
                  </a:cubicBezTo>
                  <a:cubicBezTo>
                    <a:pt x="71" y="20"/>
                    <a:pt x="70" y="20"/>
                    <a:pt x="70" y="20"/>
                  </a:cubicBezTo>
                  <a:cubicBezTo>
                    <a:pt x="70" y="20"/>
                    <a:pt x="69" y="20"/>
                    <a:pt x="69" y="19"/>
                  </a:cubicBezTo>
                  <a:cubicBezTo>
                    <a:pt x="69" y="19"/>
                    <a:pt x="69" y="19"/>
                    <a:pt x="69" y="19"/>
                  </a:cubicBezTo>
                  <a:cubicBezTo>
                    <a:pt x="68" y="19"/>
                    <a:pt x="68" y="19"/>
                    <a:pt x="68" y="19"/>
                  </a:cubicBezTo>
                  <a:cubicBezTo>
                    <a:pt x="67" y="19"/>
                    <a:pt x="67" y="20"/>
                    <a:pt x="66" y="20"/>
                  </a:cubicBezTo>
                  <a:cubicBezTo>
                    <a:pt x="66" y="21"/>
                    <a:pt x="65" y="21"/>
                    <a:pt x="65" y="20"/>
                  </a:cubicBezTo>
                  <a:cubicBezTo>
                    <a:pt x="64" y="20"/>
                    <a:pt x="64" y="20"/>
                    <a:pt x="63" y="20"/>
                  </a:cubicBezTo>
                  <a:cubicBezTo>
                    <a:pt x="63" y="19"/>
                    <a:pt x="62" y="19"/>
                    <a:pt x="62" y="18"/>
                  </a:cubicBezTo>
                  <a:cubicBezTo>
                    <a:pt x="61" y="17"/>
                    <a:pt x="60" y="16"/>
                    <a:pt x="58" y="16"/>
                  </a:cubicBezTo>
                  <a:cubicBezTo>
                    <a:pt x="58" y="15"/>
                    <a:pt x="57" y="15"/>
                    <a:pt x="57" y="15"/>
                  </a:cubicBezTo>
                  <a:cubicBezTo>
                    <a:pt x="56" y="15"/>
                    <a:pt x="56" y="14"/>
                    <a:pt x="56" y="14"/>
                  </a:cubicBezTo>
                  <a:cubicBezTo>
                    <a:pt x="55" y="14"/>
                    <a:pt x="54" y="13"/>
                    <a:pt x="52" y="13"/>
                  </a:cubicBezTo>
                  <a:cubicBezTo>
                    <a:pt x="51" y="12"/>
                    <a:pt x="51" y="12"/>
                    <a:pt x="50" y="12"/>
                  </a:cubicBezTo>
                  <a:cubicBezTo>
                    <a:pt x="49" y="12"/>
                    <a:pt x="48" y="12"/>
                    <a:pt x="47" y="12"/>
                  </a:cubicBezTo>
                  <a:cubicBezTo>
                    <a:pt x="47" y="12"/>
                    <a:pt x="47" y="11"/>
                    <a:pt x="47" y="10"/>
                  </a:cubicBezTo>
                  <a:cubicBezTo>
                    <a:pt x="1" y="12"/>
                    <a:pt x="1" y="12"/>
                    <a:pt x="1" y="12"/>
                  </a:cubicBezTo>
                  <a:cubicBezTo>
                    <a:pt x="0" y="129"/>
                    <a:pt x="0" y="129"/>
                    <a:pt x="0" y="129"/>
                  </a:cubicBezTo>
                  <a:cubicBezTo>
                    <a:pt x="0" y="129"/>
                    <a:pt x="0" y="129"/>
                    <a:pt x="0" y="129"/>
                  </a:cubicBezTo>
                  <a:cubicBezTo>
                    <a:pt x="0" y="129"/>
                    <a:pt x="1" y="128"/>
                    <a:pt x="1" y="128"/>
                  </a:cubicBezTo>
                  <a:cubicBezTo>
                    <a:pt x="1" y="128"/>
                    <a:pt x="2" y="128"/>
                    <a:pt x="2" y="128"/>
                  </a:cubicBezTo>
                  <a:cubicBezTo>
                    <a:pt x="3" y="128"/>
                    <a:pt x="3" y="128"/>
                    <a:pt x="4" y="129"/>
                  </a:cubicBezTo>
                  <a:cubicBezTo>
                    <a:pt x="4" y="129"/>
                    <a:pt x="4" y="130"/>
                    <a:pt x="5" y="130"/>
                  </a:cubicBezTo>
                  <a:cubicBezTo>
                    <a:pt x="5" y="130"/>
                    <a:pt x="6" y="131"/>
                    <a:pt x="7" y="131"/>
                  </a:cubicBezTo>
                  <a:cubicBezTo>
                    <a:pt x="7" y="131"/>
                    <a:pt x="8" y="131"/>
                    <a:pt x="8" y="131"/>
                  </a:cubicBezTo>
                  <a:cubicBezTo>
                    <a:pt x="8" y="130"/>
                    <a:pt x="9" y="130"/>
                    <a:pt x="9" y="130"/>
                  </a:cubicBezTo>
                  <a:cubicBezTo>
                    <a:pt x="10" y="130"/>
                    <a:pt x="11" y="129"/>
                    <a:pt x="11" y="129"/>
                  </a:cubicBezTo>
                  <a:cubicBezTo>
                    <a:pt x="12" y="129"/>
                    <a:pt x="13" y="129"/>
                    <a:pt x="13" y="129"/>
                  </a:cubicBezTo>
                  <a:cubicBezTo>
                    <a:pt x="13" y="130"/>
                    <a:pt x="13" y="130"/>
                    <a:pt x="14" y="130"/>
                  </a:cubicBezTo>
                  <a:cubicBezTo>
                    <a:pt x="14" y="131"/>
                    <a:pt x="15" y="132"/>
                    <a:pt x="16" y="132"/>
                  </a:cubicBezTo>
                  <a:cubicBezTo>
                    <a:pt x="16" y="132"/>
                    <a:pt x="17" y="133"/>
                    <a:pt x="17" y="133"/>
                  </a:cubicBezTo>
                  <a:cubicBezTo>
                    <a:pt x="17" y="133"/>
                    <a:pt x="18" y="134"/>
                    <a:pt x="18" y="134"/>
                  </a:cubicBezTo>
                  <a:cubicBezTo>
                    <a:pt x="18" y="135"/>
                    <a:pt x="18" y="135"/>
                    <a:pt x="18" y="135"/>
                  </a:cubicBezTo>
                  <a:cubicBezTo>
                    <a:pt x="18" y="136"/>
                    <a:pt x="19" y="136"/>
                    <a:pt x="19" y="136"/>
                  </a:cubicBezTo>
                  <a:cubicBezTo>
                    <a:pt x="19" y="137"/>
                    <a:pt x="19" y="138"/>
                    <a:pt x="20" y="139"/>
                  </a:cubicBezTo>
                  <a:cubicBezTo>
                    <a:pt x="20" y="140"/>
                    <a:pt x="21" y="141"/>
                    <a:pt x="21" y="142"/>
                  </a:cubicBezTo>
                  <a:cubicBezTo>
                    <a:pt x="22" y="143"/>
                    <a:pt x="22" y="144"/>
                    <a:pt x="23" y="144"/>
                  </a:cubicBezTo>
                  <a:cubicBezTo>
                    <a:pt x="25" y="144"/>
                    <a:pt x="26" y="144"/>
                    <a:pt x="27" y="144"/>
                  </a:cubicBezTo>
                  <a:cubicBezTo>
                    <a:pt x="28" y="144"/>
                    <a:pt x="30" y="143"/>
                    <a:pt x="31" y="144"/>
                  </a:cubicBezTo>
                  <a:cubicBezTo>
                    <a:pt x="32" y="144"/>
                    <a:pt x="33" y="145"/>
                    <a:pt x="33" y="145"/>
                  </a:cubicBezTo>
                  <a:cubicBezTo>
                    <a:pt x="34" y="146"/>
                    <a:pt x="34" y="146"/>
                    <a:pt x="35" y="147"/>
                  </a:cubicBezTo>
                  <a:cubicBezTo>
                    <a:pt x="36" y="148"/>
                    <a:pt x="36" y="149"/>
                    <a:pt x="37" y="150"/>
                  </a:cubicBezTo>
                  <a:cubicBezTo>
                    <a:pt x="38" y="151"/>
                    <a:pt x="40" y="150"/>
                    <a:pt x="40" y="150"/>
                  </a:cubicBezTo>
                  <a:cubicBezTo>
                    <a:pt x="41" y="149"/>
                    <a:pt x="41" y="149"/>
                    <a:pt x="42" y="148"/>
                  </a:cubicBezTo>
                  <a:cubicBezTo>
                    <a:pt x="42" y="148"/>
                    <a:pt x="43" y="148"/>
                    <a:pt x="43" y="148"/>
                  </a:cubicBezTo>
                  <a:cubicBezTo>
                    <a:pt x="44" y="148"/>
                    <a:pt x="45" y="147"/>
                    <a:pt x="45" y="147"/>
                  </a:cubicBezTo>
                  <a:cubicBezTo>
                    <a:pt x="46" y="147"/>
                    <a:pt x="46" y="147"/>
                    <a:pt x="46" y="148"/>
                  </a:cubicBezTo>
                  <a:cubicBezTo>
                    <a:pt x="46" y="148"/>
                    <a:pt x="47" y="148"/>
                    <a:pt x="47" y="148"/>
                  </a:cubicBezTo>
                  <a:cubicBezTo>
                    <a:pt x="47" y="148"/>
                    <a:pt x="48" y="149"/>
                    <a:pt x="48" y="149"/>
                  </a:cubicBezTo>
                  <a:cubicBezTo>
                    <a:pt x="49" y="149"/>
                    <a:pt x="50" y="150"/>
                    <a:pt x="51" y="151"/>
                  </a:cubicBezTo>
                  <a:cubicBezTo>
                    <a:pt x="51" y="151"/>
                    <a:pt x="52" y="152"/>
                    <a:pt x="52" y="152"/>
                  </a:cubicBezTo>
                  <a:cubicBezTo>
                    <a:pt x="52" y="152"/>
                    <a:pt x="53" y="151"/>
                    <a:pt x="54" y="151"/>
                  </a:cubicBezTo>
                  <a:cubicBezTo>
                    <a:pt x="54" y="151"/>
                    <a:pt x="54" y="151"/>
                    <a:pt x="55" y="151"/>
                  </a:cubicBezTo>
                  <a:cubicBezTo>
                    <a:pt x="55" y="151"/>
                    <a:pt x="56" y="151"/>
                    <a:pt x="56" y="151"/>
                  </a:cubicBezTo>
                  <a:cubicBezTo>
                    <a:pt x="57" y="151"/>
                    <a:pt x="57" y="151"/>
                    <a:pt x="58" y="150"/>
                  </a:cubicBezTo>
                  <a:cubicBezTo>
                    <a:pt x="58" y="150"/>
                    <a:pt x="59" y="150"/>
                    <a:pt x="59" y="149"/>
                  </a:cubicBezTo>
                  <a:cubicBezTo>
                    <a:pt x="60" y="149"/>
                    <a:pt x="60" y="148"/>
                    <a:pt x="61" y="148"/>
                  </a:cubicBezTo>
                  <a:cubicBezTo>
                    <a:pt x="61" y="147"/>
                    <a:pt x="62" y="146"/>
                    <a:pt x="62" y="146"/>
                  </a:cubicBezTo>
                  <a:cubicBezTo>
                    <a:pt x="63" y="146"/>
                    <a:pt x="64" y="146"/>
                    <a:pt x="65" y="145"/>
                  </a:cubicBezTo>
                  <a:cubicBezTo>
                    <a:pt x="65" y="145"/>
                    <a:pt x="66" y="145"/>
                    <a:pt x="67" y="146"/>
                  </a:cubicBezTo>
                  <a:cubicBezTo>
                    <a:pt x="67" y="146"/>
                    <a:pt x="67" y="146"/>
                    <a:pt x="67" y="147"/>
                  </a:cubicBezTo>
                  <a:cubicBezTo>
                    <a:pt x="67" y="147"/>
                    <a:pt x="67" y="147"/>
                    <a:pt x="67" y="148"/>
                  </a:cubicBezTo>
                  <a:cubicBezTo>
                    <a:pt x="67" y="149"/>
                    <a:pt x="67" y="150"/>
                    <a:pt x="67" y="151"/>
                  </a:cubicBezTo>
                  <a:cubicBezTo>
                    <a:pt x="68" y="151"/>
                    <a:pt x="68" y="152"/>
                    <a:pt x="69" y="153"/>
                  </a:cubicBezTo>
                  <a:cubicBezTo>
                    <a:pt x="70" y="153"/>
                    <a:pt x="70" y="153"/>
                    <a:pt x="71" y="153"/>
                  </a:cubicBezTo>
                  <a:cubicBezTo>
                    <a:pt x="71" y="154"/>
                    <a:pt x="72" y="154"/>
                    <a:pt x="72" y="154"/>
                  </a:cubicBezTo>
                  <a:cubicBezTo>
                    <a:pt x="73" y="154"/>
                    <a:pt x="74" y="155"/>
                    <a:pt x="75" y="156"/>
                  </a:cubicBezTo>
                  <a:cubicBezTo>
                    <a:pt x="76" y="156"/>
                    <a:pt x="76" y="157"/>
                    <a:pt x="76" y="158"/>
                  </a:cubicBezTo>
                  <a:cubicBezTo>
                    <a:pt x="76" y="158"/>
                    <a:pt x="76" y="158"/>
                    <a:pt x="76" y="158"/>
                  </a:cubicBezTo>
                  <a:cubicBezTo>
                    <a:pt x="77" y="161"/>
                    <a:pt x="77" y="161"/>
                    <a:pt x="77" y="161"/>
                  </a:cubicBezTo>
                  <a:cubicBezTo>
                    <a:pt x="81" y="160"/>
                    <a:pt x="81" y="160"/>
                    <a:pt x="81" y="160"/>
                  </a:cubicBezTo>
                  <a:cubicBezTo>
                    <a:pt x="81" y="160"/>
                    <a:pt x="84" y="160"/>
                    <a:pt x="85" y="159"/>
                  </a:cubicBezTo>
                  <a:cubicBezTo>
                    <a:pt x="85" y="159"/>
                    <a:pt x="86" y="158"/>
                    <a:pt x="86" y="158"/>
                  </a:cubicBezTo>
                  <a:cubicBezTo>
                    <a:pt x="86" y="158"/>
                    <a:pt x="87" y="156"/>
                    <a:pt x="87" y="155"/>
                  </a:cubicBezTo>
                  <a:cubicBezTo>
                    <a:pt x="87" y="155"/>
                    <a:pt x="87" y="153"/>
                    <a:pt x="87" y="153"/>
                  </a:cubicBezTo>
                  <a:cubicBezTo>
                    <a:pt x="87" y="153"/>
                    <a:pt x="89" y="153"/>
                    <a:pt x="89" y="152"/>
                  </a:cubicBezTo>
                  <a:cubicBezTo>
                    <a:pt x="89" y="152"/>
                    <a:pt x="92" y="152"/>
                    <a:pt x="92" y="152"/>
                  </a:cubicBezTo>
                  <a:cubicBezTo>
                    <a:pt x="92" y="152"/>
                    <a:pt x="91" y="148"/>
                    <a:pt x="91" y="148"/>
                  </a:cubicBezTo>
                  <a:cubicBezTo>
                    <a:pt x="91" y="147"/>
                    <a:pt x="90" y="144"/>
                    <a:pt x="90" y="144"/>
                  </a:cubicBezTo>
                  <a:cubicBezTo>
                    <a:pt x="90" y="144"/>
                    <a:pt x="92" y="142"/>
                    <a:pt x="92" y="142"/>
                  </a:cubicBezTo>
                  <a:cubicBezTo>
                    <a:pt x="92" y="142"/>
                    <a:pt x="93" y="140"/>
                    <a:pt x="93" y="139"/>
                  </a:cubicBezTo>
                  <a:cubicBezTo>
                    <a:pt x="93" y="139"/>
                    <a:pt x="95" y="136"/>
                    <a:pt x="95" y="135"/>
                  </a:cubicBezTo>
                  <a:cubicBezTo>
                    <a:pt x="95" y="135"/>
                    <a:pt x="96" y="134"/>
                    <a:pt x="96" y="134"/>
                  </a:cubicBezTo>
                  <a:cubicBezTo>
                    <a:pt x="96" y="133"/>
                    <a:pt x="97" y="133"/>
                    <a:pt x="97" y="133"/>
                  </a:cubicBezTo>
                  <a:cubicBezTo>
                    <a:pt x="97" y="134"/>
                    <a:pt x="99" y="135"/>
                    <a:pt x="99" y="135"/>
                  </a:cubicBezTo>
                  <a:cubicBezTo>
                    <a:pt x="99" y="135"/>
                    <a:pt x="100" y="136"/>
                    <a:pt x="100" y="136"/>
                  </a:cubicBezTo>
                  <a:cubicBezTo>
                    <a:pt x="100" y="136"/>
                    <a:pt x="101" y="137"/>
                    <a:pt x="101" y="137"/>
                  </a:cubicBezTo>
                  <a:cubicBezTo>
                    <a:pt x="101" y="137"/>
                    <a:pt x="100" y="138"/>
                    <a:pt x="100" y="138"/>
                  </a:cubicBezTo>
                  <a:cubicBezTo>
                    <a:pt x="100" y="138"/>
                    <a:pt x="100" y="140"/>
                    <a:pt x="100" y="140"/>
                  </a:cubicBezTo>
                  <a:cubicBezTo>
                    <a:pt x="100" y="140"/>
                    <a:pt x="102" y="140"/>
                    <a:pt x="102" y="140"/>
                  </a:cubicBezTo>
                  <a:cubicBezTo>
                    <a:pt x="102" y="140"/>
                    <a:pt x="103" y="139"/>
                    <a:pt x="103" y="139"/>
                  </a:cubicBezTo>
                  <a:cubicBezTo>
                    <a:pt x="103" y="138"/>
                    <a:pt x="103" y="137"/>
                    <a:pt x="103" y="137"/>
                  </a:cubicBezTo>
                  <a:cubicBezTo>
                    <a:pt x="105" y="138"/>
                    <a:pt x="105" y="138"/>
                    <a:pt x="105" y="138"/>
                  </a:cubicBezTo>
                  <a:cubicBezTo>
                    <a:pt x="105" y="138"/>
                    <a:pt x="105" y="133"/>
                    <a:pt x="105" y="133"/>
                  </a:cubicBezTo>
                  <a:cubicBezTo>
                    <a:pt x="105" y="133"/>
                    <a:pt x="104" y="132"/>
                    <a:pt x="104" y="132"/>
                  </a:cubicBezTo>
                  <a:cubicBezTo>
                    <a:pt x="104" y="131"/>
                    <a:pt x="105" y="131"/>
                    <a:pt x="105" y="131"/>
                  </a:cubicBezTo>
                  <a:cubicBezTo>
                    <a:pt x="105" y="131"/>
                    <a:pt x="106" y="130"/>
                    <a:pt x="106" y="130"/>
                  </a:cubicBezTo>
                  <a:cubicBezTo>
                    <a:pt x="106" y="130"/>
                    <a:pt x="106" y="126"/>
                    <a:pt x="106" y="126"/>
                  </a:cubicBezTo>
                  <a:cubicBezTo>
                    <a:pt x="106" y="126"/>
                    <a:pt x="107" y="125"/>
                    <a:pt x="108" y="125"/>
                  </a:cubicBezTo>
                  <a:cubicBezTo>
                    <a:pt x="108" y="125"/>
                    <a:pt x="109" y="122"/>
                    <a:pt x="109" y="122"/>
                  </a:cubicBezTo>
                  <a:cubicBezTo>
                    <a:pt x="109" y="122"/>
                    <a:pt x="110" y="122"/>
                    <a:pt x="111" y="122"/>
                  </a:cubicBezTo>
                  <a:cubicBezTo>
                    <a:pt x="111" y="122"/>
                    <a:pt x="112" y="123"/>
                    <a:pt x="112" y="123"/>
                  </a:cubicBezTo>
                  <a:cubicBezTo>
                    <a:pt x="112" y="123"/>
                    <a:pt x="113" y="119"/>
                    <a:pt x="113" y="119"/>
                  </a:cubicBezTo>
                  <a:cubicBezTo>
                    <a:pt x="113" y="119"/>
                    <a:pt x="114" y="118"/>
                    <a:pt x="114" y="118"/>
                  </a:cubicBezTo>
                  <a:cubicBezTo>
                    <a:pt x="115" y="118"/>
                    <a:pt x="115" y="116"/>
                    <a:pt x="116" y="116"/>
                  </a:cubicBezTo>
                  <a:cubicBezTo>
                    <a:pt x="116" y="116"/>
                    <a:pt x="117" y="116"/>
                    <a:pt x="117" y="116"/>
                  </a:cubicBezTo>
                  <a:cubicBezTo>
                    <a:pt x="117" y="116"/>
                    <a:pt x="119" y="119"/>
                    <a:pt x="119" y="119"/>
                  </a:cubicBezTo>
                  <a:cubicBezTo>
                    <a:pt x="119" y="119"/>
                    <a:pt x="121" y="119"/>
                    <a:pt x="121" y="119"/>
                  </a:cubicBezTo>
                  <a:cubicBezTo>
                    <a:pt x="121" y="119"/>
                    <a:pt x="126" y="116"/>
                    <a:pt x="126" y="116"/>
                  </a:cubicBezTo>
                  <a:cubicBezTo>
                    <a:pt x="133" y="109"/>
                    <a:pt x="133" y="109"/>
                    <a:pt x="133" y="109"/>
                  </a:cubicBezTo>
                  <a:cubicBezTo>
                    <a:pt x="133" y="109"/>
                    <a:pt x="134" y="107"/>
                    <a:pt x="134" y="107"/>
                  </a:cubicBezTo>
                  <a:cubicBezTo>
                    <a:pt x="134" y="107"/>
                    <a:pt x="136" y="107"/>
                    <a:pt x="136" y="107"/>
                  </a:cubicBezTo>
                  <a:cubicBezTo>
                    <a:pt x="136" y="107"/>
                    <a:pt x="136" y="104"/>
                    <a:pt x="137" y="104"/>
                  </a:cubicBezTo>
                  <a:cubicBezTo>
                    <a:pt x="137" y="103"/>
                    <a:pt x="138" y="103"/>
                    <a:pt x="138" y="103"/>
                  </a:cubicBezTo>
                  <a:cubicBezTo>
                    <a:pt x="138" y="103"/>
                    <a:pt x="136" y="101"/>
                    <a:pt x="136" y="100"/>
                  </a:cubicBezTo>
                  <a:cubicBezTo>
                    <a:pt x="136" y="100"/>
                    <a:pt x="137" y="98"/>
                    <a:pt x="138" y="98"/>
                  </a:cubicBezTo>
                  <a:cubicBezTo>
                    <a:pt x="138" y="98"/>
                    <a:pt x="139" y="96"/>
                    <a:pt x="139" y="96"/>
                  </a:cubicBezTo>
                  <a:cubicBezTo>
                    <a:pt x="139" y="96"/>
                    <a:pt x="139" y="94"/>
                    <a:pt x="139" y="94"/>
                  </a:cubicBezTo>
                  <a:cubicBezTo>
                    <a:pt x="139" y="94"/>
                    <a:pt x="141" y="93"/>
                    <a:pt x="141" y="93"/>
                  </a:cubicBezTo>
                  <a:cubicBezTo>
                    <a:pt x="141" y="89"/>
                    <a:pt x="141" y="89"/>
                    <a:pt x="141" y="89"/>
                  </a:cubicBezTo>
                  <a:cubicBezTo>
                    <a:pt x="141" y="85"/>
                    <a:pt x="141" y="85"/>
                    <a:pt x="141" y="85"/>
                  </a:cubicBezTo>
                  <a:cubicBezTo>
                    <a:pt x="146" y="76"/>
                    <a:pt x="146" y="76"/>
                    <a:pt x="146" y="76"/>
                  </a:cubicBezTo>
                  <a:cubicBezTo>
                    <a:pt x="146" y="76"/>
                    <a:pt x="144" y="73"/>
                    <a:pt x="144" y="72"/>
                  </a:cubicBezTo>
                  <a:cubicBezTo>
                    <a:pt x="144" y="72"/>
                    <a:pt x="145" y="71"/>
                    <a:pt x="145" y="70"/>
                  </a:cubicBezTo>
                  <a:cubicBezTo>
                    <a:pt x="145" y="70"/>
                    <a:pt x="146" y="68"/>
                    <a:pt x="146" y="68"/>
                  </a:cubicBezTo>
                  <a:cubicBezTo>
                    <a:pt x="146" y="68"/>
                    <a:pt x="145" y="66"/>
                    <a:pt x="145" y="66"/>
                  </a:cubicBezTo>
                  <a:cubicBezTo>
                    <a:pt x="145" y="66"/>
                    <a:pt x="143" y="63"/>
                    <a:pt x="143" y="63"/>
                  </a:cubicBezTo>
                  <a:cubicBezTo>
                    <a:pt x="143" y="63"/>
                    <a:pt x="144" y="62"/>
                    <a:pt x="144" y="61"/>
                  </a:cubicBezTo>
                  <a:cubicBezTo>
                    <a:pt x="144" y="61"/>
                    <a:pt x="145" y="61"/>
                    <a:pt x="145" y="61"/>
                  </a:cubicBezTo>
                  <a:cubicBezTo>
                    <a:pt x="147" y="62"/>
                    <a:pt x="147" y="62"/>
                    <a:pt x="147" y="62"/>
                  </a:cubicBezTo>
                  <a:cubicBezTo>
                    <a:pt x="149" y="61"/>
                    <a:pt x="149" y="61"/>
                    <a:pt x="149" y="61"/>
                  </a:cubicBezTo>
                  <a:cubicBezTo>
                    <a:pt x="149" y="0"/>
                    <a:pt x="149" y="0"/>
                    <a:pt x="149" y="0"/>
                  </a:cubicBezTo>
                  <a:cubicBezTo>
                    <a:pt x="148" y="0"/>
                    <a:pt x="147" y="0"/>
                    <a:pt x="146" y="1"/>
                  </a:cubicBezTo>
                  <a:close/>
                </a:path>
              </a:pathLst>
            </a:custGeom>
            <a:solidFill>
              <a:srgbClr val="FF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1" name="Freeform 24">
              <a:extLst>
                <a:ext uri="{FF2B5EF4-FFF2-40B4-BE49-F238E27FC236}">
                  <a16:creationId xmlns:a16="http://schemas.microsoft.com/office/drawing/2014/main" id="{C420E3B9-DE6F-4908-CB3B-84E44DF19111}"/>
                </a:ext>
              </a:extLst>
            </p:cNvPr>
            <p:cNvSpPr>
              <a:spLocks/>
            </p:cNvSpPr>
            <p:nvPr/>
          </p:nvSpPr>
          <p:spPr bwMode="auto">
            <a:xfrm>
              <a:off x="5348340" y="956552"/>
              <a:ext cx="1021062" cy="619576"/>
            </a:xfrm>
            <a:custGeom>
              <a:avLst/>
              <a:gdLst>
                <a:gd name="T0" fmla="*/ 258 w 258"/>
                <a:gd name="T1" fmla="*/ 139 h 156"/>
                <a:gd name="T2" fmla="*/ 256 w 258"/>
                <a:gd name="T3" fmla="*/ 134 h 156"/>
                <a:gd name="T4" fmla="*/ 253 w 258"/>
                <a:gd name="T5" fmla="*/ 131 h 156"/>
                <a:gd name="T6" fmla="*/ 252 w 258"/>
                <a:gd name="T7" fmla="*/ 127 h 156"/>
                <a:gd name="T8" fmla="*/ 251 w 258"/>
                <a:gd name="T9" fmla="*/ 123 h 156"/>
                <a:gd name="T10" fmla="*/ 251 w 258"/>
                <a:gd name="T11" fmla="*/ 119 h 156"/>
                <a:gd name="T12" fmla="*/ 252 w 258"/>
                <a:gd name="T13" fmla="*/ 111 h 156"/>
                <a:gd name="T14" fmla="*/ 252 w 258"/>
                <a:gd name="T15" fmla="*/ 109 h 156"/>
                <a:gd name="T16" fmla="*/ 251 w 258"/>
                <a:gd name="T17" fmla="*/ 106 h 156"/>
                <a:gd name="T18" fmla="*/ 249 w 258"/>
                <a:gd name="T19" fmla="*/ 102 h 156"/>
                <a:gd name="T20" fmla="*/ 249 w 258"/>
                <a:gd name="T21" fmla="*/ 90 h 156"/>
                <a:gd name="T22" fmla="*/ 249 w 258"/>
                <a:gd name="T23" fmla="*/ 84 h 156"/>
                <a:gd name="T24" fmla="*/ 248 w 258"/>
                <a:gd name="T25" fmla="*/ 75 h 156"/>
                <a:gd name="T26" fmla="*/ 247 w 258"/>
                <a:gd name="T27" fmla="*/ 69 h 156"/>
                <a:gd name="T28" fmla="*/ 244 w 258"/>
                <a:gd name="T29" fmla="*/ 62 h 156"/>
                <a:gd name="T30" fmla="*/ 241 w 258"/>
                <a:gd name="T31" fmla="*/ 52 h 156"/>
                <a:gd name="T32" fmla="*/ 239 w 258"/>
                <a:gd name="T33" fmla="*/ 47 h 156"/>
                <a:gd name="T34" fmla="*/ 239 w 258"/>
                <a:gd name="T35" fmla="*/ 40 h 156"/>
                <a:gd name="T36" fmla="*/ 239 w 258"/>
                <a:gd name="T37" fmla="*/ 36 h 156"/>
                <a:gd name="T38" fmla="*/ 238 w 258"/>
                <a:gd name="T39" fmla="*/ 33 h 156"/>
                <a:gd name="T40" fmla="*/ 239 w 258"/>
                <a:gd name="T41" fmla="*/ 30 h 156"/>
                <a:gd name="T42" fmla="*/ 238 w 258"/>
                <a:gd name="T43" fmla="*/ 28 h 156"/>
                <a:gd name="T44" fmla="*/ 238 w 258"/>
                <a:gd name="T45" fmla="*/ 27 h 156"/>
                <a:gd name="T46" fmla="*/ 239 w 258"/>
                <a:gd name="T47" fmla="*/ 25 h 156"/>
                <a:gd name="T48" fmla="*/ 238 w 258"/>
                <a:gd name="T49" fmla="*/ 24 h 156"/>
                <a:gd name="T50" fmla="*/ 239 w 258"/>
                <a:gd name="T51" fmla="*/ 21 h 156"/>
                <a:gd name="T52" fmla="*/ 239 w 258"/>
                <a:gd name="T53" fmla="*/ 18 h 156"/>
                <a:gd name="T54" fmla="*/ 239 w 258"/>
                <a:gd name="T55" fmla="*/ 14 h 156"/>
                <a:gd name="T56" fmla="*/ 237 w 258"/>
                <a:gd name="T57" fmla="*/ 8 h 156"/>
                <a:gd name="T58" fmla="*/ 236 w 258"/>
                <a:gd name="T59" fmla="*/ 4 h 156"/>
                <a:gd name="T60" fmla="*/ 236 w 258"/>
                <a:gd name="T61" fmla="*/ 0 h 156"/>
                <a:gd name="T62" fmla="*/ 0 w 258"/>
                <a:gd name="T63" fmla="*/ 0 h 156"/>
                <a:gd name="T64" fmla="*/ 0 w 258"/>
                <a:gd name="T65" fmla="*/ 156 h 156"/>
                <a:gd name="T66" fmla="*/ 258 w 258"/>
                <a:gd name="T67" fmla="*/ 156 h 156"/>
                <a:gd name="T68" fmla="*/ 258 w 258"/>
                <a:gd name="T69" fmla="*/ 13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8" h="156">
                  <a:moveTo>
                    <a:pt x="258" y="139"/>
                  </a:moveTo>
                  <a:cubicBezTo>
                    <a:pt x="257" y="139"/>
                    <a:pt x="256" y="135"/>
                    <a:pt x="256" y="134"/>
                  </a:cubicBezTo>
                  <a:cubicBezTo>
                    <a:pt x="255" y="134"/>
                    <a:pt x="254" y="132"/>
                    <a:pt x="253" y="131"/>
                  </a:cubicBezTo>
                  <a:cubicBezTo>
                    <a:pt x="253" y="130"/>
                    <a:pt x="252" y="128"/>
                    <a:pt x="252" y="127"/>
                  </a:cubicBezTo>
                  <a:cubicBezTo>
                    <a:pt x="252" y="126"/>
                    <a:pt x="251" y="124"/>
                    <a:pt x="251" y="123"/>
                  </a:cubicBezTo>
                  <a:cubicBezTo>
                    <a:pt x="251" y="122"/>
                    <a:pt x="251" y="121"/>
                    <a:pt x="251" y="119"/>
                  </a:cubicBezTo>
                  <a:cubicBezTo>
                    <a:pt x="251" y="118"/>
                    <a:pt x="252" y="112"/>
                    <a:pt x="252" y="111"/>
                  </a:cubicBezTo>
                  <a:cubicBezTo>
                    <a:pt x="252" y="111"/>
                    <a:pt x="252" y="110"/>
                    <a:pt x="252" y="109"/>
                  </a:cubicBezTo>
                  <a:cubicBezTo>
                    <a:pt x="252" y="108"/>
                    <a:pt x="251" y="107"/>
                    <a:pt x="251" y="106"/>
                  </a:cubicBezTo>
                  <a:cubicBezTo>
                    <a:pt x="250" y="105"/>
                    <a:pt x="250" y="104"/>
                    <a:pt x="249" y="102"/>
                  </a:cubicBezTo>
                  <a:cubicBezTo>
                    <a:pt x="249" y="100"/>
                    <a:pt x="249" y="92"/>
                    <a:pt x="249" y="90"/>
                  </a:cubicBezTo>
                  <a:cubicBezTo>
                    <a:pt x="249" y="89"/>
                    <a:pt x="249" y="86"/>
                    <a:pt x="249" y="84"/>
                  </a:cubicBezTo>
                  <a:cubicBezTo>
                    <a:pt x="249" y="83"/>
                    <a:pt x="249" y="77"/>
                    <a:pt x="248" y="75"/>
                  </a:cubicBezTo>
                  <a:cubicBezTo>
                    <a:pt x="248" y="74"/>
                    <a:pt x="248" y="71"/>
                    <a:pt x="247" y="69"/>
                  </a:cubicBezTo>
                  <a:cubicBezTo>
                    <a:pt x="247" y="67"/>
                    <a:pt x="244" y="64"/>
                    <a:pt x="244" y="62"/>
                  </a:cubicBezTo>
                  <a:cubicBezTo>
                    <a:pt x="243" y="60"/>
                    <a:pt x="241" y="53"/>
                    <a:pt x="241" y="52"/>
                  </a:cubicBezTo>
                  <a:cubicBezTo>
                    <a:pt x="240" y="50"/>
                    <a:pt x="239" y="49"/>
                    <a:pt x="239" y="47"/>
                  </a:cubicBezTo>
                  <a:cubicBezTo>
                    <a:pt x="239" y="45"/>
                    <a:pt x="239" y="41"/>
                    <a:pt x="239" y="40"/>
                  </a:cubicBezTo>
                  <a:cubicBezTo>
                    <a:pt x="239" y="38"/>
                    <a:pt x="239" y="37"/>
                    <a:pt x="239" y="36"/>
                  </a:cubicBezTo>
                  <a:cubicBezTo>
                    <a:pt x="239" y="35"/>
                    <a:pt x="238" y="34"/>
                    <a:pt x="238" y="33"/>
                  </a:cubicBezTo>
                  <a:cubicBezTo>
                    <a:pt x="238" y="32"/>
                    <a:pt x="239" y="30"/>
                    <a:pt x="239" y="30"/>
                  </a:cubicBezTo>
                  <a:cubicBezTo>
                    <a:pt x="239" y="29"/>
                    <a:pt x="238" y="28"/>
                    <a:pt x="238" y="28"/>
                  </a:cubicBezTo>
                  <a:cubicBezTo>
                    <a:pt x="238" y="28"/>
                    <a:pt x="238" y="27"/>
                    <a:pt x="238" y="27"/>
                  </a:cubicBezTo>
                  <a:cubicBezTo>
                    <a:pt x="239" y="26"/>
                    <a:pt x="239" y="25"/>
                    <a:pt x="239" y="25"/>
                  </a:cubicBezTo>
                  <a:cubicBezTo>
                    <a:pt x="238" y="24"/>
                    <a:pt x="238" y="25"/>
                    <a:pt x="238" y="24"/>
                  </a:cubicBezTo>
                  <a:cubicBezTo>
                    <a:pt x="238" y="23"/>
                    <a:pt x="238" y="21"/>
                    <a:pt x="239" y="21"/>
                  </a:cubicBezTo>
                  <a:cubicBezTo>
                    <a:pt x="239" y="20"/>
                    <a:pt x="239" y="20"/>
                    <a:pt x="239" y="18"/>
                  </a:cubicBezTo>
                  <a:cubicBezTo>
                    <a:pt x="240" y="16"/>
                    <a:pt x="239" y="15"/>
                    <a:pt x="239" y="14"/>
                  </a:cubicBezTo>
                  <a:cubicBezTo>
                    <a:pt x="239" y="14"/>
                    <a:pt x="237" y="9"/>
                    <a:pt x="237" y="8"/>
                  </a:cubicBezTo>
                  <a:cubicBezTo>
                    <a:pt x="237" y="7"/>
                    <a:pt x="236" y="6"/>
                    <a:pt x="236" y="4"/>
                  </a:cubicBezTo>
                  <a:cubicBezTo>
                    <a:pt x="236" y="3"/>
                    <a:pt x="236" y="0"/>
                    <a:pt x="236" y="0"/>
                  </a:cubicBezTo>
                  <a:cubicBezTo>
                    <a:pt x="0" y="0"/>
                    <a:pt x="0" y="0"/>
                    <a:pt x="0" y="0"/>
                  </a:cubicBezTo>
                  <a:cubicBezTo>
                    <a:pt x="0" y="156"/>
                    <a:pt x="0" y="156"/>
                    <a:pt x="0" y="156"/>
                  </a:cubicBezTo>
                  <a:cubicBezTo>
                    <a:pt x="258" y="156"/>
                    <a:pt x="258" y="156"/>
                    <a:pt x="258" y="156"/>
                  </a:cubicBezTo>
                  <a:cubicBezTo>
                    <a:pt x="258" y="156"/>
                    <a:pt x="258" y="140"/>
                    <a:pt x="258" y="139"/>
                  </a:cubicBezTo>
                  <a:close/>
                </a:path>
              </a:pathLst>
            </a:custGeom>
            <a:solidFill>
              <a:schemeClr val="bg1">
                <a:lumMod val="85000"/>
              </a:schemeClr>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2" name="Freeform 25">
              <a:extLst>
                <a:ext uri="{FF2B5EF4-FFF2-40B4-BE49-F238E27FC236}">
                  <a16:creationId xmlns:a16="http://schemas.microsoft.com/office/drawing/2014/main" id="{D8AC9E70-723D-4D79-417C-84042903D403}"/>
                </a:ext>
              </a:extLst>
            </p:cNvPr>
            <p:cNvSpPr>
              <a:spLocks noEditPoints="1"/>
            </p:cNvSpPr>
            <p:nvPr/>
          </p:nvSpPr>
          <p:spPr bwMode="auto">
            <a:xfrm>
              <a:off x="8044736" y="3287813"/>
              <a:ext cx="1196195" cy="460965"/>
            </a:xfrm>
            <a:custGeom>
              <a:avLst/>
              <a:gdLst>
                <a:gd name="T0" fmla="*/ 300 w 302"/>
                <a:gd name="T1" fmla="*/ 26 h 116"/>
                <a:gd name="T2" fmla="*/ 293 w 302"/>
                <a:gd name="T3" fmla="*/ 4 h 116"/>
                <a:gd name="T4" fmla="*/ 123 w 302"/>
                <a:gd name="T5" fmla="*/ 0 h 116"/>
                <a:gd name="T6" fmla="*/ 87 w 302"/>
                <a:gd name="T7" fmla="*/ 10 h 116"/>
                <a:gd name="T8" fmla="*/ 72 w 302"/>
                <a:gd name="T9" fmla="*/ 19 h 116"/>
                <a:gd name="T10" fmla="*/ 59 w 302"/>
                <a:gd name="T11" fmla="*/ 22 h 116"/>
                <a:gd name="T12" fmla="*/ 48 w 302"/>
                <a:gd name="T13" fmla="*/ 33 h 116"/>
                <a:gd name="T14" fmla="*/ 37 w 302"/>
                <a:gd name="T15" fmla="*/ 38 h 116"/>
                <a:gd name="T16" fmla="*/ 14 w 302"/>
                <a:gd name="T17" fmla="*/ 47 h 116"/>
                <a:gd name="T18" fmla="*/ 5 w 302"/>
                <a:gd name="T19" fmla="*/ 58 h 116"/>
                <a:gd name="T20" fmla="*/ 52 w 302"/>
                <a:gd name="T21" fmla="*/ 64 h 116"/>
                <a:gd name="T22" fmla="*/ 68 w 302"/>
                <a:gd name="T23" fmla="*/ 59 h 116"/>
                <a:gd name="T24" fmla="*/ 114 w 302"/>
                <a:gd name="T25" fmla="*/ 63 h 116"/>
                <a:gd name="T26" fmla="*/ 122 w 302"/>
                <a:gd name="T27" fmla="*/ 75 h 116"/>
                <a:gd name="T28" fmla="*/ 205 w 302"/>
                <a:gd name="T29" fmla="*/ 114 h 116"/>
                <a:gd name="T30" fmla="*/ 218 w 302"/>
                <a:gd name="T31" fmla="*/ 114 h 116"/>
                <a:gd name="T32" fmla="*/ 222 w 302"/>
                <a:gd name="T33" fmla="*/ 106 h 116"/>
                <a:gd name="T34" fmla="*/ 225 w 302"/>
                <a:gd name="T35" fmla="*/ 104 h 116"/>
                <a:gd name="T36" fmla="*/ 233 w 302"/>
                <a:gd name="T37" fmla="*/ 93 h 116"/>
                <a:gd name="T38" fmla="*/ 240 w 302"/>
                <a:gd name="T39" fmla="*/ 88 h 116"/>
                <a:gd name="T40" fmla="*/ 240 w 302"/>
                <a:gd name="T41" fmla="*/ 83 h 116"/>
                <a:gd name="T42" fmla="*/ 242 w 302"/>
                <a:gd name="T43" fmla="*/ 84 h 116"/>
                <a:gd name="T44" fmla="*/ 252 w 302"/>
                <a:gd name="T45" fmla="*/ 81 h 116"/>
                <a:gd name="T46" fmla="*/ 261 w 302"/>
                <a:gd name="T47" fmla="*/ 79 h 116"/>
                <a:gd name="T48" fmla="*/ 268 w 302"/>
                <a:gd name="T49" fmla="*/ 78 h 116"/>
                <a:gd name="T50" fmla="*/ 274 w 302"/>
                <a:gd name="T51" fmla="*/ 73 h 116"/>
                <a:gd name="T52" fmla="*/ 274 w 302"/>
                <a:gd name="T53" fmla="*/ 69 h 116"/>
                <a:gd name="T54" fmla="*/ 269 w 302"/>
                <a:gd name="T55" fmla="*/ 68 h 116"/>
                <a:gd name="T56" fmla="*/ 261 w 302"/>
                <a:gd name="T57" fmla="*/ 71 h 116"/>
                <a:gd name="T58" fmla="*/ 253 w 302"/>
                <a:gd name="T59" fmla="*/ 65 h 116"/>
                <a:gd name="T60" fmla="*/ 258 w 302"/>
                <a:gd name="T61" fmla="*/ 67 h 116"/>
                <a:gd name="T62" fmla="*/ 265 w 302"/>
                <a:gd name="T63" fmla="*/ 67 h 116"/>
                <a:gd name="T64" fmla="*/ 264 w 302"/>
                <a:gd name="T65" fmla="*/ 61 h 116"/>
                <a:gd name="T66" fmla="*/ 270 w 302"/>
                <a:gd name="T67" fmla="*/ 56 h 116"/>
                <a:gd name="T68" fmla="*/ 259 w 302"/>
                <a:gd name="T69" fmla="*/ 51 h 116"/>
                <a:gd name="T70" fmla="*/ 266 w 302"/>
                <a:gd name="T71" fmla="*/ 51 h 116"/>
                <a:gd name="T72" fmla="*/ 271 w 302"/>
                <a:gd name="T73" fmla="*/ 47 h 116"/>
                <a:gd name="T74" fmla="*/ 274 w 302"/>
                <a:gd name="T75" fmla="*/ 50 h 116"/>
                <a:gd name="T76" fmla="*/ 285 w 302"/>
                <a:gd name="T77" fmla="*/ 52 h 116"/>
                <a:gd name="T78" fmla="*/ 298 w 302"/>
                <a:gd name="T79" fmla="*/ 39 h 116"/>
                <a:gd name="T80" fmla="*/ 291 w 302"/>
                <a:gd name="T81" fmla="*/ 29 h 116"/>
                <a:gd name="T82" fmla="*/ 284 w 302"/>
                <a:gd name="T83" fmla="*/ 38 h 116"/>
                <a:gd name="T84" fmla="*/ 286 w 302"/>
                <a:gd name="T85" fmla="*/ 27 h 116"/>
                <a:gd name="T86" fmla="*/ 274 w 302"/>
                <a:gd name="T87" fmla="*/ 26 h 116"/>
                <a:gd name="T88" fmla="*/ 264 w 302"/>
                <a:gd name="T89" fmla="*/ 26 h 116"/>
                <a:gd name="T90" fmla="*/ 261 w 302"/>
                <a:gd name="T91" fmla="*/ 19 h 116"/>
                <a:gd name="T92" fmla="*/ 264 w 302"/>
                <a:gd name="T93" fmla="*/ 17 h 116"/>
                <a:gd name="T94" fmla="*/ 269 w 302"/>
                <a:gd name="T95" fmla="*/ 24 h 116"/>
                <a:gd name="T96" fmla="*/ 274 w 302"/>
                <a:gd name="T97" fmla="*/ 19 h 116"/>
                <a:gd name="T98" fmla="*/ 279 w 302"/>
                <a:gd name="T99" fmla="*/ 17 h 116"/>
                <a:gd name="T100" fmla="*/ 283 w 302"/>
                <a:gd name="T101" fmla="*/ 15 h 116"/>
                <a:gd name="T102" fmla="*/ 289 w 302"/>
                <a:gd name="T103" fmla="*/ 17 h 116"/>
                <a:gd name="T104" fmla="*/ 294 w 302"/>
                <a:gd name="T105" fmla="*/ 20 h 116"/>
                <a:gd name="T106" fmla="*/ 287 w 302"/>
                <a:gd name="T107" fmla="*/ 4 h 116"/>
                <a:gd name="T108" fmla="*/ 294 w 302"/>
                <a:gd name="T109" fmla="*/ 12 h 116"/>
                <a:gd name="T110" fmla="*/ 302 w 302"/>
                <a:gd name="T111" fmla="*/ 2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2" h="116">
                  <a:moveTo>
                    <a:pt x="298" y="29"/>
                  </a:moveTo>
                  <a:cubicBezTo>
                    <a:pt x="299" y="28"/>
                    <a:pt x="299" y="29"/>
                    <a:pt x="300" y="30"/>
                  </a:cubicBezTo>
                  <a:cubicBezTo>
                    <a:pt x="300" y="30"/>
                    <a:pt x="301" y="31"/>
                    <a:pt x="300" y="31"/>
                  </a:cubicBezTo>
                  <a:cubicBezTo>
                    <a:pt x="300" y="32"/>
                    <a:pt x="299" y="31"/>
                    <a:pt x="299" y="31"/>
                  </a:cubicBezTo>
                  <a:cubicBezTo>
                    <a:pt x="299" y="31"/>
                    <a:pt x="299" y="31"/>
                    <a:pt x="299" y="30"/>
                  </a:cubicBezTo>
                  <a:cubicBezTo>
                    <a:pt x="298" y="30"/>
                    <a:pt x="298" y="30"/>
                    <a:pt x="298" y="29"/>
                  </a:cubicBezTo>
                  <a:close/>
                  <a:moveTo>
                    <a:pt x="300" y="26"/>
                  </a:moveTo>
                  <a:cubicBezTo>
                    <a:pt x="300" y="25"/>
                    <a:pt x="299" y="24"/>
                    <a:pt x="299" y="23"/>
                  </a:cubicBezTo>
                  <a:cubicBezTo>
                    <a:pt x="298" y="21"/>
                    <a:pt x="298" y="20"/>
                    <a:pt x="297" y="19"/>
                  </a:cubicBezTo>
                  <a:cubicBezTo>
                    <a:pt x="297" y="18"/>
                    <a:pt x="296" y="17"/>
                    <a:pt x="296" y="16"/>
                  </a:cubicBezTo>
                  <a:cubicBezTo>
                    <a:pt x="296" y="15"/>
                    <a:pt x="295" y="13"/>
                    <a:pt x="295" y="12"/>
                  </a:cubicBezTo>
                  <a:cubicBezTo>
                    <a:pt x="295" y="11"/>
                    <a:pt x="294" y="10"/>
                    <a:pt x="294" y="9"/>
                  </a:cubicBezTo>
                  <a:cubicBezTo>
                    <a:pt x="294" y="8"/>
                    <a:pt x="294" y="8"/>
                    <a:pt x="294" y="7"/>
                  </a:cubicBezTo>
                  <a:cubicBezTo>
                    <a:pt x="294" y="6"/>
                    <a:pt x="293" y="5"/>
                    <a:pt x="293" y="4"/>
                  </a:cubicBezTo>
                  <a:cubicBezTo>
                    <a:pt x="293" y="3"/>
                    <a:pt x="293" y="2"/>
                    <a:pt x="293" y="2"/>
                  </a:cubicBezTo>
                  <a:cubicBezTo>
                    <a:pt x="291" y="2"/>
                    <a:pt x="291" y="2"/>
                    <a:pt x="291" y="2"/>
                  </a:cubicBezTo>
                  <a:cubicBezTo>
                    <a:pt x="291" y="2"/>
                    <a:pt x="291" y="2"/>
                    <a:pt x="291" y="2"/>
                  </a:cubicBezTo>
                  <a:cubicBezTo>
                    <a:pt x="291" y="2"/>
                    <a:pt x="291" y="2"/>
                    <a:pt x="290" y="2"/>
                  </a:cubicBezTo>
                  <a:cubicBezTo>
                    <a:pt x="290" y="2"/>
                    <a:pt x="290" y="2"/>
                    <a:pt x="290" y="2"/>
                  </a:cubicBezTo>
                  <a:cubicBezTo>
                    <a:pt x="187" y="2"/>
                    <a:pt x="187" y="2"/>
                    <a:pt x="187" y="2"/>
                  </a:cubicBezTo>
                  <a:cubicBezTo>
                    <a:pt x="123" y="0"/>
                    <a:pt x="123" y="0"/>
                    <a:pt x="123" y="0"/>
                  </a:cubicBezTo>
                  <a:cubicBezTo>
                    <a:pt x="92" y="0"/>
                    <a:pt x="92" y="0"/>
                    <a:pt x="92" y="0"/>
                  </a:cubicBezTo>
                  <a:cubicBezTo>
                    <a:pt x="92" y="0"/>
                    <a:pt x="90" y="2"/>
                    <a:pt x="90" y="3"/>
                  </a:cubicBezTo>
                  <a:cubicBezTo>
                    <a:pt x="90" y="3"/>
                    <a:pt x="91" y="5"/>
                    <a:pt x="91" y="5"/>
                  </a:cubicBezTo>
                  <a:cubicBezTo>
                    <a:pt x="91" y="6"/>
                    <a:pt x="90" y="6"/>
                    <a:pt x="90" y="7"/>
                  </a:cubicBezTo>
                  <a:cubicBezTo>
                    <a:pt x="89" y="8"/>
                    <a:pt x="90" y="8"/>
                    <a:pt x="90" y="9"/>
                  </a:cubicBezTo>
                  <a:cubicBezTo>
                    <a:pt x="90" y="9"/>
                    <a:pt x="91" y="11"/>
                    <a:pt x="90" y="11"/>
                  </a:cubicBezTo>
                  <a:cubicBezTo>
                    <a:pt x="90" y="10"/>
                    <a:pt x="88" y="10"/>
                    <a:pt x="87" y="10"/>
                  </a:cubicBezTo>
                  <a:cubicBezTo>
                    <a:pt x="87" y="9"/>
                    <a:pt x="86" y="10"/>
                    <a:pt x="86" y="11"/>
                  </a:cubicBezTo>
                  <a:cubicBezTo>
                    <a:pt x="85" y="11"/>
                    <a:pt x="84" y="12"/>
                    <a:pt x="83" y="13"/>
                  </a:cubicBezTo>
                  <a:cubicBezTo>
                    <a:pt x="82" y="14"/>
                    <a:pt x="80" y="19"/>
                    <a:pt x="80" y="19"/>
                  </a:cubicBezTo>
                  <a:cubicBezTo>
                    <a:pt x="79" y="20"/>
                    <a:pt x="78" y="20"/>
                    <a:pt x="78" y="21"/>
                  </a:cubicBezTo>
                  <a:cubicBezTo>
                    <a:pt x="77" y="21"/>
                    <a:pt x="76" y="20"/>
                    <a:pt x="75" y="19"/>
                  </a:cubicBezTo>
                  <a:cubicBezTo>
                    <a:pt x="74" y="19"/>
                    <a:pt x="74" y="18"/>
                    <a:pt x="73" y="18"/>
                  </a:cubicBezTo>
                  <a:cubicBezTo>
                    <a:pt x="73" y="19"/>
                    <a:pt x="72" y="19"/>
                    <a:pt x="72" y="19"/>
                  </a:cubicBezTo>
                  <a:cubicBezTo>
                    <a:pt x="71" y="20"/>
                    <a:pt x="70" y="19"/>
                    <a:pt x="68" y="20"/>
                  </a:cubicBezTo>
                  <a:cubicBezTo>
                    <a:pt x="67" y="20"/>
                    <a:pt x="67" y="21"/>
                    <a:pt x="66" y="22"/>
                  </a:cubicBezTo>
                  <a:cubicBezTo>
                    <a:pt x="65" y="23"/>
                    <a:pt x="65" y="24"/>
                    <a:pt x="65" y="25"/>
                  </a:cubicBezTo>
                  <a:cubicBezTo>
                    <a:pt x="64" y="26"/>
                    <a:pt x="63" y="26"/>
                    <a:pt x="62" y="27"/>
                  </a:cubicBezTo>
                  <a:cubicBezTo>
                    <a:pt x="61" y="27"/>
                    <a:pt x="59" y="26"/>
                    <a:pt x="59" y="26"/>
                  </a:cubicBezTo>
                  <a:cubicBezTo>
                    <a:pt x="59" y="25"/>
                    <a:pt x="60" y="24"/>
                    <a:pt x="60" y="24"/>
                  </a:cubicBezTo>
                  <a:cubicBezTo>
                    <a:pt x="60" y="24"/>
                    <a:pt x="59" y="22"/>
                    <a:pt x="59" y="22"/>
                  </a:cubicBezTo>
                  <a:cubicBezTo>
                    <a:pt x="58" y="22"/>
                    <a:pt x="57" y="23"/>
                    <a:pt x="57" y="23"/>
                  </a:cubicBezTo>
                  <a:cubicBezTo>
                    <a:pt x="56" y="23"/>
                    <a:pt x="54" y="25"/>
                    <a:pt x="54" y="25"/>
                  </a:cubicBezTo>
                  <a:cubicBezTo>
                    <a:pt x="53" y="28"/>
                    <a:pt x="53" y="28"/>
                    <a:pt x="53" y="28"/>
                  </a:cubicBezTo>
                  <a:cubicBezTo>
                    <a:pt x="53" y="28"/>
                    <a:pt x="52" y="28"/>
                    <a:pt x="51" y="27"/>
                  </a:cubicBezTo>
                  <a:cubicBezTo>
                    <a:pt x="51" y="27"/>
                    <a:pt x="50" y="28"/>
                    <a:pt x="49" y="28"/>
                  </a:cubicBezTo>
                  <a:cubicBezTo>
                    <a:pt x="49" y="29"/>
                    <a:pt x="49" y="30"/>
                    <a:pt x="49" y="30"/>
                  </a:cubicBezTo>
                  <a:cubicBezTo>
                    <a:pt x="49" y="31"/>
                    <a:pt x="48" y="32"/>
                    <a:pt x="48" y="33"/>
                  </a:cubicBezTo>
                  <a:cubicBezTo>
                    <a:pt x="47" y="33"/>
                    <a:pt x="47" y="34"/>
                    <a:pt x="46" y="34"/>
                  </a:cubicBezTo>
                  <a:cubicBezTo>
                    <a:pt x="46" y="34"/>
                    <a:pt x="45" y="34"/>
                    <a:pt x="44" y="34"/>
                  </a:cubicBezTo>
                  <a:cubicBezTo>
                    <a:pt x="44" y="34"/>
                    <a:pt x="42" y="34"/>
                    <a:pt x="42" y="34"/>
                  </a:cubicBezTo>
                  <a:cubicBezTo>
                    <a:pt x="41" y="35"/>
                    <a:pt x="41" y="35"/>
                    <a:pt x="41" y="35"/>
                  </a:cubicBezTo>
                  <a:cubicBezTo>
                    <a:pt x="40" y="36"/>
                    <a:pt x="39" y="36"/>
                    <a:pt x="39" y="37"/>
                  </a:cubicBezTo>
                  <a:cubicBezTo>
                    <a:pt x="39" y="37"/>
                    <a:pt x="38" y="37"/>
                    <a:pt x="37" y="37"/>
                  </a:cubicBezTo>
                  <a:cubicBezTo>
                    <a:pt x="37" y="37"/>
                    <a:pt x="37" y="38"/>
                    <a:pt x="37" y="38"/>
                  </a:cubicBezTo>
                  <a:cubicBezTo>
                    <a:pt x="37" y="39"/>
                    <a:pt x="36" y="39"/>
                    <a:pt x="36" y="39"/>
                  </a:cubicBezTo>
                  <a:cubicBezTo>
                    <a:pt x="36" y="39"/>
                    <a:pt x="34" y="39"/>
                    <a:pt x="34" y="40"/>
                  </a:cubicBezTo>
                  <a:cubicBezTo>
                    <a:pt x="34" y="40"/>
                    <a:pt x="33" y="40"/>
                    <a:pt x="32" y="41"/>
                  </a:cubicBezTo>
                  <a:cubicBezTo>
                    <a:pt x="32" y="41"/>
                    <a:pt x="29" y="44"/>
                    <a:pt x="29" y="44"/>
                  </a:cubicBezTo>
                  <a:cubicBezTo>
                    <a:pt x="20" y="44"/>
                    <a:pt x="20" y="44"/>
                    <a:pt x="20" y="44"/>
                  </a:cubicBezTo>
                  <a:cubicBezTo>
                    <a:pt x="20" y="44"/>
                    <a:pt x="18" y="44"/>
                    <a:pt x="18" y="44"/>
                  </a:cubicBezTo>
                  <a:cubicBezTo>
                    <a:pt x="18" y="44"/>
                    <a:pt x="14" y="47"/>
                    <a:pt x="14" y="47"/>
                  </a:cubicBezTo>
                  <a:cubicBezTo>
                    <a:pt x="14" y="47"/>
                    <a:pt x="11" y="50"/>
                    <a:pt x="11" y="50"/>
                  </a:cubicBezTo>
                  <a:cubicBezTo>
                    <a:pt x="11" y="50"/>
                    <a:pt x="11" y="51"/>
                    <a:pt x="11" y="52"/>
                  </a:cubicBezTo>
                  <a:cubicBezTo>
                    <a:pt x="11" y="52"/>
                    <a:pt x="10" y="53"/>
                    <a:pt x="10" y="53"/>
                  </a:cubicBezTo>
                  <a:cubicBezTo>
                    <a:pt x="10" y="53"/>
                    <a:pt x="10" y="54"/>
                    <a:pt x="10" y="54"/>
                  </a:cubicBezTo>
                  <a:cubicBezTo>
                    <a:pt x="11" y="55"/>
                    <a:pt x="10" y="56"/>
                    <a:pt x="10" y="56"/>
                  </a:cubicBezTo>
                  <a:cubicBezTo>
                    <a:pt x="9" y="56"/>
                    <a:pt x="8" y="57"/>
                    <a:pt x="7" y="57"/>
                  </a:cubicBezTo>
                  <a:cubicBezTo>
                    <a:pt x="7" y="57"/>
                    <a:pt x="5" y="58"/>
                    <a:pt x="5" y="58"/>
                  </a:cubicBezTo>
                  <a:cubicBezTo>
                    <a:pt x="5" y="58"/>
                    <a:pt x="4" y="56"/>
                    <a:pt x="4" y="56"/>
                  </a:cubicBezTo>
                  <a:cubicBezTo>
                    <a:pt x="3" y="56"/>
                    <a:pt x="2" y="57"/>
                    <a:pt x="1" y="58"/>
                  </a:cubicBezTo>
                  <a:cubicBezTo>
                    <a:pt x="1" y="58"/>
                    <a:pt x="1" y="60"/>
                    <a:pt x="1" y="61"/>
                  </a:cubicBezTo>
                  <a:cubicBezTo>
                    <a:pt x="1" y="61"/>
                    <a:pt x="0" y="68"/>
                    <a:pt x="0" y="68"/>
                  </a:cubicBezTo>
                  <a:cubicBezTo>
                    <a:pt x="42" y="68"/>
                    <a:pt x="42" y="68"/>
                    <a:pt x="42" y="68"/>
                  </a:cubicBezTo>
                  <a:cubicBezTo>
                    <a:pt x="42" y="68"/>
                    <a:pt x="51" y="65"/>
                    <a:pt x="51" y="65"/>
                  </a:cubicBezTo>
                  <a:cubicBezTo>
                    <a:pt x="51" y="65"/>
                    <a:pt x="52" y="64"/>
                    <a:pt x="52" y="64"/>
                  </a:cubicBezTo>
                  <a:cubicBezTo>
                    <a:pt x="53" y="64"/>
                    <a:pt x="55" y="64"/>
                    <a:pt x="55" y="64"/>
                  </a:cubicBezTo>
                  <a:cubicBezTo>
                    <a:pt x="55" y="64"/>
                    <a:pt x="55" y="63"/>
                    <a:pt x="56" y="63"/>
                  </a:cubicBezTo>
                  <a:cubicBezTo>
                    <a:pt x="57" y="63"/>
                    <a:pt x="57" y="62"/>
                    <a:pt x="58" y="62"/>
                  </a:cubicBezTo>
                  <a:cubicBezTo>
                    <a:pt x="59" y="62"/>
                    <a:pt x="62" y="61"/>
                    <a:pt x="62" y="61"/>
                  </a:cubicBezTo>
                  <a:cubicBezTo>
                    <a:pt x="63" y="61"/>
                    <a:pt x="64" y="61"/>
                    <a:pt x="64" y="61"/>
                  </a:cubicBezTo>
                  <a:cubicBezTo>
                    <a:pt x="65" y="60"/>
                    <a:pt x="66" y="59"/>
                    <a:pt x="66" y="59"/>
                  </a:cubicBezTo>
                  <a:cubicBezTo>
                    <a:pt x="67" y="59"/>
                    <a:pt x="68" y="59"/>
                    <a:pt x="68" y="59"/>
                  </a:cubicBezTo>
                  <a:cubicBezTo>
                    <a:pt x="68" y="60"/>
                    <a:pt x="69" y="60"/>
                    <a:pt x="70" y="59"/>
                  </a:cubicBezTo>
                  <a:cubicBezTo>
                    <a:pt x="71" y="59"/>
                    <a:pt x="74" y="59"/>
                    <a:pt x="75" y="59"/>
                  </a:cubicBezTo>
                  <a:cubicBezTo>
                    <a:pt x="75" y="59"/>
                    <a:pt x="80" y="59"/>
                    <a:pt x="80" y="59"/>
                  </a:cubicBezTo>
                  <a:cubicBezTo>
                    <a:pt x="80" y="59"/>
                    <a:pt x="99" y="60"/>
                    <a:pt x="99" y="60"/>
                  </a:cubicBezTo>
                  <a:cubicBezTo>
                    <a:pt x="99" y="60"/>
                    <a:pt x="108" y="61"/>
                    <a:pt x="108" y="61"/>
                  </a:cubicBezTo>
                  <a:cubicBezTo>
                    <a:pt x="108" y="61"/>
                    <a:pt x="114" y="61"/>
                    <a:pt x="114" y="61"/>
                  </a:cubicBezTo>
                  <a:cubicBezTo>
                    <a:pt x="114" y="61"/>
                    <a:pt x="114" y="63"/>
                    <a:pt x="114" y="63"/>
                  </a:cubicBezTo>
                  <a:cubicBezTo>
                    <a:pt x="114" y="63"/>
                    <a:pt x="113" y="64"/>
                    <a:pt x="113" y="64"/>
                  </a:cubicBezTo>
                  <a:cubicBezTo>
                    <a:pt x="113" y="64"/>
                    <a:pt x="114" y="65"/>
                    <a:pt x="114" y="65"/>
                  </a:cubicBezTo>
                  <a:cubicBezTo>
                    <a:pt x="114" y="65"/>
                    <a:pt x="115" y="64"/>
                    <a:pt x="115" y="64"/>
                  </a:cubicBezTo>
                  <a:cubicBezTo>
                    <a:pt x="116" y="64"/>
                    <a:pt x="117" y="64"/>
                    <a:pt x="117" y="64"/>
                  </a:cubicBezTo>
                  <a:cubicBezTo>
                    <a:pt x="117" y="64"/>
                    <a:pt x="118" y="64"/>
                    <a:pt x="118" y="64"/>
                  </a:cubicBezTo>
                  <a:cubicBezTo>
                    <a:pt x="118" y="64"/>
                    <a:pt x="122" y="70"/>
                    <a:pt x="122" y="70"/>
                  </a:cubicBezTo>
                  <a:cubicBezTo>
                    <a:pt x="122" y="70"/>
                    <a:pt x="122" y="75"/>
                    <a:pt x="122" y="75"/>
                  </a:cubicBezTo>
                  <a:cubicBezTo>
                    <a:pt x="161" y="76"/>
                    <a:pt x="161" y="76"/>
                    <a:pt x="161" y="76"/>
                  </a:cubicBezTo>
                  <a:cubicBezTo>
                    <a:pt x="200" y="116"/>
                    <a:pt x="200" y="116"/>
                    <a:pt x="200" y="116"/>
                  </a:cubicBezTo>
                  <a:cubicBezTo>
                    <a:pt x="200" y="116"/>
                    <a:pt x="201" y="116"/>
                    <a:pt x="201" y="115"/>
                  </a:cubicBezTo>
                  <a:cubicBezTo>
                    <a:pt x="201" y="115"/>
                    <a:pt x="201" y="115"/>
                    <a:pt x="202" y="115"/>
                  </a:cubicBezTo>
                  <a:cubicBezTo>
                    <a:pt x="202" y="115"/>
                    <a:pt x="202" y="115"/>
                    <a:pt x="203" y="114"/>
                  </a:cubicBezTo>
                  <a:cubicBezTo>
                    <a:pt x="203" y="114"/>
                    <a:pt x="203" y="114"/>
                    <a:pt x="203" y="114"/>
                  </a:cubicBezTo>
                  <a:cubicBezTo>
                    <a:pt x="204" y="114"/>
                    <a:pt x="205" y="114"/>
                    <a:pt x="205" y="114"/>
                  </a:cubicBezTo>
                  <a:cubicBezTo>
                    <a:pt x="206" y="114"/>
                    <a:pt x="206" y="113"/>
                    <a:pt x="206" y="113"/>
                  </a:cubicBezTo>
                  <a:cubicBezTo>
                    <a:pt x="207" y="113"/>
                    <a:pt x="208" y="113"/>
                    <a:pt x="209" y="113"/>
                  </a:cubicBezTo>
                  <a:cubicBezTo>
                    <a:pt x="210" y="113"/>
                    <a:pt x="211" y="113"/>
                    <a:pt x="213" y="113"/>
                  </a:cubicBezTo>
                  <a:cubicBezTo>
                    <a:pt x="213" y="113"/>
                    <a:pt x="214" y="113"/>
                    <a:pt x="215" y="113"/>
                  </a:cubicBezTo>
                  <a:cubicBezTo>
                    <a:pt x="215" y="114"/>
                    <a:pt x="215" y="114"/>
                    <a:pt x="216" y="114"/>
                  </a:cubicBezTo>
                  <a:cubicBezTo>
                    <a:pt x="216" y="114"/>
                    <a:pt x="217" y="114"/>
                    <a:pt x="217" y="114"/>
                  </a:cubicBezTo>
                  <a:cubicBezTo>
                    <a:pt x="218" y="114"/>
                    <a:pt x="218" y="114"/>
                    <a:pt x="218" y="114"/>
                  </a:cubicBezTo>
                  <a:cubicBezTo>
                    <a:pt x="219" y="113"/>
                    <a:pt x="219" y="113"/>
                    <a:pt x="219" y="113"/>
                  </a:cubicBezTo>
                  <a:cubicBezTo>
                    <a:pt x="219" y="112"/>
                    <a:pt x="220" y="112"/>
                    <a:pt x="220" y="111"/>
                  </a:cubicBezTo>
                  <a:cubicBezTo>
                    <a:pt x="220" y="111"/>
                    <a:pt x="220" y="110"/>
                    <a:pt x="220" y="109"/>
                  </a:cubicBezTo>
                  <a:cubicBezTo>
                    <a:pt x="220" y="108"/>
                    <a:pt x="220" y="108"/>
                    <a:pt x="220" y="107"/>
                  </a:cubicBezTo>
                  <a:cubicBezTo>
                    <a:pt x="220" y="106"/>
                    <a:pt x="221" y="106"/>
                    <a:pt x="221" y="106"/>
                  </a:cubicBezTo>
                  <a:cubicBezTo>
                    <a:pt x="221" y="105"/>
                    <a:pt x="221" y="105"/>
                    <a:pt x="221" y="105"/>
                  </a:cubicBezTo>
                  <a:cubicBezTo>
                    <a:pt x="221" y="105"/>
                    <a:pt x="222" y="106"/>
                    <a:pt x="222" y="106"/>
                  </a:cubicBezTo>
                  <a:cubicBezTo>
                    <a:pt x="222" y="107"/>
                    <a:pt x="221" y="107"/>
                    <a:pt x="222" y="108"/>
                  </a:cubicBezTo>
                  <a:cubicBezTo>
                    <a:pt x="222" y="108"/>
                    <a:pt x="222" y="108"/>
                    <a:pt x="222" y="109"/>
                  </a:cubicBezTo>
                  <a:cubicBezTo>
                    <a:pt x="222" y="109"/>
                    <a:pt x="222" y="108"/>
                    <a:pt x="223" y="108"/>
                  </a:cubicBezTo>
                  <a:cubicBezTo>
                    <a:pt x="223" y="108"/>
                    <a:pt x="223" y="107"/>
                    <a:pt x="223" y="107"/>
                  </a:cubicBezTo>
                  <a:cubicBezTo>
                    <a:pt x="223" y="107"/>
                    <a:pt x="223" y="106"/>
                    <a:pt x="223" y="106"/>
                  </a:cubicBezTo>
                  <a:cubicBezTo>
                    <a:pt x="223" y="106"/>
                    <a:pt x="224" y="105"/>
                    <a:pt x="224" y="105"/>
                  </a:cubicBezTo>
                  <a:cubicBezTo>
                    <a:pt x="224" y="105"/>
                    <a:pt x="224" y="104"/>
                    <a:pt x="225" y="104"/>
                  </a:cubicBezTo>
                  <a:cubicBezTo>
                    <a:pt x="225" y="104"/>
                    <a:pt x="225" y="103"/>
                    <a:pt x="225" y="103"/>
                  </a:cubicBezTo>
                  <a:cubicBezTo>
                    <a:pt x="225" y="102"/>
                    <a:pt x="225" y="102"/>
                    <a:pt x="225" y="101"/>
                  </a:cubicBezTo>
                  <a:cubicBezTo>
                    <a:pt x="225" y="100"/>
                    <a:pt x="226" y="100"/>
                    <a:pt x="227" y="100"/>
                  </a:cubicBezTo>
                  <a:cubicBezTo>
                    <a:pt x="228" y="99"/>
                    <a:pt x="228" y="98"/>
                    <a:pt x="229" y="98"/>
                  </a:cubicBezTo>
                  <a:cubicBezTo>
                    <a:pt x="230" y="97"/>
                    <a:pt x="230" y="97"/>
                    <a:pt x="230" y="97"/>
                  </a:cubicBezTo>
                  <a:cubicBezTo>
                    <a:pt x="230" y="96"/>
                    <a:pt x="231" y="96"/>
                    <a:pt x="231" y="95"/>
                  </a:cubicBezTo>
                  <a:cubicBezTo>
                    <a:pt x="231" y="95"/>
                    <a:pt x="232" y="94"/>
                    <a:pt x="233" y="93"/>
                  </a:cubicBezTo>
                  <a:cubicBezTo>
                    <a:pt x="233" y="93"/>
                    <a:pt x="234" y="92"/>
                    <a:pt x="234" y="91"/>
                  </a:cubicBezTo>
                  <a:cubicBezTo>
                    <a:pt x="235" y="91"/>
                    <a:pt x="235" y="91"/>
                    <a:pt x="235" y="91"/>
                  </a:cubicBezTo>
                  <a:cubicBezTo>
                    <a:pt x="235" y="91"/>
                    <a:pt x="235" y="91"/>
                    <a:pt x="236" y="91"/>
                  </a:cubicBezTo>
                  <a:cubicBezTo>
                    <a:pt x="236" y="91"/>
                    <a:pt x="236" y="91"/>
                    <a:pt x="237" y="90"/>
                  </a:cubicBezTo>
                  <a:cubicBezTo>
                    <a:pt x="237" y="90"/>
                    <a:pt x="238" y="89"/>
                    <a:pt x="239" y="89"/>
                  </a:cubicBezTo>
                  <a:cubicBezTo>
                    <a:pt x="239" y="89"/>
                    <a:pt x="239" y="89"/>
                    <a:pt x="240" y="89"/>
                  </a:cubicBezTo>
                  <a:cubicBezTo>
                    <a:pt x="240" y="89"/>
                    <a:pt x="240" y="88"/>
                    <a:pt x="240" y="88"/>
                  </a:cubicBezTo>
                  <a:cubicBezTo>
                    <a:pt x="240" y="88"/>
                    <a:pt x="242" y="87"/>
                    <a:pt x="242" y="87"/>
                  </a:cubicBezTo>
                  <a:cubicBezTo>
                    <a:pt x="242" y="87"/>
                    <a:pt x="241" y="86"/>
                    <a:pt x="241" y="86"/>
                  </a:cubicBezTo>
                  <a:cubicBezTo>
                    <a:pt x="241" y="86"/>
                    <a:pt x="240" y="86"/>
                    <a:pt x="240" y="86"/>
                  </a:cubicBezTo>
                  <a:cubicBezTo>
                    <a:pt x="239" y="86"/>
                    <a:pt x="239" y="85"/>
                    <a:pt x="239" y="85"/>
                  </a:cubicBezTo>
                  <a:cubicBezTo>
                    <a:pt x="239" y="85"/>
                    <a:pt x="238" y="84"/>
                    <a:pt x="238" y="84"/>
                  </a:cubicBezTo>
                  <a:cubicBezTo>
                    <a:pt x="238" y="84"/>
                    <a:pt x="239" y="84"/>
                    <a:pt x="239" y="84"/>
                  </a:cubicBezTo>
                  <a:cubicBezTo>
                    <a:pt x="239" y="84"/>
                    <a:pt x="240" y="83"/>
                    <a:pt x="240" y="83"/>
                  </a:cubicBezTo>
                  <a:cubicBezTo>
                    <a:pt x="241" y="82"/>
                    <a:pt x="240" y="82"/>
                    <a:pt x="239" y="81"/>
                  </a:cubicBezTo>
                  <a:cubicBezTo>
                    <a:pt x="239" y="81"/>
                    <a:pt x="239" y="81"/>
                    <a:pt x="239" y="81"/>
                  </a:cubicBezTo>
                  <a:cubicBezTo>
                    <a:pt x="239" y="80"/>
                    <a:pt x="240" y="80"/>
                    <a:pt x="240" y="80"/>
                  </a:cubicBezTo>
                  <a:cubicBezTo>
                    <a:pt x="240" y="80"/>
                    <a:pt x="241" y="81"/>
                    <a:pt x="241" y="81"/>
                  </a:cubicBezTo>
                  <a:cubicBezTo>
                    <a:pt x="241" y="82"/>
                    <a:pt x="241" y="82"/>
                    <a:pt x="241" y="83"/>
                  </a:cubicBezTo>
                  <a:cubicBezTo>
                    <a:pt x="242" y="83"/>
                    <a:pt x="242" y="83"/>
                    <a:pt x="242" y="83"/>
                  </a:cubicBezTo>
                  <a:cubicBezTo>
                    <a:pt x="242" y="84"/>
                    <a:pt x="242" y="84"/>
                    <a:pt x="242" y="84"/>
                  </a:cubicBezTo>
                  <a:cubicBezTo>
                    <a:pt x="242" y="85"/>
                    <a:pt x="242" y="85"/>
                    <a:pt x="242" y="86"/>
                  </a:cubicBezTo>
                  <a:cubicBezTo>
                    <a:pt x="242" y="86"/>
                    <a:pt x="242" y="87"/>
                    <a:pt x="243" y="86"/>
                  </a:cubicBezTo>
                  <a:cubicBezTo>
                    <a:pt x="243" y="86"/>
                    <a:pt x="244" y="86"/>
                    <a:pt x="244" y="86"/>
                  </a:cubicBezTo>
                  <a:cubicBezTo>
                    <a:pt x="245" y="85"/>
                    <a:pt x="246" y="84"/>
                    <a:pt x="247" y="84"/>
                  </a:cubicBezTo>
                  <a:cubicBezTo>
                    <a:pt x="247" y="83"/>
                    <a:pt x="248" y="82"/>
                    <a:pt x="249" y="82"/>
                  </a:cubicBezTo>
                  <a:cubicBezTo>
                    <a:pt x="249" y="82"/>
                    <a:pt x="250" y="82"/>
                    <a:pt x="250" y="82"/>
                  </a:cubicBezTo>
                  <a:cubicBezTo>
                    <a:pt x="250" y="81"/>
                    <a:pt x="251" y="81"/>
                    <a:pt x="252" y="81"/>
                  </a:cubicBezTo>
                  <a:cubicBezTo>
                    <a:pt x="252" y="81"/>
                    <a:pt x="252" y="81"/>
                    <a:pt x="253" y="81"/>
                  </a:cubicBezTo>
                  <a:cubicBezTo>
                    <a:pt x="253" y="81"/>
                    <a:pt x="253" y="81"/>
                    <a:pt x="254" y="81"/>
                  </a:cubicBezTo>
                  <a:cubicBezTo>
                    <a:pt x="254" y="81"/>
                    <a:pt x="255" y="81"/>
                    <a:pt x="255" y="81"/>
                  </a:cubicBezTo>
                  <a:cubicBezTo>
                    <a:pt x="256" y="81"/>
                    <a:pt x="256" y="80"/>
                    <a:pt x="256" y="80"/>
                  </a:cubicBezTo>
                  <a:cubicBezTo>
                    <a:pt x="257" y="80"/>
                    <a:pt x="258" y="80"/>
                    <a:pt x="259" y="80"/>
                  </a:cubicBezTo>
                  <a:cubicBezTo>
                    <a:pt x="259" y="80"/>
                    <a:pt x="260" y="80"/>
                    <a:pt x="260" y="79"/>
                  </a:cubicBezTo>
                  <a:cubicBezTo>
                    <a:pt x="260" y="79"/>
                    <a:pt x="260" y="79"/>
                    <a:pt x="261" y="79"/>
                  </a:cubicBezTo>
                  <a:cubicBezTo>
                    <a:pt x="261" y="79"/>
                    <a:pt x="261" y="78"/>
                    <a:pt x="262" y="78"/>
                  </a:cubicBezTo>
                  <a:cubicBezTo>
                    <a:pt x="262" y="78"/>
                    <a:pt x="263" y="78"/>
                    <a:pt x="264" y="77"/>
                  </a:cubicBezTo>
                  <a:cubicBezTo>
                    <a:pt x="264" y="77"/>
                    <a:pt x="265" y="77"/>
                    <a:pt x="265" y="78"/>
                  </a:cubicBezTo>
                  <a:cubicBezTo>
                    <a:pt x="265" y="78"/>
                    <a:pt x="265" y="78"/>
                    <a:pt x="265" y="79"/>
                  </a:cubicBezTo>
                  <a:cubicBezTo>
                    <a:pt x="265" y="79"/>
                    <a:pt x="265" y="79"/>
                    <a:pt x="266" y="80"/>
                  </a:cubicBezTo>
                  <a:cubicBezTo>
                    <a:pt x="266" y="80"/>
                    <a:pt x="266" y="80"/>
                    <a:pt x="266" y="79"/>
                  </a:cubicBezTo>
                  <a:cubicBezTo>
                    <a:pt x="267" y="79"/>
                    <a:pt x="266" y="77"/>
                    <a:pt x="268" y="78"/>
                  </a:cubicBezTo>
                  <a:cubicBezTo>
                    <a:pt x="268" y="78"/>
                    <a:pt x="268" y="79"/>
                    <a:pt x="268" y="79"/>
                  </a:cubicBezTo>
                  <a:cubicBezTo>
                    <a:pt x="268" y="79"/>
                    <a:pt x="269" y="79"/>
                    <a:pt x="269" y="79"/>
                  </a:cubicBezTo>
                  <a:cubicBezTo>
                    <a:pt x="270" y="79"/>
                    <a:pt x="270" y="79"/>
                    <a:pt x="271" y="79"/>
                  </a:cubicBezTo>
                  <a:cubicBezTo>
                    <a:pt x="271" y="78"/>
                    <a:pt x="271" y="78"/>
                    <a:pt x="271" y="78"/>
                  </a:cubicBezTo>
                  <a:cubicBezTo>
                    <a:pt x="272" y="77"/>
                    <a:pt x="272" y="76"/>
                    <a:pt x="272" y="75"/>
                  </a:cubicBezTo>
                  <a:cubicBezTo>
                    <a:pt x="273" y="75"/>
                    <a:pt x="273" y="74"/>
                    <a:pt x="273" y="73"/>
                  </a:cubicBezTo>
                  <a:cubicBezTo>
                    <a:pt x="274" y="73"/>
                    <a:pt x="274" y="72"/>
                    <a:pt x="274" y="73"/>
                  </a:cubicBezTo>
                  <a:cubicBezTo>
                    <a:pt x="275" y="73"/>
                    <a:pt x="275" y="73"/>
                    <a:pt x="275" y="73"/>
                  </a:cubicBezTo>
                  <a:cubicBezTo>
                    <a:pt x="275" y="73"/>
                    <a:pt x="275" y="73"/>
                    <a:pt x="276" y="73"/>
                  </a:cubicBezTo>
                  <a:cubicBezTo>
                    <a:pt x="276" y="73"/>
                    <a:pt x="276" y="73"/>
                    <a:pt x="277" y="72"/>
                  </a:cubicBezTo>
                  <a:cubicBezTo>
                    <a:pt x="277" y="72"/>
                    <a:pt x="278" y="71"/>
                    <a:pt x="278" y="71"/>
                  </a:cubicBezTo>
                  <a:cubicBezTo>
                    <a:pt x="278" y="70"/>
                    <a:pt x="279" y="70"/>
                    <a:pt x="278" y="69"/>
                  </a:cubicBezTo>
                  <a:cubicBezTo>
                    <a:pt x="277" y="69"/>
                    <a:pt x="277" y="69"/>
                    <a:pt x="276" y="69"/>
                  </a:cubicBezTo>
                  <a:cubicBezTo>
                    <a:pt x="276" y="69"/>
                    <a:pt x="275" y="69"/>
                    <a:pt x="274" y="69"/>
                  </a:cubicBezTo>
                  <a:cubicBezTo>
                    <a:pt x="273" y="69"/>
                    <a:pt x="273" y="69"/>
                    <a:pt x="273" y="68"/>
                  </a:cubicBezTo>
                  <a:cubicBezTo>
                    <a:pt x="273" y="68"/>
                    <a:pt x="273" y="67"/>
                    <a:pt x="273" y="66"/>
                  </a:cubicBezTo>
                  <a:cubicBezTo>
                    <a:pt x="273" y="66"/>
                    <a:pt x="273" y="66"/>
                    <a:pt x="272" y="66"/>
                  </a:cubicBezTo>
                  <a:cubicBezTo>
                    <a:pt x="272" y="66"/>
                    <a:pt x="272" y="66"/>
                    <a:pt x="272" y="67"/>
                  </a:cubicBezTo>
                  <a:cubicBezTo>
                    <a:pt x="272" y="67"/>
                    <a:pt x="272" y="67"/>
                    <a:pt x="271" y="67"/>
                  </a:cubicBezTo>
                  <a:cubicBezTo>
                    <a:pt x="271" y="67"/>
                    <a:pt x="271" y="68"/>
                    <a:pt x="270" y="68"/>
                  </a:cubicBezTo>
                  <a:cubicBezTo>
                    <a:pt x="269" y="68"/>
                    <a:pt x="269" y="68"/>
                    <a:pt x="269" y="68"/>
                  </a:cubicBezTo>
                  <a:cubicBezTo>
                    <a:pt x="268" y="68"/>
                    <a:pt x="268" y="68"/>
                    <a:pt x="267" y="69"/>
                  </a:cubicBezTo>
                  <a:cubicBezTo>
                    <a:pt x="267" y="69"/>
                    <a:pt x="266" y="69"/>
                    <a:pt x="266" y="69"/>
                  </a:cubicBezTo>
                  <a:cubicBezTo>
                    <a:pt x="266" y="69"/>
                    <a:pt x="265" y="70"/>
                    <a:pt x="265" y="70"/>
                  </a:cubicBezTo>
                  <a:cubicBezTo>
                    <a:pt x="264" y="70"/>
                    <a:pt x="264" y="70"/>
                    <a:pt x="264" y="70"/>
                  </a:cubicBezTo>
                  <a:cubicBezTo>
                    <a:pt x="264" y="70"/>
                    <a:pt x="264" y="70"/>
                    <a:pt x="263" y="70"/>
                  </a:cubicBezTo>
                  <a:cubicBezTo>
                    <a:pt x="263" y="71"/>
                    <a:pt x="263" y="71"/>
                    <a:pt x="262" y="71"/>
                  </a:cubicBezTo>
                  <a:cubicBezTo>
                    <a:pt x="262" y="71"/>
                    <a:pt x="261" y="71"/>
                    <a:pt x="261" y="71"/>
                  </a:cubicBezTo>
                  <a:cubicBezTo>
                    <a:pt x="261" y="71"/>
                    <a:pt x="260" y="71"/>
                    <a:pt x="260" y="71"/>
                  </a:cubicBezTo>
                  <a:cubicBezTo>
                    <a:pt x="259" y="70"/>
                    <a:pt x="259" y="70"/>
                    <a:pt x="259" y="70"/>
                  </a:cubicBezTo>
                  <a:cubicBezTo>
                    <a:pt x="258" y="70"/>
                    <a:pt x="258" y="70"/>
                    <a:pt x="258" y="70"/>
                  </a:cubicBezTo>
                  <a:cubicBezTo>
                    <a:pt x="258" y="69"/>
                    <a:pt x="257" y="69"/>
                    <a:pt x="257" y="69"/>
                  </a:cubicBezTo>
                  <a:cubicBezTo>
                    <a:pt x="256" y="69"/>
                    <a:pt x="255" y="69"/>
                    <a:pt x="255" y="68"/>
                  </a:cubicBezTo>
                  <a:cubicBezTo>
                    <a:pt x="255" y="68"/>
                    <a:pt x="255" y="67"/>
                    <a:pt x="254" y="67"/>
                  </a:cubicBezTo>
                  <a:cubicBezTo>
                    <a:pt x="254" y="66"/>
                    <a:pt x="254" y="66"/>
                    <a:pt x="253" y="65"/>
                  </a:cubicBezTo>
                  <a:cubicBezTo>
                    <a:pt x="253" y="65"/>
                    <a:pt x="253" y="64"/>
                    <a:pt x="252" y="64"/>
                  </a:cubicBezTo>
                  <a:cubicBezTo>
                    <a:pt x="252" y="64"/>
                    <a:pt x="252" y="64"/>
                    <a:pt x="252" y="64"/>
                  </a:cubicBezTo>
                  <a:cubicBezTo>
                    <a:pt x="253" y="63"/>
                    <a:pt x="253" y="64"/>
                    <a:pt x="254" y="64"/>
                  </a:cubicBezTo>
                  <a:cubicBezTo>
                    <a:pt x="254" y="64"/>
                    <a:pt x="254" y="64"/>
                    <a:pt x="254" y="64"/>
                  </a:cubicBezTo>
                  <a:cubicBezTo>
                    <a:pt x="254" y="65"/>
                    <a:pt x="255" y="65"/>
                    <a:pt x="255" y="65"/>
                  </a:cubicBezTo>
                  <a:cubicBezTo>
                    <a:pt x="255" y="65"/>
                    <a:pt x="255" y="65"/>
                    <a:pt x="256" y="66"/>
                  </a:cubicBezTo>
                  <a:cubicBezTo>
                    <a:pt x="256" y="66"/>
                    <a:pt x="257" y="67"/>
                    <a:pt x="258" y="67"/>
                  </a:cubicBezTo>
                  <a:cubicBezTo>
                    <a:pt x="258" y="67"/>
                    <a:pt x="258" y="68"/>
                    <a:pt x="258" y="68"/>
                  </a:cubicBezTo>
                  <a:cubicBezTo>
                    <a:pt x="259" y="68"/>
                    <a:pt x="259" y="68"/>
                    <a:pt x="259" y="68"/>
                  </a:cubicBezTo>
                  <a:cubicBezTo>
                    <a:pt x="260" y="69"/>
                    <a:pt x="260" y="69"/>
                    <a:pt x="260" y="69"/>
                  </a:cubicBezTo>
                  <a:cubicBezTo>
                    <a:pt x="261" y="69"/>
                    <a:pt x="261" y="69"/>
                    <a:pt x="262" y="68"/>
                  </a:cubicBezTo>
                  <a:cubicBezTo>
                    <a:pt x="262" y="68"/>
                    <a:pt x="263" y="68"/>
                    <a:pt x="263" y="67"/>
                  </a:cubicBezTo>
                  <a:cubicBezTo>
                    <a:pt x="264" y="67"/>
                    <a:pt x="264" y="67"/>
                    <a:pt x="264" y="67"/>
                  </a:cubicBezTo>
                  <a:cubicBezTo>
                    <a:pt x="264" y="67"/>
                    <a:pt x="265" y="67"/>
                    <a:pt x="265" y="67"/>
                  </a:cubicBezTo>
                  <a:cubicBezTo>
                    <a:pt x="265" y="66"/>
                    <a:pt x="265" y="66"/>
                    <a:pt x="265" y="66"/>
                  </a:cubicBezTo>
                  <a:cubicBezTo>
                    <a:pt x="266" y="66"/>
                    <a:pt x="266" y="66"/>
                    <a:pt x="266" y="65"/>
                  </a:cubicBezTo>
                  <a:cubicBezTo>
                    <a:pt x="267" y="65"/>
                    <a:pt x="267" y="65"/>
                    <a:pt x="267" y="65"/>
                  </a:cubicBezTo>
                  <a:cubicBezTo>
                    <a:pt x="268" y="64"/>
                    <a:pt x="268" y="64"/>
                    <a:pt x="268" y="63"/>
                  </a:cubicBezTo>
                  <a:cubicBezTo>
                    <a:pt x="268" y="63"/>
                    <a:pt x="268" y="62"/>
                    <a:pt x="268" y="61"/>
                  </a:cubicBezTo>
                  <a:cubicBezTo>
                    <a:pt x="267" y="60"/>
                    <a:pt x="266" y="61"/>
                    <a:pt x="265" y="61"/>
                  </a:cubicBezTo>
                  <a:cubicBezTo>
                    <a:pt x="265" y="61"/>
                    <a:pt x="265" y="61"/>
                    <a:pt x="264" y="61"/>
                  </a:cubicBezTo>
                  <a:cubicBezTo>
                    <a:pt x="264" y="62"/>
                    <a:pt x="264" y="61"/>
                    <a:pt x="264" y="61"/>
                  </a:cubicBezTo>
                  <a:cubicBezTo>
                    <a:pt x="264" y="61"/>
                    <a:pt x="264" y="61"/>
                    <a:pt x="265" y="60"/>
                  </a:cubicBezTo>
                  <a:cubicBezTo>
                    <a:pt x="265" y="60"/>
                    <a:pt x="265" y="60"/>
                    <a:pt x="265" y="60"/>
                  </a:cubicBezTo>
                  <a:cubicBezTo>
                    <a:pt x="266" y="59"/>
                    <a:pt x="266" y="59"/>
                    <a:pt x="267" y="59"/>
                  </a:cubicBezTo>
                  <a:cubicBezTo>
                    <a:pt x="267" y="59"/>
                    <a:pt x="268" y="60"/>
                    <a:pt x="269" y="59"/>
                  </a:cubicBezTo>
                  <a:cubicBezTo>
                    <a:pt x="269" y="59"/>
                    <a:pt x="270" y="59"/>
                    <a:pt x="270" y="59"/>
                  </a:cubicBezTo>
                  <a:cubicBezTo>
                    <a:pt x="270" y="58"/>
                    <a:pt x="270" y="57"/>
                    <a:pt x="270" y="56"/>
                  </a:cubicBezTo>
                  <a:cubicBezTo>
                    <a:pt x="271" y="56"/>
                    <a:pt x="271" y="56"/>
                    <a:pt x="271" y="55"/>
                  </a:cubicBezTo>
                  <a:cubicBezTo>
                    <a:pt x="270" y="54"/>
                    <a:pt x="268" y="54"/>
                    <a:pt x="267" y="54"/>
                  </a:cubicBezTo>
                  <a:cubicBezTo>
                    <a:pt x="266" y="54"/>
                    <a:pt x="266" y="53"/>
                    <a:pt x="265" y="53"/>
                  </a:cubicBezTo>
                  <a:cubicBezTo>
                    <a:pt x="265" y="53"/>
                    <a:pt x="264" y="53"/>
                    <a:pt x="264" y="53"/>
                  </a:cubicBezTo>
                  <a:cubicBezTo>
                    <a:pt x="264" y="53"/>
                    <a:pt x="263" y="53"/>
                    <a:pt x="263" y="53"/>
                  </a:cubicBezTo>
                  <a:cubicBezTo>
                    <a:pt x="263" y="52"/>
                    <a:pt x="263" y="52"/>
                    <a:pt x="262" y="52"/>
                  </a:cubicBezTo>
                  <a:cubicBezTo>
                    <a:pt x="261" y="52"/>
                    <a:pt x="260" y="51"/>
                    <a:pt x="259" y="51"/>
                  </a:cubicBezTo>
                  <a:cubicBezTo>
                    <a:pt x="259" y="50"/>
                    <a:pt x="258" y="50"/>
                    <a:pt x="258" y="50"/>
                  </a:cubicBezTo>
                  <a:cubicBezTo>
                    <a:pt x="257" y="49"/>
                    <a:pt x="256" y="49"/>
                    <a:pt x="256" y="48"/>
                  </a:cubicBezTo>
                  <a:cubicBezTo>
                    <a:pt x="255" y="48"/>
                    <a:pt x="254" y="48"/>
                    <a:pt x="254" y="47"/>
                  </a:cubicBezTo>
                  <a:cubicBezTo>
                    <a:pt x="255" y="47"/>
                    <a:pt x="256" y="48"/>
                    <a:pt x="257" y="48"/>
                  </a:cubicBezTo>
                  <a:cubicBezTo>
                    <a:pt x="258" y="49"/>
                    <a:pt x="260" y="49"/>
                    <a:pt x="261" y="49"/>
                  </a:cubicBezTo>
                  <a:cubicBezTo>
                    <a:pt x="262" y="50"/>
                    <a:pt x="264" y="50"/>
                    <a:pt x="265" y="50"/>
                  </a:cubicBezTo>
                  <a:cubicBezTo>
                    <a:pt x="265" y="51"/>
                    <a:pt x="266" y="51"/>
                    <a:pt x="266" y="51"/>
                  </a:cubicBezTo>
                  <a:cubicBezTo>
                    <a:pt x="266" y="51"/>
                    <a:pt x="267" y="51"/>
                    <a:pt x="267" y="51"/>
                  </a:cubicBezTo>
                  <a:cubicBezTo>
                    <a:pt x="268" y="51"/>
                    <a:pt x="267" y="50"/>
                    <a:pt x="267" y="49"/>
                  </a:cubicBezTo>
                  <a:cubicBezTo>
                    <a:pt x="266" y="49"/>
                    <a:pt x="266" y="48"/>
                    <a:pt x="266" y="47"/>
                  </a:cubicBezTo>
                  <a:cubicBezTo>
                    <a:pt x="267" y="47"/>
                    <a:pt x="267" y="46"/>
                    <a:pt x="267" y="46"/>
                  </a:cubicBezTo>
                  <a:cubicBezTo>
                    <a:pt x="268" y="45"/>
                    <a:pt x="268" y="45"/>
                    <a:pt x="269" y="45"/>
                  </a:cubicBezTo>
                  <a:cubicBezTo>
                    <a:pt x="270" y="45"/>
                    <a:pt x="271" y="45"/>
                    <a:pt x="271" y="45"/>
                  </a:cubicBezTo>
                  <a:cubicBezTo>
                    <a:pt x="271" y="46"/>
                    <a:pt x="271" y="47"/>
                    <a:pt x="271" y="47"/>
                  </a:cubicBezTo>
                  <a:cubicBezTo>
                    <a:pt x="270" y="47"/>
                    <a:pt x="270" y="47"/>
                    <a:pt x="269" y="46"/>
                  </a:cubicBezTo>
                  <a:cubicBezTo>
                    <a:pt x="269" y="46"/>
                    <a:pt x="268" y="46"/>
                    <a:pt x="268" y="47"/>
                  </a:cubicBezTo>
                  <a:cubicBezTo>
                    <a:pt x="268" y="47"/>
                    <a:pt x="269" y="48"/>
                    <a:pt x="269" y="48"/>
                  </a:cubicBezTo>
                  <a:cubicBezTo>
                    <a:pt x="269" y="49"/>
                    <a:pt x="270" y="49"/>
                    <a:pt x="270" y="50"/>
                  </a:cubicBezTo>
                  <a:cubicBezTo>
                    <a:pt x="270" y="50"/>
                    <a:pt x="270" y="51"/>
                    <a:pt x="271" y="51"/>
                  </a:cubicBezTo>
                  <a:cubicBezTo>
                    <a:pt x="271" y="52"/>
                    <a:pt x="272" y="52"/>
                    <a:pt x="272" y="52"/>
                  </a:cubicBezTo>
                  <a:cubicBezTo>
                    <a:pt x="273" y="51"/>
                    <a:pt x="273" y="50"/>
                    <a:pt x="274" y="50"/>
                  </a:cubicBezTo>
                  <a:cubicBezTo>
                    <a:pt x="275" y="50"/>
                    <a:pt x="275" y="51"/>
                    <a:pt x="276" y="51"/>
                  </a:cubicBezTo>
                  <a:cubicBezTo>
                    <a:pt x="276" y="52"/>
                    <a:pt x="277" y="52"/>
                    <a:pt x="277" y="53"/>
                  </a:cubicBezTo>
                  <a:cubicBezTo>
                    <a:pt x="278" y="53"/>
                    <a:pt x="278" y="53"/>
                    <a:pt x="279" y="53"/>
                  </a:cubicBezTo>
                  <a:cubicBezTo>
                    <a:pt x="279" y="53"/>
                    <a:pt x="280" y="53"/>
                    <a:pt x="281" y="54"/>
                  </a:cubicBezTo>
                  <a:cubicBezTo>
                    <a:pt x="281" y="54"/>
                    <a:pt x="281" y="54"/>
                    <a:pt x="282" y="54"/>
                  </a:cubicBezTo>
                  <a:cubicBezTo>
                    <a:pt x="283" y="54"/>
                    <a:pt x="283" y="54"/>
                    <a:pt x="283" y="53"/>
                  </a:cubicBezTo>
                  <a:cubicBezTo>
                    <a:pt x="284" y="53"/>
                    <a:pt x="285" y="53"/>
                    <a:pt x="285" y="52"/>
                  </a:cubicBezTo>
                  <a:cubicBezTo>
                    <a:pt x="286" y="52"/>
                    <a:pt x="286" y="51"/>
                    <a:pt x="287" y="51"/>
                  </a:cubicBezTo>
                  <a:cubicBezTo>
                    <a:pt x="287" y="50"/>
                    <a:pt x="288" y="49"/>
                    <a:pt x="288" y="49"/>
                  </a:cubicBezTo>
                  <a:cubicBezTo>
                    <a:pt x="289" y="47"/>
                    <a:pt x="289" y="46"/>
                    <a:pt x="290" y="45"/>
                  </a:cubicBezTo>
                  <a:cubicBezTo>
                    <a:pt x="291" y="44"/>
                    <a:pt x="293" y="43"/>
                    <a:pt x="294" y="43"/>
                  </a:cubicBezTo>
                  <a:cubicBezTo>
                    <a:pt x="295" y="43"/>
                    <a:pt x="295" y="43"/>
                    <a:pt x="296" y="43"/>
                  </a:cubicBezTo>
                  <a:cubicBezTo>
                    <a:pt x="296" y="43"/>
                    <a:pt x="296" y="42"/>
                    <a:pt x="296" y="42"/>
                  </a:cubicBezTo>
                  <a:cubicBezTo>
                    <a:pt x="296" y="41"/>
                    <a:pt x="297" y="40"/>
                    <a:pt x="298" y="39"/>
                  </a:cubicBezTo>
                  <a:cubicBezTo>
                    <a:pt x="298" y="39"/>
                    <a:pt x="298" y="38"/>
                    <a:pt x="298" y="38"/>
                  </a:cubicBezTo>
                  <a:cubicBezTo>
                    <a:pt x="298" y="37"/>
                    <a:pt x="298" y="37"/>
                    <a:pt x="298" y="37"/>
                  </a:cubicBezTo>
                  <a:cubicBezTo>
                    <a:pt x="297" y="36"/>
                    <a:pt x="297" y="35"/>
                    <a:pt x="297" y="34"/>
                  </a:cubicBezTo>
                  <a:cubicBezTo>
                    <a:pt x="297" y="34"/>
                    <a:pt x="297" y="33"/>
                    <a:pt x="297" y="33"/>
                  </a:cubicBezTo>
                  <a:cubicBezTo>
                    <a:pt x="297" y="32"/>
                    <a:pt x="297" y="31"/>
                    <a:pt x="296" y="30"/>
                  </a:cubicBezTo>
                  <a:cubicBezTo>
                    <a:pt x="296" y="29"/>
                    <a:pt x="295" y="29"/>
                    <a:pt x="294" y="29"/>
                  </a:cubicBezTo>
                  <a:cubicBezTo>
                    <a:pt x="293" y="29"/>
                    <a:pt x="292" y="28"/>
                    <a:pt x="291" y="29"/>
                  </a:cubicBezTo>
                  <a:cubicBezTo>
                    <a:pt x="290" y="29"/>
                    <a:pt x="289" y="30"/>
                    <a:pt x="288" y="31"/>
                  </a:cubicBezTo>
                  <a:cubicBezTo>
                    <a:pt x="288" y="31"/>
                    <a:pt x="288" y="32"/>
                    <a:pt x="288" y="32"/>
                  </a:cubicBezTo>
                  <a:cubicBezTo>
                    <a:pt x="288" y="33"/>
                    <a:pt x="288" y="34"/>
                    <a:pt x="288" y="35"/>
                  </a:cubicBezTo>
                  <a:cubicBezTo>
                    <a:pt x="288" y="36"/>
                    <a:pt x="288" y="38"/>
                    <a:pt x="288" y="39"/>
                  </a:cubicBezTo>
                  <a:cubicBezTo>
                    <a:pt x="287" y="40"/>
                    <a:pt x="286" y="40"/>
                    <a:pt x="285" y="40"/>
                  </a:cubicBezTo>
                  <a:cubicBezTo>
                    <a:pt x="284" y="39"/>
                    <a:pt x="284" y="39"/>
                    <a:pt x="284" y="39"/>
                  </a:cubicBezTo>
                  <a:cubicBezTo>
                    <a:pt x="283" y="39"/>
                    <a:pt x="283" y="38"/>
                    <a:pt x="284" y="38"/>
                  </a:cubicBezTo>
                  <a:cubicBezTo>
                    <a:pt x="284" y="38"/>
                    <a:pt x="284" y="39"/>
                    <a:pt x="285" y="39"/>
                  </a:cubicBezTo>
                  <a:cubicBezTo>
                    <a:pt x="285" y="39"/>
                    <a:pt x="285" y="39"/>
                    <a:pt x="285" y="38"/>
                  </a:cubicBezTo>
                  <a:cubicBezTo>
                    <a:pt x="285" y="37"/>
                    <a:pt x="286" y="37"/>
                    <a:pt x="286" y="36"/>
                  </a:cubicBezTo>
                  <a:cubicBezTo>
                    <a:pt x="286" y="35"/>
                    <a:pt x="286" y="34"/>
                    <a:pt x="286" y="33"/>
                  </a:cubicBezTo>
                  <a:cubicBezTo>
                    <a:pt x="286" y="32"/>
                    <a:pt x="286" y="31"/>
                    <a:pt x="286" y="30"/>
                  </a:cubicBezTo>
                  <a:cubicBezTo>
                    <a:pt x="285" y="29"/>
                    <a:pt x="286" y="29"/>
                    <a:pt x="286" y="29"/>
                  </a:cubicBezTo>
                  <a:cubicBezTo>
                    <a:pt x="286" y="28"/>
                    <a:pt x="286" y="27"/>
                    <a:pt x="286" y="27"/>
                  </a:cubicBezTo>
                  <a:cubicBezTo>
                    <a:pt x="286" y="27"/>
                    <a:pt x="286" y="26"/>
                    <a:pt x="285" y="26"/>
                  </a:cubicBezTo>
                  <a:cubicBezTo>
                    <a:pt x="281" y="26"/>
                    <a:pt x="281" y="26"/>
                    <a:pt x="281" y="26"/>
                  </a:cubicBezTo>
                  <a:cubicBezTo>
                    <a:pt x="280" y="26"/>
                    <a:pt x="280" y="27"/>
                    <a:pt x="279" y="27"/>
                  </a:cubicBezTo>
                  <a:cubicBezTo>
                    <a:pt x="279" y="27"/>
                    <a:pt x="278" y="27"/>
                    <a:pt x="277" y="28"/>
                  </a:cubicBezTo>
                  <a:cubicBezTo>
                    <a:pt x="277" y="28"/>
                    <a:pt x="277" y="28"/>
                    <a:pt x="276" y="28"/>
                  </a:cubicBezTo>
                  <a:cubicBezTo>
                    <a:pt x="276" y="28"/>
                    <a:pt x="275" y="27"/>
                    <a:pt x="275" y="27"/>
                  </a:cubicBezTo>
                  <a:cubicBezTo>
                    <a:pt x="275" y="27"/>
                    <a:pt x="275" y="26"/>
                    <a:pt x="274" y="26"/>
                  </a:cubicBezTo>
                  <a:cubicBezTo>
                    <a:pt x="274" y="26"/>
                    <a:pt x="273" y="27"/>
                    <a:pt x="273" y="27"/>
                  </a:cubicBezTo>
                  <a:cubicBezTo>
                    <a:pt x="272" y="27"/>
                    <a:pt x="272" y="27"/>
                    <a:pt x="271" y="27"/>
                  </a:cubicBezTo>
                  <a:cubicBezTo>
                    <a:pt x="271" y="27"/>
                    <a:pt x="270" y="28"/>
                    <a:pt x="270" y="28"/>
                  </a:cubicBezTo>
                  <a:cubicBezTo>
                    <a:pt x="270" y="28"/>
                    <a:pt x="270" y="28"/>
                    <a:pt x="270" y="29"/>
                  </a:cubicBezTo>
                  <a:cubicBezTo>
                    <a:pt x="264" y="29"/>
                    <a:pt x="264" y="29"/>
                    <a:pt x="264" y="29"/>
                  </a:cubicBezTo>
                  <a:cubicBezTo>
                    <a:pt x="263" y="28"/>
                    <a:pt x="262" y="28"/>
                    <a:pt x="263" y="28"/>
                  </a:cubicBezTo>
                  <a:cubicBezTo>
                    <a:pt x="263" y="27"/>
                    <a:pt x="264" y="27"/>
                    <a:pt x="264" y="26"/>
                  </a:cubicBezTo>
                  <a:cubicBezTo>
                    <a:pt x="265" y="26"/>
                    <a:pt x="265" y="25"/>
                    <a:pt x="265" y="25"/>
                  </a:cubicBezTo>
                  <a:cubicBezTo>
                    <a:pt x="264" y="24"/>
                    <a:pt x="264" y="25"/>
                    <a:pt x="263" y="25"/>
                  </a:cubicBezTo>
                  <a:cubicBezTo>
                    <a:pt x="263" y="25"/>
                    <a:pt x="263" y="24"/>
                    <a:pt x="263" y="23"/>
                  </a:cubicBezTo>
                  <a:cubicBezTo>
                    <a:pt x="263" y="23"/>
                    <a:pt x="263" y="23"/>
                    <a:pt x="263" y="22"/>
                  </a:cubicBezTo>
                  <a:cubicBezTo>
                    <a:pt x="263" y="22"/>
                    <a:pt x="262" y="22"/>
                    <a:pt x="262" y="22"/>
                  </a:cubicBezTo>
                  <a:cubicBezTo>
                    <a:pt x="262" y="21"/>
                    <a:pt x="262" y="21"/>
                    <a:pt x="262" y="20"/>
                  </a:cubicBezTo>
                  <a:cubicBezTo>
                    <a:pt x="262" y="20"/>
                    <a:pt x="261" y="20"/>
                    <a:pt x="261" y="19"/>
                  </a:cubicBezTo>
                  <a:cubicBezTo>
                    <a:pt x="262" y="19"/>
                    <a:pt x="262" y="19"/>
                    <a:pt x="262" y="19"/>
                  </a:cubicBezTo>
                  <a:cubicBezTo>
                    <a:pt x="262" y="18"/>
                    <a:pt x="262" y="18"/>
                    <a:pt x="263" y="17"/>
                  </a:cubicBezTo>
                  <a:cubicBezTo>
                    <a:pt x="263" y="17"/>
                    <a:pt x="263" y="16"/>
                    <a:pt x="263" y="15"/>
                  </a:cubicBezTo>
                  <a:cubicBezTo>
                    <a:pt x="263" y="15"/>
                    <a:pt x="264" y="14"/>
                    <a:pt x="264" y="14"/>
                  </a:cubicBezTo>
                  <a:cubicBezTo>
                    <a:pt x="265" y="14"/>
                    <a:pt x="265" y="15"/>
                    <a:pt x="265" y="15"/>
                  </a:cubicBezTo>
                  <a:cubicBezTo>
                    <a:pt x="264" y="15"/>
                    <a:pt x="264" y="16"/>
                    <a:pt x="264" y="16"/>
                  </a:cubicBezTo>
                  <a:cubicBezTo>
                    <a:pt x="264" y="16"/>
                    <a:pt x="264" y="17"/>
                    <a:pt x="264" y="17"/>
                  </a:cubicBezTo>
                  <a:cubicBezTo>
                    <a:pt x="263" y="18"/>
                    <a:pt x="263" y="18"/>
                    <a:pt x="263" y="19"/>
                  </a:cubicBezTo>
                  <a:cubicBezTo>
                    <a:pt x="263" y="20"/>
                    <a:pt x="264" y="20"/>
                    <a:pt x="264" y="21"/>
                  </a:cubicBezTo>
                  <a:cubicBezTo>
                    <a:pt x="264" y="22"/>
                    <a:pt x="265" y="22"/>
                    <a:pt x="265" y="23"/>
                  </a:cubicBezTo>
                  <a:cubicBezTo>
                    <a:pt x="265" y="23"/>
                    <a:pt x="265" y="24"/>
                    <a:pt x="266" y="24"/>
                  </a:cubicBezTo>
                  <a:cubicBezTo>
                    <a:pt x="266" y="24"/>
                    <a:pt x="266" y="23"/>
                    <a:pt x="266" y="23"/>
                  </a:cubicBezTo>
                  <a:cubicBezTo>
                    <a:pt x="267" y="23"/>
                    <a:pt x="267" y="24"/>
                    <a:pt x="268" y="24"/>
                  </a:cubicBezTo>
                  <a:cubicBezTo>
                    <a:pt x="268" y="25"/>
                    <a:pt x="269" y="24"/>
                    <a:pt x="269" y="24"/>
                  </a:cubicBezTo>
                  <a:cubicBezTo>
                    <a:pt x="270" y="24"/>
                    <a:pt x="270" y="24"/>
                    <a:pt x="270" y="24"/>
                  </a:cubicBezTo>
                  <a:cubicBezTo>
                    <a:pt x="271" y="24"/>
                    <a:pt x="271" y="24"/>
                    <a:pt x="271" y="24"/>
                  </a:cubicBezTo>
                  <a:cubicBezTo>
                    <a:pt x="272" y="24"/>
                    <a:pt x="272" y="24"/>
                    <a:pt x="272" y="23"/>
                  </a:cubicBezTo>
                  <a:cubicBezTo>
                    <a:pt x="273" y="23"/>
                    <a:pt x="274" y="23"/>
                    <a:pt x="275" y="22"/>
                  </a:cubicBezTo>
                  <a:cubicBezTo>
                    <a:pt x="275" y="22"/>
                    <a:pt x="276" y="22"/>
                    <a:pt x="276" y="22"/>
                  </a:cubicBezTo>
                  <a:cubicBezTo>
                    <a:pt x="277" y="22"/>
                    <a:pt x="276" y="21"/>
                    <a:pt x="276" y="21"/>
                  </a:cubicBezTo>
                  <a:cubicBezTo>
                    <a:pt x="275" y="20"/>
                    <a:pt x="275" y="20"/>
                    <a:pt x="274" y="19"/>
                  </a:cubicBezTo>
                  <a:cubicBezTo>
                    <a:pt x="274" y="19"/>
                    <a:pt x="273" y="19"/>
                    <a:pt x="272" y="18"/>
                  </a:cubicBezTo>
                  <a:cubicBezTo>
                    <a:pt x="273" y="17"/>
                    <a:pt x="274" y="19"/>
                    <a:pt x="275" y="19"/>
                  </a:cubicBezTo>
                  <a:cubicBezTo>
                    <a:pt x="276" y="20"/>
                    <a:pt x="277" y="20"/>
                    <a:pt x="278" y="20"/>
                  </a:cubicBezTo>
                  <a:cubicBezTo>
                    <a:pt x="278" y="21"/>
                    <a:pt x="280" y="21"/>
                    <a:pt x="280" y="21"/>
                  </a:cubicBezTo>
                  <a:cubicBezTo>
                    <a:pt x="281" y="20"/>
                    <a:pt x="281" y="20"/>
                    <a:pt x="281" y="19"/>
                  </a:cubicBezTo>
                  <a:cubicBezTo>
                    <a:pt x="280" y="19"/>
                    <a:pt x="280" y="18"/>
                    <a:pt x="279" y="18"/>
                  </a:cubicBezTo>
                  <a:cubicBezTo>
                    <a:pt x="279" y="18"/>
                    <a:pt x="278" y="17"/>
                    <a:pt x="279" y="17"/>
                  </a:cubicBezTo>
                  <a:cubicBezTo>
                    <a:pt x="279" y="17"/>
                    <a:pt x="280" y="18"/>
                    <a:pt x="280" y="19"/>
                  </a:cubicBezTo>
                  <a:cubicBezTo>
                    <a:pt x="281" y="19"/>
                    <a:pt x="282" y="20"/>
                    <a:pt x="282" y="20"/>
                  </a:cubicBezTo>
                  <a:cubicBezTo>
                    <a:pt x="283" y="20"/>
                    <a:pt x="283" y="20"/>
                    <a:pt x="284" y="19"/>
                  </a:cubicBezTo>
                  <a:cubicBezTo>
                    <a:pt x="284" y="19"/>
                    <a:pt x="285" y="19"/>
                    <a:pt x="286" y="19"/>
                  </a:cubicBezTo>
                  <a:cubicBezTo>
                    <a:pt x="286" y="18"/>
                    <a:pt x="285" y="18"/>
                    <a:pt x="285" y="17"/>
                  </a:cubicBezTo>
                  <a:cubicBezTo>
                    <a:pt x="284" y="17"/>
                    <a:pt x="284" y="16"/>
                    <a:pt x="284" y="16"/>
                  </a:cubicBezTo>
                  <a:cubicBezTo>
                    <a:pt x="284" y="16"/>
                    <a:pt x="283" y="15"/>
                    <a:pt x="283" y="15"/>
                  </a:cubicBezTo>
                  <a:cubicBezTo>
                    <a:pt x="283" y="14"/>
                    <a:pt x="283" y="14"/>
                    <a:pt x="282" y="13"/>
                  </a:cubicBezTo>
                  <a:cubicBezTo>
                    <a:pt x="282" y="13"/>
                    <a:pt x="282" y="13"/>
                    <a:pt x="282" y="13"/>
                  </a:cubicBezTo>
                  <a:cubicBezTo>
                    <a:pt x="282" y="12"/>
                    <a:pt x="282" y="13"/>
                    <a:pt x="283" y="13"/>
                  </a:cubicBezTo>
                  <a:cubicBezTo>
                    <a:pt x="283" y="13"/>
                    <a:pt x="284" y="14"/>
                    <a:pt x="284" y="14"/>
                  </a:cubicBezTo>
                  <a:cubicBezTo>
                    <a:pt x="285" y="15"/>
                    <a:pt x="286" y="15"/>
                    <a:pt x="286" y="15"/>
                  </a:cubicBezTo>
                  <a:cubicBezTo>
                    <a:pt x="287" y="16"/>
                    <a:pt x="287" y="16"/>
                    <a:pt x="288" y="17"/>
                  </a:cubicBezTo>
                  <a:cubicBezTo>
                    <a:pt x="288" y="17"/>
                    <a:pt x="289" y="17"/>
                    <a:pt x="289" y="17"/>
                  </a:cubicBezTo>
                  <a:cubicBezTo>
                    <a:pt x="290" y="17"/>
                    <a:pt x="289" y="16"/>
                    <a:pt x="289" y="15"/>
                  </a:cubicBezTo>
                  <a:cubicBezTo>
                    <a:pt x="289" y="15"/>
                    <a:pt x="289" y="14"/>
                    <a:pt x="290" y="14"/>
                  </a:cubicBezTo>
                  <a:cubicBezTo>
                    <a:pt x="290" y="14"/>
                    <a:pt x="290" y="15"/>
                    <a:pt x="290" y="15"/>
                  </a:cubicBezTo>
                  <a:cubicBezTo>
                    <a:pt x="290" y="16"/>
                    <a:pt x="290" y="17"/>
                    <a:pt x="291" y="17"/>
                  </a:cubicBezTo>
                  <a:cubicBezTo>
                    <a:pt x="291" y="18"/>
                    <a:pt x="292" y="19"/>
                    <a:pt x="292" y="20"/>
                  </a:cubicBezTo>
                  <a:cubicBezTo>
                    <a:pt x="293" y="21"/>
                    <a:pt x="294" y="22"/>
                    <a:pt x="295" y="22"/>
                  </a:cubicBezTo>
                  <a:cubicBezTo>
                    <a:pt x="295" y="21"/>
                    <a:pt x="295" y="21"/>
                    <a:pt x="294" y="20"/>
                  </a:cubicBezTo>
                  <a:cubicBezTo>
                    <a:pt x="294" y="20"/>
                    <a:pt x="294" y="19"/>
                    <a:pt x="294" y="19"/>
                  </a:cubicBezTo>
                  <a:cubicBezTo>
                    <a:pt x="294" y="17"/>
                    <a:pt x="293" y="16"/>
                    <a:pt x="293" y="15"/>
                  </a:cubicBezTo>
                  <a:cubicBezTo>
                    <a:pt x="293" y="14"/>
                    <a:pt x="293" y="13"/>
                    <a:pt x="292" y="12"/>
                  </a:cubicBezTo>
                  <a:cubicBezTo>
                    <a:pt x="291" y="11"/>
                    <a:pt x="290" y="10"/>
                    <a:pt x="290" y="9"/>
                  </a:cubicBezTo>
                  <a:cubicBezTo>
                    <a:pt x="289" y="9"/>
                    <a:pt x="288" y="8"/>
                    <a:pt x="288" y="7"/>
                  </a:cubicBezTo>
                  <a:cubicBezTo>
                    <a:pt x="288" y="6"/>
                    <a:pt x="287" y="6"/>
                    <a:pt x="287" y="5"/>
                  </a:cubicBezTo>
                  <a:cubicBezTo>
                    <a:pt x="287" y="5"/>
                    <a:pt x="287" y="4"/>
                    <a:pt x="287" y="4"/>
                  </a:cubicBezTo>
                  <a:cubicBezTo>
                    <a:pt x="287" y="3"/>
                    <a:pt x="288" y="3"/>
                    <a:pt x="288" y="3"/>
                  </a:cubicBezTo>
                  <a:cubicBezTo>
                    <a:pt x="288" y="4"/>
                    <a:pt x="289" y="4"/>
                    <a:pt x="289" y="4"/>
                  </a:cubicBezTo>
                  <a:cubicBezTo>
                    <a:pt x="290" y="4"/>
                    <a:pt x="291" y="4"/>
                    <a:pt x="292" y="4"/>
                  </a:cubicBezTo>
                  <a:cubicBezTo>
                    <a:pt x="292" y="5"/>
                    <a:pt x="292" y="5"/>
                    <a:pt x="292" y="6"/>
                  </a:cubicBezTo>
                  <a:cubicBezTo>
                    <a:pt x="292" y="7"/>
                    <a:pt x="293" y="7"/>
                    <a:pt x="293" y="8"/>
                  </a:cubicBezTo>
                  <a:cubicBezTo>
                    <a:pt x="293" y="9"/>
                    <a:pt x="294" y="10"/>
                    <a:pt x="294" y="10"/>
                  </a:cubicBezTo>
                  <a:cubicBezTo>
                    <a:pt x="293" y="11"/>
                    <a:pt x="294" y="11"/>
                    <a:pt x="294" y="12"/>
                  </a:cubicBezTo>
                  <a:cubicBezTo>
                    <a:pt x="294" y="12"/>
                    <a:pt x="294" y="13"/>
                    <a:pt x="294" y="13"/>
                  </a:cubicBezTo>
                  <a:cubicBezTo>
                    <a:pt x="294" y="14"/>
                    <a:pt x="295" y="15"/>
                    <a:pt x="295" y="16"/>
                  </a:cubicBezTo>
                  <a:cubicBezTo>
                    <a:pt x="296" y="17"/>
                    <a:pt x="296" y="19"/>
                    <a:pt x="297" y="20"/>
                  </a:cubicBezTo>
                  <a:cubicBezTo>
                    <a:pt x="297" y="21"/>
                    <a:pt x="297" y="22"/>
                    <a:pt x="298" y="23"/>
                  </a:cubicBezTo>
                  <a:cubicBezTo>
                    <a:pt x="298" y="23"/>
                    <a:pt x="299" y="24"/>
                    <a:pt x="299" y="24"/>
                  </a:cubicBezTo>
                  <a:cubicBezTo>
                    <a:pt x="300" y="25"/>
                    <a:pt x="300" y="26"/>
                    <a:pt x="300" y="27"/>
                  </a:cubicBezTo>
                  <a:cubicBezTo>
                    <a:pt x="301" y="28"/>
                    <a:pt x="301" y="29"/>
                    <a:pt x="302" y="29"/>
                  </a:cubicBezTo>
                  <a:cubicBezTo>
                    <a:pt x="301" y="28"/>
                    <a:pt x="301" y="27"/>
                    <a:pt x="300" y="26"/>
                  </a:cubicBezTo>
                  <a:close/>
                </a:path>
              </a:pathLst>
            </a:custGeom>
            <a:solidFill>
              <a:schemeClr val="bg1">
                <a:lumMod val="85000"/>
              </a:schemeClr>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3" name="Freeform 26">
              <a:extLst>
                <a:ext uri="{FF2B5EF4-FFF2-40B4-BE49-F238E27FC236}">
                  <a16:creationId xmlns:a16="http://schemas.microsoft.com/office/drawing/2014/main" id="{BE522357-600A-FBD5-23B7-6C9EAC6325B4}"/>
                </a:ext>
              </a:extLst>
            </p:cNvPr>
            <p:cNvSpPr>
              <a:spLocks/>
            </p:cNvSpPr>
            <p:nvPr/>
          </p:nvSpPr>
          <p:spPr bwMode="auto">
            <a:xfrm>
              <a:off x="4662676" y="3216769"/>
              <a:ext cx="827755" cy="935148"/>
            </a:xfrm>
            <a:custGeom>
              <a:avLst/>
              <a:gdLst>
                <a:gd name="T0" fmla="*/ 1 w 209"/>
                <a:gd name="T1" fmla="*/ 0 h 236"/>
                <a:gd name="T2" fmla="*/ 0 w 209"/>
                <a:gd name="T3" fmla="*/ 236 h 236"/>
                <a:gd name="T4" fmla="*/ 29 w 209"/>
                <a:gd name="T5" fmla="*/ 236 h 236"/>
                <a:gd name="T6" fmla="*/ 29 w 209"/>
                <a:gd name="T7" fmla="*/ 218 h 236"/>
                <a:gd name="T8" fmla="*/ 88 w 209"/>
                <a:gd name="T9" fmla="*/ 218 h 236"/>
                <a:gd name="T10" fmla="*/ 86 w 209"/>
                <a:gd name="T11" fmla="*/ 217 h 236"/>
                <a:gd name="T12" fmla="*/ 84 w 209"/>
                <a:gd name="T13" fmla="*/ 216 h 236"/>
                <a:gd name="T14" fmla="*/ 84 w 209"/>
                <a:gd name="T15" fmla="*/ 214 h 236"/>
                <a:gd name="T16" fmla="*/ 84 w 209"/>
                <a:gd name="T17" fmla="*/ 213 h 236"/>
                <a:gd name="T18" fmla="*/ 85 w 209"/>
                <a:gd name="T19" fmla="*/ 212 h 236"/>
                <a:gd name="T20" fmla="*/ 84 w 209"/>
                <a:gd name="T21" fmla="*/ 211 h 236"/>
                <a:gd name="T22" fmla="*/ 84 w 209"/>
                <a:gd name="T23" fmla="*/ 211 h 236"/>
                <a:gd name="T24" fmla="*/ 84 w 209"/>
                <a:gd name="T25" fmla="*/ 209 h 236"/>
                <a:gd name="T26" fmla="*/ 207 w 209"/>
                <a:gd name="T27" fmla="*/ 210 h 236"/>
                <a:gd name="T28" fmla="*/ 208 w 209"/>
                <a:gd name="T29" fmla="*/ 21 h 236"/>
                <a:gd name="T30" fmla="*/ 209 w 209"/>
                <a:gd name="T31" fmla="*/ 21 h 236"/>
                <a:gd name="T32" fmla="*/ 209 w 209"/>
                <a:gd name="T33" fmla="*/ 0 h 236"/>
                <a:gd name="T34" fmla="*/ 1 w 209"/>
                <a:gd name="T35"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36">
                  <a:moveTo>
                    <a:pt x="1" y="0"/>
                  </a:moveTo>
                  <a:cubicBezTo>
                    <a:pt x="0" y="236"/>
                    <a:pt x="0" y="236"/>
                    <a:pt x="0" y="236"/>
                  </a:cubicBezTo>
                  <a:cubicBezTo>
                    <a:pt x="29" y="236"/>
                    <a:pt x="29" y="236"/>
                    <a:pt x="29" y="236"/>
                  </a:cubicBezTo>
                  <a:cubicBezTo>
                    <a:pt x="29" y="218"/>
                    <a:pt x="29" y="218"/>
                    <a:pt x="29" y="218"/>
                  </a:cubicBezTo>
                  <a:cubicBezTo>
                    <a:pt x="88" y="218"/>
                    <a:pt x="88" y="218"/>
                    <a:pt x="88" y="218"/>
                  </a:cubicBezTo>
                  <a:cubicBezTo>
                    <a:pt x="88" y="218"/>
                    <a:pt x="87" y="217"/>
                    <a:pt x="86" y="217"/>
                  </a:cubicBezTo>
                  <a:cubicBezTo>
                    <a:pt x="86" y="217"/>
                    <a:pt x="85" y="216"/>
                    <a:pt x="84" y="216"/>
                  </a:cubicBezTo>
                  <a:cubicBezTo>
                    <a:pt x="84" y="215"/>
                    <a:pt x="84" y="214"/>
                    <a:pt x="84" y="214"/>
                  </a:cubicBezTo>
                  <a:cubicBezTo>
                    <a:pt x="84" y="214"/>
                    <a:pt x="84" y="213"/>
                    <a:pt x="84" y="213"/>
                  </a:cubicBezTo>
                  <a:cubicBezTo>
                    <a:pt x="85" y="212"/>
                    <a:pt x="85" y="212"/>
                    <a:pt x="85" y="212"/>
                  </a:cubicBezTo>
                  <a:cubicBezTo>
                    <a:pt x="84" y="211"/>
                    <a:pt x="84" y="211"/>
                    <a:pt x="84" y="211"/>
                  </a:cubicBezTo>
                  <a:cubicBezTo>
                    <a:pt x="84" y="211"/>
                    <a:pt x="84" y="211"/>
                    <a:pt x="84" y="211"/>
                  </a:cubicBezTo>
                  <a:cubicBezTo>
                    <a:pt x="84" y="211"/>
                    <a:pt x="84" y="209"/>
                    <a:pt x="84" y="209"/>
                  </a:cubicBezTo>
                  <a:cubicBezTo>
                    <a:pt x="207" y="210"/>
                    <a:pt x="207" y="210"/>
                    <a:pt x="207" y="210"/>
                  </a:cubicBezTo>
                  <a:cubicBezTo>
                    <a:pt x="208" y="21"/>
                    <a:pt x="208" y="21"/>
                    <a:pt x="208" y="21"/>
                  </a:cubicBezTo>
                  <a:cubicBezTo>
                    <a:pt x="209" y="21"/>
                    <a:pt x="209" y="21"/>
                    <a:pt x="209" y="21"/>
                  </a:cubicBezTo>
                  <a:cubicBezTo>
                    <a:pt x="209" y="0"/>
                    <a:pt x="209" y="0"/>
                    <a:pt x="209" y="0"/>
                  </a:cubicBezTo>
                  <a:lnTo>
                    <a:pt x="1" y="0"/>
                  </a:ln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4" name="Freeform 27">
              <a:extLst>
                <a:ext uri="{FF2B5EF4-FFF2-40B4-BE49-F238E27FC236}">
                  <a16:creationId xmlns:a16="http://schemas.microsoft.com/office/drawing/2014/main" id="{0F3C168B-F62B-5F08-0029-FD22A70C517A}"/>
                </a:ext>
              </a:extLst>
            </p:cNvPr>
            <p:cNvSpPr>
              <a:spLocks noEditPoints="1"/>
            </p:cNvSpPr>
            <p:nvPr/>
          </p:nvSpPr>
          <p:spPr bwMode="auto">
            <a:xfrm>
              <a:off x="8670922" y="1757871"/>
              <a:ext cx="1077237" cy="849234"/>
            </a:xfrm>
            <a:custGeom>
              <a:avLst/>
              <a:gdLst>
                <a:gd name="T0" fmla="*/ 207 w 272"/>
                <a:gd name="T1" fmla="*/ 195 h 214"/>
                <a:gd name="T2" fmla="*/ 207 w 272"/>
                <a:gd name="T3" fmla="*/ 198 h 214"/>
                <a:gd name="T4" fmla="*/ 211 w 272"/>
                <a:gd name="T5" fmla="*/ 197 h 214"/>
                <a:gd name="T6" fmla="*/ 217 w 272"/>
                <a:gd name="T7" fmla="*/ 196 h 214"/>
                <a:gd name="T8" fmla="*/ 222 w 272"/>
                <a:gd name="T9" fmla="*/ 194 h 214"/>
                <a:gd name="T10" fmla="*/ 236 w 272"/>
                <a:gd name="T11" fmla="*/ 192 h 214"/>
                <a:gd name="T12" fmla="*/ 248 w 272"/>
                <a:gd name="T13" fmla="*/ 190 h 214"/>
                <a:gd name="T14" fmla="*/ 255 w 272"/>
                <a:gd name="T15" fmla="*/ 187 h 214"/>
                <a:gd name="T16" fmla="*/ 249 w 272"/>
                <a:gd name="T17" fmla="*/ 192 h 214"/>
                <a:gd name="T18" fmla="*/ 250 w 272"/>
                <a:gd name="T19" fmla="*/ 194 h 214"/>
                <a:gd name="T20" fmla="*/ 260 w 272"/>
                <a:gd name="T21" fmla="*/ 189 h 214"/>
                <a:gd name="T22" fmla="*/ 269 w 272"/>
                <a:gd name="T23" fmla="*/ 188 h 214"/>
                <a:gd name="T24" fmla="*/ 269 w 272"/>
                <a:gd name="T25" fmla="*/ 189 h 214"/>
                <a:gd name="T26" fmla="*/ 261 w 272"/>
                <a:gd name="T27" fmla="*/ 193 h 214"/>
                <a:gd name="T28" fmla="*/ 254 w 272"/>
                <a:gd name="T29" fmla="*/ 196 h 214"/>
                <a:gd name="T30" fmla="*/ 250 w 272"/>
                <a:gd name="T31" fmla="*/ 197 h 214"/>
                <a:gd name="T32" fmla="*/ 241 w 272"/>
                <a:gd name="T33" fmla="*/ 200 h 214"/>
                <a:gd name="T34" fmla="*/ 233 w 272"/>
                <a:gd name="T35" fmla="*/ 202 h 214"/>
                <a:gd name="T36" fmla="*/ 227 w 272"/>
                <a:gd name="T37" fmla="*/ 204 h 214"/>
                <a:gd name="T38" fmla="*/ 220 w 272"/>
                <a:gd name="T39" fmla="*/ 206 h 214"/>
                <a:gd name="T40" fmla="*/ 211 w 272"/>
                <a:gd name="T41" fmla="*/ 208 h 214"/>
                <a:gd name="T42" fmla="*/ 206 w 272"/>
                <a:gd name="T43" fmla="*/ 208 h 214"/>
                <a:gd name="T44" fmla="*/ 203 w 272"/>
                <a:gd name="T45" fmla="*/ 209 h 214"/>
                <a:gd name="T46" fmla="*/ 198 w 272"/>
                <a:gd name="T47" fmla="*/ 207 h 214"/>
                <a:gd name="T48" fmla="*/ 202 w 272"/>
                <a:gd name="T49" fmla="*/ 191 h 214"/>
                <a:gd name="T50" fmla="*/ 167 w 272"/>
                <a:gd name="T51" fmla="*/ 169 h 214"/>
                <a:gd name="T52" fmla="*/ 162 w 272"/>
                <a:gd name="T53" fmla="*/ 159 h 214"/>
                <a:gd name="T54" fmla="*/ 158 w 272"/>
                <a:gd name="T55" fmla="*/ 150 h 214"/>
                <a:gd name="T56" fmla="*/ 0 w 272"/>
                <a:gd name="T57" fmla="*/ 132 h 214"/>
                <a:gd name="T58" fmla="*/ 18 w 272"/>
                <a:gd name="T59" fmla="*/ 120 h 214"/>
                <a:gd name="T60" fmla="*/ 24 w 272"/>
                <a:gd name="T61" fmla="*/ 113 h 214"/>
                <a:gd name="T62" fmla="*/ 30 w 272"/>
                <a:gd name="T63" fmla="*/ 103 h 214"/>
                <a:gd name="T64" fmla="*/ 26 w 272"/>
                <a:gd name="T65" fmla="*/ 94 h 214"/>
                <a:gd name="T66" fmla="*/ 35 w 272"/>
                <a:gd name="T67" fmla="*/ 82 h 214"/>
                <a:gd name="T68" fmla="*/ 73 w 272"/>
                <a:gd name="T69" fmla="*/ 84 h 214"/>
                <a:gd name="T70" fmla="*/ 101 w 272"/>
                <a:gd name="T71" fmla="*/ 83 h 214"/>
                <a:gd name="T72" fmla="*/ 123 w 272"/>
                <a:gd name="T73" fmla="*/ 68 h 214"/>
                <a:gd name="T74" fmla="*/ 122 w 272"/>
                <a:gd name="T75" fmla="*/ 60 h 214"/>
                <a:gd name="T76" fmla="*/ 124 w 272"/>
                <a:gd name="T77" fmla="*/ 55 h 214"/>
                <a:gd name="T78" fmla="*/ 124 w 272"/>
                <a:gd name="T79" fmla="*/ 51 h 214"/>
                <a:gd name="T80" fmla="*/ 122 w 272"/>
                <a:gd name="T81" fmla="*/ 50 h 214"/>
                <a:gd name="T82" fmla="*/ 119 w 272"/>
                <a:gd name="T83" fmla="*/ 46 h 214"/>
                <a:gd name="T84" fmla="*/ 125 w 272"/>
                <a:gd name="T85" fmla="*/ 39 h 214"/>
                <a:gd name="T86" fmla="*/ 133 w 272"/>
                <a:gd name="T87" fmla="*/ 33 h 214"/>
                <a:gd name="T88" fmla="*/ 139 w 272"/>
                <a:gd name="T89" fmla="*/ 25 h 214"/>
                <a:gd name="T90" fmla="*/ 168 w 272"/>
                <a:gd name="T91" fmla="*/ 2 h 214"/>
                <a:gd name="T92" fmla="*/ 220 w 272"/>
                <a:gd name="T93" fmla="*/ 8 h 214"/>
                <a:gd name="T94" fmla="*/ 222 w 272"/>
                <a:gd name="T95" fmla="*/ 28 h 214"/>
                <a:gd name="T96" fmla="*/ 218 w 272"/>
                <a:gd name="T97" fmla="*/ 47 h 214"/>
                <a:gd name="T98" fmla="*/ 218 w 272"/>
                <a:gd name="T99" fmla="*/ 68 h 214"/>
                <a:gd name="T100" fmla="*/ 223 w 272"/>
                <a:gd name="T101" fmla="*/ 70 h 214"/>
                <a:gd name="T102" fmla="*/ 215 w 272"/>
                <a:gd name="T103" fmla="*/ 161 h 214"/>
                <a:gd name="T104" fmla="*/ 208 w 272"/>
                <a:gd name="T105" fmla="*/ 188 h 214"/>
                <a:gd name="T106" fmla="*/ 190 w 272"/>
                <a:gd name="T107" fmla="*/ 213 h 214"/>
                <a:gd name="T108" fmla="*/ 196 w 272"/>
                <a:gd name="T109" fmla="*/ 20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2" h="214">
                  <a:moveTo>
                    <a:pt x="208" y="188"/>
                  </a:moveTo>
                  <a:cubicBezTo>
                    <a:pt x="211" y="191"/>
                    <a:pt x="211" y="191"/>
                    <a:pt x="211" y="191"/>
                  </a:cubicBezTo>
                  <a:cubicBezTo>
                    <a:pt x="210" y="191"/>
                    <a:pt x="210" y="191"/>
                    <a:pt x="210" y="191"/>
                  </a:cubicBezTo>
                  <a:cubicBezTo>
                    <a:pt x="210" y="191"/>
                    <a:pt x="209" y="191"/>
                    <a:pt x="209" y="192"/>
                  </a:cubicBezTo>
                  <a:cubicBezTo>
                    <a:pt x="209" y="192"/>
                    <a:pt x="209" y="193"/>
                    <a:pt x="208" y="193"/>
                  </a:cubicBezTo>
                  <a:cubicBezTo>
                    <a:pt x="208" y="194"/>
                    <a:pt x="207" y="194"/>
                    <a:pt x="207" y="195"/>
                  </a:cubicBezTo>
                  <a:cubicBezTo>
                    <a:pt x="207" y="195"/>
                    <a:pt x="207" y="196"/>
                    <a:pt x="206" y="196"/>
                  </a:cubicBezTo>
                  <a:cubicBezTo>
                    <a:pt x="206" y="197"/>
                    <a:pt x="206" y="197"/>
                    <a:pt x="206" y="197"/>
                  </a:cubicBezTo>
                  <a:cubicBezTo>
                    <a:pt x="206" y="197"/>
                    <a:pt x="206" y="198"/>
                    <a:pt x="206" y="198"/>
                  </a:cubicBezTo>
                  <a:cubicBezTo>
                    <a:pt x="206" y="199"/>
                    <a:pt x="206" y="199"/>
                    <a:pt x="206" y="200"/>
                  </a:cubicBezTo>
                  <a:cubicBezTo>
                    <a:pt x="207" y="200"/>
                    <a:pt x="208" y="200"/>
                    <a:pt x="207" y="199"/>
                  </a:cubicBezTo>
                  <a:cubicBezTo>
                    <a:pt x="207" y="199"/>
                    <a:pt x="207" y="199"/>
                    <a:pt x="207" y="198"/>
                  </a:cubicBezTo>
                  <a:cubicBezTo>
                    <a:pt x="208" y="198"/>
                    <a:pt x="208" y="198"/>
                    <a:pt x="208" y="198"/>
                  </a:cubicBezTo>
                  <a:cubicBezTo>
                    <a:pt x="208" y="198"/>
                    <a:pt x="209" y="198"/>
                    <a:pt x="209" y="198"/>
                  </a:cubicBezTo>
                  <a:cubicBezTo>
                    <a:pt x="209" y="198"/>
                    <a:pt x="209" y="198"/>
                    <a:pt x="209" y="198"/>
                  </a:cubicBezTo>
                  <a:cubicBezTo>
                    <a:pt x="208" y="197"/>
                    <a:pt x="208" y="197"/>
                    <a:pt x="208" y="197"/>
                  </a:cubicBezTo>
                  <a:cubicBezTo>
                    <a:pt x="209" y="197"/>
                    <a:pt x="209" y="197"/>
                    <a:pt x="210" y="197"/>
                  </a:cubicBezTo>
                  <a:cubicBezTo>
                    <a:pt x="210" y="197"/>
                    <a:pt x="211" y="197"/>
                    <a:pt x="211" y="197"/>
                  </a:cubicBezTo>
                  <a:cubicBezTo>
                    <a:pt x="211" y="197"/>
                    <a:pt x="211" y="196"/>
                    <a:pt x="211" y="196"/>
                  </a:cubicBezTo>
                  <a:cubicBezTo>
                    <a:pt x="212" y="196"/>
                    <a:pt x="212" y="195"/>
                    <a:pt x="212" y="195"/>
                  </a:cubicBezTo>
                  <a:cubicBezTo>
                    <a:pt x="212" y="195"/>
                    <a:pt x="213" y="195"/>
                    <a:pt x="213" y="195"/>
                  </a:cubicBezTo>
                  <a:cubicBezTo>
                    <a:pt x="214" y="195"/>
                    <a:pt x="214" y="195"/>
                    <a:pt x="214" y="195"/>
                  </a:cubicBezTo>
                  <a:cubicBezTo>
                    <a:pt x="215" y="195"/>
                    <a:pt x="215" y="195"/>
                    <a:pt x="216" y="195"/>
                  </a:cubicBezTo>
                  <a:cubicBezTo>
                    <a:pt x="216" y="196"/>
                    <a:pt x="217" y="196"/>
                    <a:pt x="217" y="196"/>
                  </a:cubicBezTo>
                  <a:cubicBezTo>
                    <a:pt x="217" y="196"/>
                    <a:pt x="218" y="195"/>
                    <a:pt x="218" y="195"/>
                  </a:cubicBezTo>
                  <a:cubicBezTo>
                    <a:pt x="218" y="195"/>
                    <a:pt x="218" y="195"/>
                    <a:pt x="218" y="195"/>
                  </a:cubicBezTo>
                  <a:cubicBezTo>
                    <a:pt x="218" y="195"/>
                    <a:pt x="218" y="194"/>
                    <a:pt x="218" y="194"/>
                  </a:cubicBezTo>
                  <a:cubicBezTo>
                    <a:pt x="219" y="194"/>
                    <a:pt x="219" y="194"/>
                    <a:pt x="219" y="195"/>
                  </a:cubicBezTo>
                  <a:cubicBezTo>
                    <a:pt x="220" y="195"/>
                    <a:pt x="220" y="195"/>
                    <a:pt x="221" y="194"/>
                  </a:cubicBezTo>
                  <a:cubicBezTo>
                    <a:pt x="221" y="194"/>
                    <a:pt x="221" y="194"/>
                    <a:pt x="222" y="194"/>
                  </a:cubicBezTo>
                  <a:cubicBezTo>
                    <a:pt x="223" y="194"/>
                    <a:pt x="223" y="194"/>
                    <a:pt x="224" y="194"/>
                  </a:cubicBezTo>
                  <a:cubicBezTo>
                    <a:pt x="226" y="194"/>
                    <a:pt x="228" y="194"/>
                    <a:pt x="229" y="193"/>
                  </a:cubicBezTo>
                  <a:cubicBezTo>
                    <a:pt x="229" y="192"/>
                    <a:pt x="230" y="192"/>
                    <a:pt x="231" y="192"/>
                  </a:cubicBezTo>
                  <a:cubicBezTo>
                    <a:pt x="231" y="192"/>
                    <a:pt x="232" y="192"/>
                    <a:pt x="233" y="192"/>
                  </a:cubicBezTo>
                  <a:cubicBezTo>
                    <a:pt x="233" y="192"/>
                    <a:pt x="234" y="192"/>
                    <a:pt x="234" y="192"/>
                  </a:cubicBezTo>
                  <a:cubicBezTo>
                    <a:pt x="235" y="192"/>
                    <a:pt x="236" y="192"/>
                    <a:pt x="236" y="192"/>
                  </a:cubicBezTo>
                  <a:cubicBezTo>
                    <a:pt x="237" y="192"/>
                    <a:pt x="237" y="192"/>
                    <a:pt x="238" y="192"/>
                  </a:cubicBezTo>
                  <a:cubicBezTo>
                    <a:pt x="238" y="192"/>
                    <a:pt x="238" y="192"/>
                    <a:pt x="239" y="192"/>
                  </a:cubicBezTo>
                  <a:cubicBezTo>
                    <a:pt x="240" y="192"/>
                    <a:pt x="240" y="191"/>
                    <a:pt x="241" y="191"/>
                  </a:cubicBezTo>
                  <a:cubicBezTo>
                    <a:pt x="242" y="192"/>
                    <a:pt x="243" y="192"/>
                    <a:pt x="244" y="191"/>
                  </a:cubicBezTo>
                  <a:cubicBezTo>
                    <a:pt x="245" y="191"/>
                    <a:pt x="246" y="191"/>
                    <a:pt x="246" y="191"/>
                  </a:cubicBezTo>
                  <a:cubicBezTo>
                    <a:pt x="247" y="190"/>
                    <a:pt x="247" y="190"/>
                    <a:pt x="248" y="190"/>
                  </a:cubicBezTo>
                  <a:cubicBezTo>
                    <a:pt x="248" y="190"/>
                    <a:pt x="249" y="190"/>
                    <a:pt x="249" y="189"/>
                  </a:cubicBezTo>
                  <a:cubicBezTo>
                    <a:pt x="250" y="189"/>
                    <a:pt x="251" y="188"/>
                    <a:pt x="251" y="188"/>
                  </a:cubicBezTo>
                  <a:cubicBezTo>
                    <a:pt x="252" y="188"/>
                    <a:pt x="252" y="187"/>
                    <a:pt x="253" y="187"/>
                  </a:cubicBezTo>
                  <a:cubicBezTo>
                    <a:pt x="253" y="187"/>
                    <a:pt x="254" y="186"/>
                    <a:pt x="254" y="186"/>
                  </a:cubicBezTo>
                  <a:cubicBezTo>
                    <a:pt x="254" y="186"/>
                    <a:pt x="255" y="186"/>
                    <a:pt x="255" y="186"/>
                  </a:cubicBezTo>
                  <a:cubicBezTo>
                    <a:pt x="255" y="186"/>
                    <a:pt x="255" y="186"/>
                    <a:pt x="255" y="187"/>
                  </a:cubicBezTo>
                  <a:cubicBezTo>
                    <a:pt x="255" y="187"/>
                    <a:pt x="255" y="187"/>
                    <a:pt x="254" y="187"/>
                  </a:cubicBezTo>
                  <a:cubicBezTo>
                    <a:pt x="254" y="188"/>
                    <a:pt x="253" y="189"/>
                    <a:pt x="253" y="190"/>
                  </a:cubicBezTo>
                  <a:cubicBezTo>
                    <a:pt x="253" y="190"/>
                    <a:pt x="253" y="191"/>
                    <a:pt x="252" y="191"/>
                  </a:cubicBezTo>
                  <a:cubicBezTo>
                    <a:pt x="252" y="191"/>
                    <a:pt x="251" y="191"/>
                    <a:pt x="251" y="191"/>
                  </a:cubicBezTo>
                  <a:cubicBezTo>
                    <a:pt x="251" y="191"/>
                    <a:pt x="251" y="191"/>
                    <a:pt x="250" y="192"/>
                  </a:cubicBezTo>
                  <a:cubicBezTo>
                    <a:pt x="250" y="192"/>
                    <a:pt x="249" y="192"/>
                    <a:pt x="249" y="192"/>
                  </a:cubicBezTo>
                  <a:cubicBezTo>
                    <a:pt x="248" y="193"/>
                    <a:pt x="248" y="193"/>
                    <a:pt x="248" y="193"/>
                  </a:cubicBezTo>
                  <a:cubicBezTo>
                    <a:pt x="247" y="193"/>
                    <a:pt x="247" y="193"/>
                    <a:pt x="247" y="194"/>
                  </a:cubicBezTo>
                  <a:cubicBezTo>
                    <a:pt x="247" y="194"/>
                    <a:pt x="247" y="194"/>
                    <a:pt x="247" y="194"/>
                  </a:cubicBezTo>
                  <a:cubicBezTo>
                    <a:pt x="248" y="194"/>
                    <a:pt x="248" y="194"/>
                    <a:pt x="248" y="194"/>
                  </a:cubicBezTo>
                  <a:cubicBezTo>
                    <a:pt x="248" y="194"/>
                    <a:pt x="248" y="194"/>
                    <a:pt x="249" y="195"/>
                  </a:cubicBezTo>
                  <a:cubicBezTo>
                    <a:pt x="249" y="195"/>
                    <a:pt x="249" y="194"/>
                    <a:pt x="250" y="194"/>
                  </a:cubicBezTo>
                  <a:cubicBezTo>
                    <a:pt x="251" y="194"/>
                    <a:pt x="252" y="194"/>
                    <a:pt x="253" y="193"/>
                  </a:cubicBezTo>
                  <a:cubicBezTo>
                    <a:pt x="254" y="193"/>
                    <a:pt x="254" y="192"/>
                    <a:pt x="255" y="192"/>
                  </a:cubicBezTo>
                  <a:cubicBezTo>
                    <a:pt x="255" y="191"/>
                    <a:pt x="256" y="191"/>
                    <a:pt x="256" y="191"/>
                  </a:cubicBezTo>
                  <a:cubicBezTo>
                    <a:pt x="257" y="190"/>
                    <a:pt x="257" y="190"/>
                    <a:pt x="258" y="190"/>
                  </a:cubicBezTo>
                  <a:cubicBezTo>
                    <a:pt x="258" y="190"/>
                    <a:pt x="259" y="190"/>
                    <a:pt x="259" y="190"/>
                  </a:cubicBezTo>
                  <a:cubicBezTo>
                    <a:pt x="259" y="190"/>
                    <a:pt x="260" y="189"/>
                    <a:pt x="260" y="189"/>
                  </a:cubicBezTo>
                  <a:cubicBezTo>
                    <a:pt x="260" y="189"/>
                    <a:pt x="261" y="189"/>
                    <a:pt x="261" y="189"/>
                  </a:cubicBezTo>
                  <a:cubicBezTo>
                    <a:pt x="261" y="189"/>
                    <a:pt x="261" y="188"/>
                    <a:pt x="262" y="188"/>
                  </a:cubicBezTo>
                  <a:cubicBezTo>
                    <a:pt x="262" y="188"/>
                    <a:pt x="263" y="189"/>
                    <a:pt x="263" y="189"/>
                  </a:cubicBezTo>
                  <a:cubicBezTo>
                    <a:pt x="263" y="189"/>
                    <a:pt x="264" y="189"/>
                    <a:pt x="265" y="189"/>
                  </a:cubicBezTo>
                  <a:cubicBezTo>
                    <a:pt x="265" y="189"/>
                    <a:pt x="266" y="189"/>
                    <a:pt x="267" y="189"/>
                  </a:cubicBezTo>
                  <a:cubicBezTo>
                    <a:pt x="267" y="189"/>
                    <a:pt x="268" y="188"/>
                    <a:pt x="269" y="188"/>
                  </a:cubicBezTo>
                  <a:cubicBezTo>
                    <a:pt x="269" y="188"/>
                    <a:pt x="269" y="188"/>
                    <a:pt x="270" y="188"/>
                  </a:cubicBezTo>
                  <a:cubicBezTo>
                    <a:pt x="270" y="187"/>
                    <a:pt x="270" y="187"/>
                    <a:pt x="271" y="187"/>
                  </a:cubicBezTo>
                  <a:cubicBezTo>
                    <a:pt x="271" y="187"/>
                    <a:pt x="272" y="187"/>
                    <a:pt x="272" y="188"/>
                  </a:cubicBezTo>
                  <a:cubicBezTo>
                    <a:pt x="272" y="189"/>
                    <a:pt x="271" y="189"/>
                    <a:pt x="270" y="189"/>
                  </a:cubicBezTo>
                  <a:cubicBezTo>
                    <a:pt x="270" y="189"/>
                    <a:pt x="270" y="189"/>
                    <a:pt x="270" y="189"/>
                  </a:cubicBezTo>
                  <a:cubicBezTo>
                    <a:pt x="270" y="189"/>
                    <a:pt x="269" y="189"/>
                    <a:pt x="269" y="189"/>
                  </a:cubicBezTo>
                  <a:cubicBezTo>
                    <a:pt x="268" y="190"/>
                    <a:pt x="268" y="190"/>
                    <a:pt x="267" y="190"/>
                  </a:cubicBezTo>
                  <a:cubicBezTo>
                    <a:pt x="267" y="191"/>
                    <a:pt x="266" y="191"/>
                    <a:pt x="265" y="191"/>
                  </a:cubicBezTo>
                  <a:cubicBezTo>
                    <a:pt x="265" y="191"/>
                    <a:pt x="265" y="192"/>
                    <a:pt x="264" y="192"/>
                  </a:cubicBezTo>
                  <a:cubicBezTo>
                    <a:pt x="264" y="192"/>
                    <a:pt x="264" y="192"/>
                    <a:pt x="263" y="192"/>
                  </a:cubicBezTo>
                  <a:cubicBezTo>
                    <a:pt x="263" y="193"/>
                    <a:pt x="263" y="193"/>
                    <a:pt x="262" y="193"/>
                  </a:cubicBezTo>
                  <a:cubicBezTo>
                    <a:pt x="262" y="193"/>
                    <a:pt x="261" y="193"/>
                    <a:pt x="261" y="193"/>
                  </a:cubicBezTo>
                  <a:cubicBezTo>
                    <a:pt x="260" y="193"/>
                    <a:pt x="260" y="194"/>
                    <a:pt x="259" y="194"/>
                  </a:cubicBezTo>
                  <a:cubicBezTo>
                    <a:pt x="259" y="194"/>
                    <a:pt x="258" y="194"/>
                    <a:pt x="258" y="194"/>
                  </a:cubicBezTo>
                  <a:cubicBezTo>
                    <a:pt x="258" y="195"/>
                    <a:pt x="257" y="195"/>
                    <a:pt x="257" y="195"/>
                  </a:cubicBezTo>
                  <a:cubicBezTo>
                    <a:pt x="256" y="195"/>
                    <a:pt x="256" y="195"/>
                    <a:pt x="256" y="195"/>
                  </a:cubicBezTo>
                  <a:cubicBezTo>
                    <a:pt x="255" y="195"/>
                    <a:pt x="255" y="196"/>
                    <a:pt x="255" y="196"/>
                  </a:cubicBezTo>
                  <a:cubicBezTo>
                    <a:pt x="255" y="196"/>
                    <a:pt x="254" y="196"/>
                    <a:pt x="254" y="196"/>
                  </a:cubicBezTo>
                  <a:cubicBezTo>
                    <a:pt x="254" y="196"/>
                    <a:pt x="253" y="196"/>
                    <a:pt x="253" y="196"/>
                  </a:cubicBezTo>
                  <a:cubicBezTo>
                    <a:pt x="253" y="196"/>
                    <a:pt x="253" y="196"/>
                    <a:pt x="253" y="196"/>
                  </a:cubicBezTo>
                  <a:cubicBezTo>
                    <a:pt x="253" y="195"/>
                    <a:pt x="252" y="196"/>
                    <a:pt x="251" y="196"/>
                  </a:cubicBezTo>
                  <a:cubicBezTo>
                    <a:pt x="251" y="196"/>
                    <a:pt x="251" y="195"/>
                    <a:pt x="251" y="196"/>
                  </a:cubicBezTo>
                  <a:cubicBezTo>
                    <a:pt x="251" y="196"/>
                    <a:pt x="251" y="196"/>
                    <a:pt x="250" y="196"/>
                  </a:cubicBezTo>
                  <a:cubicBezTo>
                    <a:pt x="250" y="196"/>
                    <a:pt x="250" y="196"/>
                    <a:pt x="250" y="197"/>
                  </a:cubicBezTo>
                  <a:cubicBezTo>
                    <a:pt x="250" y="197"/>
                    <a:pt x="250" y="198"/>
                    <a:pt x="250" y="198"/>
                  </a:cubicBezTo>
                  <a:cubicBezTo>
                    <a:pt x="249" y="198"/>
                    <a:pt x="249" y="199"/>
                    <a:pt x="248" y="199"/>
                  </a:cubicBezTo>
                  <a:cubicBezTo>
                    <a:pt x="248" y="199"/>
                    <a:pt x="247" y="199"/>
                    <a:pt x="247" y="199"/>
                  </a:cubicBezTo>
                  <a:cubicBezTo>
                    <a:pt x="246" y="199"/>
                    <a:pt x="246" y="199"/>
                    <a:pt x="245" y="199"/>
                  </a:cubicBezTo>
                  <a:cubicBezTo>
                    <a:pt x="244" y="199"/>
                    <a:pt x="244" y="200"/>
                    <a:pt x="244" y="200"/>
                  </a:cubicBezTo>
                  <a:cubicBezTo>
                    <a:pt x="243" y="200"/>
                    <a:pt x="242" y="200"/>
                    <a:pt x="241" y="200"/>
                  </a:cubicBezTo>
                  <a:cubicBezTo>
                    <a:pt x="241" y="200"/>
                    <a:pt x="240" y="200"/>
                    <a:pt x="240" y="200"/>
                  </a:cubicBezTo>
                  <a:cubicBezTo>
                    <a:pt x="239" y="201"/>
                    <a:pt x="239" y="201"/>
                    <a:pt x="239" y="201"/>
                  </a:cubicBezTo>
                  <a:cubicBezTo>
                    <a:pt x="239" y="202"/>
                    <a:pt x="238" y="202"/>
                    <a:pt x="238" y="202"/>
                  </a:cubicBezTo>
                  <a:cubicBezTo>
                    <a:pt x="237" y="202"/>
                    <a:pt x="237" y="202"/>
                    <a:pt x="236" y="202"/>
                  </a:cubicBezTo>
                  <a:cubicBezTo>
                    <a:pt x="235" y="202"/>
                    <a:pt x="235" y="202"/>
                    <a:pt x="234" y="202"/>
                  </a:cubicBezTo>
                  <a:cubicBezTo>
                    <a:pt x="234" y="202"/>
                    <a:pt x="233" y="202"/>
                    <a:pt x="233" y="202"/>
                  </a:cubicBezTo>
                  <a:cubicBezTo>
                    <a:pt x="232" y="202"/>
                    <a:pt x="232" y="202"/>
                    <a:pt x="232" y="202"/>
                  </a:cubicBezTo>
                  <a:cubicBezTo>
                    <a:pt x="231" y="202"/>
                    <a:pt x="231" y="202"/>
                    <a:pt x="231" y="202"/>
                  </a:cubicBezTo>
                  <a:cubicBezTo>
                    <a:pt x="230" y="202"/>
                    <a:pt x="230" y="203"/>
                    <a:pt x="230" y="203"/>
                  </a:cubicBezTo>
                  <a:cubicBezTo>
                    <a:pt x="229" y="203"/>
                    <a:pt x="229" y="203"/>
                    <a:pt x="229" y="203"/>
                  </a:cubicBezTo>
                  <a:cubicBezTo>
                    <a:pt x="229" y="203"/>
                    <a:pt x="229" y="203"/>
                    <a:pt x="229" y="203"/>
                  </a:cubicBezTo>
                  <a:cubicBezTo>
                    <a:pt x="228" y="204"/>
                    <a:pt x="228" y="204"/>
                    <a:pt x="227" y="204"/>
                  </a:cubicBezTo>
                  <a:cubicBezTo>
                    <a:pt x="226" y="204"/>
                    <a:pt x="226" y="204"/>
                    <a:pt x="225" y="204"/>
                  </a:cubicBezTo>
                  <a:cubicBezTo>
                    <a:pt x="225" y="204"/>
                    <a:pt x="224" y="204"/>
                    <a:pt x="224" y="204"/>
                  </a:cubicBezTo>
                  <a:cubicBezTo>
                    <a:pt x="224" y="204"/>
                    <a:pt x="224" y="204"/>
                    <a:pt x="224" y="204"/>
                  </a:cubicBezTo>
                  <a:cubicBezTo>
                    <a:pt x="223" y="204"/>
                    <a:pt x="223" y="204"/>
                    <a:pt x="223" y="205"/>
                  </a:cubicBezTo>
                  <a:cubicBezTo>
                    <a:pt x="222" y="205"/>
                    <a:pt x="222" y="205"/>
                    <a:pt x="222" y="205"/>
                  </a:cubicBezTo>
                  <a:cubicBezTo>
                    <a:pt x="221" y="205"/>
                    <a:pt x="221" y="205"/>
                    <a:pt x="220" y="206"/>
                  </a:cubicBezTo>
                  <a:cubicBezTo>
                    <a:pt x="219" y="206"/>
                    <a:pt x="218" y="206"/>
                    <a:pt x="218" y="206"/>
                  </a:cubicBezTo>
                  <a:cubicBezTo>
                    <a:pt x="217" y="206"/>
                    <a:pt x="217" y="206"/>
                    <a:pt x="217" y="206"/>
                  </a:cubicBezTo>
                  <a:cubicBezTo>
                    <a:pt x="216" y="207"/>
                    <a:pt x="216" y="207"/>
                    <a:pt x="216" y="207"/>
                  </a:cubicBezTo>
                  <a:cubicBezTo>
                    <a:pt x="216" y="207"/>
                    <a:pt x="216" y="208"/>
                    <a:pt x="215" y="209"/>
                  </a:cubicBezTo>
                  <a:cubicBezTo>
                    <a:pt x="214" y="209"/>
                    <a:pt x="214" y="208"/>
                    <a:pt x="213" y="208"/>
                  </a:cubicBezTo>
                  <a:cubicBezTo>
                    <a:pt x="213" y="208"/>
                    <a:pt x="211" y="207"/>
                    <a:pt x="211" y="208"/>
                  </a:cubicBezTo>
                  <a:cubicBezTo>
                    <a:pt x="211" y="208"/>
                    <a:pt x="211" y="208"/>
                    <a:pt x="211" y="209"/>
                  </a:cubicBezTo>
                  <a:cubicBezTo>
                    <a:pt x="211" y="209"/>
                    <a:pt x="210" y="209"/>
                    <a:pt x="210" y="209"/>
                  </a:cubicBezTo>
                  <a:cubicBezTo>
                    <a:pt x="210" y="209"/>
                    <a:pt x="209" y="209"/>
                    <a:pt x="209" y="209"/>
                  </a:cubicBezTo>
                  <a:cubicBezTo>
                    <a:pt x="209" y="209"/>
                    <a:pt x="208" y="209"/>
                    <a:pt x="208" y="209"/>
                  </a:cubicBezTo>
                  <a:cubicBezTo>
                    <a:pt x="207" y="209"/>
                    <a:pt x="207" y="209"/>
                    <a:pt x="206" y="209"/>
                  </a:cubicBezTo>
                  <a:cubicBezTo>
                    <a:pt x="206" y="209"/>
                    <a:pt x="206" y="208"/>
                    <a:pt x="206" y="208"/>
                  </a:cubicBezTo>
                  <a:cubicBezTo>
                    <a:pt x="206" y="208"/>
                    <a:pt x="207" y="208"/>
                    <a:pt x="206" y="208"/>
                  </a:cubicBezTo>
                  <a:cubicBezTo>
                    <a:pt x="206" y="208"/>
                    <a:pt x="205" y="208"/>
                    <a:pt x="205" y="207"/>
                  </a:cubicBezTo>
                  <a:cubicBezTo>
                    <a:pt x="205" y="207"/>
                    <a:pt x="205" y="207"/>
                    <a:pt x="205" y="207"/>
                  </a:cubicBezTo>
                  <a:cubicBezTo>
                    <a:pt x="204" y="207"/>
                    <a:pt x="204" y="207"/>
                    <a:pt x="204" y="207"/>
                  </a:cubicBezTo>
                  <a:cubicBezTo>
                    <a:pt x="204" y="208"/>
                    <a:pt x="204" y="208"/>
                    <a:pt x="203" y="208"/>
                  </a:cubicBezTo>
                  <a:cubicBezTo>
                    <a:pt x="203" y="208"/>
                    <a:pt x="203" y="208"/>
                    <a:pt x="203" y="209"/>
                  </a:cubicBezTo>
                  <a:cubicBezTo>
                    <a:pt x="202" y="209"/>
                    <a:pt x="202" y="209"/>
                    <a:pt x="202" y="209"/>
                  </a:cubicBezTo>
                  <a:cubicBezTo>
                    <a:pt x="202" y="209"/>
                    <a:pt x="201" y="209"/>
                    <a:pt x="201" y="209"/>
                  </a:cubicBezTo>
                  <a:cubicBezTo>
                    <a:pt x="201" y="209"/>
                    <a:pt x="201" y="210"/>
                    <a:pt x="201" y="210"/>
                  </a:cubicBezTo>
                  <a:cubicBezTo>
                    <a:pt x="200" y="210"/>
                    <a:pt x="200" y="210"/>
                    <a:pt x="199" y="210"/>
                  </a:cubicBezTo>
                  <a:cubicBezTo>
                    <a:pt x="199" y="210"/>
                    <a:pt x="199" y="210"/>
                    <a:pt x="198" y="209"/>
                  </a:cubicBezTo>
                  <a:cubicBezTo>
                    <a:pt x="198" y="209"/>
                    <a:pt x="198" y="208"/>
                    <a:pt x="198" y="207"/>
                  </a:cubicBezTo>
                  <a:cubicBezTo>
                    <a:pt x="198" y="207"/>
                    <a:pt x="198" y="206"/>
                    <a:pt x="198" y="206"/>
                  </a:cubicBezTo>
                  <a:cubicBezTo>
                    <a:pt x="198" y="206"/>
                    <a:pt x="199" y="205"/>
                    <a:pt x="199" y="204"/>
                  </a:cubicBezTo>
                  <a:cubicBezTo>
                    <a:pt x="199" y="204"/>
                    <a:pt x="199" y="203"/>
                    <a:pt x="199" y="202"/>
                  </a:cubicBezTo>
                  <a:cubicBezTo>
                    <a:pt x="199" y="202"/>
                    <a:pt x="199" y="202"/>
                    <a:pt x="199" y="202"/>
                  </a:cubicBezTo>
                  <a:cubicBezTo>
                    <a:pt x="199" y="202"/>
                    <a:pt x="198" y="202"/>
                    <a:pt x="198" y="202"/>
                  </a:cubicBezTo>
                  <a:cubicBezTo>
                    <a:pt x="202" y="191"/>
                    <a:pt x="202" y="191"/>
                    <a:pt x="202" y="191"/>
                  </a:cubicBezTo>
                  <a:cubicBezTo>
                    <a:pt x="202" y="191"/>
                    <a:pt x="176" y="175"/>
                    <a:pt x="176" y="175"/>
                  </a:cubicBezTo>
                  <a:cubicBezTo>
                    <a:pt x="176" y="175"/>
                    <a:pt x="174" y="173"/>
                    <a:pt x="174" y="173"/>
                  </a:cubicBezTo>
                  <a:cubicBezTo>
                    <a:pt x="174" y="173"/>
                    <a:pt x="173" y="171"/>
                    <a:pt x="173" y="171"/>
                  </a:cubicBezTo>
                  <a:cubicBezTo>
                    <a:pt x="173" y="170"/>
                    <a:pt x="172" y="170"/>
                    <a:pt x="172" y="170"/>
                  </a:cubicBezTo>
                  <a:cubicBezTo>
                    <a:pt x="171" y="170"/>
                    <a:pt x="169" y="170"/>
                    <a:pt x="168" y="170"/>
                  </a:cubicBezTo>
                  <a:cubicBezTo>
                    <a:pt x="167" y="170"/>
                    <a:pt x="167" y="169"/>
                    <a:pt x="167" y="169"/>
                  </a:cubicBezTo>
                  <a:cubicBezTo>
                    <a:pt x="167" y="169"/>
                    <a:pt x="167" y="168"/>
                    <a:pt x="167" y="168"/>
                  </a:cubicBezTo>
                  <a:cubicBezTo>
                    <a:pt x="166" y="168"/>
                    <a:pt x="165" y="168"/>
                    <a:pt x="164" y="168"/>
                  </a:cubicBezTo>
                  <a:cubicBezTo>
                    <a:pt x="164" y="168"/>
                    <a:pt x="162" y="162"/>
                    <a:pt x="162" y="162"/>
                  </a:cubicBezTo>
                  <a:cubicBezTo>
                    <a:pt x="162" y="162"/>
                    <a:pt x="162" y="162"/>
                    <a:pt x="162" y="162"/>
                  </a:cubicBezTo>
                  <a:cubicBezTo>
                    <a:pt x="163" y="162"/>
                    <a:pt x="163" y="161"/>
                    <a:pt x="163" y="161"/>
                  </a:cubicBezTo>
                  <a:cubicBezTo>
                    <a:pt x="163" y="161"/>
                    <a:pt x="162" y="160"/>
                    <a:pt x="162" y="159"/>
                  </a:cubicBezTo>
                  <a:cubicBezTo>
                    <a:pt x="162" y="159"/>
                    <a:pt x="162" y="158"/>
                    <a:pt x="162" y="158"/>
                  </a:cubicBezTo>
                  <a:cubicBezTo>
                    <a:pt x="162" y="158"/>
                    <a:pt x="162" y="156"/>
                    <a:pt x="162" y="156"/>
                  </a:cubicBezTo>
                  <a:cubicBezTo>
                    <a:pt x="162" y="155"/>
                    <a:pt x="161" y="155"/>
                    <a:pt x="161" y="155"/>
                  </a:cubicBezTo>
                  <a:cubicBezTo>
                    <a:pt x="161" y="154"/>
                    <a:pt x="161" y="154"/>
                    <a:pt x="161" y="154"/>
                  </a:cubicBezTo>
                  <a:cubicBezTo>
                    <a:pt x="161" y="154"/>
                    <a:pt x="162" y="152"/>
                    <a:pt x="162" y="152"/>
                  </a:cubicBezTo>
                  <a:cubicBezTo>
                    <a:pt x="162" y="152"/>
                    <a:pt x="158" y="150"/>
                    <a:pt x="158" y="150"/>
                  </a:cubicBezTo>
                  <a:cubicBezTo>
                    <a:pt x="158" y="149"/>
                    <a:pt x="157" y="150"/>
                    <a:pt x="156" y="150"/>
                  </a:cubicBezTo>
                  <a:cubicBezTo>
                    <a:pt x="156" y="150"/>
                    <a:pt x="155" y="150"/>
                    <a:pt x="155" y="150"/>
                  </a:cubicBezTo>
                  <a:cubicBezTo>
                    <a:pt x="155" y="150"/>
                    <a:pt x="154" y="147"/>
                    <a:pt x="154" y="146"/>
                  </a:cubicBezTo>
                  <a:cubicBezTo>
                    <a:pt x="154" y="146"/>
                    <a:pt x="152" y="144"/>
                    <a:pt x="152" y="144"/>
                  </a:cubicBezTo>
                  <a:cubicBezTo>
                    <a:pt x="0" y="144"/>
                    <a:pt x="0" y="144"/>
                    <a:pt x="0" y="144"/>
                  </a:cubicBezTo>
                  <a:cubicBezTo>
                    <a:pt x="0" y="132"/>
                    <a:pt x="0" y="132"/>
                    <a:pt x="0" y="132"/>
                  </a:cubicBezTo>
                  <a:cubicBezTo>
                    <a:pt x="0" y="132"/>
                    <a:pt x="0" y="131"/>
                    <a:pt x="0" y="131"/>
                  </a:cubicBezTo>
                  <a:cubicBezTo>
                    <a:pt x="4" y="129"/>
                    <a:pt x="7" y="127"/>
                    <a:pt x="10" y="125"/>
                  </a:cubicBezTo>
                  <a:cubicBezTo>
                    <a:pt x="11" y="124"/>
                    <a:pt x="12" y="123"/>
                    <a:pt x="13" y="122"/>
                  </a:cubicBezTo>
                  <a:cubicBezTo>
                    <a:pt x="14" y="122"/>
                    <a:pt x="15" y="122"/>
                    <a:pt x="16" y="121"/>
                  </a:cubicBezTo>
                  <a:cubicBezTo>
                    <a:pt x="16" y="121"/>
                    <a:pt x="16" y="121"/>
                    <a:pt x="17" y="120"/>
                  </a:cubicBezTo>
                  <a:cubicBezTo>
                    <a:pt x="17" y="120"/>
                    <a:pt x="18" y="120"/>
                    <a:pt x="18" y="120"/>
                  </a:cubicBezTo>
                  <a:cubicBezTo>
                    <a:pt x="19" y="119"/>
                    <a:pt x="19" y="119"/>
                    <a:pt x="20" y="119"/>
                  </a:cubicBezTo>
                  <a:cubicBezTo>
                    <a:pt x="20" y="118"/>
                    <a:pt x="21" y="118"/>
                    <a:pt x="22" y="118"/>
                  </a:cubicBezTo>
                  <a:cubicBezTo>
                    <a:pt x="22" y="117"/>
                    <a:pt x="22" y="117"/>
                    <a:pt x="23" y="116"/>
                  </a:cubicBezTo>
                  <a:cubicBezTo>
                    <a:pt x="23" y="116"/>
                    <a:pt x="23" y="115"/>
                    <a:pt x="23" y="115"/>
                  </a:cubicBezTo>
                  <a:cubicBezTo>
                    <a:pt x="24" y="114"/>
                    <a:pt x="24" y="114"/>
                    <a:pt x="24" y="114"/>
                  </a:cubicBezTo>
                  <a:cubicBezTo>
                    <a:pt x="24" y="113"/>
                    <a:pt x="24" y="113"/>
                    <a:pt x="24" y="113"/>
                  </a:cubicBezTo>
                  <a:cubicBezTo>
                    <a:pt x="25" y="113"/>
                    <a:pt x="25" y="112"/>
                    <a:pt x="25" y="112"/>
                  </a:cubicBezTo>
                  <a:cubicBezTo>
                    <a:pt x="27" y="111"/>
                    <a:pt x="28" y="110"/>
                    <a:pt x="29" y="110"/>
                  </a:cubicBezTo>
                  <a:cubicBezTo>
                    <a:pt x="30" y="109"/>
                    <a:pt x="31" y="108"/>
                    <a:pt x="31" y="107"/>
                  </a:cubicBezTo>
                  <a:cubicBezTo>
                    <a:pt x="31" y="106"/>
                    <a:pt x="31" y="105"/>
                    <a:pt x="31" y="105"/>
                  </a:cubicBezTo>
                  <a:cubicBezTo>
                    <a:pt x="31" y="105"/>
                    <a:pt x="31" y="104"/>
                    <a:pt x="30" y="103"/>
                  </a:cubicBezTo>
                  <a:cubicBezTo>
                    <a:pt x="30" y="103"/>
                    <a:pt x="30" y="103"/>
                    <a:pt x="30" y="103"/>
                  </a:cubicBezTo>
                  <a:cubicBezTo>
                    <a:pt x="29" y="103"/>
                    <a:pt x="29" y="103"/>
                    <a:pt x="29" y="102"/>
                  </a:cubicBezTo>
                  <a:cubicBezTo>
                    <a:pt x="29" y="100"/>
                    <a:pt x="29" y="100"/>
                    <a:pt x="29" y="100"/>
                  </a:cubicBezTo>
                  <a:cubicBezTo>
                    <a:pt x="25" y="98"/>
                    <a:pt x="25" y="98"/>
                    <a:pt x="25" y="98"/>
                  </a:cubicBezTo>
                  <a:cubicBezTo>
                    <a:pt x="25" y="96"/>
                    <a:pt x="25" y="96"/>
                    <a:pt x="25" y="96"/>
                  </a:cubicBezTo>
                  <a:cubicBezTo>
                    <a:pt x="26" y="95"/>
                    <a:pt x="26" y="95"/>
                    <a:pt x="26" y="95"/>
                  </a:cubicBezTo>
                  <a:cubicBezTo>
                    <a:pt x="26" y="94"/>
                    <a:pt x="26" y="94"/>
                    <a:pt x="26" y="94"/>
                  </a:cubicBezTo>
                  <a:cubicBezTo>
                    <a:pt x="23" y="93"/>
                    <a:pt x="23" y="93"/>
                    <a:pt x="23" y="93"/>
                  </a:cubicBezTo>
                  <a:cubicBezTo>
                    <a:pt x="24" y="91"/>
                    <a:pt x="24" y="91"/>
                    <a:pt x="24" y="91"/>
                  </a:cubicBezTo>
                  <a:cubicBezTo>
                    <a:pt x="24" y="85"/>
                    <a:pt x="24" y="85"/>
                    <a:pt x="24" y="85"/>
                  </a:cubicBezTo>
                  <a:cubicBezTo>
                    <a:pt x="25" y="85"/>
                    <a:pt x="26" y="84"/>
                    <a:pt x="26" y="84"/>
                  </a:cubicBezTo>
                  <a:cubicBezTo>
                    <a:pt x="28" y="83"/>
                    <a:pt x="29" y="83"/>
                    <a:pt x="31" y="83"/>
                  </a:cubicBezTo>
                  <a:cubicBezTo>
                    <a:pt x="32" y="83"/>
                    <a:pt x="33" y="82"/>
                    <a:pt x="35" y="82"/>
                  </a:cubicBezTo>
                  <a:cubicBezTo>
                    <a:pt x="36" y="81"/>
                    <a:pt x="38" y="81"/>
                    <a:pt x="39" y="81"/>
                  </a:cubicBezTo>
                  <a:cubicBezTo>
                    <a:pt x="42" y="81"/>
                    <a:pt x="46" y="80"/>
                    <a:pt x="49" y="80"/>
                  </a:cubicBezTo>
                  <a:cubicBezTo>
                    <a:pt x="51" y="80"/>
                    <a:pt x="53" y="80"/>
                    <a:pt x="55" y="80"/>
                  </a:cubicBezTo>
                  <a:cubicBezTo>
                    <a:pt x="57" y="80"/>
                    <a:pt x="59" y="80"/>
                    <a:pt x="61" y="80"/>
                  </a:cubicBezTo>
                  <a:cubicBezTo>
                    <a:pt x="64" y="80"/>
                    <a:pt x="67" y="81"/>
                    <a:pt x="70" y="82"/>
                  </a:cubicBezTo>
                  <a:cubicBezTo>
                    <a:pt x="71" y="82"/>
                    <a:pt x="72" y="84"/>
                    <a:pt x="73" y="84"/>
                  </a:cubicBezTo>
                  <a:cubicBezTo>
                    <a:pt x="75" y="85"/>
                    <a:pt x="76" y="87"/>
                    <a:pt x="78" y="86"/>
                  </a:cubicBezTo>
                  <a:cubicBezTo>
                    <a:pt x="79" y="86"/>
                    <a:pt x="80" y="86"/>
                    <a:pt x="81" y="85"/>
                  </a:cubicBezTo>
                  <a:cubicBezTo>
                    <a:pt x="82" y="85"/>
                    <a:pt x="84" y="85"/>
                    <a:pt x="85" y="85"/>
                  </a:cubicBezTo>
                  <a:cubicBezTo>
                    <a:pt x="87" y="85"/>
                    <a:pt x="89" y="85"/>
                    <a:pt x="91" y="85"/>
                  </a:cubicBezTo>
                  <a:cubicBezTo>
                    <a:pt x="93" y="85"/>
                    <a:pt x="96" y="85"/>
                    <a:pt x="98" y="84"/>
                  </a:cubicBezTo>
                  <a:cubicBezTo>
                    <a:pt x="99" y="84"/>
                    <a:pt x="100" y="84"/>
                    <a:pt x="101" y="83"/>
                  </a:cubicBezTo>
                  <a:cubicBezTo>
                    <a:pt x="102" y="83"/>
                    <a:pt x="103" y="83"/>
                    <a:pt x="104" y="82"/>
                  </a:cubicBezTo>
                  <a:cubicBezTo>
                    <a:pt x="106" y="81"/>
                    <a:pt x="107" y="79"/>
                    <a:pt x="109" y="78"/>
                  </a:cubicBezTo>
                  <a:cubicBezTo>
                    <a:pt x="111" y="76"/>
                    <a:pt x="113" y="75"/>
                    <a:pt x="115" y="73"/>
                  </a:cubicBezTo>
                  <a:cubicBezTo>
                    <a:pt x="117" y="73"/>
                    <a:pt x="118" y="72"/>
                    <a:pt x="119" y="72"/>
                  </a:cubicBezTo>
                  <a:cubicBezTo>
                    <a:pt x="120" y="72"/>
                    <a:pt x="122" y="72"/>
                    <a:pt x="122" y="71"/>
                  </a:cubicBezTo>
                  <a:cubicBezTo>
                    <a:pt x="123" y="71"/>
                    <a:pt x="123" y="69"/>
                    <a:pt x="123" y="68"/>
                  </a:cubicBezTo>
                  <a:cubicBezTo>
                    <a:pt x="123" y="68"/>
                    <a:pt x="124" y="67"/>
                    <a:pt x="124" y="66"/>
                  </a:cubicBezTo>
                  <a:cubicBezTo>
                    <a:pt x="124" y="65"/>
                    <a:pt x="123" y="65"/>
                    <a:pt x="123" y="64"/>
                  </a:cubicBezTo>
                  <a:cubicBezTo>
                    <a:pt x="123" y="64"/>
                    <a:pt x="123" y="64"/>
                    <a:pt x="123" y="63"/>
                  </a:cubicBezTo>
                  <a:cubicBezTo>
                    <a:pt x="123" y="63"/>
                    <a:pt x="123" y="63"/>
                    <a:pt x="123" y="62"/>
                  </a:cubicBezTo>
                  <a:cubicBezTo>
                    <a:pt x="123" y="62"/>
                    <a:pt x="123" y="62"/>
                    <a:pt x="123" y="61"/>
                  </a:cubicBezTo>
                  <a:cubicBezTo>
                    <a:pt x="123" y="61"/>
                    <a:pt x="123" y="61"/>
                    <a:pt x="122" y="60"/>
                  </a:cubicBezTo>
                  <a:cubicBezTo>
                    <a:pt x="122" y="60"/>
                    <a:pt x="122" y="59"/>
                    <a:pt x="121" y="59"/>
                  </a:cubicBezTo>
                  <a:cubicBezTo>
                    <a:pt x="121" y="59"/>
                    <a:pt x="121" y="58"/>
                    <a:pt x="120" y="58"/>
                  </a:cubicBezTo>
                  <a:cubicBezTo>
                    <a:pt x="120" y="58"/>
                    <a:pt x="120" y="58"/>
                    <a:pt x="120" y="57"/>
                  </a:cubicBezTo>
                  <a:cubicBezTo>
                    <a:pt x="120" y="57"/>
                    <a:pt x="120" y="57"/>
                    <a:pt x="121" y="56"/>
                  </a:cubicBezTo>
                  <a:cubicBezTo>
                    <a:pt x="121" y="56"/>
                    <a:pt x="122" y="56"/>
                    <a:pt x="123" y="56"/>
                  </a:cubicBezTo>
                  <a:cubicBezTo>
                    <a:pt x="123" y="55"/>
                    <a:pt x="124" y="55"/>
                    <a:pt x="124" y="55"/>
                  </a:cubicBezTo>
                  <a:cubicBezTo>
                    <a:pt x="125" y="55"/>
                    <a:pt x="126" y="55"/>
                    <a:pt x="126" y="54"/>
                  </a:cubicBezTo>
                  <a:cubicBezTo>
                    <a:pt x="126" y="54"/>
                    <a:pt x="126" y="54"/>
                    <a:pt x="126" y="54"/>
                  </a:cubicBezTo>
                  <a:cubicBezTo>
                    <a:pt x="126" y="53"/>
                    <a:pt x="126" y="53"/>
                    <a:pt x="126" y="53"/>
                  </a:cubicBezTo>
                  <a:cubicBezTo>
                    <a:pt x="126" y="53"/>
                    <a:pt x="126" y="53"/>
                    <a:pt x="126" y="53"/>
                  </a:cubicBezTo>
                  <a:cubicBezTo>
                    <a:pt x="126" y="53"/>
                    <a:pt x="126" y="52"/>
                    <a:pt x="125" y="52"/>
                  </a:cubicBezTo>
                  <a:cubicBezTo>
                    <a:pt x="125" y="51"/>
                    <a:pt x="124" y="51"/>
                    <a:pt x="124" y="51"/>
                  </a:cubicBezTo>
                  <a:cubicBezTo>
                    <a:pt x="124" y="51"/>
                    <a:pt x="123" y="51"/>
                    <a:pt x="123" y="51"/>
                  </a:cubicBezTo>
                  <a:cubicBezTo>
                    <a:pt x="122" y="51"/>
                    <a:pt x="123" y="51"/>
                    <a:pt x="124" y="50"/>
                  </a:cubicBezTo>
                  <a:cubicBezTo>
                    <a:pt x="124" y="50"/>
                    <a:pt x="125" y="49"/>
                    <a:pt x="124" y="49"/>
                  </a:cubicBezTo>
                  <a:cubicBezTo>
                    <a:pt x="124" y="49"/>
                    <a:pt x="124" y="49"/>
                    <a:pt x="123" y="49"/>
                  </a:cubicBezTo>
                  <a:cubicBezTo>
                    <a:pt x="123" y="48"/>
                    <a:pt x="123" y="48"/>
                    <a:pt x="123" y="49"/>
                  </a:cubicBezTo>
                  <a:cubicBezTo>
                    <a:pt x="122" y="49"/>
                    <a:pt x="122" y="49"/>
                    <a:pt x="122" y="50"/>
                  </a:cubicBezTo>
                  <a:cubicBezTo>
                    <a:pt x="122" y="50"/>
                    <a:pt x="121" y="50"/>
                    <a:pt x="121" y="51"/>
                  </a:cubicBezTo>
                  <a:cubicBezTo>
                    <a:pt x="121" y="51"/>
                    <a:pt x="121" y="51"/>
                    <a:pt x="121" y="51"/>
                  </a:cubicBezTo>
                  <a:cubicBezTo>
                    <a:pt x="120" y="51"/>
                    <a:pt x="120" y="50"/>
                    <a:pt x="120" y="50"/>
                  </a:cubicBezTo>
                  <a:cubicBezTo>
                    <a:pt x="120" y="50"/>
                    <a:pt x="120" y="49"/>
                    <a:pt x="119" y="49"/>
                  </a:cubicBezTo>
                  <a:cubicBezTo>
                    <a:pt x="119" y="49"/>
                    <a:pt x="119" y="48"/>
                    <a:pt x="119" y="48"/>
                  </a:cubicBezTo>
                  <a:cubicBezTo>
                    <a:pt x="119" y="47"/>
                    <a:pt x="119" y="47"/>
                    <a:pt x="119" y="46"/>
                  </a:cubicBezTo>
                  <a:cubicBezTo>
                    <a:pt x="119" y="46"/>
                    <a:pt x="118" y="46"/>
                    <a:pt x="118" y="45"/>
                  </a:cubicBezTo>
                  <a:cubicBezTo>
                    <a:pt x="118" y="44"/>
                    <a:pt x="118" y="44"/>
                    <a:pt x="119" y="44"/>
                  </a:cubicBezTo>
                  <a:cubicBezTo>
                    <a:pt x="119" y="44"/>
                    <a:pt x="119" y="44"/>
                    <a:pt x="119" y="43"/>
                  </a:cubicBezTo>
                  <a:cubicBezTo>
                    <a:pt x="119" y="43"/>
                    <a:pt x="120" y="43"/>
                    <a:pt x="120" y="42"/>
                  </a:cubicBezTo>
                  <a:cubicBezTo>
                    <a:pt x="121" y="42"/>
                    <a:pt x="122" y="41"/>
                    <a:pt x="123" y="41"/>
                  </a:cubicBezTo>
                  <a:cubicBezTo>
                    <a:pt x="124" y="40"/>
                    <a:pt x="124" y="40"/>
                    <a:pt x="125" y="39"/>
                  </a:cubicBezTo>
                  <a:cubicBezTo>
                    <a:pt x="126" y="39"/>
                    <a:pt x="126" y="39"/>
                    <a:pt x="127" y="38"/>
                  </a:cubicBezTo>
                  <a:cubicBezTo>
                    <a:pt x="127" y="38"/>
                    <a:pt x="128" y="37"/>
                    <a:pt x="128" y="37"/>
                  </a:cubicBezTo>
                  <a:cubicBezTo>
                    <a:pt x="128" y="36"/>
                    <a:pt x="129" y="35"/>
                    <a:pt x="129" y="35"/>
                  </a:cubicBezTo>
                  <a:cubicBezTo>
                    <a:pt x="129" y="34"/>
                    <a:pt x="129" y="34"/>
                    <a:pt x="130" y="34"/>
                  </a:cubicBezTo>
                  <a:cubicBezTo>
                    <a:pt x="130" y="33"/>
                    <a:pt x="131" y="33"/>
                    <a:pt x="131" y="33"/>
                  </a:cubicBezTo>
                  <a:cubicBezTo>
                    <a:pt x="132" y="33"/>
                    <a:pt x="133" y="33"/>
                    <a:pt x="133" y="33"/>
                  </a:cubicBezTo>
                  <a:cubicBezTo>
                    <a:pt x="134" y="32"/>
                    <a:pt x="134" y="32"/>
                    <a:pt x="135" y="31"/>
                  </a:cubicBezTo>
                  <a:cubicBezTo>
                    <a:pt x="135" y="31"/>
                    <a:pt x="136" y="30"/>
                    <a:pt x="136" y="30"/>
                  </a:cubicBezTo>
                  <a:cubicBezTo>
                    <a:pt x="137" y="30"/>
                    <a:pt x="137" y="29"/>
                    <a:pt x="138" y="29"/>
                  </a:cubicBezTo>
                  <a:cubicBezTo>
                    <a:pt x="138" y="28"/>
                    <a:pt x="138" y="28"/>
                    <a:pt x="139" y="27"/>
                  </a:cubicBezTo>
                  <a:cubicBezTo>
                    <a:pt x="139" y="27"/>
                    <a:pt x="139" y="26"/>
                    <a:pt x="139" y="25"/>
                  </a:cubicBezTo>
                  <a:cubicBezTo>
                    <a:pt x="139" y="25"/>
                    <a:pt x="139" y="25"/>
                    <a:pt x="139" y="25"/>
                  </a:cubicBezTo>
                  <a:cubicBezTo>
                    <a:pt x="152" y="12"/>
                    <a:pt x="152" y="12"/>
                    <a:pt x="152" y="12"/>
                  </a:cubicBezTo>
                  <a:cubicBezTo>
                    <a:pt x="152" y="10"/>
                    <a:pt x="152" y="10"/>
                    <a:pt x="152" y="10"/>
                  </a:cubicBezTo>
                  <a:cubicBezTo>
                    <a:pt x="156" y="8"/>
                    <a:pt x="156" y="8"/>
                    <a:pt x="156" y="8"/>
                  </a:cubicBezTo>
                  <a:cubicBezTo>
                    <a:pt x="157" y="8"/>
                    <a:pt x="157" y="8"/>
                    <a:pt x="157" y="8"/>
                  </a:cubicBezTo>
                  <a:cubicBezTo>
                    <a:pt x="157" y="8"/>
                    <a:pt x="161" y="6"/>
                    <a:pt x="161" y="6"/>
                  </a:cubicBezTo>
                  <a:cubicBezTo>
                    <a:pt x="161" y="6"/>
                    <a:pt x="168" y="2"/>
                    <a:pt x="168" y="2"/>
                  </a:cubicBezTo>
                  <a:cubicBezTo>
                    <a:pt x="168" y="2"/>
                    <a:pt x="169" y="1"/>
                    <a:pt x="169" y="1"/>
                  </a:cubicBezTo>
                  <a:cubicBezTo>
                    <a:pt x="169" y="1"/>
                    <a:pt x="170" y="0"/>
                    <a:pt x="170" y="0"/>
                  </a:cubicBezTo>
                  <a:cubicBezTo>
                    <a:pt x="173" y="2"/>
                    <a:pt x="173" y="2"/>
                    <a:pt x="173" y="2"/>
                  </a:cubicBezTo>
                  <a:cubicBezTo>
                    <a:pt x="221" y="0"/>
                    <a:pt x="221" y="0"/>
                    <a:pt x="221" y="0"/>
                  </a:cubicBezTo>
                  <a:cubicBezTo>
                    <a:pt x="221" y="0"/>
                    <a:pt x="221" y="4"/>
                    <a:pt x="221" y="5"/>
                  </a:cubicBezTo>
                  <a:cubicBezTo>
                    <a:pt x="221" y="6"/>
                    <a:pt x="220" y="7"/>
                    <a:pt x="220" y="8"/>
                  </a:cubicBezTo>
                  <a:cubicBezTo>
                    <a:pt x="219" y="9"/>
                    <a:pt x="220" y="9"/>
                    <a:pt x="221" y="10"/>
                  </a:cubicBezTo>
                  <a:cubicBezTo>
                    <a:pt x="221" y="11"/>
                    <a:pt x="221" y="12"/>
                    <a:pt x="221" y="13"/>
                  </a:cubicBezTo>
                  <a:cubicBezTo>
                    <a:pt x="221" y="13"/>
                    <a:pt x="221" y="15"/>
                    <a:pt x="220" y="16"/>
                  </a:cubicBezTo>
                  <a:cubicBezTo>
                    <a:pt x="220" y="18"/>
                    <a:pt x="220" y="20"/>
                    <a:pt x="220" y="21"/>
                  </a:cubicBezTo>
                  <a:cubicBezTo>
                    <a:pt x="219" y="22"/>
                    <a:pt x="221" y="24"/>
                    <a:pt x="222" y="25"/>
                  </a:cubicBezTo>
                  <a:cubicBezTo>
                    <a:pt x="222" y="26"/>
                    <a:pt x="222" y="28"/>
                    <a:pt x="222" y="28"/>
                  </a:cubicBezTo>
                  <a:cubicBezTo>
                    <a:pt x="222" y="29"/>
                    <a:pt x="222" y="31"/>
                    <a:pt x="222" y="32"/>
                  </a:cubicBezTo>
                  <a:cubicBezTo>
                    <a:pt x="221" y="32"/>
                    <a:pt x="222" y="37"/>
                    <a:pt x="222" y="37"/>
                  </a:cubicBezTo>
                  <a:cubicBezTo>
                    <a:pt x="222" y="37"/>
                    <a:pt x="221" y="38"/>
                    <a:pt x="221" y="39"/>
                  </a:cubicBezTo>
                  <a:cubicBezTo>
                    <a:pt x="220" y="39"/>
                    <a:pt x="219" y="40"/>
                    <a:pt x="219" y="41"/>
                  </a:cubicBezTo>
                  <a:cubicBezTo>
                    <a:pt x="219" y="41"/>
                    <a:pt x="219" y="43"/>
                    <a:pt x="218" y="44"/>
                  </a:cubicBezTo>
                  <a:cubicBezTo>
                    <a:pt x="218" y="44"/>
                    <a:pt x="218" y="47"/>
                    <a:pt x="218" y="47"/>
                  </a:cubicBezTo>
                  <a:cubicBezTo>
                    <a:pt x="218" y="47"/>
                    <a:pt x="219" y="49"/>
                    <a:pt x="219" y="49"/>
                  </a:cubicBezTo>
                  <a:cubicBezTo>
                    <a:pt x="219" y="49"/>
                    <a:pt x="219" y="52"/>
                    <a:pt x="219" y="53"/>
                  </a:cubicBezTo>
                  <a:cubicBezTo>
                    <a:pt x="219" y="53"/>
                    <a:pt x="219" y="58"/>
                    <a:pt x="219" y="58"/>
                  </a:cubicBezTo>
                  <a:cubicBezTo>
                    <a:pt x="221" y="61"/>
                    <a:pt x="221" y="61"/>
                    <a:pt x="221" y="61"/>
                  </a:cubicBezTo>
                  <a:cubicBezTo>
                    <a:pt x="221" y="61"/>
                    <a:pt x="219" y="65"/>
                    <a:pt x="219" y="65"/>
                  </a:cubicBezTo>
                  <a:cubicBezTo>
                    <a:pt x="219" y="66"/>
                    <a:pt x="218" y="68"/>
                    <a:pt x="218" y="68"/>
                  </a:cubicBezTo>
                  <a:cubicBezTo>
                    <a:pt x="218" y="68"/>
                    <a:pt x="219" y="69"/>
                    <a:pt x="219" y="70"/>
                  </a:cubicBezTo>
                  <a:cubicBezTo>
                    <a:pt x="219" y="70"/>
                    <a:pt x="220" y="70"/>
                    <a:pt x="220" y="70"/>
                  </a:cubicBezTo>
                  <a:cubicBezTo>
                    <a:pt x="220" y="69"/>
                    <a:pt x="220" y="69"/>
                    <a:pt x="220" y="69"/>
                  </a:cubicBezTo>
                  <a:cubicBezTo>
                    <a:pt x="220" y="69"/>
                    <a:pt x="221" y="68"/>
                    <a:pt x="221" y="68"/>
                  </a:cubicBezTo>
                  <a:cubicBezTo>
                    <a:pt x="221" y="68"/>
                    <a:pt x="222" y="68"/>
                    <a:pt x="222" y="68"/>
                  </a:cubicBezTo>
                  <a:cubicBezTo>
                    <a:pt x="223" y="68"/>
                    <a:pt x="223" y="69"/>
                    <a:pt x="223" y="70"/>
                  </a:cubicBezTo>
                  <a:cubicBezTo>
                    <a:pt x="223" y="70"/>
                    <a:pt x="224" y="71"/>
                    <a:pt x="224" y="71"/>
                  </a:cubicBezTo>
                  <a:cubicBezTo>
                    <a:pt x="223" y="105"/>
                    <a:pt x="223" y="105"/>
                    <a:pt x="223" y="105"/>
                  </a:cubicBezTo>
                  <a:cubicBezTo>
                    <a:pt x="224" y="109"/>
                    <a:pt x="224" y="109"/>
                    <a:pt x="224" y="109"/>
                  </a:cubicBezTo>
                  <a:cubicBezTo>
                    <a:pt x="215" y="140"/>
                    <a:pt x="215" y="140"/>
                    <a:pt x="215" y="140"/>
                  </a:cubicBezTo>
                  <a:cubicBezTo>
                    <a:pt x="216" y="142"/>
                    <a:pt x="216" y="142"/>
                    <a:pt x="216" y="142"/>
                  </a:cubicBezTo>
                  <a:cubicBezTo>
                    <a:pt x="215" y="161"/>
                    <a:pt x="215" y="161"/>
                    <a:pt x="215" y="161"/>
                  </a:cubicBezTo>
                  <a:cubicBezTo>
                    <a:pt x="214" y="176"/>
                    <a:pt x="214" y="176"/>
                    <a:pt x="214" y="176"/>
                  </a:cubicBezTo>
                  <a:cubicBezTo>
                    <a:pt x="214" y="176"/>
                    <a:pt x="215" y="178"/>
                    <a:pt x="215" y="178"/>
                  </a:cubicBezTo>
                  <a:cubicBezTo>
                    <a:pt x="215" y="178"/>
                    <a:pt x="216" y="181"/>
                    <a:pt x="216" y="181"/>
                  </a:cubicBezTo>
                  <a:cubicBezTo>
                    <a:pt x="210" y="184"/>
                    <a:pt x="210" y="184"/>
                    <a:pt x="210" y="184"/>
                  </a:cubicBezTo>
                  <a:cubicBezTo>
                    <a:pt x="210" y="184"/>
                    <a:pt x="208" y="186"/>
                    <a:pt x="208" y="186"/>
                  </a:cubicBezTo>
                  <a:cubicBezTo>
                    <a:pt x="208" y="187"/>
                    <a:pt x="208" y="188"/>
                    <a:pt x="208" y="188"/>
                  </a:cubicBezTo>
                  <a:close/>
                  <a:moveTo>
                    <a:pt x="195" y="206"/>
                  </a:moveTo>
                  <a:cubicBezTo>
                    <a:pt x="195" y="206"/>
                    <a:pt x="193" y="206"/>
                    <a:pt x="193" y="206"/>
                  </a:cubicBezTo>
                  <a:cubicBezTo>
                    <a:pt x="193" y="206"/>
                    <a:pt x="192" y="207"/>
                    <a:pt x="192" y="207"/>
                  </a:cubicBezTo>
                  <a:cubicBezTo>
                    <a:pt x="192" y="208"/>
                    <a:pt x="191" y="209"/>
                    <a:pt x="191" y="209"/>
                  </a:cubicBezTo>
                  <a:cubicBezTo>
                    <a:pt x="190" y="210"/>
                    <a:pt x="190" y="211"/>
                    <a:pt x="190" y="212"/>
                  </a:cubicBezTo>
                  <a:cubicBezTo>
                    <a:pt x="190" y="212"/>
                    <a:pt x="190" y="213"/>
                    <a:pt x="190" y="213"/>
                  </a:cubicBezTo>
                  <a:cubicBezTo>
                    <a:pt x="192" y="214"/>
                    <a:pt x="192" y="214"/>
                    <a:pt x="192" y="214"/>
                  </a:cubicBezTo>
                  <a:cubicBezTo>
                    <a:pt x="192" y="213"/>
                    <a:pt x="193" y="213"/>
                    <a:pt x="193" y="212"/>
                  </a:cubicBezTo>
                  <a:cubicBezTo>
                    <a:pt x="194" y="212"/>
                    <a:pt x="194" y="211"/>
                    <a:pt x="195" y="211"/>
                  </a:cubicBezTo>
                  <a:cubicBezTo>
                    <a:pt x="195" y="210"/>
                    <a:pt x="195" y="210"/>
                    <a:pt x="195" y="209"/>
                  </a:cubicBezTo>
                  <a:cubicBezTo>
                    <a:pt x="195" y="209"/>
                    <a:pt x="195" y="209"/>
                    <a:pt x="195" y="208"/>
                  </a:cubicBezTo>
                  <a:cubicBezTo>
                    <a:pt x="196" y="208"/>
                    <a:pt x="196" y="207"/>
                    <a:pt x="196" y="207"/>
                  </a:cubicBezTo>
                  <a:cubicBezTo>
                    <a:pt x="196" y="207"/>
                    <a:pt x="196" y="206"/>
                    <a:pt x="196" y="206"/>
                  </a:cubicBezTo>
                  <a:cubicBezTo>
                    <a:pt x="196" y="206"/>
                    <a:pt x="196" y="206"/>
                    <a:pt x="196" y="206"/>
                  </a:cubicBezTo>
                  <a:cubicBezTo>
                    <a:pt x="196" y="206"/>
                    <a:pt x="195" y="205"/>
                    <a:pt x="195" y="206"/>
                  </a:cubicBezTo>
                  <a:close/>
                </a:path>
              </a:pathLst>
            </a:custGeom>
            <a:solidFill>
              <a:srgbClr val="C0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5" name="Freeform 28">
              <a:extLst>
                <a:ext uri="{FF2B5EF4-FFF2-40B4-BE49-F238E27FC236}">
                  <a16:creationId xmlns:a16="http://schemas.microsoft.com/office/drawing/2014/main" id="{C01D081F-EBEB-5A44-8EDA-2EDE26DB3A34}"/>
                </a:ext>
              </a:extLst>
            </p:cNvPr>
            <p:cNvSpPr>
              <a:spLocks/>
            </p:cNvSpPr>
            <p:nvPr/>
          </p:nvSpPr>
          <p:spPr bwMode="auto">
            <a:xfrm>
              <a:off x="9245889" y="2443537"/>
              <a:ext cx="224700" cy="436182"/>
            </a:xfrm>
            <a:custGeom>
              <a:avLst/>
              <a:gdLst>
                <a:gd name="T0" fmla="*/ 52 w 57"/>
                <a:gd name="T1" fmla="*/ 44 h 110"/>
                <a:gd name="T2" fmla="*/ 48 w 57"/>
                <a:gd name="T3" fmla="*/ 43 h 110"/>
                <a:gd name="T4" fmla="*/ 45 w 57"/>
                <a:gd name="T5" fmla="*/ 42 h 110"/>
                <a:gd name="T6" fmla="*/ 45 w 57"/>
                <a:gd name="T7" fmla="*/ 41 h 110"/>
                <a:gd name="T8" fmla="*/ 45 w 57"/>
                <a:gd name="T9" fmla="*/ 36 h 110"/>
                <a:gd name="T10" fmla="*/ 47 w 57"/>
                <a:gd name="T11" fmla="*/ 33 h 110"/>
                <a:gd name="T12" fmla="*/ 50 w 57"/>
                <a:gd name="T13" fmla="*/ 32 h 110"/>
                <a:gd name="T14" fmla="*/ 52 w 57"/>
                <a:gd name="T15" fmla="*/ 32 h 110"/>
                <a:gd name="T16" fmla="*/ 53 w 57"/>
                <a:gd name="T17" fmla="*/ 29 h 110"/>
                <a:gd name="T18" fmla="*/ 31 w 57"/>
                <a:gd name="T19" fmla="*/ 2 h 110"/>
                <a:gd name="T20" fmla="*/ 25 w 57"/>
                <a:gd name="T21" fmla="*/ 4 h 110"/>
                <a:gd name="T22" fmla="*/ 20 w 57"/>
                <a:gd name="T23" fmla="*/ 13 h 110"/>
                <a:gd name="T24" fmla="*/ 17 w 57"/>
                <a:gd name="T25" fmla="*/ 23 h 110"/>
                <a:gd name="T26" fmla="*/ 12 w 57"/>
                <a:gd name="T27" fmla="*/ 28 h 110"/>
                <a:gd name="T28" fmla="*/ 17 w 57"/>
                <a:gd name="T29" fmla="*/ 38 h 110"/>
                <a:gd name="T30" fmla="*/ 21 w 57"/>
                <a:gd name="T31" fmla="*/ 47 h 110"/>
                <a:gd name="T32" fmla="*/ 27 w 57"/>
                <a:gd name="T33" fmla="*/ 57 h 110"/>
                <a:gd name="T34" fmla="*/ 14 w 57"/>
                <a:gd name="T35" fmla="*/ 68 h 110"/>
                <a:gd name="T36" fmla="*/ 8 w 57"/>
                <a:gd name="T37" fmla="*/ 70 h 110"/>
                <a:gd name="T38" fmla="*/ 3 w 57"/>
                <a:gd name="T39" fmla="*/ 75 h 110"/>
                <a:gd name="T40" fmla="*/ 1 w 57"/>
                <a:gd name="T41" fmla="*/ 80 h 110"/>
                <a:gd name="T42" fmla="*/ 1 w 57"/>
                <a:gd name="T43" fmla="*/ 85 h 110"/>
                <a:gd name="T44" fmla="*/ 6 w 57"/>
                <a:gd name="T45" fmla="*/ 88 h 110"/>
                <a:gd name="T46" fmla="*/ 7 w 57"/>
                <a:gd name="T47" fmla="*/ 92 h 110"/>
                <a:gd name="T48" fmla="*/ 12 w 57"/>
                <a:gd name="T49" fmla="*/ 97 h 110"/>
                <a:gd name="T50" fmla="*/ 14 w 57"/>
                <a:gd name="T51" fmla="*/ 99 h 110"/>
                <a:gd name="T52" fmla="*/ 17 w 57"/>
                <a:gd name="T53" fmla="*/ 98 h 110"/>
                <a:gd name="T54" fmla="*/ 20 w 57"/>
                <a:gd name="T55" fmla="*/ 99 h 110"/>
                <a:gd name="T56" fmla="*/ 23 w 57"/>
                <a:gd name="T57" fmla="*/ 101 h 110"/>
                <a:gd name="T58" fmla="*/ 22 w 57"/>
                <a:gd name="T59" fmla="*/ 105 h 110"/>
                <a:gd name="T60" fmla="*/ 21 w 57"/>
                <a:gd name="T61" fmla="*/ 110 h 110"/>
                <a:gd name="T62" fmla="*/ 25 w 57"/>
                <a:gd name="T63" fmla="*/ 108 h 110"/>
                <a:gd name="T64" fmla="*/ 28 w 57"/>
                <a:gd name="T65" fmla="*/ 104 h 110"/>
                <a:gd name="T66" fmla="*/ 31 w 57"/>
                <a:gd name="T67" fmla="*/ 98 h 110"/>
                <a:gd name="T68" fmla="*/ 32 w 57"/>
                <a:gd name="T69" fmla="*/ 95 h 110"/>
                <a:gd name="T70" fmla="*/ 35 w 57"/>
                <a:gd name="T71" fmla="*/ 94 h 110"/>
                <a:gd name="T72" fmla="*/ 39 w 57"/>
                <a:gd name="T73" fmla="*/ 91 h 110"/>
                <a:gd name="T74" fmla="*/ 42 w 57"/>
                <a:gd name="T75" fmla="*/ 88 h 110"/>
                <a:gd name="T76" fmla="*/ 40 w 57"/>
                <a:gd name="T77" fmla="*/ 89 h 110"/>
                <a:gd name="T78" fmla="*/ 38 w 57"/>
                <a:gd name="T79" fmla="*/ 89 h 110"/>
                <a:gd name="T80" fmla="*/ 40 w 57"/>
                <a:gd name="T81" fmla="*/ 86 h 110"/>
                <a:gd name="T82" fmla="*/ 40 w 57"/>
                <a:gd name="T83" fmla="*/ 83 h 110"/>
                <a:gd name="T84" fmla="*/ 43 w 57"/>
                <a:gd name="T85" fmla="*/ 81 h 110"/>
                <a:gd name="T86" fmla="*/ 46 w 57"/>
                <a:gd name="T87" fmla="*/ 79 h 110"/>
                <a:gd name="T88" fmla="*/ 48 w 57"/>
                <a:gd name="T89" fmla="*/ 71 h 110"/>
                <a:gd name="T90" fmla="*/ 49 w 57"/>
                <a:gd name="T91" fmla="*/ 64 h 110"/>
                <a:gd name="T92" fmla="*/ 52 w 57"/>
                <a:gd name="T93" fmla="*/ 60 h 110"/>
                <a:gd name="T94" fmla="*/ 53 w 57"/>
                <a:gd name="T95" fmla="*/ 55 h 110"/>
                <a:gd name="T96" fmla="*/ 54 w 57"/>
                <a:gd name="T97" fmla="*/ 50 h 110"/>
                <a:gd name="T98" fmla="*/ 54 w 57"/>
                <a:gd name="T99" fmla="*/ 4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110">
                  <a:moveTo>
                    <a:pt x="54" y="46"/>
                  </a:moveTo>
                  <a:cubicBezTo>
                    <a:pt x="54" y="45"/>
                    <a:pt x="53" y="45"/>
                    <a:pt x="53" y="44"/>
                  </a:cubicBezTo>
                  <a:cubicBezTo>
                    <a:pt x="52" y="44"/>
                    <a:pt x="52" y="44"/>
                    <a:pt x="52" y="44"/>
                  </a:cubicBezTo>
                  <a:cubicBezTo>
                    <a:pt x="51" y="43"/>
                    <a:pt x="51" y="43"/>
                    <a:pt x="51" y="43"/>
                  </a:cubicBezTo>
                  <a:cubicBezTo>
                    <a:pt x="51" y="43"/>
                    <a:pt x="50" y="43"/>
                    <a:pt x="50" y="43"/>
                  </a:cubicBezTo>
                  <a:cubicBezTo>
                    <a:pt x="49" y="43"/>
                    <a:pt x="49" y="43"/>
                    <a:pt x="48" y="43"/>
                  </a:cubicBezTo>
                  <a:cubicBezTo>
                    <a:pt x="48" y="43"/>
                    <a:pt x="48" y="43"/>
                    <a:pt x="47" y="42"/>
                  </a:cubicBezTo>
                  <a:cubicBezTo>
                    <a:pt x="47" y="42"/>
                    <a:pt x="47" y="42"/>
                    <a:pt x="46" y="42"/>
                  </a:cubicBezTo>
                  <a:cubicBezTo>
                    <a:pt x="46" y="42"/>
                    <a:pt x="45" y="42"/>
                    <a:pt x="45" y="42"/>
                  </a:cubicBezTo>
                  <a:cubicBezTo>
                    <a:pt x="45" y="41"/>
                    <a:pt x="45" y="41"/>
                    <a:pt x="45" y="41"/>
                  </a:cubicBezTo>
                  <a:cubicBezTo>
                    <a:pt x="45" y="41"/>
                    <a:pt x="46" y="41"/>
                    <a:pt x="46" y="41"/>
                  </a:cubicBezTo>
                  <a:cubicBezTo>
                    <a:pt x="45" y="41"/>
                    <a:pt x="45" y="41"/>
                    <a:pt x="45" y="41"/>
                  </a:cubicBezTo>
                  <a:cubicBezTo>
                    <a:pt x="45" y="41"/>
                    <a:pt x="45" y="41"/>
                    <a:pt x="44" y="41"/>
                  </a:cubicBezTo>
                  <a:cubicBezTo>
                    <a:pt x="44" y="40"/>
                    <a:pt x="44" y="39"/>
                    <a:pt x="44" y="39"/>
                  </a:cubicBezTo>
                  <a:cubicBezTo>
                    <a:pt x="44" y="38"/>
                    <a:pt x="45" y="36"/>
                    <a:pt x="45" y="36"/>
                  </a:cubicBezTo>
                  <a:cubicBezTo>
                    <a:pt x="45" y="36"/>
                    <a:pt x="45" y="36"/>
                    <a:pt x="46" y="35"/>
                  </a:cubicBezTo>
                  <a:cubicBezTo>
                    <a:pt x="46" y="34"/>
                    <a:pt x="46" y="34"/>
                    <a:pt x="47" y="34"/>
                  </a:cubicBezTo>
                  <a:cubicBezTo>
                    <a:pt x="47" y="34"/>
                    <a:pt x="47" y="33"/>
                    <a:pt x="47" y="33"/>
                  </a:cubicBezTo>
                  <a:cubicBezTo>
                    <a:pt x="47" y="33"/>
                    <a:pt x="47" y="32"/>
                    <a:pt x="47" y="32"/>
                  </a:cubicBezTo>
                  <a:cubicBezTo>
                    <a:pt x="48" y="32"/>
                    <a:pt x="48" y="32"/>
                    <a:pt x="50" y="32"/>
                  </a:cubicBezTo>
                  <a:cubicBezTo>
                    <a:pt x="50" y="32"/>
                    <a:pt x="50" y="32"/>
                    <a:pt x="50" y="32"/>
                  </a:cubicBezTo>
                  <a:cubicBezTo>
                    <a:pt x="50" y="32"/>
                    <a:pt x="50" y="32"/>
                    <a:pt x="50" y="32"/>
                  </a:cubicBezTo>
                  <a:cubicBezTo>
                    <a:pt x="50" y="32"/>
                    <a:pt x="51" y="32"/>
                    <a:pt x="52" y="32"/>
                  </a:cubicBezTo>
                  <a:cubicBezTo>
                    <a:pt x="52" y="32"/>
                    <a:pt x="52" y="32"/>
                    <a:pt x="52" y="32"/>
                  </a:cubicBezTo>
                  <a:cubicBezTo>
                    <a:pt x="52" y="32"/>
                    <a:pt x="52" y="31"/>
                    <a:pt x="52" y="31"/>
                  </a:cubicBezTo>
                  <a:cubicBezTo>
                    <a:pt x="52" y="31"/>
                    <a:pt x="53" y="30"/>
                    <a:pt x="53" y="30"/>
                  </a:cubicBezTo>
                  <a:cubicBezTo>
                    <a:pt x="53" y="29"/>
                    <a:pt x="53" y="29"/>
                    <a:pt x="53" y="29"/>
                  </a:cubicBezTo>
                  <a:cubicBezTo>
                    <a:pt x="53" y="29"/>
                    <a:pt x="53" y="29"/>
                    <a:pt x="53" y="29"/>
                  </a:cubicBezTo>
                  <a:cubicBezTo>
                    <a:pt x="57" y="18"/>
                    <a:pt x="57" y="18"/>
                    <a:pt x="57" y="18"/>
                  </a:cubicBezTo>
                  <a:cubicBezTo>
                    <a:pt x="57" y="18"/>
                    <a:pt x="31" y="2"/>
                    <a:pt x="31" y="2"/>
                  </a:cubicBezTo>
                  <a:cubicBezTo>
                    <a:pt x="31" y="2"/>
                    <a:pt x="30" y="1"/>
                    <a:pt x="30" y="0"/>
                  </a:cubicBezTo>
                  <a:cubicBezTo>
                    <a:pt x="26" y="2"/>
                    <a:pt x="26" y="2"/>
                    <a:pt x="26" y="2"/>
                  </a:cubicBezTo>
                  <a:cubicBezTo>
                    <a:pt x="25" y="4"/>
                    <a:pt x="25" y="4"/>
                    <a:pt x="25" y="4"/>
                  </a:cubicBezTo>
                  <a:cubicBezTo>
                    <a:pt x="23" y="9"/>
                    <a:pt x="23" y="9"/>
                    <a:pt x="23" y="9"/>
                  </a:cubicBezTo>
                  <a:cubicBezTo>
                    <a:pt x="20" y="11"/>
                    <a:pt x="20" y="11"/>
                    <a:pt x="20" y="11"/>
                  </a:cubicBezTo>
                  <a:cubicBezTo>
                    <a:pt x="20" y="13"/>
                    <a:pt x="20" y="13"/>
                    <a:pt x="20" y="13"/>
                  </a:cubicBezTo>
                  <a:cubicBezTo>
                    <a:pt x="15" y="17"/>
                    <a:pt x="15" y="17"/>
                    <a:pt x="15" y="17"/>
                  </a:cubicBezTo>
                  <a:cubicBezTo>
                    <a:pt x="15" y="20"/>
                    <a:pt x="15" y="20"/>
                    <a:pt x="15" y="20"/>
                  </a:cubicBezTo>
                  <a:cubicBezTo>
                    <a:pt x="17" y="23"/>
                    <a:pt x="17" y="23"/>
                    <a:pt x="17" y="23"/>
                  </a:cubicBezTo>
                  <a:cubicBezTo>
                    <a:pt x="16" y="24"/>
                    <a:pt x="16" y="24"/>
                    <a:pt x="16" y="24"/>
                  </a:cubicBezTo>
                  <a:cubicBezTo>
                    <a:pt x="15" y="26"/>
                    <a:pt x="15" y="26"/>
                    <a:pt x="15" y="26"/>
                  </a:cubicBezTo>
                  <a:cubicBezTo>
                    <a:pt x="12" y="28"/>
                    <a:pt x="12" y="28"/>
                    <a:pt x="12" y="28"/>
                  </a:cubicBezTo>
                  <a:cubicBezTo>
                    <a:pt x="12" y="36"/>
                    <a:pt x="12" y="36"/>
                    <a:pt x="12" y="36"/>
                  </a:cubicBezTo>
                  <a:cubicBezTo>
                    <a:pt x="15" y="36"/>
                    <a:pt x="15" y="36"/>
                    <a:pt x="15" y="36"/>
                  </a:cubicBezTo>
                  <a:cubicBezTo>
                    <a:pt x="17" y="38"/>
                    <a:pt x="17" y="38"/>
                    <a:pt x="17" y="38"/>
                  </a:cubicBezTo>
                  <a:cubicBezTo>
                    <a:pt x="16" y="43"/>
                    <a:pt x="16" y="43"/>
                    <a:pt x="16" y="43"/>
                  </a:cubicBezTo>
                  <a:cubicBezTo>
                    <a:pt x="20" y="44"/>
                    <a:pt x="20" y="44"/>
                    <a:pt x="20" y="44"/>
                  </a:cubicBezTo>
                  <a:cubicBezTo>
                    <a:pt x="21" y="47"/>
                    <a:pt x="21" y="47"/>
                    <a:pt x="21" y="47"/>
                  </a:cubicBezTo>
                  <a:cubicBezTo>
                    <a:pt x="27" y="53"/>
                    <a:pt x="27" y="53"/>
                    <a:pt x="27" y="53"/>
                  </a:cubicBezTo>
                  <a:cubicBezTo>
                    <a:pt x="28" y="54"/>
                    <a:pt x="28" y="54"/>
                    <a:pt x="28" y="54"/>
                  </a:cubicBezTo>
                  <a:cubicBezTo>
                    <a:pt x="27" y="57"/>
                    <a:pt x="27" y="57"/>
                    <a:pt x="27" y="57"/>
                  </a:cubicBezTo>
                  <a:cubicBezTo>
                    <a:pt x="24" y="58"/>
                    <a:pt x="24" y="58"/>
                    <a:pt x="24" y="58"/>
                  </a:cubicBezTo>
                  <a:cubicBezTo>
                    <a:pt x="14" y="64"/>
                    <a:pt x="14" y="64"/>
                    <a:pt x="14" y="64"/>
                  </a:cubicBezTo>
                  <a:cubicBezTo>
                    <a:pt x="14" y="68"/>
                    <a:pt x="14" y="68"/>
                    <a:pt x="14" y="68"/>
                  </a:cubicBezTo>
                  <a:cubicBezTo>
                    <a:pt x="14" y="68"/>
                    <a:pt x="14" y="68"/>
                    <a:pt x="13" y="68"/>
                  </a:cubicBezTo>
                  <a:cubicBezTo>
                    <a:pt x="13" y="69"/>
                    <a:pt x="12" y="69"/>
                    <a:pt x="12" y="69"/>
                  </a:cubicBezTo>
                  <a:cubicBezTo>
                    <a:pt x="10" y="70"/>
                    <a:pt x="9" y="70"/>
                    <a:pt x="8" y="70"/>
                  </a:cubicBezTo>
                  <a:cubicBezTo>
                    <a:pt x="7" y="71"/>
                    <a:pt x="6" y="71"/>
                    <a:pt x="5" y="72"/>
                  </a:cubicBezTo>
                  <a:cubicBezTo>
                    <a:pt x="4" y="72"/>
                    <a:pt x="4" y="73"/>
                    <a:pt x="4" y="74"/>
                  </a:cubicBezTo>
                  <a:cubicBezTo>
                    <a:pt x="3" y="74"/>
                    <a:pt x="3" y="75"/>
                    <a:pt x="3" y="75"/>
                  </a:cubicBezTo>
                  <a:cubicBezTo>
                    <a:pt x="2" y="76"/>
                    <a:pt x="2" y="77"/>
                    <a:pt x="1" y="78"/>
                  </a:cubicBezTo>
                  <a:cubicBezTo>
                    <a:pt x="1" y="78"/>
                    <a:pt x="0" y="78"/>
                    <a:pt x="1" y="79"/>
                  </a:cubicBezTo>
                  <a:cubicBezTo>
                    <a:pt x="1" y="79"/>
                    <a:pt x="1" y="80"/>
                    <a:pt x="1" y="80"/>
                  </a:cubicBezTo>
                  <a:cubicBezTo>
                    <a:pt x="2" y="81"/>
                    <a:pt x="2" y="81"/>
                    <a:pt x="3" y="81"/>
                  </a:cubicBezTo>
                  <a:cubicBezTo>
                    <a:pt x="3" y="82"/>
                    <a:pt x="2" y="83"/>
                    <a:pt x="2" y="84"/>
                  </a:cubicBezTo>
                  <a:cubicBezTo>
                    <a:pt x="2" y="84"/>
                    <a:pt x="1" y="84"/>
                    <a:pt x="1" y="85"/>
                  </a:cubicBezTo>
                  <a:cubicBezTo>
                    <a:pt x="1" y="85"/>
                    <a:pt x="1" y="86"/>
                    <a:pt x="1" y="86"/>
                  </a:cubicBezTo>
                  <a:cubicBezTo>
                    <a:pt x="1" y="87"/>
                    <a:pt x="3" y="87"/>
                    <a:pt x="4" y="87"/>
                  </a:cubicBezTo>
                  <a:cubicBezTo>
                    <a:pt x="5" y="87"/>
                    <a:pt x="6" y="87"/>
                    <a:pt x="6" y="88"/>
                  </a:cubicBezTo>
                  <a:cubicBezTo>
                    <a:pt x="6" y="88"/>
                    <a:pt x="6" y="90"/>
                    <a:pt x="6" y="90"/>
                  </a:cubicBezTo>
                  <a:cubicBezTo>
                    <a:pt x="6" y="91"/>
                    <a:pt x="5" y="91"/>
                    <a:pt x="6" y="92"/>
                  </a:cubicBezTo>
                  <a:cubicBezTo>
                    <a:pt x="6" y="92"/>
                    <a:pt x="7" y="92"/>
                    <a:pt x="7" y="92"/>
                  </a:cubicBezTo>
                  <a:cubicBezTo>
                    <a:pt x="8" y="93"/>
                    <a:pt x="8" y="93"/>
                    <a:pt x="9" y="93"/>
                  </a:cubicBezTo>
                  <a:cubicBezTo>
                    <a:pt x="10" y="94"/>
                    <a:pt x="10" y="94"/>
                    <a:pt x="11" y="95"/>
                  </a:cubicBezTo>
                  <a:cubicBezTo>
                    <a:pt x="11" y="96"/>
                    <a:pt x="12" y="96"/>
                    <a:pt x="12" y="97"/>
                  </a:cubicBezTo>
                  <a:cubicBezTo>
                    <a:pt x="13" y="97"/>
                    <a:pt x="13" y="97"/>
                    <a:pt x="13" y="98"/>
                  </a:cubicBezTo>
                  <a:cubicBezTo>
                    <a:pt x="14" y="98"/>
                    <a:pt x="14" y="98"/>
                    <a:pt x="14" y="98"/>
                  </a:cubicBezTo>
                  <a:cubicBezTo>
                    <a:pt x="14" y="99"/>
                    <a:pt x="14" y="99"/>
                    <a:pt x="14" y="99"/>
                  </a:cubicBezTo>
                  <a:cubicBezTo>
                    <a:pt x="15" y="99"/>
                    <a:pt x="15" y="99"/>
                    <a:pt x="15" y="99"/>
                  </a:cubicBezTo>
                  <a:cubicBezTo>
                    <a:pt x="16" y="99"/>
                    <a:pt x="16" y="99"/>
                    <a:pt x="16" y="98"/>
                  </a:cubicBezTo>
                  <a:cubicBezTo>
                    <a:pt x="17" y="98"/>
                    <a:pt x="17" y="98"/>
                    <a:pt x="17" y="98"/>
                  </a:cubicBezTo>
                  <a:cubicBezTo>
                    <a:pt x="17" y="97"/>
                    <a:pt x="18" y="98"/>
                    <a:pt x="18" y="98"/>
                  </a:cubicBezTo>
                  <a:cubicBezTo>
                    <a:pt x="19" y="98"/>
                    <a:pt x="19" y="98"/>
                    <a:pt x="19" y="99"/>
                  </a:cubicBezTo>
                  <a:cubicBezTo>
                    <a:pt x="20" y="99"/>
                    <a:pt x="20" y="99"/>
                    <a:pt x="20" y="99"/>
                  </a:cubicBezTo>
                  <a:cubicBezTo>
                    <a:pt x="20" y="99"/>
                    <a:pt x="21" y="99"/>
                    <a:pt x="21" y="99"/>
                  </a:cubicBezTo>
                  <a:cubicBezTo>
                    <a:pt x="21" y="99"/>
                    <a:pt x="22" y="99"/>
                    <a:pt x="22" y="99"/>
                  </a:cubicBezTo>
                  <a:cubicBezTo>
                    <a:pt x="22" y="100"/>
                    <a:pt x="23" y="100"/>
                    <a:pt x="23" y="101"/>
                  </a:cubicBezTo>
                  <a:cubicBezTo>
                    <a:pt x="23" y="101"/>
                    <a:pt x="23" y="102"/>
                    <a:pt x="23" y="102"/>
                  </a:cubicBezTo>
                  <a:cubicBezTo>
                    <a:pt x="23" y="103"/>
                    <a:pt x="23" y="103"/>
                    <a:pt x="23" y="104"/>
                  </a:cubicBezTo>
                  <a:cubicBezTo>
                    <a:pt x="23" y="104"/>
                    <a:pt x="22" y="104"/>
                    <a:pt x="22" y="105"/>
                  </a:cubicBezTo>
                  <a:cubicBezTo>
                    <a:pt x="22" y="106"/>
                    <a:pt x="22" y="107"/>
                    <a:pt x="21" y="107"/>
                  </a:cubicBezTo>
                  <a:cubicBezTo>
                    <a:pt x="21" y="108"/>
                    <a:pt x="21" y="108"/>
                    <a:pt x="21" y="109"/>
                  </a:cubicBezTo>
                  <a:cubicBezTo>
                    <a:pt x="21" y="109"/>
                    <a:pt x="21" y="110"/>
                    <a:pt x="21" y="110"/>
                  </a:cubicBezTo>
                  <a:cubicBezTo>
                    <a:pt x="22" y="110"/>
                    <a:pt x="22" y="110"/>
                    <a:pt x="22" y="110"/>
                  </a:cubicBezTo>
                  <a:cubicBezTo>
                    <a:pt x="23" y="110"/>
                    <a:pt x="23" y="110"/>
                    <a:pt x="24" y="109"/>
                  </a:cubicBezTo>
                  <a:cubicBezTo>
                    <a:pt x="24" y="109"/>
                    <a:pt x="24" y="109"/>
                    <a:pt x="25" y="108"/>
                  </a:cubicBezTo>
                  <a:cubicBezTo>
                    <a:pt x="25" y="108"/>
                    <a:pt x="26" y="108"/>
                    <a:pt x="26" y="108"/>
                  </a:cubicBezTo>
                  <a:cubicBezTo>
                    <a:pt x="27" y="107"/>
                    <a:pt x="27" y="106"/>
                    <a:pt x="27" y="106"/>
                  </a:cubicBezTo>
                  <a:cubicBezTo>
                    <a:pt x="28" y="105"/>
                    <a:pt x="28" y="104"/>
                    <a:pt x="28" y="104"/>
                  </a:cubicBezTo>
                  <a:cubicBezTo>
                    <a:pt x="29" y="103"/>
                    <a:pt x="29" y="102"/>
                    <a:pt x="29" y="102"/>
                  </a:cubicBezTo>
                  <a:cubicBezTo>
                    <a:pt x="29" y="102"/>
                    <a:pt x="30" y="101"/>
                    <a:pt x="30" y="101"/>
                  </a:cubicBezTo>
                  <a:cubicBezTo>
                    <a:pt x="30" y="100"/>
                    <a:pt x="30" y="99"/>
                    <a:pt x="31" y="98"/>
                  </a:cubicBezTo>
                  <a:cubicBezTo>
                    <a:pt x="31" y="97"/>
                    <a:pt x="32" y="97"/>
                    <a:pt x="32" y="97"/>
                  </a:cubicBezTo>
                  <a:cubicBezTo>
                    <a:pt x="32" y="96"/>
                    <a:pt x="34" y="96"/>
                    <a:pt x="34" y="95"/>
                  </a:cubicBezTo>
                  <a:cubicBezTo>
                    <a:pt x="33" y="94"/>
                    <a:pt x="33" y="95"/>
                    <a:pt x="32" y="95"/>
                  </a:cubicBezTo>
                  <a:cubicBezTo>
                    <a:pt x="32" y="95"/>
                    <a:pt x="31" y="95"/>
                    <a:pt x="32" y="94"/>
                  </a:cubicBezTo>
                  <a:cubicBezTo>
                    <a:pt x="32" y="94"/>
                    <a:pt x="33" y="94"/>
                    <a:pt x="33" y="94"/>
                  </a:cubicBezTo>
                  <a:cubicBezTo>
                    <a:pt x="34" y="94"/>
                    <a:pt x="34" y="94"/>
                    <a:pt x="35" y="94"/>
                  </a:cubicBezTo>
                  <a:cubicBezTo>
                    <a:pt x="36" y="94"/>
                    <a:pt x="36" y="93"/>
                    <a:pt x="37" y="93"/>
                  </a:cubicBezTo>
                  <a:cubicBezTo>
                    <a:pt x="37" y="92"/>
                    <a:pt x="37" y="92"/>
                    <a:pt x="38" y="92"/>
                  </a:cubicBezTo>
                  <a:cubicBezTo>
                    <a:pt x="38" y="92"/>
                    <a:pt x="38" y="91"/>
                    <a:pt x="39" y="91"/>
                  </a:cubicBezTo>
                  <a:cubicBezTo>
                    <a:pt x="39" y="91"/>
                    <a:pt x="39" y="91"/>
                    <a:pt x="39" y="91"/>
                  </a:cubicBezTo>
                  <a:cubicBezTo>
                    <a:pt x="40" y="90"/>
                    <a:pt x="40" y="90"/>
                    <a:pt x="41" y="89"/>
                  </a:cubicBezTo>
                  <a:cubicBezTo>
                    <a:pt x="41" y="89"/>
                    <a:pt x="41" y="89"/>
                    <a:pt x="42" y="88"/>
                  </a:cubicBezTo>
                  <a:cubicBezTo>
                    <a:pt x="42" y="88"/>
                    <a:pt x="42" y="87"/>
                    <a:pt x="41" y="88"/>
                  </a:cubicBezTo>
                  <a:cubicBezTo>
                    <a:pt x="41" y="88"/>
                    <a:pt x="41" y="88"/>
                    <a:pt x="41" y="88"/>
                  </a:cubicBezTo>
                  <a:cubicBezTo>
                    <a:pt x="41" y="88"/>
                    <a:pt x="40" y="88"/>
                    <a:pt x="40" y="89"/>
                  </a:cubicBezTo>
                  <a:cubicBezTo>
                    <a:pt x="40" y="89"/>
                    <a:pt x="40" y="89"/>
                    <a:pt x="39" y="89"/>
                  </a:cubicBezTo>
                  <a:cubicBezTo>
                    <a:pt x="39" y="89"/>
                    <a:pt x="39" y="89"/>
                    <a:pt x="39" y="89"/>
                  </a:cubicBezTo>
                  <a:cubicBezTo>
                    <a:pt x="39" y="89"/>
                    <a:pt x="38" y="89"/>
                    <a:pt x="38" y="89"/>
                  </a:cubicBezTo>
                  <a:cubicBezTo>
                    <a:pt x="38" y="89"/>
                    <a:pt x="38" y="88"/>
                    <a:pt x="38" y="88"/>
                  </a:cubicBezTo>
                  <a:cubicBezTo>
                    <a:pt x="38" y="88"/>
                    <a:pt x="39" y="87"/>
                    <a:pt x="39" y="87"/>
                  </a:cubicBezTo>
                  <a:cubicBezTo>
                    <a:pt x="39" y="87"/>
                    <a:pt x="40" y="87"/>
                    <a:pt x="40" y="86"/>
                  </a:cubicBezTo>
                  <a:cubicBezTo>
                    <a:pt x="40" y="86"/>
                    <a:pt x="40" y="86"/>
                    <a:pt x="40" y="85"/>
                  </a:cubicBezTo>
                  <a:cubicBezTo>
                    <a:pt x="40" y="85"/>
                    <a:pt x="40" y="85"/>
                    <a:pt x="40" y="85"/>
                  </a:cubicBezTo>
                  <a:cubicBezTo>
                    <a:pt x="40" y="84"/>
                    <a:pt x="39" y="84"/>
                    <a:pt x="40" y="83"/>
                  </a:cubicBezTo>
                  <a:cubicBezTo>
                    <a:pt x="40" y="83"/>
                    <a:pt x="41" y="82"/>
                    <a:pt x="41" y="82"/>
                  </a:cubicBezTo>
                  <a:cubicBezTo>
                    <a:pt x="42" y="82"/>
                    <a:pt x="42" y="81"/>
                    <a:pt x="42" y="81"/>
                  </a:cubicBezTo>
                  <a:cubicBezTo>
                    <a:pt x="43" y="81"/>
                    <a:pt x="43" y="81"/>
                    <a:pt x="43" y="81"/>
                  </a:cubicBezTo>
                  <a:cubicBezTo>
                    <a:pt x="44" y="80"/>
                    <a:pt x="44" y="80"/>
                    <a:pt x="45" y="80"/>
                  </a:cubicBezTo>
                  <a:cubicBezTo>
                    <a:pt x="45" y="79"/>
                    <a:pt x="45" y="79"/>
                    <a:pt x="46" y="79"/>
                  </a:cubicBezTo>
                  <a:cubicBezTo>
                    <a:pt x="46" y="79"/>
                    <a:pt x="46" y="79"/>
                    <a:pt x="46" y="79"/>
                  </a:cubicBezTo>
                  <a:cubicBezTo>
                    <a:pt x="47" y="78"/>
                    <a:pt x="47" y="77"/>
                    <a:pt x="48" y="76"/>
                  </a:cubicBezTo>
                  <a:cubicBezTo>
                    <a:pt x="48" y="75"/>
                    <a:pt x="48" y="74"/>
                    <a:pt x="48" y="73"/>
                  </a:cubicBezTo>
                  <a:cubicBezTo>
                    <a:pt x="48" y="73"/>
                    <a:pt x="48" y="72"/>
                    <a:pt x="48" y="71"/>
                  </a:cubicBezTo>
                  <a:cubicBezTo>
                    <a:pt x="48" y="70"/>
                    <a:pt x="48" y="70"/>
                    <a:pt x="49" y="69"/>
                  </a:cubicBezTo>
                  <a:cubicBezTo>
                    <a:pt x="49" y="69"/>
                    <a:pt x="49" y="68"/>
                    <a:pt x="49" y="67"/>
                  </a:cubicBezTo>
                  <a:cubicBezTo>
                    <a:pt x="49" y="66"/>
                    <a:pt x="49" y="65"/>
                    <a:pt x="49" y="64"/>
                  </a:cubicBezTo>
                  <a:cubicBezTo>
                    <a:pt x="50" y="64"/>
                    <a:pt x="50" y="63"/>
                    <a:pt x="50" y="63"/>
                  </a:cubicBezTo>
                  <a:cubicBezTo>
                    <a:pt x="50" y="62"/>
                    <a:pt x="50" y="62"/>
                    <a:pt x="50" y="62"/>
                  </a:cubicBezTo>
                  <a:cubicBezTo>
                    <a:pt x="51" y="61"/>
                    <a:pt x="51" y="60"/>
                    <a:pt x="52" y="60"/>
                  </a:cubicBezTo>
                  <a:cubicBezTo>
                    <a:pt x="52" y="59"/>
                    <a:pt x="52" y="59"/>
                    <a:pt x="53" y="58"/>
                  </a:cubicBezTo>
                  <a:cubicBezTo>
                    <a:pt x="53" y="58"/>
                    <a:pt x="53" y="57"/>
                    <a:pt x="53" y="56"/>
                  </a:cubicBezTo>
                  <a:cubicBezTo>
                    <a:pt x="53" y="56"/>
                    <a:pt x="53" y="55"/>
                    <a:pt x="53" y="55"/>
                  </a:cubicBezTo>
                  <a:cubicBezTo>
                    <a:pt x="53" y="54"/>
                    <a:pt x="54" y="54"/>
                    <a:pt x="54" y="53"/>
                  </a:cubicBezTo>
                  <a:cubicBezTo>
                    <a:pt x="54" y="53"/>
                    <a:pt x="54" y="52"/>
                    <a:pt x="54" y="51"/>
                  </a:cubicBezTo>
                  <a:cubicBezTo>
                    <a:pt x="54" y="51"/>
                    <a:pt x="54" y="51"/>
                    <a:pt x="54" y="50"/>
                  </a:cubicBezTo>
                  <a:cubicBezTo>
                    <a:pt x="54" y="50"/>
                    <a:pt x="55" y="50"/>
                    <a:pt x="55" y="49"/>
                  </a:cubicBezTo>
                  <a:cubicBezTo>
                    <a:pt x="55" y="49"/>
                    <a:pt x="55" y="48"/>
                    <a:pt x="55" y="47"/>
                  </a:cubicBezTo>
                  <a:cubicBezTo>
                    <a:pt x="55" y="47"/>
                    <a:pt x="55" y="46"/>
                    <a:pt x="54" y="46"/>
                  </a:cubicBezTo>
                  <a:close/>
                </a:path>
              </a:pathLst>
            </a:custGeom>
            <a:solidFill>
              <a:srgbClr val="FF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6" name="Freeform 29">
              <a:extLst>
                <a:ext uri="{FF2B5EF4-FFF2-40B4-BE49-F238E27FC236}">
                  <a16:creationId xmlns:a16="http://schemas.microsoft.com/office/drawing/2014/main" id="{C37A7A9E-D9E5-10C1-EE40-B5685D661559}"/>
                </a:ext>
              </a:extLst>
            </p:cNvPr>
            <p:cNvSpPr>
              <a:spLocks/>
            </p:cNvSpPr>
            <p:nvPr/>
          </p:nvSpPr>
          <p:spPr bwMode="auto">
            <a:xfrm>
              <a:off x="9653982" y="1703349"/>
              <a:ext cx="252788" cy="498966"/>
            </a:xfrm>
            <a:custGeom>
              <a:avLst/>
              <a:gdLst>
                <a:gd name="T0" fmla="*/ 37 w 64"/>
                <a:gd name="T1" fmla="*/ 20 h 126"/>
                <a:gd name="T2" fmla="*/ 34 w 64"/>
                <a:gd name="T3" fmla="*/ 24 h 126"/>
                <a:gd name="T4" fmla="*/ 32 w 64"/>
                <a:gd name="T5" fmla="*/ 28 h 126"/>
                <a:gd name="T6" fmla="*/ 36 w 64"/>
                <a:gd name="T7" fmla="*/ 35 h 126"/>
                <a:gd name="T8" fmla="*/ 34 w 64"/>
                <a:gd name="T9" fmla="*/ 37 h 126"/>
                <a:gd name="T10" fmla="*/ 33 w 64"/>
                <a:gd name="T11" fmla="*/ 40 h 126"/>
                <a:gd name="T12" fmla="*/ 30 w 64"/>
                <a:gd name="T13" fmla="*/ 43 h 126"/>
                <a:gd name="T14" fmla="*/ 26 w 64"/>
                <a:gd name="T15" fmla="*/ 46 h 126"/>
                <a:gd name="T16" fmla="*/ 21 w 64"/>
                <a:gd name="T17" fmla="*/ 47 h 126"/>
                <a:gd name="T18" fmla="*/ 18 w 64"/>
                <a:gd name="T19" fmla="*/ 50 h 126"/>
                <a:gd name="T20" fmla="*/ 18 w 64"/>
                <a:gd name="T21" fmla="*/ 60 h 126"/>
                <a:gd name="T22" fmla="*/ 16 w 64"/>
                <a:gd name="T23" fmla="*/ 66 h 126"/>
                <a:gd name="T24" fmla="*/ 12 w 64"/>
                <a:gd name="T25" fmla="*/ 71 h 126"/>
                <a:gd name="T26" fmla="*/ 9 w 64"/>
                <a:gd name="T27" fmla="*/ 77 h 126"/>
                <a:gd name="T28" fmla="*/ 7 w 64"/>
                <a:gd name="T29" fmla="*/ 82 h 126"/>
                <a:gd name="T30" fmla="*/ 6 w 64"/>
                <a:gd name="T31" fmla="*/ 91 h 126"/>
                <a:gd name="T32" fmla="*/ 6 w 64"/>
                <a:gd name="T33" fmla="*/ 97 h 126"/>
                <a:gd name="T34" fmla="*/ 3 w 64"/>
                <a:gd name="T35" fmla="*/ 104 h 126"/>
                <a:gd name="T36" fmla="*/ 3 w 64"/>
                <a:gd name="T37" fmla="*/ 111 h 126"/>
                <a:gd name="T38" fmla="*/ 1 w 64"/>
                <a:gd name="T39" fmla="*/ 115 h 126"/>
                <a:gd name="T40" fmla="*/ 1 w 64"/>
                <a:gd name="T41" fmla="*/ 120 h 126"/>
                <a:gd name="T42" fmla="*/ 3 w 64"/>
                <a:gd name="T43" fmla="*/ 124 h 126"/>
                <a:gd name="T44" fmla="*/ 45 w 64"/>
                <a:gd name="T45" fmla="*/ 123 h 126"/>
                <a:gd name="T46" fmla="*/ 47 w 64"/>
                <a:gd name="T47" fmla="*/ 122 h 126"/>
                <a:gd name="T48" fmla="*/ 52 w 64"/>
                <a:gd name="T49" fmla="*/ 119 h 126"/>
                <a:gd name="T50" fmla="*/ 57 w 64"/>
                <a:gd name="T51" fmla="*/ 117 h 126"/>
                <a:gd name="T52" fmla="*/ 61 w 64"/>
                <a:gd name="T53" fmla="*/ 116 h 126"/>
                <a:gd name="T54" fmla="*/ 63 w 64"/>
                <a:gd name="T55" fmla="*/ 111 h 126"/>
                <a:gd name="T56" fmla="*/ 63 w 64"/>
                <a:gd name="T57" fmla="*/ 109 h 126"/>
                <a:gd name="T58" fmla="*/ 59 w 64"/>
                <a:gd name="T59" fmla="*/ 106 h 126"/>
                <a:gd name="T60" fmla="*/ 60 w 64"/>
                <a:gd name="T61" fmla="*/ 103 h 126"/>
                <a:gd name="T62" fmla="*/ 55 w 64"/>
                <a:gd name="T63" fmla="*/ 94 h 126"/>
                <a:gd name="T64" fmla="*/ 55 w 64"/>
                <a:gd name="T65" fmla="*/ 78 h 126"/>
                <a:gd name="T66" fmla="*/ 51 w 64"/>
                <a:gd name="T67" fmla="*/ 0 h 126"/>
                <a:gd name="T68" fmla="*/ 49 w 64"/>
                <a:gd name="T69" fmla="*/ 3 h 126"/>
                <a:gd name="T70" fmla="*/ 44 w 64"/>
                <a:gd name="T71" fmla="*/ 0 h 126"/>
                <a:gd name="T72" fmla="*/ 39 w 64"/>
                <a:gd name="T73" fmla="*/ 4 h 126"/>
                <a:gd name="T74" fmla="*/ 39 w 64"/>
                <a:gd name="T75" fmla="*/ 9 h 126"/>
                <a:gd name="T76" fmla="*/ 37 w 64"/>
                <a:gd name="T77" fmla="*/ 14 h 126"/>
                <a:gd name="T78" fmla="*/ 37 w 64"/>
                <a:gd name="T79" fmla="*/ 1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4" h="126">
                  <a:moveTo>
                    <a:pt x="37" y="19"/>
                  </a:moveTo>
                  <a:cubicBezTo>
                    <a:pt x="37" y="19"/>
                    <a:pt x="37" y="20"/>
                    <a:pt x="37" y="20"/>
                  </a:cubicBezTo>
                  <a:cubicBezTo>
                    <a:pt x="37" y="20"/>
                    <a:pt x="36" y="21"/>
                    <a:pt x="36" y="21"/>
                  </a:cubicBezTo>
                  <a:cubicBezTo>
                    <a:pt x="35" y="21"/>
                    <a:pt x="35" y="24"/>
                    <a:pt x="34" y="24"/>
                  </a:cubicBezTo>
                  <a:cubicBezTo>
                    <a:pt x="34" y="25"/>
                    <a:pt x="34" y="26"/>
                    <a:pt x="33" y="26"/>
                  </a:cubicBezTo>
                  <a:cubicBezTo>
                    <a:pt x="33" y="26"/>
                    <a:pt x="32" y="27"/>
                    <a:pt x="32" y="28"/>
                  </a:cubicBezTo>
                  <a:cubicBezTo>
                    <a:pt x="32" y="28"/>
                    <a:pt x="33" y="30"/>
                    <a:pt x="34" y="30"/>
                  </a:cubicBezTo>
                  <a:cubicBezTo>
                    <a:pt x="34" y="31"/>
                    <a:pt x="36" y="35"/>
                    <a:pt x="36" y="35"/>
                  </a:cubicBezTo>
                  <a:cubicBezTo>
                    <a:pt x="36" y="35"/>
                    <a:pt x="34" y="36"/>
                    <a:pt x="34" y="36"/>
                  </a:cubicBezTo>
                  <a:cubicBezTo>
                    <a:pt x="34" y="36"/>
                    <a:pt x="34" y="37"/>
                    <a:pt x="34" y="37"/>
                  </a:cubicBezTo>
                  <a:cubicBezTo>
                    <a:pt x="34" y="38"/>
                    <a:pt x="34" y="39"/>
                    <a:pt x="34" y="39"/>
                  </a:cubicBezTo>
                  <a:cubicBezTo>
                    <a:pt x="34" y="39"/>
                    <a:pt x="34" y="40"/>
                    <a:pt x="33" y="40"/>
                  </a:cubicBezTo>
                  <a:cubicBezTo>
                    <a:pt x="33" y="40"/>
                    <a:pt x="32" y="41"/>
                    <a:pt x="32" y="41"/>
                  </a:cubicBezTo>
                  <a:cubicBezTo>
                    <a:pt x="31" y="42"/>
                    <a:pt x="31" y="43"/>
                    <a:pt x="30" y="43"/>
                  </a:cubicBezTo>
                  <a:cubicBezTo>
                    <a:pt x="30" y="43"/>
                    <a:pt x="27" y="44"/>
                    <a:pt x="27" y="44"/>
                  </a:cubicBezTo>
                  <a:cubicBezTo>
                    <a:pt x="26" y="46"/>
                    <a:pt x="26" y="46"/>
                    <a:pt x="26" y="46"/>
                  </a:cubicBezTo>
                  <a:cubicBezTo>
                    <a:pt x="26" y="46"/>
                    <a:pt x="24" y="47"/>
                    <a:pt x="23" y="47"/>
                  </a:cubicBezTo>
                  <a:cubicBezTo>
                    <a:pt x="23" y="47"/>
                    <a:pt x="21" y="47"/>
                    <a:pt x="21" y="47"/>
                  </a:cubicBezTo>
                  <a:cubicBezTo>
                    <a:pt x="21" y="47"/>
                    <a:pt x="19" y="48"/>
                    <a:pt x="18" y="48"/>
                  </a:cubicBezTo>
                  <a:cubicBezTo>
                    <a:pt x="18" y="48"/>
                    <a:pt x="18" y="50"/>
                    <a:pt x="18" y="50"/>
                  </a:cubicBezTo>
                  <a:cubicBezTo>
                    <a:pt x="18" y="51"/>
                    <a:pt x="18" y="54"/>
                    <a:pt x="18" y="54"/>
                  </a:cubicBezTo>
                  <a:cubicBezTo>
                    <a:pt x="18" y="54"/>
                    <a:pt x="18" y="59"/>
                    <a:pt x="18" y="60"/>
                  </a:cubicBezTo>
                  <a:cubicBezTo>
                    <a:pt x="18" y="60"/>
                    <a:pt x="16" y="63"/>
                    <a:pt x="16" y="63"/>
                  </a:cubicBezTo>
                  <a:cubicBezTo>
                    <a:pt x="16" y="63"/>
                    <a:pt x="16" y="66"/>
                    <a:pt x="16" y="66"/>
                  </a:cubicBezTo>
                  <a:cubicBezTo>
                    <a:pt x="16" y="66"/>
                    <a:pt x="15" y="67"/>
                    <a:pt x="15" y="68"/>
                  </a:cubicBezTo>
                  <a:cubicBezTo>
                    <a:pt x="14" y="68"/>
                    <a:pt x="13" y="71"/>
                    <a:pt x="12" y="71"/>
                  </a:cubicBezTo>
                  <a:cubicBezTo>
                    <a:pt x="12" y="72"/>
                    <a:pt x="12" y="74"/>
                    <a:pt x="12" y="74"/>
                  </a:cubicBezTo>
                  <a:cubicBezTo>
                    <a:pt x="11" y="75"/>
                    <a:pt x="9" y="77"/>
                    <a:pt x="9" y="77"/>
                  </a:cubicBezTo>
                  <a:cubicBezTo>
                    <a:pt x="9" y="77"/>
                    <a:pt x="9" y="78"/>
                    <a:pt x="9" y="78"/>
                  </a:cubicBezTo>
                  <a:cubicBezTo>
                    <a:pt x="9" y="79"/>
                    <a:pt x="8" y="81"/>
                    <a:pt x="7" y="82"/>
                  </a:cubicBezTo>
                  <a:cubicBezTo>
                    <a:pt x="7" y="82"/>
                    <a:pt x="5" y="86"/>
                    <a:pt x="5" y="87"/>
                  </a:cubicBezTo>
                  <a:cubicBezTo>
                    <a:pt x="5" y="87"/>
                    <a:pt x="6" y="91"/>
                    <a:pt x="6" y="91"/>
                  </a:cubicBezTo>
                  <a:cubicBezTo>
                    <a:pt x="6" y="92"/>
                    <a:pt x="5" y="94"/>
                    <a:pt x="5" y="95"/>
                  </a:cubicBezTo>
                  <a:cubicBezTo>
                    <a:pt x="5" y="96"/>
                    <a:pt x="6" y="97"/>
                    <a:pt x="6" y="97"/>
                  </a:cubicBezTo>
                  <a:cubicBezTo>
                    <a:pt x="6" y="97"/>
                    <a:pt x="4" y="102"/>
                    <a:pt x="4" y="102"/>
                  </a:cubicBezTo>
                  <a:cubicBezTo>
                    <a:pt x="4" y="103"/>
                    <a:pt x="3" y="103"/>
                    <a:pt x="3" y="104"/>
                  </a:cubicBezTo>
                  <a:cubicBezTo>
                    <a:pt x="3" y="104"/>
                    <a:pt x="4" y="105"/>
                    <a:pt x="4" y="106"/>
                  </a:cubicBezTo>
                  <a:cubicBezTo>
                    <a:pt x="4" y="106"/>
                    <a:pt x="3" y="110"/>
                    <a:pt x="3" y="111"/>
                  </a:cubicBezTo>
                  <a:cubicBezTo>
                    <a:pt x="3" y="111"/>
                    <a:pt x="1" y="113"/>
                    <a:pt x="1" y="113"/>
                  </a:cubicBezTo>
                  <a:cubicBezTo>
                    <a:pt x="1" y="113"/>
                    <a:pt x="1" y="115"/>
                    <a:pt x="1" y="115"/>
                  </a:cubicBezTo>
                  <a:cubicBezTo>
                    <a:pt x="1" y="115"/>
                    <a:pt x="0" y="117"/>
                    <a:pt x="0" y="117"/>
                  </a:cubicBezTo>
                  <a:cubicBezTo>
                    <a:pt x="0" y="118"/>
                    <a:pt x="1" y="120"/>
                    <a:pt x="1" y="120"/>
                  </a:cubicBezTo>
                  <a:cubicBezTo>
                    <a:pt x="1" y="120"/>
                    <a:pt x="1" y="121"/>
                    <a:pt x="1" y="121"/>
                  </a:cubicBezTo>
                  <a:cubicBezTo>
                    <a:pt x="3" y="124"/>
                    <a:pt x="3" y="124"/>
                    <a:pt x="3" y="124"/>
                  </a:cubicBezTo>
                  <a:cubicBezTo>
                    <a:pt x="43" y="126"/>
                    <a:pt x="43" y="126"/>
                    <a:pt x="43" y="126"/>
                  </a:cubicBezTo>
                  <a:cubicBezTo>
                    <a:pt x="43" y="126"/>
                    <a:pt x="45" y="124"/>
                    <a:pt x="45" y="123"/>
                  </a:cubicBezTo>
                  <a:cubicBezTo>
                    <a:pt x="45" y="123"/>
                    <a:pt x="47" y="123"/>
                    <a:pt x="47" y="123"/>
                  </a:cubicBezTo>
                  <a:cubicBezTo>
                    <a:pt x="47" y="123"/>
                    <a:pt x="47" y="122"/>
                    <a:pt x="47" y="122"/>
                  </a:cubicBezTo>
                  <a:cubicBezTo>
                    <a:pt x="47" y="121"/>
                    <a:pt x="49" y="120"/>
                    <a:pt x="49" y="120"/>
                  </a:cubicBezTo>
                  <a:cubicBezTo>
                    <a:pt x="49" y="120"/>
                    <a:pt x="52" y="119"/>
                    <a:pt x="52" y="119"/>
                  </a:cubicBezTo>
                  <a:cubicBezTo>
                    <a:pt x="52" y="119"/>
                    <a:pt x="53" y="118"/>
                    <a:pt x="53" y="118"/>
                  </a:cubicBezTo>
                  <a:cubicBezTo>
                    <a:pt x="53" y="118"/>
                    <a:pt x="56" y="117"/>
                    <a:pt x="57" y="117"/>
                  </a:cubicBezTo>
                  <a:cubicBezTo>
                    <a:pt x="57" y="117"/>
                    <a:pt x="59" y="117"/>
                    <a:pt x="61" y="117"/>
                  </a:cubicBezTo>
                  <a:cubicBezTo>
                    <a:pt x="61" y="117"/>
                    <a:pt x="61" y="116"/>
                    <a:pt x="61" y="116"/>
                  </a:cubicBezTo>
                  <a:cubicBezTo>
                    <a:pt x="61" y="115"/>
                    <a:pt x="61" y="114"/>
                    <a:pt x="62" y="114"/>
                  </a:cubicBezTo>
                  <a:cubicBezTo>
                    <a:pt x="63" y="113"/>
                    <a:pt x="63" y="112"/>
                    <a:pt x="63" y="111"/>
                  </a:cubicBezTo>
                  <a:cubicBezTo>
                    <a:pt x="63" y="111"/>
                    <a:pt x="64" y="110"/>
                    <a:pt x="64" y="110"/>
                  </a:cubicBezTo>
                  <a:cubicBezTo>
                    <a:pt x="64" y="109"/>
                    <a:pt x="63" y="109"/>
                    <a:pt x="63" y="109"/>
                  </a:cubicBezTo>
                  <a:cubicBezTo>
                    <a:pt x="63" y="108"/>
                    <a:pt x="63" y="108"/>
                    <a:pt x="63" y="107"/>
                  </a:cubicBezTo>
                  <a:cubicBezTo>
                    <a:pt x="62" y="106"/>
                    <a:pt x="60" y="107"/>
                    <a:pt x="59" y="106"/>
                  </a:cubicBezTo>
                  <a:cubicBezTo>
                    <a:pt x="60" y="106"/>
                    <a:pt x="60" y="106"/>
                    <a:pt x="60" y="106"/>
                  </a:cubicBezTo>
                  <a:cubicBezTo>
                    <a:pt x="60" y="105"/>
                    <a:pt x="60" y="103"/>
                    <a:pt x="60" y="103"/>
                  </a:cubicBezTo>
                  <a:cubicBezTo>
                    <a:pt x="60" y="103"/>
                    <a:pt x="60" y="100"/>
                    <a:pt x="60" y="100"/>
                  </a:cubicBezTo>
                  <a:cubicBezTo>
                    <a:pt x="55" y="94"/>
                    <a:pt x="55" y="94"/>
                    <a:pt x="55" y="94"/>
                  </a:cubicBezTo>
                  <a:cubicBezTo>
                    <a:pt x="55" y="94"/>
                    <a:pt x="55" y="87"/>
                    <a:pt x="55" y="87"/>
                  </a:cubicBezTo>
                  <a:cubicBezTo>
                    <a:pt x="55" y="87"/>
                    <a:pt x="55" y="78"/>
                    <a:pt x="55" y="78"/>
                  </a:cubicBezTo>
                  <a:cubicBezTo>
                    <a:pt x="54" y="58"/>
                    <a:pt x="54" y="58"/>
                    <a:pt x="54" y="58"/>
                  </a:cubicBezTo>
                  <a:cubicBezTo>
                    <a:pt x="51" y="0"/>
                    <a:pt x="51" y="0"/>
                    <a:pt x="51" y="0"/>
                  </a:cubicBezTo>
                  <a:cubicBezTo>
                    <a:pt x="51" y="0"/>
                    <a:pt x="51" y="0"/>
                    <a:pt x="51" y="0"/>
                  </a:cubicBezTo>
                  <a:cubicBezTo>
                    <a:pt x="49" y="3"/>
                    <a:pt x="49" y="3"/>
                    <a:pt x="49" y="3"/>
                  </a:cubicBezTo>
                  <a:cubicBezTo>
                    <a:pt x="46" y="3"/>
                    <a:pt x="46" y="3"/>
                    <a:pt x="46" y="3"/>
                  </a:cubicBezTo>
                  <a:cubicBezTo>
                    <a:pt x="44" y="0"/>
                    <a:pt x="44" y="0"/>
                    <a:pt x="44" y="0"/>
                  </a:cubicBezTo>
                  <a:cubicBezTo>
                    <a:pt x="41" y="4"/>
                    <a:pt x="41" y="4"/>
                    <a:pt x="41" y="4"/>
                  </a:cubicBezTo>
                  <a:cubicBezTo>
                    <a:pt x="39" y="4"/>
                    <a:pt x="39" y="4"/>
                    <a:pt x="39" y="4"/>
                  </a:cubicBezTo>
                  <a:cubicBezTo>
                    <a:pt x="40" y="5"/>
                    <a:pt x="40" y="5"/>
                    <a:pt x="40" y="5"/>
                  </a:cubicBezTo>
                  <a:cubicBezTo>
                    <a:pt x="40" y="5"/>
                    <a:pt x="39" y="9"/>
                    <a:pt x="39" y="9"/>
                  </a:cubicBezTo>
                  <a:cubicBezTo>
                    <a:pt x="39" y="10"/>
                    <a:pt x="37" y="12"/>
                    <a:pt x="37" y="12"/>
                  </a:cubicBezTo>
                  <a:cubicBezTo>
                    <a:pt x="37" y="14"/>
                    <a:pt x="37" y="14"/>
                    <a:pt x="37" y="14"/>
                  </a:cubicBezTo>
                  <a:cubicBezTo>
                    <a:pt x="37" y="14"/>
                    <a:pt x="36" y="17"/>
                    <a:pt x="36" y="17"/>
                  </a:cubicBezTo>
                  <a:cubicBezTo>
                    <a:pt x="36" y="17"/>
                    <a:pt x="37" y="18"/>
                    <a:pt x="37" y="19"/>
                  </a:cubicBezTo>
                  <a:close/>
                </a:path>
              </a:pathLst>
            </a:custGeom>
            <a:solidFill>
              <a:schemeClr val="bg1">
                <a:lumMod val="85000"/>
              </a:schemeClr>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7" name="Freeform 30">
              <a:extLst>
                <a:ext uri="{FF2B5EF4-FFF2-40B4-BE49-F238E27FC236}">
                  <a16:creationId xmlns:a16="http://schemas.microsoft.com/office/drawing/2014/main" id="{906C65BB-4206-070B-652C-0BBE33DDA141}"/>
                </a:ext>
              </a:extLst>
            </p:cNvPr>
            <p:cNvSpPr>
              <a:spLocks/>
            </p:cNvSpPr>
            <p:nvPr/>
          </p:nvSpPr>
          <p:spPr bwMode="auto">
            <a:xfrm>
              <a:off x="3165779" y="2329534"/>
              <a:ext cx="816189" cy="1224284"/>
            </a:xfrm>
            <a:custGeom>
              <a:avLst/>
              <a:gdLst>
                <a:gd name="T0" fmla="*/ 0 w 206"/>
                <a:gd name="T1" fmla="*/ 0 h 309"/>
                <a:gd name="T2" fmla="*/ 0 w 206"/>
                <a:gd name="T3" fmla="*/ 137 h 309"/>
                <a:gd name="T4" fmla="*/ 40 w 206"/>
                <a:gd name="T5" fmla="*/ 171 h 309"/>
                <a:gd name="T6" fmla="*/ 186 w 206"/>
                <a:gd name="T7" fmla="*/ 309 h 309"/>
                <a:gd name="T8" fmla="*/ 186 w 206"/>
                <a:gd name="T9" fmla="*/ 307 h 309"/>
                <a:gd name="T10" fmla="*/ 186 w 206"/>
                <a:gd name="T11" fmla="*/ 305 h 309"/>
                <a:gd name="T12" fmla="*/ 185 w 206"/>
                <a:gd name="T13" fmla="*/ 305 h 309"/>
                <a:gd name="T14" fmla="*/ 187 w 206"/>
                <a:gd name="T15" fmla="*/ 304 h 309"/>
                <a:gd name="T16" fmla="*/ 188 w 206"/>
                <a:gd name="T17" fmla="*/ 302 h 309"/>
                <a:gd name="T18" fmla="*/ 187 w 206"/>
                <a:gd name="T19" fmla="*/ 298 h 309"/>
                <a:gd name="T20" fmla="*/ 187 w 206"/>
                <a:gd name="T21" fmla="*/ 295 h 309"/>
                <a:gd name="T22" fmla="*/ 186 w 206"/>
                <a:gd name="T23" fmla="*/ 292 h 309"/>
                <a:gd name="T24" fmla="*/ 184 w 206"/>
                <a:gd name="T25" fmla="*/ 289 h 309"/>
                <a:gd name="T26" fmla="*/ 184 w 206"/>
                <a:gd name="T27" fmla="*/ 286 h 309"/>
                <a:gd name="T28" fmla="*/ 185 w 206"/>
                <a:gd name="T29" fmla="*/ 283 h 309"/>
                <a:gd name="T30" fmla="*/ 183 w 206"/>
                <a:gd name="T31" fmla="*/ 279 h 309"/>
                <a:gd name="T32" fmla="*/ 183 w 206"/>
                <a:gd name="T33" fmla="*/ 277 h 309"/>
                <a:gd name="T34" fmla="*/ 183 w 206"/>
                <a:gd name="T35" fmla="*/ 274 h 309"/>
                <a:gd name="T36" fmla="*/ 185 w 206"/>
                <a:gd name="T37" fmla="*/ 272 h 309"/>
                <a:gd name="T38" fmla="*/ 183 w 206"/>
                <a:gd name="T39" fmla="*/ 271 h 309"/>
                <a:gd name="T40" fmla="*/ 183 w 206"/>
                <a:gd name="T41" fmla="*/ 269 h 309"/>
                <a:gd name="T42" fmla="*/ 183 w 206"/>
                <a:gd name="T43" fmla="*/ 265 h 309"/>
                <a:gd name="T44" fmla="*/ 182 w 206"/>
                <a:gd name="T45" fmla="*/ 263 h 309"/>
                <a:gd name="T46" fmla="*/ 183 w 206"/>
                <a:gd name="T47" fmla="*/ 262 h 309"/>
                <a:gd name="T48" fmla="*/ 185 w 206"/>
                <a:gd name="T49" fmla="*/ 262 h 309"/>
                <a:gd name="T50" fmla="*/ 188 w 206"/>
                <a:gd name="T51" fmla="*/ 261 h 309"/>
                <a:gd name="T52" fmla="*/ 190 w 206"/>
                <a:gd name="T53" fmla="*/ 261 h 309"/>
                <a:gd name="T54" fmla="*/ 191 w 206"/>
                <a:gd name="T55" fmla="*/ 262 h 309"/>
                <a:gd name="T56" fmla="*/ 193 w 206"/>
                <a:gd name="T57" fmla="*/ 261 h 309"/>
                <a:gd name="T58" fmla="*/ 195 w 206"/>
                <a:gd name="T59" fmla="*/ 263 h 309"/>
                <a:gd name="T60" fmla="*/ 198 w 206"/>
                <a:gd name="T61" fmla="*/ 265 h 309"/>
                <a:gd name="T62" fmla="*/ 201 w 206"/>
                <a:gd name="T63" fmla="*/ 266 h 309"/>
                <a:gd name="T64" fmla="*/ 203 w 206"/>
                <a:gd name="T65" fmla="*/ 265 h 309"/>
                <a:gd name="T66" fmla="*/ 203 w 206"/>
                <a:gd name="T67" fmla="*/ 262 h 309"/>
                <a:gd name="T68" fmla="*/ 204 w 206"/>
                <a:gd name="T69" fmla="*/ 260 h 309"/>
                <a:gd name="T70" fmla="*/ 206 w 206"/>
                <a:gd name="T71" fmla="*/ 259 h 309"/>
                <a:gd name="T72" fmla="*/ 206 w 206"/>
                <a:gd name="T73" fmla="*/ 224 h 309"/>
                <a:gd name="T74" fmla="*/ 206 w 206"/>
                <a:gd name="T75" fmla="*/ 0 h 309"/>
                <a:gd name="T76" fmla="*/ 0 w 206"/>
                <a:gd name="T77"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6" h="309">
                  <a:moveTo>
                    <a:pt x="0" y="0"/>
                  </a:moveTo>
                  <a:cubicBezTo>
                    <a:pt x="0" y="137"/>
                    <a:pt x="0" y="137"/>
                    <a:pt x="0" y="137"/>
                  </a:cubicBezTo>
                  <a:cubicBezTo>
                    <a:pt x="40" y="171"/>
                    <a:pt x="40" y="171"/>
                    <a:pt x="40" y="171"/>
                  </a:cubicBezTo>
                  <a:cubicBezTo>
                    <a:pt x="186" y="309"/>
                    <a:pt x="186" y="309"/>
                    <a:pt x="186" y="309"/>
                  </a:cubicBezTo>
                  <a:cubicBezTo>
                    <a:pt x="186" y="309"/>
                    <a:pt x="186" y="307"/>
                    <a:pt x="186" y="307"/>
                  </a:cubicBezTo>
                  <a:cubicBezTo>
                    <a:pt x="186" y="307"/>
                    <a:pt x="187" y="306"/>
                    <a:pt x="186" y="305"/>
                  </a:cubicBezTo>
                  <a:cubicBezTo>
                    <a:pt x="186" y="305"/>
                    <a:pt x="185" y="305"/>
                    <a:pt x="185" y="305"/>
                  </a:cubicBezTo>
                  <a:cubicBezTo>
                    <a:pt x="186" y="305"/>
                    <a:pt x="187" y="304"/>
                    <a:pt x="187" y="304"/>
                  </a:cubicBezTo>
                  <a:cubicBezTo>
                    <a:pt x="187" y="304"/>
                    <a:pt x="189" y="302"/>
                    <a:pt x="188" y="302"/>
                  </a:cubicBezTo>
                  <a:cubicBezTo>
                    <a:pt x="188" y="301"/>
                    <a:pt x="187" y="299"/>
                    <a:pt x="187" y="298"/>
                  </a:cubicBezTo>
                  <a:cubicBezTo>
                    <a:pt x="188" y="298"/>
                    <a:pt x="187" y="296"/>
                    <a:pt x="187" y="295"/>
                  </a:cubicBezTo>
                  <a:cubicBezTo>
                    <a:pt x="187" y="295"/>
                    <a:pt x="186" y="293"/>
                    <a:pt x="186" y="292"/>
                  </a:cubicBezTo>
                  <a:cubicBezTo>
                    <a:pt x="185" y="291"/>
                    <a:pt x="184" y="290"/>
                    <a:pt x="184" y="289"/>
                  </a:cubicBezTo>
                  <a:cubicBezTo>
                    <a:pt x="184" y="288"/>
                    <a:pt x="184" y="287"/>
                    <a:pt x="184" y="286"/>
                  </a:cubicBezTo>
                  <a:cubicBezTo>
                    <a:pt x="185" y="285"/>
                    <a:pt x="185" y="284"/>
                    <a:pt x="185" y="283"/>
                  </a:cubicBezTo>
                  <a:cubicBezTo>
                    <a:pt x="184" y="283"/>
                    <a:pt x="183" y="280"/>
                    <a:pt x="183" y="279"/>
                  </a:cubicBezTo>
                  <a:cubicBezTo>
                    <a:pt x="183" y="278"/>
                    <a:pt x="183" y="278"/>
                    <a:pt x="183" y="277"/>
                  </a:cubicBezTo>
                  <a:cubicBezTo>
                    <a:pt x="183" y="276"/>
                    <a:pt x="182" y="275"/>
                    <a:pt x="183" y="274"/>
                  </a:cubicBezTo>
                  <a:cubicBezTo>
                    <a:pt x="183" y="274"/>
                    <a:pt x="185" y="272"/>
                    <a:pt x="185" y="272"/>
                  </a:cubicBezTo>
                  <a:cubicBezTo>
                    <a:pt x="185" y="272"/>
                    <a:pt x="183" y="271"/>
                    <a:pt x="183" y="271"/>
                  </a:cubicBezTo>
                  <a:cubicBezTo>
                    <a:pt x="183" y="270"/>
                    <a:pt x="183" y="270"/>
                    <a:pt x="183" y="269"/>
                  </a:cubicBezTo>
                  <a:cubicBezTo>
                    <a:pt x="183" y="268"/>
                    <a:pt x="183" y="266"/>
                    <a:pt x="183" y="265"/>
                  </a:cubicBezTo>
                  <a:cubicBezTo>
                    <a:pt x="182" y="264"/>
                    <a:pt x="182" y="263"/>
                    <a:pt x="182" y="263"/>
                  </a:cubicBezTo>
                  <a:cubicBezTo>
                    <a:pt x="182" y="263"/>
                    <a:pt x="182" y="263"/>
                    <a:pt x="183" y="262"/>
                  </a:cubicBezTo>
                  <a:cubicBezTo>
                    <a:pt x="184" y="262"/>
                    <a:pt x="185" y="262"/>
                    <a:pt x="185" y="262"/>
                  </a:cubicBezTo>
                  <a:cubicBezTo>
                    <a:pt x="186" y="261"/>
                    <a:pt x="187" y="261"/>
                    <a:pt x="188" y="261"/>
                  </a:cubicBezTo>
                  <a:cubicBezTo>
                    <a:pt x="188" y="261"/>
                    <a:pt x="189" y="260"/>
                    <a:pt x="190" y="261"/>
                  </a:cubicBezTo>
                  <a:cubicBezTo>
                    <a:pt x="190" y="261"/>
                    <a:pt x="190" y="262"/>
                    <a:pt x="191" y="262"/>
                  </a:cubicBezTo>
                  <a:cubicBezTo>
                    <a:pt x="192" y="262"/>
                    <a:pt x="193" y="261"/>
                    <a:pt x="193" y="261"/>
                  </a:cubicBezTo>
                  <a:cubicBezTo>
                    <a:pt x="193" y="261"/>
                    <a:pt x="195" y="262"/>
                    <a:pt x="195" y="263"/>
                  </a:cubicBezTo>
                  <a:cubicBezTo>
                    <a:pt x="196" y="263"/>
                    <a:pt x="197" y="265"/>
                    <a:pt x="198" y="265"/>
                  </a:cubicBezTo>
                  <a:cubicBezTo>
                    <a:pt x="199" y="266"/>
                    <a:pt x="200" y="267"/>
                    <a:pt x="201" y="266"/>
                  </a:cubicBezTo>
                  <a:cubicBezTo>
                    <a:pt x="202" y="266"/>
                    <a:pt x="202" y="266"/>
                    <a:pt x="203" y="265"/>
                  </a:cubicBezTo>
                  <a:cubicBezTo>
                    <a:pt x="203" y="264"/>
                    <a:pt x="203" y="263"/>
                    <a:pt x="203" y="262"/>
                  </a:cubicBezTo>
                  <a:cubicBezTo>
                    <a:pt x="204" y="262"/>
                    <a:pt x="204" y="261"/>
                    <a:pt x="204" y="260"/>
                  </a:cubicBezTo>
                  <a:cubicBezTo>
                    <a:pt x="205" y="259"/>
                    <a:pt x="206" y="259"/>
                    <a:pt x="206" y="259"/>
                  </a:cubicBezTo>
                  <a:cubicBezTo>
                    <a:pt x="206" y="224"/>
                    <a:pt x="206" y="224"/>
                    <a:pt x="206" y="224"/>
                  </a:cubicBezTo>
                  <a:cubicBezTo>
                    <a:pt x="206" y="0"/>
                    <a:pt x="206" y="0"/>
                    <a:pt x="206" y="0"/>
                  </a:cubicBezTo>
                  <a:lnTo>
                    <a:pt x="0" y="0"/>
                  </a:ln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8" name="Freeform 31">
              <a:extLst>
                <a:ext uri="{FF2B5EF4-FFF2-40B4-BE49-F238E27FC236}">
                  <a16:creationId xmlns:a16="http://schemas.microsoft.com/office/drawing/2014/main" id="{3E065E81-AD7E-DB70-945C-761F1C45AA5E}"/>
                </a:ext>
              </a:extLst>
            </p:cNvPr>
            <p:cNvSpPr>
              <a:spLocks/>
            </p:cNvSpPr>
            <p:nvPr/>
          </p:nvSpPr>
          <p:spPr bwMode="auto">
            <a:xfrm>
              <a:off x="5348340" y="2142835"/>
              <a:ext cx="1191239" cy="546879"/>
            </a:xfrm>
            <a:custGeom>
              <a:avLst/>
              <a:gdLst>
                <a:gd name="T0" fmla="*/ 299 w 301"/>
                <a:gd name="T1" fmla="*/ 137 h 138"/>
                <a:gd name="T2" fmla="*/ 299 w 301"/>
                <a:gd name="T3" fmla="*/ 134 h 138"/>
                <a:gd name="T4" fmla="*/ 296 w 301"/>
                <a:gd name="T5" fmla="*/ 130 h 138"/>
                <a:gd name="T6" fmla="*/ 293 w 301"/>
                <a:gd name="T7" fmla="*/ 126 h 138"/>
                <a:gd name="T8" fmla="*/ 291 w 301"/>
                <a:gd name="T9" fmla="*/ 123 h 138"/>
                <a:gd name="T10" fmla="*/ 288 w 301"/>
                <a:gd name="T11" fmla="*/ 116 h 138"/>
                <a:gd name="T12" fmla="*/ 289 w 301"/>
                <a:gd name="T13" fmla="*/ 113 h 138"/>
                <a:gd name="T14" fmla="*/ 286 w 301"/>
                <a:gd name="T15" fmla="*/ 114 h 138"/>
                <a:gd name="T16" fmla="*/ 285 w 301"/>
                <a:gd name="T17" fmla="*/ 109 h 138"/>
                <a:gd name="T18" fmla="*/ 282 w 301"/>
                <a:gd name="T19" fmla="*/ 105 h 138"/>
                <a:gd name="T20" fmla="*/ 284 w 301"/>
                <a:gd name="T21" fmla="*/ 98 h 138"/>
                <a:gd name="T22" fmla="*/ 282 w 301"/>
                <a:gd name="T23" fmla="*/ 89 h 138"/>
                <a:gd name="T24" fmla="*/ 280 w 301"/>
                <a:gd name="T25" fmla="*/ 83 h 138"/>
                <a:gd name="T26" fmla="*/ 282 w 301"/>
                <a:gd name="T27" fmla="*/ 79 h 138"/>
                <a:gd name="T28" fmla="*/ 280 w 301"/>
                <a:gd name="T29" fmla="*/ 72 h 138"/>
                <a:gd name="T30" fmla="*/ 278 w 301"/>
                <a:gd name="T31" fmla="*/ 68 h 138"/>
                <a:gd name="T32" fmla="*/ 275 w 301"/>
                <a:gd name="T33" fmla="*/ 68 h 138"/>
                <a:gd name="T34" fmla="*/ 274 w 301"/>
                <a:gd name="T35" fmla="*/ 63 h 138"/>
                <a:gd name="T36" fmla="*/ 275 w 301"/>
                <a:gd name="T37" fmla="*/ 61 h 138"/>
                <a:gd name="T38" fmla="*/ 276 w 301"/>
                <a:gd name="T39" fmla="*/ 56 h 138"/>
                <a:gd name="T40" fmla="*/ 273 w 301"/>
                <a:gd name="T41" fmla="*/ 49 h 138"/>
                <a:gd name="T42" fmla="*/ 271 w 301"/>
                <a:gd name="T43" fmla="*/ 47 h 138"/>
                <a:gd name="T44" fmla="*/ 270 w 301"/>
                <a:gd name="T45" fmla="*/ 45 h 138"/>
                <a:gd name="T46" fmla="*/ 268 w 301"/>
                <a:gd name="T47" fmla="*/ 41 h 138"/>
                <a:gd name="T48" fmla="*/ 266 w 301"/>
                <a:gd name="T49" fmla="*/ 37 h 138"/>
                <a:gd name="T50" fmla="*/ 265 w 301"/>
                <a:gd name="T51" fmla="*/ 33 h 138"/>
                <a:gd name="T52" fmla="*/ 264 w 301"/>
                <a:gd name="T53" fmla="*/ 28 h 138"/>
                <a:gd name="T54" fmla="*/ 261 w 301"/>
                <a:gd name="T55" fmla="*/ 24 h 138"/>
                <a:gd name="T56" fmla="*/ 257 w 301"/>
                <a:gd name="T57" fmla="*/ 23 h 138"/>
                <a:gd name="T58" fmla="*/ 254 w 301"/>
                <a:gd name="T59" fmla="*/ 16 h 138"/>
                <a:gd name="T60" fmla="*/ 249 w 301"/>
                <a:gd name="T61" fmla="*/ 13 h 138"/>
                <a:gd name="T62" fmla="*/ 244 w 301"/>
                <a:gd name="T63" fmla="*/ 12 h 138"/>
                <a:gd name="T64" fmla="*/ 236 w 301"/>
                <a:gd name="T65" fmla="*/ 9 h 138"/>
                <a:gd name="T66" fmla="*/ 232 w 301"/>
                <a:gd name="T67" fmla="*/ 7 h 138"/>
                <a:gd name="T68" fmla="*/ 227 w 301"/>
                <a:gd name="T69" fmla="*/ 7 h 138"/>
                <a:gd name="T70" fmla="*/ 219 w 301"/>
                <a:gd name="T71" fmla="*/ 8 h 138"/>
                <a:gd name="T72" fmla="*/ 212 w 301"/>
                <a:gd name="T73" fmla="*/ 10 h 138"/>
                <a:gd name="T74" fmla="*/ 203 w 301"/>
                <a:gd name="T75" fmla="*/ 7 h 138"/>
                <a:gd name="T76" fmla="*/ 192 w 301"/>
                <a:gd name="T77" fmla="*/ 0 h 138"/>
                <a:gd name="T78" fmla="*/ 0 w 301"/>
                <a:gd name="T79" fmla="*/ 93 h 138"/>
                <a:gd name="T80" fmla="*/ 69 w 301"/>
                <a:gd name="T8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1" h="138">
                  <a:moveTo>
                    <a:pt x="301" y="138"/>
                  </a:moveTo>
                  <a:cubicBezTo>
                    <a:pt x="301" y="138"/>
                    <a:pt x="299" y="137"/>
                    <a:pt x="299" y="137"/>
                  </a:cubicBezTo>
                  <a:cubicBezTo>
                    <a:pt x="299" y="137"/>
                    <a:pt x="298" y="136"/>
                    <a:pt x="298" y="136"/>
                  </a:cubicBezTo>
                  <a:cubicBezTo>
                    <a:pt x="298" y="135"/>
                    <a:pt x="299" y="134"/>
                    <a:pt x="299" y="134"/>
                  </a:cubicBezTo>
                  <a:cubicBezTo>
                    <a:pt x="299" y="133"/>
                    <a:pt x="298" y="132"/>
                    <a:pt x="298" y="132"/>
                  </a:cubicBezTo>
                  <a:cubicBezTo>
                    <a:pt x="297" y="132"/>
                    <a:pt x="296" y="131"/>
                    <a:pt x="296" y="130"/>
                  </a:cubicBezTo>
                  <a:cubicBezTo>
                    <a:pt x="296" y="130"/>
                    <a:pt x="296" y="128"/>
                    <a:pt x="296" y="128"/>
                  </a:cubicBezTo>
                  <a:cubicBezTo>
                    <a:pt x="296" y="127"/>
                    <a:pt x="294" y="126"/>
                    <a:pt x="293" y="126"/>
                  </a:cubicBezTo>
                  <a:cubicBezTo>
                    <a:pt x="292" y="125"/>
                    <a:pt x="290" y="125"/>
                    <a:pt x="290" y="125"/>
                  </a:cubicBezTo>
                  <a:cubicBezTo>
                    <a:pt x="290" y="125"/>
                    <a:pt x="291" y="123"/>
                    <a:pt x="291" y="123"/>
                  </a:cubicBezTo>
                  <a:cubicBezTo>
                    <a:pt x="291" y="122"/>
                    <a:pt x="290" y="120"/>
                    <a:pt x="290" y="120"/>
                  </a:cubicBezTo>
                  <a:cubicBezTo>
                    <a:pt x="289" y="119"/>
                    <a:pt x="288" y="117"/>
                    <a:pt x="288" y="116"/>
                  </a:cubicBezTo>
                  <a:cubicBezTo>
                    <a:pt x="288" y="116"/>
                    <a:pt x="290" y="115"/>
                    <a:pt x="290" y="114"/>
                  </a:cubicBezTo>
                  <a:cubicBezTo>
                    <a:pt x="290" y="114"/>
                    <a:pt x="289" y="113"/>
                    <a:pt x="289" y="113"/>
                  </a:cubicBezTo>
                  <a:cubicBezTo>
                    <a:pt x="289" y="113"/>
                    <a:pt x="289" y="114"/>
                    <a:pt x="288" y="114"/>
                  </a:cubicBezTo>
                  <a:cubicBezTo>
                    <a:pt x="288" y="115"/>
                    <a:pt x="286" y="115"/>
                    <a:pt x="286" y="114"/>
                  </a:cubicBezTo>
                  <a:cubicBezTo>
                    <a:pt x="286" y="114"/>
                    <a:pt x="286" y="112"/>
                    <a:pt x="286" y="112"/>
                  </a:cubicBezTo>
                  <a:cubicBezTo>
                    <a:pt x="286" y="112"/>
                    <a:pt x="286" y="109"/>
                    <a:pt x="285" y="109"/>
                  </a:cubicBezTo>
                  <a:cubicBezTo>
                    <a:pt x="285" y="108"/>
                    <a:pt x="283" y="108"/>
                    <a:pt x="283" y="107"/>
                  </a:cubicBezTo>
                  <a:cubicBezTo>
                    <a:pt x="282" y="107"/>
                    <a:pt x="281" y="106"/>
                    <a:pt x="282" y="105"/>
                  </a:cubicBezTo>
                  <a:cubicBezTo>
                    <a:pt x="283" y="105"/>
                    <a:pt x="283" y="105"/>
                    <a:pt x="284" y="103"/>
                  </a:cubicBezTo>
                  <a:cubicBezTo>
                    <a:pt x="284" y="102"/>
                    <a:pt x="284" y="99"/>
                    <a:pt x="284" y="98"/>
                  </a:cubicBezTo>
                  <a:cubicBezTo>
                    <a:pt x="284" y="97"/>
                    <a:pt x="284" y="94"/>
                    <a:pt x="283" y="93"/>
                  </a:cubicBezTo>
                  <a:cubicBezTo>
                    <a:pt x="283" y="92"/>
                    <a:pt x="282" y="90"/>
                    <a:pt x="282" y="89"/>
                  </a:cubicBezTo>
                  <a:cubicBezTo>
                    <a:pt x="282" y="88"/>
                    <a:pt x="282" y="86"/>
                    <a:pt x="282" y="85"/>
                  </a:cubicBezTo>
                  <a:cubicBezTo>
                    <a:pt x="281" y="85"/>
                    <a:pt x="280" y="84"/>
                    <a:pt x="280" y="83"/>
                  </a:cubicBezTo>
                  <a:cubicBezTo>
                    <a:pt x="280" y="82"/>
                    <a:pt x="280" y="81"/>
                    <a:pt x="281" y="81"/>
                  </a:cubicBezTo>
                  <a:cubicBezTo>
                    <a:pt x="281" y="80"/>
                    <a:pt x="282" y="80"/>
                    <a:pt x="282" y="79"/>
                  </a:cubicBezTo>
                  <a:cubicBezTo>
                    <a:pt x="282" y="78"/>
                    <a:pt x="281" y="75"/>
                    <a:pt x="281" y="75"/>
                  </a:cubicBezTo>
                  <a:cubicBezTo>
                    <a:pt x="281" y="74"/>
                    <a:pt x="281" y="73"/>
                    <a:pt x="280" y="72"/>
                  </a:cubicBezTo>
                  <a:cubicBezTo>
                    <a:pt x="280" y="72"/>
                    <a:pt x="277" y="71"/>
                    <a:pt x="277" y="71"/>
                  </a:cubicBezTo>
                  <a:cubicBezTo>
                    <a:pt x="277" y="71"/>
                    <a:pt x="278" y="68"/>
                    <a:pt x="278" y="68"/>
                  </a:cubicBezTo>
                  <a:cubicBezTo>
                    <a:pt x="277" y="68"/>
                    <a:pt x="276" y="70"/>
                    <a:pt x="276" y="70"/>
                  </a:cubicBezTo>
                  <a:cubicBezTo>
                    <a:pt x="276" y="70"/>
                    <a:pt x="275" y="68"/>
                    <a:pt x="275" y="68"/>
                  </a:cubicBezTo>
                  <a:cubicBezTo>
                    <a:pt x="275" y="67"/>
                    <a:pt x="274" y="65"/>
                    <a:pt x="274" y="65"/>
                  </a:cubicBezTo>
                  <a:cubicBezTo>
                    <a:pt x="274" y="65"/>
                    <a:pt x="274" y="63"/>
                    <a:pt x="274" y="63"/>
                  </a:cubicBezTo>
                  <a:cubicBezTo>
                    <a:pt x="274" y="63"/>
                    <a:pt x="274" y="61"/>
                    <a:pt x="274" y="61"/>
                  </a:cubicBezTo>
                  <a:cubicBezTo>
                    <a:pt x="274" y="61"/>
                    <a:pt x="275" y="61"/>
                    <a:pt x="275" y="61"/>
                  </a:cubicBezTo>
                  <a:cubicBezTo>
                    <a:pt x="275" y="60"/>
                    <a:pt x="275" y="58"/>
                    <a:pt x="275" y="58"/>
                  </a:cubicBezTo>
                  <a:cubicBezTo>
                    <a:pt x="275" y="58"/>
                    <a:pt x="276" y="56"/>
                    <a:pt x="276" y="56"/>
                  </a:cubicBezTo>
                  <a:cubicBezTo>
                    <a:pt x="275" y="55"/>
                    <a:pt x="272" y="52"/>
                    <a:pt x="272" y="52"/>
                  </a:cubicBezTo>
                  <a:cubicBezTo>
                    <a:pt x="272" y="52"/>
                    <a:pt x="274" y="49"/>
                    <a:pt x="273" y="49"/>
                  </a:cubicBezTo>
                  <a:cubicBezTo>
                    <a:pt x="273" y="48"/>
                    <a:pt x="272" y="48"/>
                    <a:pt x="272" y="48"/>
                  </a:cubicBezTo>
                  <a:cubicBezTo>
                    <a:pt x="272" y="48"/>
                    <a:pt x="272" y="47"/>
                    <a:pt x="271" y="47"/>
                  </a:cubicBezTo>
                  <a:cubicBezTo>
                    <a:pt x="271" y="47"/>
                    <a:pt x="270" y="48"/>
                    <a:pt x="270" y="47"/>
                  </a:cubicBezTo>
                  <a:cubicBezTo>
                    <a:pt x="270" y="47"/>
                    <a:pt x="270" y="45"/>
                    <a:pt x="270" y="45"/>
                  </a:cubicBezTo>
                  <a:cubicBezTo>
                    <a:pt x="270" y="45"/>
                    <a:pt x="268" y="45"/>
                    <a:pt x="268" y="45"/>
                  </a:cubicBezTo>
                  <a:cubicBezTo>
                    <a:pt x="268" y="41"/>
                    <a:pt x="268" y="41"/>
                    <a:pt x="268" y="41"/>
                  </a:cubicBezTo>
                  <a:cubicBezTo>
                    <a:pt x="268" y="41"/>
                    <a:pt x="266" y="39"/>
                    <a:pt x="266" y="39"/>
                  </a:cubicBezTo>
                  <a:cubicBezTo>
                    <a:pt x="266" y="39"/>
                    <a:pt x="266" y="38"/>
                    <a:pt x="266" y="37"/>
                  </a:cubicBezTo>
                  <a:cubicBezTo>
                    <a:pt x="266" y="37"/>
                    <a:pt x="267" y="35"/>
                    <a:pt x="267" y="35"/>
                  </a:cubicBezTo>
                  <a:cubicBezTo>
                    <a:pt x="267" y="35"/>
                    <a:pt x="266" y="34"/>
                    <a:pt x="265" y="33"/>
                  </a:cubicBezTo>
                  <a:cubicBezTo>
                    <a:pt x="265" y="33"/>
                    <a:pt x="264" y="31"/>
                    <a:pt x="264" y="31"/>
                  </a:cubicBezTo>
                  <a:cubicBezTo>
                    <a:pt x="264" y="30"/>
                    <a:pt x="264" y="29"/>
                    <a:pt x="264" y="28"/>
                  </a:cubicBezTo>
                  <a:cubicBezTo>
                    <a:pt x="264" y="28"/>
                    <a:pt x="265" y="25"/>
                    <a:pt x="265" y="25"/>
                  </a:cubicBezTo>
                  <a:cubicBezTo>
                    <a:pt x="261" y="24"/>
                    <a:pt x="261" y="24"/>
                    <a:pt x="261" y="24"/>
                  </a:cubicBezTo>
                  <a:cubicBezTo>
                    <a:pt x="258" y="23"/>
                    <a:pt x="258" y="23"/>
                    <a:pt x="258" y="23"/>
                  </a:cubicBezTo>
                  <a:cubicBezTo>
                    <a:pt x="257" y="23"/>
                    <a:pt x="257" y="23"/>
                    <a:pt x="257" y="23"/>
                  </a:cubicBezTo>
                  <a:cubicBezTo>
                    <a:pt x="257" y="23"/>
                    <a:pt x="253" y="19"/>
                    <a:pt x="253" y="19"/>
                  </a:cubicBezTo>
                  <a:cubicBezTo>
                    <a:pt x="253" y="19"/>
                    <a:pt x="254" y="16"/>
                    <a:pt x="254" y="16"/>
                  </a:cubicBezTo>
                  <a:cubicBezTo>
                    <a:pt x="254" y="16"/>
                    <a:pt x="251" y="16"/>
                    <a:pt x="251" y="16"/>
                  </a:cubicBezTo>
                  <a:cubicBezTo>
                    <a:pt x="251" y="16"/>
                    <a:pt x="249" y="13"/>
                    <a:pt x="249" y="13"/>
                  </a:cubicBezTo>
                  <a:cubicBezTo>
                    <a:pt x="244" y="13"/>
                    <a:pt x="244" y="13"/>
                    <a:pt x="244" y="13"/>
                  </a:cubicBezTo>
                  <a:cubicBezTo>
                    <a:pt x="244" y="12"/>
                    <a:pt x="244" y="12"/>
                    <a:pt x="244" y="12"/>
                  </a:cubicBezTo>
                  <a:cubicBezTo>
                    <a:pt x="239" y="11"/>
                    <a:pt x="239" y="11"/>
                    <a:pt x="239" y="11"/>
                  </a:cubicBezTo>
                  <a:cubicBezTo>
                    <a:pt x="239" y="11"/>
                    <a:pt x="236" y="10"/>
                    <a:pt x="236" y="9"/>
                  </a:cubicBezTo>
                  <a:cubicBezTo>
                    <a:pt x="236" y="9"/>
                    <a:pt x="235" y="7"/>
                    <a:pt x="235" y="7"/>
                  </a:cubicBezTo>
                  <a:cubicBezTo>
                    <a:pt x="232" y="7"/>
                    <a:pt x="232" y="7"/>
                    <a:pt x="232" y="7"/>
                  </a:cubicBezTo>
                  <a:cubicBezTo>
                    <a:pt x="229" y="6"/>
                    <a:pt x="229" y="6"/>
                    <a:pt x="229" y="6"/>
                  </a:cubicBezTo>
                  <a:cubicBezTo>
                    <a:pt x="229" y="6"/>
                    <a:pt x="228" y="7"/>
                    <a:pt x="227" y="7"/>
                  </a:cubicBezTo>
                  <a:cubicBezTo>
                    <a:pt x="227" y="7"/>
                    <a:pt x="222" y="8"/>
                    <a:pt x="222" y="8"/>
                  </a:cubicBezTo>
                  <a:cubicBezTo>
                    <a:pt x="221" y="8"/>
                    <a:pt x="220" y="8"/>
                    <a:pt x="219" y="8"/>
                  </a:cubicBezTo>
                  <a:cubicBezTo>
                    <a:pt x="219" y="8"/>
                    <a:pt x="214" y="6"/>
                    <a:pt x="214" y="6"/>
                  </a:cubicBezTo>
                  <a:cubicBezTo>
                    <a:pt x="212" y="10"/>
                    <a:pt x="212" y="10"/>
                    <a:pt x="212" y="10"/>
                  </a:cubicBezTo>
                  <a:cubicBezTo>
                    <a:pt x="212" y="10"/>
                    <a:pt x="207" y="12"/>
                    <a:pt x="207" y="11"/>
                  </a:cubicBezTo>
                  <a:cubicBezTo>
                    <a:pt x="207" y="11"/>
                    <a:pt x="203" y="7"/>
                    <a:pt x="203" y="7"/>
                  </a:cubicBezTo>
                  <a:cubicBezTo>
                    <a:pt x="203" y="7"/>
                    <a:pt x="193" y="4"/>
                    <a:pt x="193" y="4"/>
                  </a:cubicBezTo>
                  <a:cubicBezTo>
                    <a:pt x="192" y="0"/>
                    <a:pt x="192" y="0"/>
                    <a:pt x="192" y="0"/>
                  </a:cubicBezTo>
                  <a:cubicBezTo>
                    <a:pt x="0" y="0"/>
                    <a:pt x="0" y="0"/>
                    <a:pt x="0" y="0"/>
                  </a:cubicBezTo>
                  <a:cubicBezTo>
                    <a:pt x="0" y="93"/>
                    <a:pt x="0" y="93"/>
                    <a:pt x="0" y="93"/>
                  </a:cubicBezTo>
                  <a:cubicBezTo>
                    <a:pt x="69" y="93"/>
                    <a:pt x="69" y="93"/>
                    <a:pt x="69" y="93"/>
                  </a:cubicBezTo>
                  <a:cubicBezTo>
                    <a:pt x="69" y="138"/>
                    <a:pt x="69" y="138"/>
                    <a:pt x="69" y="138"/>
                  </a:cubicBezTo>
                  <a:lnTo>
                    <a:pt x="301" y="138"/>
                  </a:ln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9" name="Freeform 32">
              <a:extLst>
                <a:ext uri="{FF2B5EF4-FFF2-40B4-BE49-F238E27FC236}">
                  <a16:creationId xmlns:a16="http://schemas.microsoft.com/office/drawing/2014/main" id="{CDC96048-249A-C8FD-FA67-1019CB626269}"/>
                </a:ext>
              </a:extLst>
            </p:cNvPr>
            <p:cNvSpPr>
              <a:spLocks/>
            </p:cNvSpPr>
            <p:nvPr/>
          </p:nvSpPr>
          <p:spPr bwMode="auto">
            <a:xfrm>
              <a:off x="3707702" y="956552"/>
              <a:ext cx="1640639" cy="928539"/>
            </a:xfrm>
            <a:custGeom>
              <a:avLst/>
              <a:gdLst>
                <a:gd name="T0" fmla="*/ 10 w 414"/>
                <a:gd name="T1" fmla="*/ 67 h 234"/>
                <a:gd name="T2" fmla="*/ 10 w 414"/>
                <a:gd name="T3" fmla="*/ 75 h 234"/>
                <a:gd name="T4" fmla="*/ 14 w 414"/>
                <a:gd name="T5" fmla="*/ 79 h 234"/>
                <a:gd name="T6" fmla="*/ 10 w 414"/>
                <a:gd name="T7" fmla="*/ 82 h 234"/>
                <a:gd name="T8" fmla="*/ 15 w 414"/>
                <a:gd name="T9" fmla="*/ 85 h 234"/>
                <a:gd name="T10" fmla="*/ 23 w 414"/>
                <a:gd name="T11" fmla="*/ 90 h 234"/>
                <a:gd name="T12" fmla="*/ 30 w 414"/>
                <a:gd name="T13" fmla="*/ 98 h 234"/>
                <a:gd name="T14" fmla="*/ 36 w 414"/>
                <a:gd name="T15" fmla="*/ 106 h 234"/>
                <a:gd name="T16" fmla="*/ 40 w 414"/>
                <a:gd name="T17" fmla="*/ 114 h 234"/>
                <a:gd name="T18" fmla="*/ 44 w 414"/>
                <a:gd name="T19" fmla="*/ 117 h 234"/>
                <a:gd name="T20" fmla="*/ 48 w 414"/>
                <a:gd name="T21" fmla="*/ 118 h 234"/>
                <a:gd name="T22" fmla="*/ 52 w 414"/>
                <a:gd name="T23" fmla="*/ 122 h 234"/>
                <a:gd name="T24" fmla="*/ 58 w 414"/>
                <a:gd name="T25" fmla="*/ 121 h 234"/>
                <a:gd name="T26" fmla="*/ 58 w 414"/>
                <a:gd name="T27" fmla="*/ 128 h 234"/>
                <a:gd name="T28" fmla="*/ 57 w 414"/>
                <a:gd name="T29" fmla="*/ 134 h 234"/>
                <a:gd name="T30" fmla="*/ 54 w 414"/>
                <a:gd name="T31" fmla="*/ 143 h 234"/>
                <a:gd name="T32" fmla="*/ 53 w 414"/>
                <a:gd name="T33" fmla="*/ 147 h 234"/>
                <a:gd name="T34" fmla="*/ 54 w 414"/>
                <a:gd name="T35" fmla="*/ 153 h 234"/>
                <a:gd name="T36" fmla="*/ 57 w 414"/>
                <a:gd name="T37" fmla="*/ 160 h 234"/>
                <a:gd name="T38" fmla="*/ 52 w 414"/>
                <a:gd name="T39" fmla="*/ 163 h 234"/>
                <a:gd name="T40" fmla="*/ 52 w 414"/>
                <a:gd name="T41" fmla="*/ 172 h 234"/>
                <a:gd name="T42" fmla="*/ 55 w 414"/>
                <a:gd name="T43" fmla="*/ 176 h 234"/>
                <a:gd name="T44" fmla="*/ 61 w 414"/>
                <a:gd name="T45" fmla="*/ 179 h 234"/>
                <a:gd name="T46" fmla="*/ 68 w 414"/>
                <a:gd name="T47" fmla="*/ 173 h 234"/>
                <a:gd name="T48" fmla="*/ 73 w 414"/>
                <a:gd name="T49" fmla="*/ 171 h 234"/>
                <a:gd name="T50" fmla="*/ 76 w 414"/>
                <a:gd name="T51" fmla="*/ 176 h 234"/>
                <a:gd name="T52" fmla="*/ 78 w 414"/>
                <a:gd name="T53" fmla="*/ 180 h 234"/>
                <a:gd name="T54" fmla="*/ 80 w 414"/>
                <a:gd name="T55" fmla="*/ 185 h 234"/>
                <a:gd name="T56" fmla="*/ 84 w 414"/>
                <a:gd name="T57" fmla="*/ 194 h 234"/>
                <a:gd name="T58" fmla="*/ 88 w 414"/>
                <a:gd name="T59" fmla="*/ 199 h 234"/>
                <a:gd name="T60" fmla="*/ 90 w 414"/>
                <a:gd name="T61" fmla="*/ 205 h 234"/>
                <a:gd name="T62" fmla="*/ 91 w 414"/>
                <a:gd name="T63" fmla="*/ 210 h 234"/>
                <a:gd name="T64" fmla="*/ 95 w 414"/>
                <a:gd name="T65" fmla="*/ 212 h 234"/>
                <a:gd name="T66" fmla="*/ 102 w 414"/>
                <a:gd name="T67" fmla="*/ 217 h 234"/>
                <a:gd name="T68" fmla="*/ 102 w 414"/>
                <a:gd name="T69" fmla="*/ 223 h 234"/>
                <a:gd name="T70" fmla="*/ 105 w 414"/>
                <a:gd name="T71" fmla="*/ 229 h 234"/>
                <a:gd name="T72" fmla="*/ 111 w 414"/>
                <a:gd name="T73" fmla="*/ 234 h 234"/>
                <a:gd name="T74" fmla="*/ 117 w 414"/>
                <a:gd name="T75" fmla="*/ 228 h 234"/>
                <a:gd name="T76" fmla="*/ 127 w 414"/>
                <a:gd name="T77" fmla="*/ 228 h 234"/>
                <a:gd name="T78" fmla="*/ 137 w 414"/>
                <a:gd name="T79" fmla="*/ 226 h 234"/>
                <a:gd name="T80" fmla="*/ 145 w 414"/>
                <a:gd name="T81" fmla="*/ 227 h 234"/>
                <a:gd name="T82" fmla="*/ 155 w 414"/>
                <a:gd name="T83" fmla="*/ 225 h 234"/>
                <a:gd name="T84" fmla="*/ 156 w 414"/>
                <a:gd name="T85" fmla="*/ 222 h 234"/>
                <a:gd name="T86" fmla="*/ 160 w 414"/>
                <a:gd name="T87" fmla="*/ 217 h 234"/>
                <a:gd name="T88" fmla="*/ 172 w 414"/>
                <a:gd name="T89" fmla="*/ 229 h 234"/>
                <a:gd name="T90" fmla="*/ 414 w 414"/>
                <a:gd name="T9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4" h="234">
                  <a:moveTo>
                    <a:pt x="0" y="0"/>
                  </a:moveTo>
                  <a:cubicBezTo>
                    <a:pt x="0" y="54"/>
                    <a:pt x="0" y="54"/>
                    <a:pt x="0" y="54"/>
                  </a:cubicBezTo>
                  <a:cubicBezTo>
                    <a:pt x="10" y="67"/>
                    <a:pt x="10" y="67"/>
                    <a:pt x="10" y="67"/>
                  </a:cubicBezTo>
                  <a:cubicBezTo>
                    <a:pt x="10" y="67"/>
                    <a:pt x="12" y="70"/>
                    <a:pt x="12" y="71"/>
                  </a:cubicBezTo>
                  <a:cubicBezTo>
                    <a:pt x="12" y="71"/>
                    <a:pt x="12" y="74"/>
                    <a:pt x="12" y="74"/>
                  </a:cubicBezTo>
                  <a:cubicBezTo>
                    <a:pt x="10" y="75"/>
                    <a:pt x="10" y="75"/>
                    <a:pt x="10" y="75"/>
                  </a:cubicBezTo>
                  <a:cubicBezTo>
                    <a:pt x="10" y="76"/>
                    <a:pt x="10" y="76"/>
                    <a:pt x="10" y="76"/>
                  </a:cubicBezTo>
                  <a:cubicBezTo>
                    <a:pt x="10" y="76"/>
                    <a:pt x="12" y="78"/>
                    <a:pt x="13" y="78"/>
                  </a:cubicBezTo>
                  <a:cubicBezTo>
                    <a:pt x="13" y="79"/>
                    <a:pt x="14" y="79"/>
                    <a:pt x="14" y="79"/>
                  </a:cubicBezTo>
                  <a:cubicBezTo>
                    <a:pt x="14" y="80"/>
                    <a:pt x="14" y="80"/>
                    <a:pt x="14" y="80"/>
                  </a:cubicBezTo>
                  <a:cubicBezTo>
                    <a:pt x="14" y="80"/>
                    <a:pt x="13" y="81"/>
                    <a:pt x="12" y="81"/>
                  </a:cubicBezTo>
                  <a:cubicBezTo>
                    <a:pt x="12" y="81"/>
                    <a:pt x="10" y="82"/>
                    <a:pt x="10" y="82"/>
                  </a:cubicBezTo>
                  <a:cubicBezTo>
                    <a:pt x="11" y="83"/>
                    <a:pt x="11" y="83"/>
                    <a:pt x="11" y="83"/>
                  </a:cubicBezTo>
                  <a:cubicBezTo>
                    <a:pt x="11" y="83"/>
                    <a:pt x="13" y="83"/>
                    <a:pt x="13" y="84"/>
                  </a:cubicBezTo>
                  <a:cubicBezTo>
                    <a:pt x="14" y="84"/>
                    <a:pt x="15" y="84"/>
                    <a:pt x="15" y="85"/>
                  </a:cubicBezTo>
                  <a:cubicBezTo>
                    <a:pt x="16" y="86"/>
                    <a:pt x="17" y="88"/>
                    <a:pt x="18" y="89"/>
                  </a:cubicBezTo>
                  <a:cubicBezTo>
                    <a:pt x="19" y="89"/>
                    <a:pt x="19" y="89"/>
                    <a:pt x="20" y="90"/>
                  </a:cubicBezTo>
                  <a:cubicBezTo>
                    <a:pt x="21" y="90"/>
                    <a:pt x="23" y="90"/>
                    <a:pt x="23" y="90"/>
                  </a:cubicBezTo>
                  <a:cubicBezTo>
                    <a:pt x="24" y="91"/>
                    <a:pt x="25" y="91"/>
                    <a:pt x="25" y="91"/>
                  </a:cubicBezTo>
                  <a:cubicBezTo>
                    <a:pt x="25" y="92"/>
                    <a:pt x="25" y="94"/>
                    <a:pt x="26" y="94"/>
                  </a:cubicBezTo>
                  <a:cubicBezTo>
                    <a:pt x="26" y="95"/>
                    <a:pt x="30" y="98"/>
                    <a:pt x="30" y="98"/>
                  </a:cubicBezTo>
                  <a:cubicBezTo>
                    <a:pt x="31" y="99"/>
                    <a:pt x="32" y="100"/>
                    <a:pt x="32" y="101"/>
                  </a:cubicBezTo>
                  <a:cubicBezTo>
                    <a:pt x="32" y="101"/>
                    <a:pt x="33" y="104"/>
                    <a:pt x="34" y="105"/>
                  </a:cubicBezTo>
                  <a:cubicBezTo>
                    <a:pt x="34" y="105"/>
                    <a:pt x="35" y="105"/>
                    <a:pt x="36" y="106"/>
                  </a:cubicBezTo>
                  <a:cubicBezTo>
                    <a:pt x="37" y="106"/>
                    <a:pt x="38" y="107"/>
                    <a:pt x="38" y="108"/>
                  </a:cubicBezTo>
                  <a:cubicBezTo>
                    <a:pt x="38" y="109"/>
                    <a:pt x="38" y="111"/>
                    <a:pt x="38" y="112"/>
                  </a:cubicBezTo>
                  <a:cubicBezTo>
                    <a:pt x="38" y="112"/>
                    <a:pt x="39" y="114"/>
                    <a:pt x="40" y="114"/>
                  </a:cubicBezTo>
                  <a:cubicBezTo>
                    <a:pt x="40" y="114"/>
                    <a:pt x="41" y="113"/>
                    <a:pt x="41" y="113"/>
                  </a:cubicBezTo>
                  <a:cubicBezTo>
                    <a:pt x="42" y="114"/>
                    <a:pt x="43" y="115"/>
                    <a:pt x="43" y="115"/>
                  </a:cubicBezTo>
                  <a:cubicBezTo>
                    <a:pt x="44" y="116"/>
                    <a:pt x="44" y="116"/>
                    <a:pt x="44" y="117"/>
                  </a:cubicBezTo>
                  <a:cubicBezTo>
                    <a:pt x="44" y="118"/>
                    <a:pt x="44" y="119"/>
                    <a:pt x="44" y="119"/>
                  </a:cubicBezTo>
                  <a:cubicBezTo>
                    <a:pt x="45" y="119"/>
                    <a:pt x="46" y="117"/>
                    <a:pt x="46" y="117"/>
                  </a:cubicBezTo>
                  <a:cubicBezTo>
                    <a:pt x="47" y="117"/>
                    <a:pt x="48" y="117"/>
                    <a:pt x="48" y="118"/>
                  </a:cubicBezTo>
                  <a:cubicBezTo>
                    <a:pt x="48" y="118"/>
                    <a:pt x="48" y="119"/>
                    <a:pt x="49" y="120"/>
                  </a:cubicBezTo>
                  <a:cubicBezTo>
                    <a:pt x="49" y="121"/>
                    <a:pt x="50" y="122"/>
                    <a:pt x="50" y="122"/>
                  </a:cubicBezTo>
                  <a:cubicBezTo>
                    <a:pt x="50" y="122"/>
                    <a:pt x="52" y="122"/>
                    <a:pt x="52" y="122"/>
                  </a:cubicBezTo>
                  <a:cubicBezTo>
                    <a:pt x="52" y="122"/>
                    <a:pt x="53" y="122"/>
                    <a:pt x="54" y="122"/>
                  </a:cubicBezTo>
                  <a:cubicBezTo>
                    <a:pt x="54" y="122"/>
                    <a:pt x="55" y="123"/>
                    <a:pt x="55" y="122"/>
                  </a:cubicBezTo>
                  <a:cubicBezTo>
                    <a:pt x="56" y="122"/>
                    <a:pt x="58" y="121"/>
                    <a:pt x="58" y="121"/>
                  </a:cubicBezTo>
                  <a:cubicBezTo>
                    <a:pt x="58" y="121"/>
                    <a:pt x="59" y="121"/>
                    <a:pt x="59" y="122"/>
                  </a:cubicBezTo>
                  <a:cubicBezTo>
                    <a:pt x="59" y="122"/>
                    <a:pt x="59" y="125"/>
                    <a:pt x="59" y="125"/>
                  </a:cubicBezTo>
                  <a:cubicBezTo>
                    <a:pt x="59" y="125"/>
                    <a:pt x="59" y="128"/>
                    <a:pt x="58" y="128"/>
                  </a:cubicBezTo>
                  <a:cubicBezTo>
                    <a:pt x="58" y="128"/>
                    <a:pt x="57" y="129"/>
                    <a:pt x="57" y="129"/>
                  </a:cubicBezTo>
                  <a:cubicBezTo>
                    <a:pt x="57" y="129"/>
                    <a:pt x="57" y="130"/>
                    <a:pt x="57" y="130"/>
                  </a:cubicBezTo>
                  <a:cubicBezTo>
                    <a:pt x="57" y="131"/>
                    <a:pt x="57" y="133"/>
                    <a:pt x="57" y="134"/>
                  </a:cubicBezTo>
                  <a:cubicBezTo>
                    <a:pt x="57" y="135"/>
                    <a:pt x="56" y="137"/>
                    <a:pt x="56" y="138"/>
                  </a:cubicBezTo>
                  <a:cubicBezTo>
                    <a:pt x="56" y="138"/>
                    <a:pt x="55" y="140"/>
                    <a:pt x="55" y="140"/>
                  </a:cubicBezTo>
                  <a:cubicBezTo>
                    <a:pt x="54" y="141"/>
                    <a:pt x="54" y="142"/>
                    <a:pt x="54" y="143"/>
                  </a:cubicBezTo>
                  <a:cubicBezTo>
                    <a:pt x="55" y="143"/>
                    <a:pt x="55" y="144"/>
                    <a:pt x="55" y="145"/>
                  </a:cubicBezTo>
                  <a:cubicBezTo>
                    <a:pt x="55" y="145"/>
                    <a:pt x="55" y="146"/>
                    <a:pt x="54" y="146"/>
                  </a:cubicBezTo>
                  <a:cubicBezTo>
                    <a:pt x="53" y="146"/>
                    <a:pt x="53" y="147"/>
                    <a:pt x="53" y="147"/>
                  </a:cubicBezTo>
                  <a:cubicBezTo>
                    <a:pt x="53" y="148"/>
                    <a:pt x="54" y="149"/>
                    <a:pt x="54" y="149"/>
                  </a:cubicBezTo>
                  <a:cubicBezTo>
                    <a:pt x="54" y="150"/>
                    <a:pt x="54" y="151"/>
                    <a:pt x="54" y="151"/>
                  </a:cubicBezTo>
                  <a:cubicBezTo>
                    <a:pt x="54" y="151"/>
                    <a:pt x="54" y="153"/>
                    <a:pt x="54" y="153"/>
                  </a:cubicBezTo>
                  <a:cubicBezTo>
                    <a:pt x="54" y="154"/>
                    <a:pt x="55" y="154"/>
                    <a:pt x="56" y="155"/>
                  </a:cubicBezTo>
                  <a:cubicBezTo>
                    <a:pt x="56" y="155"/>
                    <a:pt x="56" y="156"/>
                    <a:pt x="57" y="158"/>
                  </a:cubicBezTo>
                  <a:cubicBezTo>
                    <a:pt x="57" y="159"/>
                    <a:pt x="57" y="159"/>
                    <a:pt x="57" y="160"/>
                  </a:cubicBezTo>
                  <a:cubicBezTo>
                    <a:pt x="57" y="161"/>
                    <a:pt x="57" y="161"/>
                    <a:pt x="56" y="161"/>
                  </a:cubicBezTo>
                  <a:cubicBezTo>
                    <a:pt x="55" y="161"/>
                    <a:pt x="54" y="161"/>
                    <a:pt x="54" y="161"/>
                  </a:cubicBezTo>
                  <a:cubicBezTo>
                    <a:pt x="53" y="162"/>
                    <a:pt x="53" y="162"/>
                    <a:pt x="52" y="163"/>
                  </a:cubicBezTo>
                  <a:cubicBezTo>
                    <a:pt x="52" y="164"/>
                    <a:pt x="51" y="164"/>
                    <a:pt x="51" y="165"/>
                  </a:cubicBezTo>
                  <a:cubicBezTo>
                    <a:pt x="51" y="166"/>
                    <a:pt x="53" y="168"/>
                    <a:pt x="53" y="169"/>
                  </a:cubicBezTo>
                  <a:cubicBezTo>
                    <a:pt x="53" y="169"/>
                    <a:pt x="53" y="171"/>
                    <a:pt x="52" y="172"/>
                  </a:cubicBezTo>
                  <a:cubicBezTo>
                    <a:pt x="52" y="172"/>
                    <a:pt x="51" y="173"/>
                    <a:pt x="51" y="174"/>
                  </a:cubicBezTo>
                  <a:cubicBezTo>
                    <a:pt x="51" y="175"/>
                    <a:pt x="51" y="176"/>
                    <a:pt x="52" y="176"/>
                  </a:cubicBezTo>
                  <a:cubicBezTo>
                    <a:pt x="53" y="176"/>
                    <a:pt x="54" y="176"/>
                    <a:pt x="55" y="176"/>
                  </a:cubicBezTo>
                  <a:cubicBezTo>
                    <a:pt x="55" y="177"/>
                    <a:pt x="55" y="178"/>
                    <a:pt x="56" y="179"/>
                  </a:cubicBezTo>
                  <a:cubicBezTo>
                    <a:pt x="57" y="179"/>
                    <a:pt x="58" y="180"/>
                    <a:pt x="59" y="180"/>
                  </a:cubicBezTo>
                  <a:cubicBezTo>
                    <a:pt x="59" y="180"/>
                    <a:pt x="60" y="179"/>
                    <a:pt x="61" y="179"/>
                  </a:cubicBezTo>
                  <a:cubicBezTo>
                    <a:pt x="62" y="179"/>
                    <a:pt x="62" y="177"/>
                    <a:pt x="62" y="177"/>
                  </a:cubicBezTo>
                  <a:cubicBezTo>
                    <a:pt x="62" y="176"/>
                    <a:pt x="63" y="176"/>
                    <a:pt x="64" y="176"/>
                  </a:cubicBezTo>
                  <a:cubicBezTo>
                    <a:pt x="65" y="176"/>
                    <a:pt x="68" y="174"/>
                    <a:pt x="68" y="173"/>
                  </a:cubicBezTo>
                  <a:cubicBezTo>
                    <a:pt x="69" y="173"/>
                    <a:pt x="70" y="172"/>
                    <a:pt x="70" y="171"/>
                  </a:cubicBezTo>
                  <a:cubicBezTo>
                    <a:pt x="70" y="170"/>
                    <a:pt x="69" y="169"/>
                    <a:pt x="70" y="169"/>
                  </a:cubicBezTo>
                  <a:cubicBezTo>
                    <a:pt x="72" y="169"/>
                    <a:pt x="73" y="171"/>
                    <a:pt x="73" y="171"/>
                  </a:cubicBezTo>
                  <a:cubicBezTo>
                    <a:pt x="73" y="172"/>
                    <a:pt x="74" y="173"/>
                    <a:pt x="75" y="173"/>
                  </a:cubicBezTo>
                  <a:cubicBezTo>
                    <a:pt x="76" y="173"/>
                    <a:pt x="76" y="173"/>
                    <a:pt x="76" y="174"/>
                  </a:cubicBezTo>
                  <a:cubicBezTo>
                    <a:pt x="77" y="174"/>
                    <a:pt x="77" y="176"/>
                    <a:pt x="76" y="176"/>
                  </a:cubicBezTo>
                  <a:cubicBezTo>
                    <a:pt x="76" y="176"/>
                    <a:pt x="76" y="177"/>
                    <a:pt x="77" y="177"/>
                  </a:cubicBezTo>
                  <a:cubicBezTo>
                    <a:pt x="78" y="178"/>
                    <a:pt x="78" y="178"/>
                    <a:pt x="78" y="178"/>
                  </a:cubicBezTo>
                  <a:cubicBezTo>
                    <a:pt x="78" y="179"/>
                    <a:pt x="79" y="180"/>
                    <a:pt x="78" y="180"/>
                  </a:cubicBezTo>
                  <a:cubicBezTo>
                    <a:pt x="78" y="181"/>
                    <a:pt x="78" y="182"/>
                    <a:pt x="78" y="182"/>
                  </a:cubicBezTo>
                  <a:cubicBezTo>
                    <a:pt x="79" y="183"/>
                    <a:pt x="79" y="184"/>
                    <a:pt x="80" y="184"/>
                  </a:cubicBezTo>
                  <a:cubicBezTo>
                    <a:pt x="80" y="184"/>
                    <a:pt x="80" y="184"/>
                    <a:pt x="80" y="185"/>
                  </a:cubicBezTo>
                  <a:cubicBezTo>
                    <a:pt x="80" y="186"/>
                    <a:pt x="80" y="187"/>
                    <a:pt x="81" y="188"/>
                  </a:cubicBezTo>
                  <a:cubicBezTo>
                    <a:pt x="81" y="189"/>
                    <a:pt x="81" y="190"/>
                    <a:pt x="82" y="191"/>
                  </a:cubicBezTo>
                  <a:cubicBezTo>
                    <a:pt x="83" y="192"/>
                    <a:pt x="83" y="194"/>
                    <a:pt x="84" y="194"/>
                  </a:cubicBezTo>
                  <a:cubicBezTo>
                    <a:pt x="84" y="195"/>
                    <a:pt x="85" y="196"/>
                    <a:pt x="85" y="196"/>
                  </a:cubicBezTo>
                  <a:cubicBezTo>
                    <a:pt x="86" y="197"/>
                    <a:pt x="87" y="197"/>
                    <a:pt x="87" y="197"/>
                  </a:cubicBezTo>
                  <a:cubicBezTo>
                    <a:pt x="87" y="198"/>
                    <a:pt x="88" y="199"/>
                    <a:pt x="88" y="199"/>
                  </a:cubicBezTo>
                  <a:cubicBezTo>
                    <a:pt x="88" y="199"/>
                    <a:pt x="89" y="199"/>
                    <a:pt x="89" y="200"/>
                  </a:cubicBezTo>
                  <a:cubicBezTo>
                    <a:pt x="89" y="200"/>
                    <a:pt x="90" y="200"/>
                    <a:pt x="90" y="201"/>
                  </a:cubicBezTo>
                  <a:cubicBezTo>
                    <a:pt x="90" y="202"/>
                    <a:pt x="90" y="205"/>
                    <a:pt x="90" y="205"/>
                  </a:cubicBezTo>
                  <a:cubicBezTo>
                    <a:pt x="90" y="205"/>
                    <a:pt x="88" y="205"/>
                    <a:pt x="88" y="206"/>
                  </a:cubicBezTo>
                  <a:cubicBezTo>
                    <a:pt x="88" y="206"/>
                    <a:pt x="88" y="207"/>
                    <a:pt x="88" y="208"/>
                  </a:cubicBezTo>
                  <a:cubicBezTo>
                    <a:pt x="89" y="208"/>
                    <a:pt x="90" y="210"/>
                    <a:pt x="91" y="210"/>
                  </a:cubicBezTo>
                  <a:cubicBezTo>
                    <a:pt x="91" y="211"/>
                    <a:pt x="92" y="211"/>
                    <a:pt x="92" y="212"/>
                  </a:cubicBezTo>
                  <a:cubicBezTo>
                    <a:pt x="92" y="212"/>
                    <a:pt x="93" y="213"/>
                    <a:pt x="93" y="213"/>
                  </a:cubicBezTo>
                  <a:cubicBezTo>
                    <a:pt x="93" y="213"/>
                    <a:pt x="94" y="213"/>
                    <a:pt x="95" y="212"/>
                  </a:cubicBezTo>
                  <a:cubicBezTo>
                    <a:pt x="96" y="212"/>
                    <a:pt x="96" y="212"/>
                    <a:pt x="97" y="212"/>
                  </a:cubicBezTo>
                  <a:cubicBezTo>
                    <a:pt x="98" y="213"/>
                    <a:pt x="99" y="214"/>
                    <a:pt x="100" y="214"/>
                  </a:cubicBezTo>
                  <a:cubicBezTo>
                    <a:pt x="100" y="215"/>
                    <a:pt x="101" y="216"/>
                    <a:pt x="102" y="217"/>
                  </a:cubicBezTo>
                  <a:cubicBezTo>
                    <a:pt x="102" y="218"/>
                    <a:pt x="102" y="219"/>
                    <a:pt x="103" y="220"/>
                  </a:cubicBezTo>
                  <a:cubicBezTo>
                    <a:pt x="103" y="221"/>
                    <a:pt x="103" y="221"/>
                    <a:pt x="103" y="222"/>
                  </a:cubicBezTo>
                  <a:cubicBezTo>
                    <a:pt x="103" y="222"/>
                    <a:pt x="102" y="223"/>
                    <a:pt x="102" y="223"/>
                  </a:cubicBezTo>
                  <a:cubicBezTo>
                    <a:pt x="102" y="223"/>
                    <a:pt x="104" y="224"/>
                    <a:pt x="104" y="225"/>
                  </a:cubicBezTo>
                  <a:cubicBezTo>
                    <a:pt x="104" y="226"/>
                    <a:pt x="105" y="226"/>
                    <a:pt x="105" y="227"/>
                  </a:cubicBezTo>
                  <a:cubicBezTo>
                    <a:pt x="105" y="228"/>
                    <a:pt x="104" y="228"/>
                    <a:pt x="105" y="229"/>
                  </a:cubicBezTo>
                  <a:cubicBezTo>
                    <a:pt x="105" y="230"/>
                    <a:pt x="106" y="230"/>
                    <a:pt x="106" y="231"/>
                  </a:cubicBezTo>
                  <a:cubicBezTo>
                    <a:pt x="107" y="232"/>
                    <a:pt x="108" y="232"/>
                    <a:pt x="109" y="233"/>
                  </a:cubicBezTo>
                  <a:cubicBezTo>
                    <a:pt x="110" y="234"/>
                    <a:pt x="111" y="234"/>
                    <a:pt x="111" y="234"/>
                  </a:cubicBezTo>
                  <a:cubicBezTo>
                    <a:pt x="111" y="233"/>
                    <a:pt x="111" y="231"/>
                    <a:pt x="111" y="230"/>
                  </a:cubicBezTo>
                  <a:cubicBezTo>
                    <a:pt x="112" y="229"/>
                    <a:pt x="113" y="229"/>
                    <a:pt x="114" y="228"/>
                  </a:cubicBezTo>
                  <a:cubicBezTo>
                    <a:pt x="115" y="228"/>
                    <a:pt x="115" y="227"/>
                    <a:pt x="117" y="228"/>
                  </a:cubicBezTo>
                  <a:cubicBezTo>
                    <a:pt x="119" y="229"/>
                    <a:pt x="121" y="229"/>
                    <a:pt x="123" y="229"/>
                  </a:cubicBezTo>
                  <a:cubicBezTo>
                    <a:pt x="124" y="230"/>
                    <a:pt x="126" y="230"/>
                    <a:pt x="126" y="230"/>
                  </a:cubicBezTo>
                  <a:cubicBezTo>
                    <a:pt x="126" y="230"/>
                    <a:pt x="126" y="229"/>
                    <a:pt x="127" y="228"/>
                  </a:cubicBezTo>
                  <a:cubicBezTo>
                    <a:pt x="127" y="227"/>
                    <a:pt x="127" y="224"/>
                    <a:pt x="128" y="224"/>
                  </a:cubicBezTo>
                  <a:cubicBezTo>
                    <a:pt x="128" y="224"/>
                    <a:pt x="129" y="224"/>
                    <a:pt x="129" y="224"/>
                  </a:cubicBezTo>
                  <a:cubicBezTo>
                    <a:pt x="130" y="224"/>
                    <a:pt x="136" y="226"/>
                    <a:pt x="137" y="226"/>
                  </a:cubicBezTo>
                  <a:cubicBezTo>
                    <a:pt x="137" y="226"/>
                    <a:pt x="141" y="225"/>
                    <a:pt x="141" y="225"/>
                  </a:cubicBezTo>
                  <a:cubicBezTo>
                    <a:pt x="142" y="225"/>
                    <a:pt x="144" y="225"/>
                    <a:pt x="144" y="225"/>
                  </a:cubicBezTo>
                  <a:cubicBezTo>
                    <a:pt x="144" y="225"/>
                    <a:pt x="145" y="227"/>
                    <a:pt x="145" y="227"/>
                  </a:cubicBezTo>
                  <a:cubicBezTo>
                    <a:pt x="145" y="227"/>
                    <a:pt x="146" y="227"/>
                    <a:pt x="147" y="226"/>
                  </a:cubicBezTo>
                  <a:cubicBezTo>
                    <a:pt x="148" y="226"/>
                    <a:pt x="149" y="225"/>
                    <a:pt x="151" y="225"/>
                  </a:cubicBezTo>
                  <a:cubicBezTo>
                    <a:pt x="152" y="224"/>
                    <a:pt x="154" y="225"/>
                    <a:pt x="155" y="225"/>
                  </a:cubicBezTo>
                  <a:cubicBezTo>
                    <a:pt x="155" y="225"/>
                    <a:pt x="157" y="225"/>
                    <a:pt x="157" y="225"/>
                  </a:cubicBezTo>
                  <a:cubicBezTo>
                    <a:pt x="158" y="225"/>
                    <a:pt x="157" y="225"/>
                    <a:pt x="157" y="224"/>
                  </a:cubicBezTo>
                  <a:cubicBezTo>
                    <a:pt x="157" y="223"/>
                    <a:pt x="156" y="222"/>
                    <a:pt x="156" y="222"/>
                  </a:cubicBezTo>
                  <a:cubicBezTo>
                    <a:pt x="157" y="221"/>
                    <a:pt x="157" y="220"/>
                    <a:pt x="157" y="219"/>
                  </a:cubicBezTo>
                  <a:cubicBezTo>
                    <a:pt x="157" y="218"/>
                    <a:pt x="157" y="218"/>
                    <a:pt x="158" y="217"/>
                  </a:cubicBezTo>
                  <a:cubicBezTo>
                    <a:pt x="159" y="217"/>
                    <a:pt x="159" y="217"/>
                    <a:pt x="160" y="217"/>
                  </a:cubicBezTo>
                  <a:cubicBezTo>
                    <a:pt x="160" y="216"/>
                    <a:pt x="161" y="214"/>
                    <a:pt x="161" y="215"/>
                  </a:cubicBezTo>
                  <a:cubicBezTo>
                    <a:pt x="162" y="215"/>
                    <a:pt x="170" y="228"/>
                    <a:pt x="170" y="228"/>
                  </a:cubicBezTo>
                  <a:cubicBezTo>
                    <a:pt x="172" y="229"/>
                    <a:pt x="172" y="229"/>
                    <a:pt x="172" y="229"/>
                  </a:cubicBezTo>
                  <a:cubicBezTo>
                    <a:pt x="172" y="203"/>
                    <a:pt x="172" y="203"/>
                    <a:pt x="172" y="203"/>
                  </a:cubicBezTo>
                  <a:cubicBezTo>
                    <a:pt x="414" y="203"/>
                    <a:pt x="414" y="203"/>
                    <a:pt x="414" y="203"/>
                  </a:cubicBezTo>
                  <a:cubicBezTo>
                    <a:pt x="414" y="0"/>
                    <a:pt x="414" y="0"/>
                    <a:pt x="414" y="0"/>
                  </a:cubicBezTo>
                  <a:lnTo>
                    <a:pt x="0" y="0"/>
                  </a:lnTo>
                  <a:close/>
                </a:path>
              </a:pathLst>
            </a:custGeom>
            <a:solidFill>
              <a:schemeClr val="bg1">
                <a:lumMod val="85000"/>
              </a:schemeClr>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0" name="Freeform 33">
              <a:extLst>
                <a:ext uri="{FF2B5EF4-FFF2-40B4-BE49-F238E27FC236}">
                  <a16:creationId xmlns:a16="http://schemas.microsoft.com/office/drawing/2014/main" id="{97CB9DFA-9381-B61F-0477-8BEFB8F26E73}"/>
                </a:ext>
              </a:extLst>
            </p:cNvPr>
            <p:cNvSpPr>
              <a:spLocks/>
            </p:cNvSpPr>
            <p:nvPr/>
          </p:nvSpPr>
          <p:spPr bwMode="auto">
            <a:xfrm>
              <a:off x="6480100" y="2582322"/>
              <a:ext cx="915321" cy="804623"/>
            </a:xfrm>
            <a:custGeom>
              <a:avLst/>
              <a:gdLst>
                <a:gd name="T0" fmla="*/ 223 w 231"/>
                <a:gd name="T1" fmla="*/ 157 h 203"/>
                <a:gd name="T2" fmla="*/ 224 w 231"/>
                <a:gd name="T3" fmla="*/ 160 h 203"/>
                <a:gd name="T4" fmla="*/ 220 w 231"/>
                <a:gd name="T5" fmla="*/ 157 h 203"/>
                <a:gd name="T6" fmla="*/ 218 w 231"/>
                <a:gd name="T7" fmla="*/ 149 h 203"/>
                <a:gd name="T8" fmla="*/ 217 w 231"/>
                <a:gd name="T9" fmla="*/ 146 h 203"/>
                <a:gd name="T10" fmla="*/ 218 w 231"/>
                <a:gd name="T11" fmla="*/ 141 h 203"/>
                <a:gd name="T12" fmla="*/ 216 w 231"/>
                <a:gd name="T13" fmla="*/ 135 h 203"/>
                <a:gd name="T14" fmla="*/ 216 w 231"/>
                <a:gd name="T15" fmla="*/ 131 h 203"/>
                <a:gd name="T16" fmla="*/ 211 w 231"/>
                <a:gd name="T17" fmla="*/ 125 h 203"/>
                <a:gd name="T18" fmla="*/ 202 w 231"/>
                <a:gd name="T19" fmla="*/ 122 h 203"/>
                <a:gd name="T20" fmla="*/ 202 w 231"/>
                <a:gd name="T21" fmla="*/ 119 h 203"/>
                <a:gd name="T22" fmla="*/ 187 w 231"/>
                <a:gd name="T23" fmla="*/ 103 h 203"/>
                <a:gd name="T24" fmla="*/ 190 w 231"/>
                <a:gd name="T25" fmla="*/ 95 h 203"/>
                <a:gd name="T26" fmla="*/ 192 w 231"/>
                <a:gd name="T27" fmla="*/ 85 h 203"/>
                <a:gd name="T28" fmla="*/ 190 w 231"/>
                <a:gd name="T29" fmla="*/ 75 h 203"/>
                <a:gd name="T30" fmla="*/ 179 w 231"/>
                <a:gd name="T31" fmla="*/ 78 h 203"/>
                <a:gd name="T32" fmla="*/ 175 w 231"/>
                <a:gd name="T33" fmla="*/ 71 h 203"/>
                <a:gd name="T34" fmla="*/ 174 w 231"/>
                <a:gd name="T35" fmla="*/ 61 h 203"/>
                <a:gd name="T36" fmla="*/ 161 w 231"/>
                <a:gd name="T37" fmla="*/ 48 h 203"/>
                <a:gd name="T38" fmla="*/ 154 w 231"/>
                <a:gd name="T39" fmla="*/ 42 h 203"/>
                <a:gd name="T40" fmla="*/ 150 w 231"/>
                <a:gd name="T41" fmla="*/ 35 h 203"/>
                <a:gd name="T42" fmla="*/ 149 w 231"/>
                <a:gd name="T43" fmla="*/ 28 h 203"/>
                <a:gd name="T44" fmla="*/ 147 w 231"/>
                <a:gd name="T45" fmla="*/ 20 h 203"/>
                <a:gd name="T46" fmla="*/ 150 w 231"/>
                <a:gd name="T47" fmla="*/ 11 h 203"/>
                <a:gd name="T48" fmla="*/ 146 w 231"/>
                <a:gd name="T49" fmla="*/ 8 h 203"/>
                <a:gd name="T50" fmla="*/ 144 w 231"/>
                <a:gd name="T51" fmla="*/ 4 h 203"/>
                <a:gd name="T52" fmla="*/ 139 w 231"/>
                <a:gd name="T53" fmla="*/ 0 h 203"/>
                <a:gd name="T54" fmla="*/ 0 w 231"/>
                <a:gd name="T55" fmla="*/ 3 h 203"/>
                <a:gd name="T56" fmla="*/ 4 w 231"/>
                <a:gd name="T57" fmla="*/ 3 h 203"/>
                <a:gd name="T58" fmla="*/ 5 w 231"/>
                <a:gd name="T59" fmla="*/ 12 h 203"/>
                <a:gd name="T60" fmla="*/ 10 w 231"/>
                <a:gd name="T61" fmla="*/ 17 h 203"/>
                <a:gd name="T62" fmla="*/ 13 w 231"/>
                <a:gd name="T63" fmla="*/ 23 h 203"/>
                <a:gd name="T64" fmla="*/ 15 w 231"/>
                <a:gd name="T65" fmla="*/ 27 h 203"/>
                <a:gd name="T66" fmla="*/ 21 w 231"/>
                <a:gd name="T67" fmla="*/ 32 h 203"/>
                <a:gd name="T68" fmla="*/ 26 w 231"/>
                <a:gd name="T69" fmla="*/ 33 h 203"/>
                <a:gd name="T70" fmla="*/ 29 w 231"/>
                <a:gd name="T71" fmla="*/ 35 h 203"/>
                <a:gd name="T72" fmla="*/ 30 w 231"/>
                <a:gd name="T73" fmla="*/ 38 h 203"/>
                <a:gd name="T74" fmla="*/ 28 w 231"/>
                <a:gd name="T75" fmla="*/ 40 h 203"/>
                <a:gd name="T76" fmla="*/ 26 w 231"/>
                <a:gd name="T77" fmla="*/ 43 h 203"/>
                <a:gd name="T78" fmla="*/ 24 w 231"/>
                <a:gd name="T79" fmla="*/ 46 h 203"/>
                <a:gd name="T80" fmla="*/ 28 w 231"/>
                <a:gd name="T81" fmla="*/ 55 h 203"/>
                <a:gd name="T82" fmla="*/ 30 w 231"/>
                <a:gd name="T83" fmla="*/ 57 h 203"/>
                <a:gd name="T84" fmla="*/ 38 w 231"/>
                <a:gd name="T85" fmla="*/ 65 h 203"/>
                <a:gd name="T86" fmla="*/ 40 w 231"/>
                <a:gd name="T87" fmla="*/ 182 h 203"/>
                <a:gd name="T88" fmla="*/ 197 w 231"/>
                <a:gd name="T89" fmla="*/ 186 h 203"/>
                <a:gd name="T90" fmla="*/ 190 w 231"/>
                <a:gd name="T91" fmla="*/ 197 h 203"/>
                <a:gd name="T92" fmla="*/ 209 w 231"/>
                <a:gd name="T93" fmla="*/ 203 h 203"/>
                <a:gd name="T94" fmla="*/ 210 w 231"/>
                <a:gd name="T95" fmla="*/ 201 h 203"/>
                <a:gd name="T96" fmla="*/ 211 w 231"/>
                <a:gd name="T97" fmla="*/ 199 h 203"/>
                <a:gd name="T98" fmla="*/ 212 w 231"/>
                <a:gd name="T99" fmla="*/ 194 h 203"/>
                <a:gd name="T100" fmla="*/ 211 w 231"/>
                <a:gd name="T101" fmla="*/ 192 h 203"/>
                <a:gd name="T102" fmla="*/ 214 w 231"/>
                <a:gd name="T103" fmla="*/ 191 h 203"/>
                <a:gd name="T104" fmla="*/ 214 w 231"/>
                <a:gd name="T105" fmla="*/ 188 h 203"/>
                <a:gd name="T106" fmla="*/ 215 w 231"/>
                <a:gd name="T107" fmla="*/ 180 h 203"/>
                <a:gd name="T108" fmla="*/ 217 w 231"/>
                <a:gd name="T109" fmla="*/ 179 h 203"/>
                <a:gd name="T110" fmla="*/ 217 w 231"/>
                <a:gd name="T111" fmla="*/ 182 h 203"/>
                <a:gd name="T112" fmla="*/ 219 w 231"/>
                <a:gd name="T113" fmla="*/ 182 h 203"/>
                <a:gd name="T114" fmla="*/ 224 w 231"/>
                <a:gd name="T115" fmla="*/ 177 h 203"/>
                <a:gd name="T116" fmla="*/ 228 w 231"/>
                <a:gd name="T117" fmla="*/ 175 h 203"/>
                <a:gd name="T118" fmla="*/ 227 w 231"/>
                <a:gd name="T119" fmla="*/ 168 h 203"/>
                <a:gd name="T120" fmla="*/ 229 w 231"/>
                <a:gd name="T121" fmla="*/ 1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1" h="203">
                  <a:moveTo>
                    <a:pt x="226" y="160"/>
                  </a:moveTo>
                  <a:cubicBezTo>
                    <a:pt x="226" y="159"/>
                    <a:pt x="225" y="157"/>
                    <a:pt x="225" y="157"/>
                  </a:cubicBezTo>
                  <a:cubicBezTo>
                    <a:pt x="223" y="157"/>
                    <a:pt x="223" y="157"/>
                    <a:pt x="223" y="157"/>
                  </a:cubicBezTo>
                  <a:cubicBezTo>
                    <a:pt x="223" y="157"/>
                    <a:pt x="224" y="158"/>
                    <a:pt x="224" y="158"/>
                  </a:cubicBezTo>
                  <a:cubicBezTo>
                    <a:pt x="224" y="158"/>
                    <a:pt x="225" y="159"/>
                    <a:pt x="225" y="159"/>
                  </a:cubicBezTo>
                  <a:cubicBezTo>
                    <a:pt x="225" y="159"/>
                    <a:pt x="224" y="160"/>
                    <a:pt x="224" y="160"/>
                  </a:cubicBezTo>
                  <a:cubicBezTo>
                    <a:pt x="224" y="160"/>
                    <a:pt x="223" y="160"/>
                    <a:pt x="223" y="160"/>
                  </a:cubicBezTo>
                  <a:cubicBezTo>
                    <a:pt x="223" y="160"/>
                    <a:pt x="221" y="159"/>
                    <a:pt x="221" y="159"/>
                  </a:cubicBezTo>
                  <a:cubicBezTo>
                    <a:pt x="221" y="159"/>
                    <a:pt x="220" y="157"/>
                    <a:pt x="220" y="157"/>
                  </a:cubicBezTo>
                  <a:cubicBezTo>
                    <a:pt x="220" y="156"/>
                    <a:pt x="220" y="155"/>
                    <a:pt x="220" y="155"/>
                  </a:cubicBezTo>
                  <a:cubicBezTo>
                    <a:pt x="218" y="151"/>
                    <a:pt x="218" y="151"/>
                    <a:pt x="218" y="151"/>
                  </a:cubicBezTo>
                  <a:cubicBezTo>
                    <a:pt x="218" y="151"/>
                    <a:pt x="218" y="149"/>
                    <a:pt x="218" y="149"/>
                  </a:cubicBezTo>
                  <a:cubicBezTo>
                    <a:pt x="218" y="149"/>
                    <a:pt x="216" y="149"/>
                    <a:pt x="216" y="148"/>
                  </a:cubicBezTo>
                  <a:cubicBezTo>
                    <a:pt x="216" y="148"/>
                    <a:pt x="216" y="147"/>
                    <a:pt x="216" y="147"/>
                  </a:cubicBezTo>
                  <a:cubicBezTo>
                    <a:pt x="217" y="146"/>
                    <a:pt x="217" y="146"/>
                    <a:pt x="217" y="146"/>
                  </a:cubicBezTo>
                  <a:cubicBezTo>
                    <a:pt x="217" y="146"/>
                    <a:pt x="218" y="145"/>
                    <a:pt x="218" y="145"/>
                  </a:cubicBezTo>
                  <a:cubicBezTo>
                    <a:pt x="218" y="145"/>
                    <a:pt x="219" y="144"/>
                    <a:pt x="219" y="143"/>
                  </a:cubicBezTo>
                  <a:cubicBezTo>
                    <a:pt x="219" y="143"/>
                    <a:pt x="218" y="141"/>
                    <a:pt x="218" y="141"/>
                  </a:cubicBezTo>
                  <a:cubicBezTo>
                    <a:pt x="218" y="141"/>
                    <a:pt x="217" y="138"/>
                    <a:pt x="216" y="138"/>
                  </a:cubicBezTo>
                  <a:cubicBezTo>
                    <a:pt x="216" y="138"/>
                    <a:pt x="216" y="136"/>
                    <a:pt x="216" y="136"/>
                  </a:cubicBezTo>
                  <a:cubicBezTo>
                    <a:pt x="216" y="136"/>
                    <a:pt x="216" y="135"/>
                    <a:pt x="216" y="135"/>
                  </a:cubicBezTo>
                  <a:cubicBezTo>
                    <a:pt x="217" y="135"/>
                    <a:pt x="217" y="135"/>
                    <a:pt x="217" y="135"/>
                  </a:cubicBezTo>
                  <a:cubicBezTo>
                    <a:pt x="217" y="135"/>
                    <a:pt x="217" y="133"/>
                    <a:pt x="217" y="133"/>
                  </a:cubicBezTo>
                  <a:cubicBezTo>
                    <a:pt x="217" y="132"/>
                    <a:pt x="216" y="131"/>
                    <a:pt x="216" y="131"/>
                  </a:cubicBezTo>
                  <a:cubicBezTo>
                    <a:pt x="216" y="130"/>
                    <a:pt x="213" y="128"/>
                    <a:pt x="213" y="128"/>
                  </a:cubicBezTo>
                  <a:cubicBezTo>
                    <a:pt x="212" y="128"/>
                    <a:pt x="210" y="128"/>
                    <a:pt x="210" y="128"/>
                  </a:cubicBezTo>
                  <a:cubicBezTo>
                    <a:pt x="210" y="127"/>
                    <a:pt x="211" y="125"/>
                    <a:pt x="211" y="125"/>
                  </a:cubicBezTo>
                  <a:cubicBezTo>
                    <a:pt x="205" y="121"/>
                    <a:pt x="205" y="121"/>
                    <a:pt x="205" y="121"/>
                  </a:cubicBezTo>
                  <a:cubicBezTo>
                    <a:pt x="205" y="121"/>
                    <a:pt x="204" y="121"/>
                    <a:pt x="204" y="121"/>
                  </a:cubicBezTo>
                  <a:cubicBezTo>
                    <a:pt x="204" y="122"/>
                    <a:pt x="202" y="122"/>
                    <a:pt x="202" y="122"/>
                  </a:cubicBezTo>
                  <a:cubicBezTo>
                    <a:pt x="202" y="122"/>
                    <a:pt x="200" y="122"/>
                    <a:pt x="200" y="121"/>
                  </a:cubicBezTo>
                  <a:cubicBezTo>
                    <a:pt x="200" y="121"/>
                    <a:pt x="200" y="119"/>
                    <a:pt x="200" y="119"/>
                  </a:cubicBezTo>
                  <a:cubicBezTo>
                    <a:pt x="202" y="119"/>
                    <a:pt x="202" y="119"/>
                    <a:pt x="202" y="119"/>
                  </a:cubicBezTo>
                  <a:cubicBezTo>
                    <a:pt x="198" y="117"/>
                    <a:pt x="198" y="117"/>
                    <a:pt x="198" y="117"/>
                  </a:cubicBezTo>
                  <a:cubicBezTo>
                    <a:pt x="187" y="108"/>
                    <a:pt x="187" y="108"/>
                    <a:pt x="187" y="108"/>
                  </a:cubicBezTo>
                  <a:cubicBezTo>
                    <a:pt x="187" y="108"/>
                    <a:pt x="187" y="103"/>
                    <a:pt x="187" y="103"/>
                  </a:cubicBezTo>
                  <a:cubicBezTo>
                    <a:pt x="187" y="103"/>
                    <a:pt x="187" y="101"/>
                    <a:pt x="187" y="101"/>
                  </a:cubicBezTo>
                  <a:cubicBezTo>
                    <a:pt x="187" y="100"/>
                    <a:pt x="189" y="97"/>
                    <a:pt x="189" y="97"/>
                  </a:cubicBezTo>
                  <a:cubicBezTo>
                    <a:pt x="189" y="97"/>
                    <a:pt x="190" y="95"/>
                    <a:pt x="190" y="95"/>
                  </a:cubicBezTo>
                  <a:cubicBezTo>
                    <a:pt x="190" y="95"/>
                    <a:pt x="191" y="93"/>
                    <a:pt x="191" y="93"/>
                  </a:cubicBezTo>
                  <a:cubicBezTo>
                    <a:pt x="191" y="93"/>
                    <a:pt x="192" y="89"/>
                    <a:pt x="192" y="89"/>
                  </a:cubicBezTo>
                  <a:cubicBezTo>
                    <a:pt x="192" y="89"/>
                    <a:pt x="192" y="86"/>
                    <a:pt x="192" y="85"/>
                  </a:cubicBezTo>
                  <a:cubicBezTo>
                    <a:pt x="192" y="85"/>
                    <a:pt x="194" y="83"/>
                    <a:pt x="194" y="83"/>
                  </a:cubicBezTo>
                  <a:cubicBezTo>
                    <a:pt x="194" y="82"/>
                    <a:pt x="195" y="79"/>
                    <a:pt x="195" y="79"/>
                  </a:cubicBezTo>
                  <a:cubicBezTo>
                    <a:pt x="190" y="75"/>
                    <a:pt x="190" y="75"/>
                    <a:pt x="190" y="75"/>
                  </a:cubicBezTo>
                  <a:cubicBezTo>
                    <a:pt x="184" y="74"/>
                    <a:pt x="184" y="74"/>
                    <a:pt x="184" y="74"/>
                  </a:cubicBezTo>
                  <a:cubicBezTo>
                    <a:pt x="184" y="74"/>
                    <a:pt x="181" y="77"/>
                    <a:pt x="181" y="78"/>
                  </a:cubicBezTo>
                  <a:cubicBezTo>
                    <a:pt x="181" y="78"/>
                    <a:pt x="179" y="78"/>
                    <a:pt x="179" y="78"/>
                  </a:cubicBezTo>
                  <a:cubicBezTo>
                    <a:pt x="179" y="78"/>
                    <a:pt x="177" y="78"/>
                    <a:pt x="177" y="78"/>
                  </a:cubicBezTo>
                  <a:cubicBezTo>
                    <a:pt x="177" y="78"/>
                    <a:pt x="176" y="73"/>
                    <a:pt x="176" y="73"/>
                  </a:cubicBezTo>
                  <a:cubicBezTo>
                    <a:pt x="176" y="73"/>
                    <a:pt x="175" y="72"/>
                    <a:pt x="175" y="71"/>
                  </a:cubicBezTo>
                  <a:cubicBezTo>
                    <a:pt x="175" y="71"/>
                    <a:pt x="175" y="70"/>
                    <a:pt x="175" y="70"/>
                  </a:cubicBezTo>
                  <a:cubicBezTo>
                    <a:pt x="176" y="68"/>
                    <a:pt x="176" y="68"/>
                    <a:pt x="176" y="68"/>
                  </a:cubicBezTo>
                  <a:cubicBezTo>
                    <a:pt x="174" y="61"/>
                    <a:pt x="174" y="61"/>
                    <a:pt x="174" y="61"/>
                  </a:cubicBezTo>
                  <a:cubicBezTo>
                    <a:pt x="166" y="54"/>
                    <a:pt x="166" y="54"/>
                    <a:pt x="166" y="54"/>
                  </a:cubicBezTo>
                  <a:cubicBezTo>
                    <a:pt x="164" y="53"/>
                    <a:pt x="164" y="53"/>
                    <a:pt x="164" y="53"/>
                  </a:cubicBezTo>
                  <a:cubicBezTo>
                    <a:pt x="164" y="53"/>
                    <a:pt x="161" y="48"/>
                    <a:pt x="161" y="48"/>
                  </a:cubicBezTo>
                  <a:cubicBezTo>
                    <a:pt x="161" y="48"/>
                    <a:pt x="159" y="48"/>
                    <a:pt x="159" y="48"/>
                  </a:cubicBezTo>
                  <a:cubicBezTo>
                    <a:pt x="159" y="48"/>
                    <a:pt x="159" y="46"/>
                    <a:pt x="159" y="46"/>
                  </a:cubicBezTo>
                  <a:cubicBezTo>
                    <a:pt x="154" y="42"/>
                    <a:pt x="154" y="42"/>
                    <a:pt x="154" y="42"/>
                  </a:cubicBezTo>
                  <a:cubicBezTo>
                    <a:pt x="152" y="39"/>
                    <a:pt x="152" y="39"/>
                    <a:pt x="152" y="39"/>
                  </a:cubicBezTo>
                  <a:cubicBezTo>
                    <a:pt x="152" y="37"/>
                    <a:pt x="152" y="37"/>
                    <a:pt x="152" y="37"/>
                  </a:cubicBezTo>
                  <a:cubicBezTo>
                    <a:pt x="150" y="35"/>
                    <a:pt x="150" y="35"/>
                    <a:pt x="150" y="35"/>
                  </a:cubicBezTo>
                  <a:cubicBezTo>
                    <a:pt x="150" y="35"/>
                    <a:pt x="150" y="33"/>
                    <a:pt x="150" y="33"/>
                  </a:cubicBezTo>
                  <a:cubicBezTo>
                    <a:pt x="150" y="33"/>
                    <a:pt x="150" y="31"/>
                    <a:pt x="150" y="31"/>
                  </a:cubicBezTo>
                  <a:cubicBezTo>
                    <a:pt x="149" y="28"/>
                    <a:pt x="149" y="28"/>
                    <a:pt x="149" y="28"/>
                  </a:cubicBezTo>
                  <a:cubicBezTo>
                    <a:pt x="149" y="28"/>
                    <a:pt x="148" y="26"/>
                    <a:pt x="148" y="26"/>
                  </a:cubicBezTo>
                  <a:cubicBezTo>
                    <a:pt x="148" y="26"/>
                    <a:pt x="148" y="25"/>
                    <a:pt x="148" y="25"/>
                  </a:cubicBezTo>
                  <a:cubicBezTo>
                    <a:pt x="148" y="25"/>
                    <a:pt x="147" y="20"/>
                    <a:pt x="147" y="20"/>
                  </a:cubicBezTo>
                  <a:cubicBezTo>
                    <a:pt x="147" y="20"/>
                    <a:pt x="147" y="16"/>
                    <a:pt x="147" y="16"/>
                  </a:cubicBezTo>
                  <a:cubicBezTo>
                    <a:pt x="147" y="16"/>
                    <a:pt x="148" y="14"/>
                    <a:pt x="148" y="14"/>
                  </a:cubicBezTo>
                  <a:cubicBezTo>
                    <a:pt x="148" y="14"/>
                    <a:pt x="150" y="11"/>
                    <a:pt x="150" y="11"/>
                  </a:cubicBezTo>
                  <a:cubicBezTo>
                    <a:pt x="150" y="11"/>
                    <a:pt x="150" y="10"/>
                    <a:pt x="150" y="10"/>
                  </a:cubicBezTo>
                  <a:cubicBezTo>
                    <a:pt x="150" y="10"/>
                    <a:pt x="148" y="9"/>
                    <a:pt x="148" y="9"/>
                  </a:cubicBezTo>
                  <a:cubicBezTo>
                    <a:pt x="147" y="9"/>
                    <a:pt x="147" y="9"/>
                    <a:pt x="146" y="8"/>
                  </a:cubicBezTo>
                  <a:cubicBezTo>
                    <a:pt x="146" y="8"/>
                    <a:pt x="146" y="7"/>
                    <a:pt x="146" y="7"/>
                  </a:cubicBezTo>
                  <a:cubicBezTo>
                    <a:pt x="146" y="7"/>
                    <a:pt x="145" y="6"/>
                    <a:pt x="145" y="6"/>
                  </a:cubicBezTo>
                  <a:cubicBezTo>
                    <a:pt x="144" y="6"/>
                    <a:pt x="144" y="4"/>
                    <a:pt x="144" y="4"/>
                  </a:cubicBezTo>
                  <a:cubicBezTo>
                    <a:pt x="144" y="4"/>
                    <a:pt x="143" y="3"/>
                    <a:pt x="143" y="3"/>
                  </a:cubicBezTo>
                  <a:cubicBezTo>
                    <a:pt x="143" y="3"/>
                    <a:pt x="141" y="2"/>
                    <a:pt x="141" y="2"/>
                  </a:cubicBezTo>
                  <a:cubicBezTo>
                    <a:pt x="140" y="2"/>
                    <a:pt x="139" y="0"/>
                    <a:pt x="139" y="0"/>
                  </a:cubicBezTo>
                  <a:cubicBezTo>
                    <a:pt x="40" y="1"/>
                    <a:pt x="40" y="1"/>
                    <a:pt x="40" y="1"/>
                  </a:cubicBezTo>
                  <a:cubicBezTo>
                    <a:pt x="0" y="1"/>
                    <a:pt x="0" y="1"/>
                    <a:pt x="0" y="1"/>
                  </a:cubicBezTo>
                  <a:cubicBezTo>
                    <a:pt x="0" y="1"/>
                    <a:pt x="0" y="3"/>
                    <a:pt x="0" y="3"/>
                  </a:cubicBezTo>
                  <a:cubicBezTo>
                    <a:pt x="0" y="4"/>
                    <a:pt x="2" y="4"/>
                    <a:pt x="2" y="3"/>
                  </a:cubicBezTo>
                  <a:cubicBezTo>
                    <a:pt x="3" y="3"/>
                    <a:pt x="3" y="2"/>
                    <a:pt x="3" y="2"/>
                  </a:cubicBezTo>
                  <a:cubicBezTo>
                    <a:pt x="3" y="2"/>
                    <a:pt x="4" y="3"/>
                    <a:pt x="4" y="3"/>
                  </a:cubicBezTo>
                  <a:cubicBezTo>
                    <a:pt x="4" y="4"/>
                    <a:pt x="2" y="5"/>
                    <a:pt x="2" y="5"/>
                  </a:cubicBezTo>
                  <a:cubicBezTo>
                    <a:pt x="2" y="6"/>
                    <a:pt x="3" y="8"/>
                    <a:pt x="4" y="9"/>
                  </a:cubicBezTo>
                  <a:cubicBezTo>
                    <a:pt x="4" y="9"/>
                    <a:pt x="5" y="11"/>
                    <a:pt x="5" y="12"/>
                  </a:cubicBezTo>
                  <a:cubicBezTo>
                    <a:pt x="5" y="12"/>
                    <a:pt x="4" y="14"/>
                    <a:pt x="4" y="14"/>
                  </a:cubicBezTo>
                  <a:cubicBezTo>
                    <a:pt x="4" y="14"/>
                    <a:pt x="6" y="14"/>
                    <a:pt x="7" y="15"/>
                  </a:cubicBezTo>
                  <a:cubicBezTo>
                    <a:pt x="8" y="15"/>
                    <a:pt x="10" y="16"/>
                    <a:pt x="10" y="17"/>
                  </a:cubicBezTo>
                  <a:cubicBezTo>
                    <a:pt x="10" y="17"/>
                    <a:pt x="10" y="19"/>
                    <a:pt x="10" y="19"/>
                  </a:cubicBezTo>
                  <a:cubicBezTo>
                    <a:pt x="10" y="20"/>
                    <a:pt x="11" y="21"/>
                    <a:pt x="12" y="21"/>
                  </a:cubicBezTo>
                  <a:cubicBezTo>
                    <a:pt x="12" y="21"/>
                    <a:pt x="13" y="22"/>
                    <a:pt x="13" y="23"/>
                  </a:cubicBezTo>
                  <a:cubicBezTo>
                    <a:pt x="13" y="23"/>
                    <a:pt x="12" y="24"/>
                    <a:pt x="12" y="25"/>
                  </a:cubicBezTo>
                  <a:cubicBezTo>
                    <a:pt x="12" y="25"/>
                    <a:pt x="13" y="26"/>
                    <a:pt x="13" y="26"/>
                  </a:cubicBezTo>
                  <a:cubicBezTo>
                    <a:pt x="13" y="26"/>
                    <a:pt x="15" y="27"/>
                    <a:pt x="15" y="27"/>
                  </a:cubicBezTo>
                  <a:cubicBezTo>
                    <a:pt x="16" y="28"/>
                    <a:pt x="16" y="28"/>
                    <a:pt x="17" y="28"/>
                  </a:cubicBezTo>
                  <a:cubicBezTo>
                    <a:pt x="18" y="29"/>
                    <a:pt x="18" y="29"/>
                    <a:pt x="19" y="30"/>
                  </a:cubicBezTo>
                  <a:cubicBezTo>
                    <a:pt x="19" y="31"/>
                    <a:pt x="20" y="31"/>
                    <a:pt x="21" y="32"/>
                  </a:cubicBezTo>
                  <a:cubicBezTo>
                    <a:pt x="21" y="32"/>
                    <a:pt x="22" y="33"/>
                    <a:pt x="23" y="34"/>
                  </a:cubicBezTo>
                  <a:cubicBezTo>
                    <a:pt x="24" y="34"/>
                    <a:pt x="25" y="34"/>
                    <a:pt x="25" y="34"/>
                  </a:cubicBezTo>
                  <a:cubicBezTo>
                    <a:pt x="26" y="34"/>
                    <a:pt x="26" y="33"/>
                    <a:pt x="26" y="33"/>
                  </a:cubicBezTo>
                  <a:cubicBezTo>
                    <a:pt x="26" y="32"/>
                    <a:pt x="27" y="32"/>
                    <a:pt x="27" y="32"/>
                  </a:cubicBezTo>
                  <a:cubicBezTo>
                    <a:pt x="28" y="32"/>
                    <a:pt x="28" y="32"/>
                    <a:pt x="29" y="33"/>
                  </a:cubicBezTo>
                  <a:cubicBezTo>
                    <a:pt x="29" y="33"/>
                    <a:pt x="29" y="34"/>
                    <a:pt x="29" y="35"/>
                  </a:cubicBezTo>
                  <a:cubicBezTo>
                    <a:pt x="30" y="35"/>
                    <a:pt x="30" y="35"/>
                    <a:pt x="31" y="35"/>
                  </a:cubicBezTo>
                  <a:cubicBezTo>
                    <a:pt x="31" y="36"/>
                    <a:pt x="31" y="36"/>
                    <a:pt x="31" y="37"/>
                  </a:cubicBezTo>
                  <a:cubicBezTo>
                    <a:pt x="31" y="37"/>
                    <a:pt x="31" y="38"/>
                    <a:pt x="30" y="38"/>
                  </a:cubicBezTo>
                  <a:cubicBezTo>
                    <a:pt x="30" y="38"/>
                    <a:pt x="30" y="37"/>
                    <a:pt x="29" y="38"/>
                  </a:cubicBezTo>
                  <a:cubicBezTo>
                    <a:pt x="28" y="39"/>
                    <a:pt x="30" y="39"/>
                    <a:pt x="30" y="40"/>
                  </a:cubicBezTo>
                  <a:cubicBezTo>
                    <a:pt x="30" y="40"/>
                    <a:pt x="29" y="40"/>
                    <a:pt x="28" y="40"/>
                  </a:cubicBezTo>
                  <a:cubicBezTo>
                    <a:pt x="28" y="40"/>
                    <a:pt x="28" y="41"/>
                    <a:pt x="28" y="42"/>
                  </a:cubicBezTo>
                  <a:cubicBezTo>
                    <a:pt x="27" y="42"/>
                    <a:pt x="27" y="42"/>
                    <a:pt x="26" y="42"/>
                  </a:cubicBezTo>
                  <a:cubicBezTo>
                    <a:pt x="26" y="43"/>
                    <a:pt x="26" y="43"/>
                    <a:pt x="26" y="43"/>
                  </a:cubicBezTo>
                  <a:cubicBezTo>
                    <a:pt x="25" y="44"/>
                    <a:pt x="25" y="44"/>
                    <a:pt x="25" y="45"/>
                  </a:cubicBezTo>
                  <a:cubicBezTo>
                    <a:pt x="25" y="45"/>
                    <a:pt x="25" y="46"/>
                    <a:pt x="25" y="46"/>
                  </a:cubicBezTo>
                  <a:cubicBezTo>
                    <a:pt x="25" y="46"/>
                    <a:pt x="24" y="46"/>
                    <a:pt x="24" y="46"/>
                  </a:cubicBezTo>
                  <a:cubicBezTo>
                    <a:pt x="22" y="47"/>
                    <a:pt x="24" y="50"/>
                    <a:pt x="25" y="51"/>
                  </a:cubicBezTo>
                  <a:cubicBezTo>
                    <a:pt x="25" y="51"/>
                    <a:pt x="26" y="52"/>
                    <a:pt x="26" y="53"/>
                  </a:cubicBezTo>
                  <a:cubicBezTo>
                    <a:pt x="27" y="53"/>
                    <a:pt x="27" y="54"/>
                    <a:pt x="28" y="55"/>
                  </a:cubicBezTo>
                  <a:cubicBezTo>
                    <a:pt x="28" y="55"/>
                    <a:pt x="28" y="55"/>
                    <a:pt x="29" y="55"/>
                  </a:cubicBezTo>
                  <a:cubicBezTo>
                    <a:pt x="29" y="55"/>
                    <a:pt x="30" y="55"/>
                    <a:pt x="30" y="55"/>
                  </a:cubicBezTo>
                  <a:cubicBezTo>
                    <a:pt x="30" y="56"/>
                    <a:pt x="30" y="56"/>
                    <a:pt x="30" y="57"/>
                  </a:cubicBezTo>
                  <a:cubicBezTo>
                    <a:pt x="29" y="59"/>
                    <a:pt x="31" y="60"/>
                    <a:pt x="32" y="61"/>
                  </a:cubicBezTo>
                  <a:cubicBezTo>
                    <a:pt x="33" y="62"/>
                    <a:pt x="33" y="63"/>
                    <a:pt x="34" y="64"/>
                  </a:cubicBezTo>
                  <a:cubicBezTo>
                    <a:pt x="36" y="64"/>
                    <a:pt x="37" y="65"/>
                    <a:pt x="38" y="65"/>
                  </a:cubicBezTo>
                  <a:cubicBezTo>
                    <a:pt x="39" y="65"/>
                    <a:pt x="40" y="65"/>
                    <a:pt x="40" y="65"/>
                  </a:cubicBezTo>
                  <a:cubicBezTo>
                    <a:pt x="41" y="67"/>
                    <a:pt x="41" y="67"/>
                    <a:pt x="41" y="67"/>
                  </a:cubicBezTo>
                  <a:cubicBezTo>
                    <a:pt x="40" y="182"/>
                    <a:pt x="40" y="182"/>
                    <a:pt x="40" y="182"/>
                  </a:cubicBezTo>
                  <a:cubicBezTo>
                    <a:pt x="194" y="182"/>
                    <a:pt x="194" y="182"/>
                    <a:pt x="194" y="182"/>
                  </a:cubicBezTo>
                  <a:cubicBezTo>
                    <a:pt x="194" y="184"/>
                    <a:pt x="194" y="184"/>
                    <a:pt x="194" y="184"/>
                  </a:cubicBezTo>
                  <a:cubicBezTo>
                    <a:pt x="197" y="186"/>
                    <a:pt x="197" y="186"/>
                    <a:pt x="197" y="186"/>
                  </a:cubicBezTo>
                  <a:cubicBezTo>
                    <a:pt x="197" y="191"/>
                    <a:pt x="197" y="191"/>
                    <a:pt x="197" y="191"/>
                  </a:cubicBezTo>
                  <a:cubicBezTo>
                    <a:pt x="197" y="191"/>
                    <a:pt x="193" y="194"/>
                    <a:pt x="193" y="194"/>
                  </a:cubicBezTo>
                  <a:cubicBezTo>
                    <a:pt x="193" y="194"/>
                    <a:pt x="190" y="197"/>
                    <a:pt x="190" y="197"/>
                  </a:cubicBezTo>
                  <a:cubicBezTo>
                    <a:pt x="190" y="198"/>
                    <a:pt x="187" y="202"/>
                    <a:pt x="187" y="202"/>
                  </a:cubicBezTo>
                  <a:cubicBezTo>
                    <a:pt x="187" y="203"/>
                    <a:pt x="187" y="203"/>
                    <a:pt x="187" y="203"/>
                  </a:cubicBezTo>
                  <a:cubicBezTo>
                    <a:pt x="209" y="203"/>
                    <a:pt x="209" y="203"/>
                    <a:pt x="209" y="203"/>
                  </a:cubicBezTo>
                  <a:cubicBezTo>
                    <a:pt x="209" y="203"/>
                    <a:pt x="209" y="202"/>
                    <a:pt x="209" y="202"/>
                  </a:cubicBezTo>
                  <a:cubicBezTo>
                    <a:pt x="209" y="202"/>
                    <a:pt x="209" y="202"/>
                    <a:pt x="209" y="202"/>
                  </a:cubicBezTo>
                  <a:cubicBezTo>
                    <a:pt x="210" y="202"/>
                    <a:pt x="210" y="201"/>
                    <a:pt x="210" y="201"/>
                  </a:cubicBezTo>
                  <a:cubicBezTo>
                    <a:pt x="210" y="200"/>
                    <a:pt x="210" y="200"/>
                    <a:pt x="210" y="200"/>
                  </a:cubicBezTo>
                  <a:cubicBezTo>
                    <a:pt x="210" y="200"/>
                    <a:pt x="211" y="200"/>
                    <a:pt x="211" y="200"/>
                  </a:cubicBezTo>
                  <a:cubicBezTo>
                    <a:pt x="211" y="200"/>
                    <a:pt x="211" y="199"/>
                    <a:pt x="211" y="199"/>
                  </a:cubicBezTo>
                  <a:cubicBezTo>
                    <a:pt x="212" y="198"/>
                    <a:pt x="212" y="198"/>
                    <a:pt x="213" y="198"/>
                  </a:cubicBezTo>
                  <a:cubicBezTo>
                    <a:pt x="213" y="197"/>
                    <a:pt x="213" y="196"/>
                    <a:pt x="213" y="196"/>
                  </a:cubicBezTo>
                  <a:cubicBezTo>
                    <a:pt x="213" y="195"/>
                    <a:pt x="212" y="195"/>
                    <a:pt x="212" y="194"/>
                  </a:cubicBezTo>
                  <a:cubicBezTo>
                    <a:pt x="212" y="194"/>
                    <a:pt x="211" y="194"/>
                    <a:pt x="211" y="193"/>
                  </a:cubicBezTo>
                  <a:cubicBezTo>
                    <a:pt x="210" y="193"/>
                    <a:pt x="210" y="192"/>
                    <a:pt x="210" y="192"/>
                  </a:cubicBezTo>
                  <a:cubicBezTo>
                    <a:pt x="210" y="192"/>
                    <a:pt x="211" y="192"/>
                    <a:pt x="211" y="192"/>
                  </a:cubicBezTo>
                  <a:cubicBezTo>
                    <a:pt x="212" y="192"/>
                    <a:pt x="213" y="192"/>
                    <a:pt x="214" y="192"/>
                  </a:cubicBezTo>
                  <a:cubicBezTo>
                    <a:pt x="214" y="192"/>
                    <a:pt x="215" y="192"/>
                    <a:pt x="215" y="192"/>
                  </a:cubicBezTo>
                  <a:cubicBezTo>
                    <a:pt x="215" y="192"/>
                    <a:pt x="214" y="191"/>
                    <a:pt x="214" y="191"/>
                  </a:cubicBezTo>
                  <a:cubicBezTo>
                    <a:pt x="213" y="190"/>
                    <a:pt x="213" y="190"/>
                    <a:pt x="213" y="189"/>
                  </a:cubicBezTo>
                  <a:cubicBezTo>
                    <a:pt x="213" y="188"/>
                    <a:pt x="213" y="188"/>
                    <a:pt x="213" y="188"/>
                  </a:cubicBezTo>
                  <a:cubicBezTo>
                    <a:pt x="213" y="188"/>
                    <a:pt x="213" y="188"/>
                    <a:pt x="214" y="188"/>
                  </a:cubicBezTo>
                  <a:cubicBezTo>
                    <a:pt x="215" y="188"/>
                    <a:pt x="215" y="188"/>
                    <a:pt x="216" y="188"/>
                  </a:cubicBezTo>
                  <a:cubicBezTo>
                    <a:pt x="216" y="186"/>
                    <a:pt x="216" y="184"/>
                    <a:pt x="215" y="182"/>
                  </a:cubicBezTo>
                  <a:cubicBezTo>
                    <a:pt x="215" y="182"/>
                    <a:pt x="214" y="181"/>
                    <a:pt x="215" y="180"/>
                  </a:cubicBezTo>
                  <a:cubicBezTo>
                    <a:pt x="215" y="180"/>
                    <a:pt x="215" y="180"/>
                    <a:pt x="215" y="179"/>
                  </a:cubicBezTo>
                  <a:cubicBezTo>
                    <a:pt x="215" y="179"/>
                    <a:pt x="215" y="179"/>
                    <a:pt x="215" y="178"/>
                  </a:cubicBezTo>
                  <a:cubicBezTo>
                    <a:pt x="216" y="178"/>
                    <a:pt x="217" y="178"/>
                    <a:pt x="217" y="179"/>
                  </a:cubicBezTo>
                  <a:cubicBezTo>
                    <a:pt x="217" y="179"/>
                    <a:pt x="217" y="180"/>
                    <a:pt x="217" y="181"/>
                  </a:cubicBezTo>
                  <a:cubicBezTo>
                    <a:pt x="217" y="181"/>
                    <a:pt x="216" y="182"/>
                    <a:pt x="216" y="182"/>
                  </a:cubicBezTo>
                  <a:cubicBezTo>
                    <a:pt x="216" y="182"/>
                    <a:pt x="217" y="182"/>
                    <a:pt x="217" y="182"/>
                  </a:cubicBezTo>
                  <a:cubicBezTo>
                    <a:pt x="217" y="183"/>
                    <a:pt x="217" y="183"/>
                    <a:pt x="217" y="183"/>
                  </a:cubicBezTo>
                  <a:cubicBezTo>
                    <a:pt x="218" y="184"/>
                    <a:pt x="218" y="183"/>
                    <a:pt x="218" y="183"/>
                  </a:cubicBezTo>
                  <a:cubicBezTo>
                    <a:pt x="219" y="183"/>
                    <a:pt x="219" y="182"/>
                    <a:pt x="219" y="182"/>
                  </a:cubicBezTo>
                  <a:cubicBezTo>
                    <a:pt x="220" y="178"/>
                    <a:pt x="220" y="178"/>
                    <a:pt x="220" y="178"/>
                  </a:cubicBezTo>
                  <a:cubicBezTo>
                    <a:pt x="220" y="178"/>
                    <a:pt x="222" y="176"/>
                    <a:pt x="222" y="176"/>
                  </a:cubicBezTo>
                  <a:cubicBezTo>
                    <a:pt x="222" y="176"/>
                    <a:pt x="224" y="177"/>
                    <a:pt x="224" y="177"/>
                  </a:cubicBezTo>
                  <a:cubicBezTo>
                    <a:pt x="224" y="177"/>
                    <a:pt x="225" y="178"/>
                    <a:pt x="225" y="178"/>
                  </a:cubicBezTo>
                  <a:cubicBezTo>
                    <a:pt x="225" y="178"/>
                    <a:pt x="226" y="179"/>
                    <a:pt x="226" y="179"/>
                  </a:cubicBezTo>
                  <a:cubicBezTo>
                    <a:pt x="226" y="179"/>
                    <a:pt x="228" y="175"/>
                    <a:pt x="228" y="175"/>
                  </a:cubicBezTo>
                  <a:cubicBezTo>
                    <a:pt x="228" y="175"/>
                    <a:pt x="227" y="171"/>
                    <a:pt x="227" y="171"/>
                  </a:cubicBezTo>
                  <a:cubicBezTo>
                    <a:pt x="227" y="171"/>
                    <a:pt x="230" y="170"/>
                    <a:pt x="230" y="170"/>
                  </a:cubicBezTo>
                  <a:cubicBezTo>
                    <a:pt x="230" y="170"/>
                    <a:pt x="227" y="168"/>
                    <a:pt x="227" y="168"/>
                  </a:cubicBezTo>
                  <a:cubicBezTo>
                    <a:pt x="227" y="168"/>
                    <a:pt x="229" y="165"/>
                    <a:pt x="229" y="165"/>
                  </a:cubicBezTo>
                  <a:cubicBezTo>
                    <a:pt x="229" y="165"/>
                    <a:pt x="231" y="163"/>
                    <a:pt x="231" y="163"/>
                  </a:cubicBezTo>
                  <a:cubicBezTo>
                    <a:pt x="229" y="161"/>
                    <a:pt x="229" y="161"/>
                    <a:pt x="229" y="161"/>
                  </a:cubicBezTo>
                  <a:cubicBezTo>
                    <a:pt x="227" y="161"/>
                    <a:pt x="227" y="161"/>
                    <a:pt x="227" y="161"/>
                  </a:cubicBezTo>
                  <a:cubicBezTo>
                    <a:pt x="227" y="161"/>
                    <a:pt x="226" y="160"/>
                    <a:pt x="226" y="160"/>
                  </a:cubicBezTo>
                  <a:close/>
                </a:path>
              </a:pathLst>
            </a:custGeom>
            <a:solidFill>
              <a:srgbClr val="FF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1" name="Freeform 34">
              <a:extLst>
                <a:ext uri="{FF2B5EF4-FFF2-40B4-BE49-F238E27FC236}">
                  <a16:creationId xmlns:a16="http://schemas.microsoft.com/office/drawing/2014/main" id="{04611397-447D-F59B-3002-BDCD1DDA9F45}"/>
                </a:ext>
              </a:extLst>
            </p:cNvPr>
            <p:cNvSpPr>
              <a:spLocks/>
            </p:cNvSpPr>
            <p:nvPr/>
          </p:nvSpPr>
          <p:spPr bwMode="auto">
            <a:xfrm>
              <a:off x="7046805" y="3557123"/>
              <a:ext cx="484096" cy="781493"/>
            </a:xfrm>
            <a:custGeom>
              <a:avLst/>
              <a:gdLst>
                <a:gd name="T0" fmla="*/ 47 w 122"/>
                <a:gd name="T1" fmla="*/ 1 h 197"/>
                <a:gd name="T2" fmla="*/ 41 w 122"/>
                <a:gd name="T3" fmla="*/ 6 h 197"/>
                <a:gd name="T4" fmla="*/ 39 w 122"/>
                <a:gd name="T5" fmla="*/ 10 h 197"/>
                <a:gd name="T6" fmla="*/ 40 w 122"/>
                <a:gd name="T7" fmla="*/ 13 h 197"/>
                <a:gd name="T8" fmla="*/ 37 w 122"/>
                <a:gd name="T9" fmla="*/ 13 h 197"/>
                <a:gd name="T10" fmla="*/ 36 w 122"/>
                <a:gd name="T11" fmla="*/ 20 h 197"/>
                <a:gd name="T12" fmla="*/ 34 w 122"/>
                <a:gd name="T13" fmla="*/ 28 h 197"/>
                <a:gd name="T14" fmla="*/ 29 w 122"/>
                <a:gd name="T15" fmla="*/ 29 h 197"/>
                <a:gd name="T16" fmla="*/ 24 w 122"/>
                <a:gd name="T17" fmla="*/ 32 h 197"/>
                <a:gd name="T18" fmla="*/ 24 w 122"/>
                <a:gd name="T19" fmla="*/ 35 h 197"/>
                <a:gd name="T20" fmla="*/ 23 w 122"/>
                <a:gd name="T21" fmla="*/ 41 h 197"/>
                <a:gd name="T22" fmla="*/ 19 w 122"/>
                <a:gd name="T23" fmla="*/ 41 h 197"/>
                <a:gd name="T24" fmla="*/ 21 w 122"/>
                <a:gd name="T25" fmla="*/ 44 h 197"/>
                <a:gd name="T26" fmla="*/ 20 w 122"/>
                <a:gd name="T27" fmla="*/ 49 h 197"/>
                <a:gd name="T28" fmla="*/ 20 w 122"/>
                <a:gd name="T29" fmla="*/ 51 h 197"/>
                <a:gd name="T30" fmla="*/ 20 w 122"/>
                <a:gd name="T31" fmla="*/ 54 h 197"/>
                <a:gd name="T32" fmla="*/ 16 w 122"/>
                <a:gd name="T33" fmla="*/ 53 h 197"/>
                <a:gd name="T34" fmla="*/ 14 w 122"/>
                <a:gd name="T35" fmla="*/ 59 h 197"/>
                <a:gd name="T36" fmla="*/ 14 w 122"/>
                <a:gd name="T37" fmla="*/ 64 h 197"/>
                <a:gd name="T38" fmla="*/ 16 w 122"/>
                <a:gd name="T39" fmla="*/ 67 h 197"/>
                <a:gd name="T40" fmla="*/ 19 w 122"/>
                <a:gd name="T41" fmla="*/ 65 h 197"/>
                <a:gd name="T42" fmla="*/ 18 w 122"/>
                <a:gd name="T43" fmla="*/ 71 h 197"/>
                <a:gd name="T44" fmla="*/ 19 w 122"/>
                <a:gd name="T45" fmla="*/ 76 h 197"/>
                <a:gd name="T46" fmla="*/ 16 w 122"/>
                <a:gd name="T47" fmla="*/ 80 h 197"/>
                <a:gd name="T48" fmla="*/ 16 w 122"/>
                <a:gd name="T49" fmla="*/ 87 h 197"/>
                <a:gd name="T50" fmla="*/ 19 w 122"/>
                <a:gd name="T51" fmla="*/ 86 h 197"/>
                <a:gd name="T52" fmla="*/ 16 w 122"/>
                <a:gd name="T53" fmla="*/ 93 h 197"/>
                <a:gd name="T54" fmla="*/ 17 w 122"/>
                <a:gd name="T55" fmla="*/ 100 h 197"/>
                <a:gd name="T56" fmla="*/ 20 w 122"/>
                <a:gd name="T57" fmla="*/ 102 h 197"/>
                <a:gd name="T58" fmla="*/ 18 w 122"/>
                <a:gd name="T59" fmla="*/ 102 h 197"/>
                <a:gd name="T60" fmla="*/ 23 w 122"/>
                <a:gd name="T61" fmla="*/ 106 h 197"/>
                <a:gd name="T62" fmla="*/ 23 w 122"/>
                <a:gd name="T63" fmla="*/ 112 h 197"/>
                <a:gd name="T64" fmla="*/ 19 w 122"/>
                <a:gd name="T65" fmla="*/ 115 h 197"/>
                <a:gd name="T66" fmla="*/ 20 w 122"/>
                <a:gd name="T67" fmla="*/ 118 h 197"/>
                <a:gd name="T68" fmla="*/ 21 w 122"/>
                <a:gd name="T69" fmla="*/ 119 h 197"/>
                <a:gd name="T70" fmla="*/ 16 w 122"/>
                <a:gd name="T71" fmla="*/ 121 h 197"/>
                <a:gd name="T72" fmla="*/ 14 w 122"/>
                <a:gd name="T73" fmla="*/ 128 h 197"/>
                <a:gd name="T74" fmla="*/ 10 w 122"/>
                <a:gd name="T75" fmla="*/ 131 h 197"/>
                <a:gd name="T76" fmla="*/ 10 w 122"/>
                <a:gd name="T77" fmla="*/ 134 h 197"/>
                <a:gd name="T78" fmla="*/ 5 w 122"/>
                <a:gd name="T79" fmla="*/ 139 h 197"/>
                <a:gd name="T80" fmla="*/ 5 w 122"/>
                <a:gd name="T81" fmla="*/ 142 h 197"/>
                <a:gd name="T82" fmla="*/ 5 w 122"/>
                <a:gd name="T83" fmla="*/ 149 h 197"/>
                <a:gd name="T84" fmla="*/ 4 w 122"/>
                <a:gd name="T85" fmla="*/ 153 h 197"/>
                <a:gd name="T86" fmla="*/ 1 w 122"/>
                <a:gd name="T87" fmla="*/ 157 h 197"/>
                <a:gd name="T88" fmla="*/ 0 w 122"/>
                <a:gd name="T89" fmla="*/ 164 h 197"/>
                <a:gd name="T90" fmla="*/ 67 w 122"/>
                <a:gd name="T91" fmla="*/ 186 h 197"/>
                <a:gd name="T92" fmla="*/ 75 w 122"/>
                <a:gd name="T93" fmla="*/ 197 h 197"/>
                <a:gd name="T94" fmla="*/ 79 w 122"/>
                <a:gd name="T95" fmla="*/ 190 h 197"/>
                <a:gd name="T96" fmla="*/ 86 w 122"/>
                <a:gd name="T97" fmla="*/ 191 h 197"/>
                <a:gd name="T98" fmla="*/ 98 w 122"/>
                <a:gd name="T99" fmla="*/ 190 h 197"/>
                <a:gd name="T100" fmla="*/ 104 w 122"/>
                <a:gd name="T101" fmla="*/ 190 h 197"/>
                <a:gd name="T102" fmla="*/ 106 w 122"/>
                <a:gd name="T103" fmla="*/ 186 h 197"/>
                <a:gd name="T104" fmla="*/ 110 w 122"/>
                <a:gd name="T105" fmla="*/ 19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197">
                  <a:moveTo>
                    <a:pt x="122" y="4"/>
                  </a:moveTo>
                  <a:cubicBezTo>
                    <a:pt x="120" y="3"/>
                    <a:pt x="120" y="3"/>
                    <a:pt x="120" y="3"/>
                  </a:cubicBezTo>
                  <a:cubicBezTo>
                    <a:pt x="119" y="0"/>
                    <a:pt x="119" y="0"/>
                    <a:pt x="119" y="0"/>
                  </a:cubicBezTo>
                  <a:cubicBezTo>
                    <a:pt x="46" y="0"/>
                    <a:pt x="46" y="0"/>
                    <a:pt x="46" y="0"/>
                  </a:cubicBezTo>
                  <a:cubicBezTo>
                    <a:pt x="46" y="0"/>
                    <a:pt x="47" y="0"/>
                    <a:pt x="47" y="1"/>
                  </a:cubicBezTo>
                  <a:cubicBezTo>
                    <a:pt x="48" y="2"/>
                    <a:pt x="48" y="2"/>
                    <a:pt x="47" y="3"/>
                  </a:cubicBezTo>
                  <a:cubicBezTo>
                    <a:pt x="47" y="4"/>
                    <a:pt x="47" y="4"/>
                    <a:pt x="47" y="5"/>
                  </a:cubicBezTo>
                  <a:cubicBezTo>
                    <a:pt x="46" y="5"/>
                    <a:pt x="46" y="5"/>
                    <a:pt x="46" y="5"/>
                  </a:cubicBezTo>
                  <a:cubicBezTo>
                    <a:pt x="45" y="6"/>
                    <a:pt x="44" y="6"/>
                    <a:pt x="43" y="6"/>
                  </a:cubicBezTo>
                  <a:cubicBezTo>
                    <a:pt x="42" y="6"/>
                    <a:pt x="42" y="6"/>
                    <a:pt x="41" y="6"/>
                  </a:cubicBezTo>
                  <a:cubicBezTo>
                    <a:pt x="41" y="5"/>
                    <a:pt x="41" y="5"/>
                    <a:pt x="41" y="4"/>
                  </a:cubicBezTo>
                  <a:cubicBezTo>
                    <a:pt x="40" y="4"/>
                    <a:pt x="40" y="5"/>
                    <a:pt x="40" y="5"/>
                  </a:cubicBezTo>
                  <a:cubicBezTo>
                    <a:pt x="40" y="5"/>
                    <a:pt x="40" y="6"/>
                    <a:pt x="40" y="6"/>
                  </a:cubicBezTo>
                  <a:cubicBezTo>
                    <a:pt x="40" y="7"/>
                    <a:pt x="41" y="8"/>
                    <a:pt x="41" y="10"/>
                  </a:cubicBezTo>
                  <a:cubicBezTo>
                    <a:pt x="40" y="11"/>
                    <a:pt x="39" y="11"/>
                    <a:pt x="39" y="10"/>
                  </a:cubicBezTo>
                  <a:cubicBezTo>
                    <a:pt x="38" y="10"/>
                    <a:pt x="38" y="9"/>
                    <a:pt x="38" y="9"/>
                  </a:cubicBezTo>
                  <a:cubicBezTo>
                    <a:pt x="38" y="9"/>
                    <a:pt x="38" y="8"/>
                    <a:pt x="38" y="7"/>
                  </a:cubicBezTo>
                  <a:cubicBezTo>
                    <a:pt x="37" y="8"/>
                    <a:pt x="37" y="8"/>
                    <a:pt x="37" y="9"/>
                  </a:cubicBezTo>
                  <a:cubicBezTo>
                    <a:pt x="37" y="9"/>
                    <a:pt x="37" y="10"/>
                    <a:pt x="37" y="11"/>
                  </a:cubicBezTo>
                  <a:cubicBezTo>
                    <a:pt x="38" y="12"/>
                    <a:pt x="39" y="12"/>
                    <a:pt x="40" y="13"/>
                  </a:cubicBezTo>
                  <a:cubicBezTo>
                    <a:pt x="40" y="13"/>
                    <a:pt x="40" y="14"/>
                    <a:pt x="40" y="14"/>
                  </a:cubicBezTo>
                  <a:cubicBezTo>
                    <a:pt x="40" y="14"/>
                    <a:pt x="40" y="14"/>
                    <a:pt x="39" y="15"/>
                  </a:cubicBezTo>
                  <a:cubicBezTo>
                    <a:pt x="39" y="15"/>
                    <a:pt x="39" y="15"/>
                    <a:pt x="38" y="15"/>
                  </a:cubicBezTo>
                  <a:cubicBezTo>
                    <a:pt x="38" y="15"/>
                    <a:pt x="37" y="15"/>
                    <a:pt x="37" y="14"/>
                  </a:cubicBezTo>
                  <a:cubicBezTo>
                    <a:pt x="37" y="14"/>
                    <a:pt x="37" y="13"/>
                    <a:pt x="37" y="13"/>
                  </a:cubicBezTo>
                  <a:cubicBezTo>
                    <a:pt x="36" y="13"/>
                    <a:pt x="36" y="14"/>
                    <a:pt x="36" y="14"/>
                  </a:cubicBezTo>
                  <a:cubicBezTo>
                    <a:pt x="36" y="15"/>
                    <a:pt x="36" y="15"/>
                    <a:pt x="37" y="16"/>
                  </a:cubicBezTo>
                  <a:cubicBezTo>
                    <a:pt x="37" y="17"/>
                    <a:pt x="37" y="17"/>
                    <a:pt x="37" y="18"/>
                  </a:cubicBezTo>
                  <a:cubicBezTo>
                    <a:pt x="37" y="18"/>
                    <a:pt x="37" y="19"/>
                    <a:pt x="37" y="19"/>
                  </a:cubicBezTo>
                  <a:cubicBezTo>
                    <a:pt x="37" y="19"/>
                    <a:pt x="37" y="20"/>
                    <a:pt x="36" y="20"/>
                  </a:cubicBezTo>
                  <a:cubicBezTo>
                    <a:pt x="36" y="21"/>
                    <a:pt x="36" y="22"/>
                    <a:pt x="36" y="23"/>
                  </a:cubicBezTo>
                  <a:cubicBezTo>
                    <a:pt x="37" y="24"/>
                    <a:pt x="36" y="24"/>
                    <a:pt x="35" y="25"/>
                  </a:cubicBezTo>
                  <a:cubicBezTo>
                    <a:pt x="35" y="25"/>
                    <a:pt x="34" y="26"/>
                    <a:pt x="34" y="26"/>
                  </a:cubicBezTo>
                  <a:cubicBezTo>
                    <a:pt x="34" y="26"/>
                    <a:pt x="34" y="27"/>
                    <a:pt x="34" y="27"/>
                  </a:cubicBezTo>
                  <a:cubicBezTo>
                    <a:pt x="34" y="27"/>
                    <a:pt x="34" y="28"/>
                    <a:pt x="34" y="28"/>
                  </a:cubicBezTo>
                  <a:cubicBezTo>
                    <a:pt x="33" y="29"/>
                    <a:pt x="33" y="28"/>
                    <a:pt x="33" y="28"/>
                  </a:cubicBezTo>
                  <a:cubicBezTo>
                    <a:pt x="32" y="27"/>
                    <a:pt x="33" y="26"/>
                    <a:pt x="32" y="26"/>
                  </a:cubicBezTo>
                  <a:cubicBezTo>
                    <a:pt x="32" y="26"/>
                    <a:pt x="30" y="26"/>
                    <a:pt x="30" y="27"/>
                  </a:cubicBezTo>
                  <a:cubicBezTo>
                    <a:pt x="30" y="28"/>
                    <a:pt x="31" y="28"/>
                    <a:pt x="30" y="29"/>
                  </a:cubicBezTo>
                  <a:cubicBezTo>
                    <a:pt x="30" y="29"/>
                    <a:pt x="29" y="29"/>
                    <a:pt x="29" y="29"/>
                  </a:cubicBezTo>
                  <a:cubicBezTo>
                    <a:pt x="29" y="29"/>
                    <a:pt x="28" y="30"/>
                    <a:pt x="28" y="30"/>
                  </a:cubicBezTo>
                  <a:cubicBezTo>
                    <a:pt x="28" y="31"/>
                    <a:pt x="28" y="31"/>
                    <a:pt x="28" y="31"/>
                  </a:cubicBezTo>
                  <a:cubicBezTo>
                    <a:pt x="28" y="33"/>
                    <a:pt x="27" y="32"/>
                    <a:pt x="26" y="32"/>
                  </a:cubicBezTo>
                  <a:cubicBezTo>
                    <a:pt x="25" y="32"/>
                    <a:pt x="25" y="31"/>
                    <a:pt x="24" y="31"/>
                  </a:cubicBezTo>
                  <a:cubicBezTo>
                    <a:pt x="24" y="32"/>
                    <a:pt x="24" y="32"/>
                    <a:pt x="24" y="32"/>
                  </a:cubicBezTo>
                  <a:cubicBezTo>
                    <a:pt x="24" y="33"/>
                    <a:pt x="26" y="34"/>
                    <a:pt x="26" y="34"/>
                  </a:cubicBezTo>
                  <a:cubicBezTo>
                    <a:pt x="27" y="34"/>
                    <a:pt x="28" y="34"/>
                    <a:pt x="28" y="34"/>
                  </a:cubicBezTo>
                  <a:cubicBezTo>
                    <a:pt x="28" y="35"/>
                    <a:pt x="28" y="35"/>
                    <a:pt x="27" y="35"/>
                  </a:cubicBezTo>
                  <a:cubicBezTo>
                    <a:pt x="27" y="35"/>
                    <a:pt x="26" y="35"/>
                    <a:pt x="26" y="35"/>
                  </a:cubicBezTo>
                  <a:cubicBezTo>
                    <a:pt x="25" y="35"/>
                    <a:pt x="25" y="35"/>
                    <a:pt x="24" y="35"/>
                  </a:cubicBezTo>
                  <a:cubicBezTo>
                    <a:pt x="24" y="35"/>
                    <a:pt x="23" y="36"/>
                    <a:pt x="24" y="36"/>
                  </a:cubicBezTo>
                  <a:cubicBezTo>
                    <a:pt x="24" y="37"/>
                    <a:pt x="25" y="37"/>
                    <a:pt x="26" y="38"/>
                  </a:cubicBezTo>
                  <a:cubicBezTo>
                    <a:pt x="26" y="38"/>
                    <a:pt x="26" y="40"/>
                    <a:pt x="26" y="40"/>
                  </a:cubicBezTo>
                  <a:cubicBezTo>
                    <a:pt x="25" y="41"/>
                    <a:pt x="24" y="40"/>
                    <a:pt x="23" y="41"/>
                  </a:cubicBezTo>
                  <a:cubicBezTo>
                    <a:pt x="23" y="41"/>
                    <a:pt x="22" y="41"/>
                    <a:pt x="23" y="41"/>
                  </a:cubicBezTo>
                  <a:cubicBezTo>
                    <a:pt x="23" y="42"/>
                    <a:pt x="23" y="42"/>
                    <a:pt x="23" y="42"/>
                  </a:cubicBezTo>
                  <a:cubicBezTo>
                    <a:pt x="23" y="43"/>
                    <a:pt x="23" y="43"/>
                    <a:pt x="22" y="42"/>
                  </a:cubicBezTo>
                  <a:cubicBezTo>
                    <a:pt x="22" y="42"/>
                    <a:pt x="22" y="42"/>
                    <a:pt x="22" y="42"/>
                  </a:cubicBezTo>
                  <a:cubicBezTo>
                    <a:pt x="22" y="42"/>
                    <a:pt x="22" y="42"/>
                    <a:pt x="22" y="42"/>
                  </a:cubicBezTo>
                  <a:cubicBezTo>
                    <a:pt x="21" y="42"/>
                    <a:pt x="20" y="41"/>
                    <a:pt x="19" y="41"/>
                  </a:cubicBezTo>
                  <a:cubicBezTo>
                    <a:pt x="19" y="42"/>
                    <a:pt x="19" y="42"/>
                    <a:pt x="19" y="42"/>
                  </a:cubicBezTo>
                  <a:cubicBezTo>
                    <a:pt x="19" y="43"/>
                    <a:pt x="19" y="43"/>
                    <a:pt x="19" y="43"/>
                  </a:cubicBezTo>
                  <a:cubicBezTo>
                    <a:pt x="19" y="43"/>
                    <a:pt x="19" y="43"/>
                    <a:pt x="20" y="44"/>
                  </a:cubicBezTo>
                  <a:cubicBezTo>
                    <a:pt x="20" y="44"/>
                    <a:pt x="20" y="44"/>
                    <a:pt x="20" y="44"/>
                  </a:cubicBezTo>
                  <a:cubicBezTo>
                    <a:pt x="21" y="44"/>
                    <a:pt x="21" y="44"/>
                    <a:pt x="21" y="44"/>
                  </a:cubicBezTo>
                  <a:cubicBezTo>
                    <a:pt x="21" y="44"/>
                    <a:pt x="21" y="44"/>
                    <a:pt x="21" y="45"/>
                  </a:cubicBezTo>
                  <a:cubicBezTo>
                    <a:pt x="21" y="45"/>
                    <a:pt x="21" y="45"/>
                    <a:pt x="21" y="46"/>
                  </a:cubicBezTo>
                  <a:cubicBezTo>
                    <a:pt x="21" y="46"/>
                    <a:pt x="20" y="46"/>
                    <a:pt x="20" y="47"/>
                  </a:cubicBezTo>
                  <a:cubicBezTo>
                    <a:pt x="20" y="47"/>
                    <a:pt x="20" y="47"/>
                    <a:pt x="20" y="48"/>
                  </a:cubicBezTo>
                  <a:cubicBezTo>
                    <a:pt x="20" y="48"/>
                    <a:pt x="20" y="48"/>
                    <a:pt x="20" y="49"/>
                  </a:cubicBezTo>
                  <a:cubicBezTo>
                    <a:pt x="20" y="49"/>
                    <a:pt x="21" y="49"/>
                    <a:pt x="21" y="49"/>
                  </a:cubicBezTo>
                  <a:cubicBezTo>
                    <a:pt x="21" y="50"/>
                    <a:pt x="21" y="50"/>
                    <a:pt x="22" y="50"/>
                  </a:cubicBezTo>
                  <a:cubicBezTo>
                    <a:pt x="22" y="51"/>
                    <a:pt x="22" y="51"/>
                    <a:pt x="22" y="51"/>
                  </a:cubicBezTo>
                  <a:cubicBezTo>
                    <a:pt x="21" y="51"/>
                    <a:pt x="21" y="51"/>
                    <a:pt x="21" y="51"/>
                  </a:cubicBezTo>
                  <a:cubicBezTo>
                    <a:pt x="20" y="51"/>
                    <a:pt x="20" y="51"/>
                    <a:pt x="20" y="51"/>
                  </a:cubicBezTo>
                  <a:cubicBezTo>
                    <a:pt x="19" y="50"/>
                    <a:pt x="18" y="51"/>
                    <a:pt x="17" y="51"/>
                  </a:cubicBezTo>
                  <a:cubicBezTo>
                    <a:pt x="17" y="51"/>
                    <a:pt x="17" y="52"/>
                    <a:pt x="17" y="52"/>
                  </a:cubicBezTo>
                  <a:cubicBezTo>
                    <a:pt x="17" y="52"/>
                    <a:pt x="17" y="53"/>
                    <a:pt x="17" y="53"/>
                  </a:cubicBezTo>
                  <a:cubicBezTo>
                    <a:pt x="18" y="53"/>
                    <a:pt x="18" y="53"/>
                    <a:pt x="18" y="53"/>
                  </a:cubicBezTo>
                  <a:cubicBezTo>
                    <a:pt x="19" y="53"/>
                    <a:pt x="19" y="53"/>
                    <a:pt x="20" y="54"/>
                  </a:cubicBezTo>
                  <a:cubicBezTo>
                    <a:pt x="20" y="54"/>
                    <a:pt x="21" y="54"/>
                    <a:pt x="21" y="55"/>
                  </a:cubicBezTo>
                  <a:cubicBezTo>
                    <a:pt x="21" y="55"/>
                    <a:pt x="20" y="56"/>
                    <a:pt x="19" y="55"/>
                  </a:cubicBezTo>
                  <a:cubicBezTo>
                    <a:pt x="19" y="55"/>
                    <a:pt x="19" y="55"/>
                    <a:pt x="18" y="55"/>
                  </a:cubicBezTo>
                  <a:cubicBezTo>
                    <a:pt x="18" y="55"/>
                    <a:pt x="18" y="55"/>
                    <a:pt x="17" y="54"/>
                  </a:cubicBezTo>
                  <a:cubicBezTo>
                    <a:pt x="17" y="54"/>
                    <a:pt x="17" y="53"/>
                    <a:pt x="16" y="53"/>
                  </a:cubicBezTo>
                  <a:cubicBezTo>
                    <a:pt x="15" y="53"/>
                    <a:pt x="14" y="55"/>
                    <a:pt x="15" y="55"/>
                  </a:cubicBezTo>
                  <a:cubicBezTo>
                    <a:pt x="15" y="56"/>
                    <a:pt x="16" y="56"/>
                    <a:pt x="16" y="57"/>
                  </a:cubicBezTo>
                  <a:cubicBezTo>
                    <a:pt x="16" y="57"/>
                    <a:pt x="17" y="57"/>
                    <a:pt x="17" y="58"/>
                  </a:cubicBezTo>
                  <a:cubicBezTo>
                    <a:pt x="17" y="58"/>
                    <a:pt x="16" y="58"/>
                    <a:pt x="16" y="59"/>
                  </a:cubicBezTo>
                  <a:cubicBezTo>
                    <a:pt x="15" y="59"/>
                    <a:pt x="15" y="59"/>
                    <a:pt x="14" y="59"/>
                  </a:cubicBezTo>
                  <a:cubicBezTo>
                    <a:pt x="14" y="60"/>
                    <a:pt x="14" y="60"/>
                    <a:pt x="14" y="61"/>
                  </a:cubicBezTo>
                  <a:cubicBezTo>
                    <a:pt x="14" y="61"/>
                    <a:pt x="15" y="61"/>
                    <a:pt x="15" y="61"/>
                  </a:cubicBezTo>
                  <a:cubicBezTo>
                    <a:pt x="15" y="62"/>
                    <a:pt x="15" y="62"/>
                    <a:pt x="15" y="62"/>
                  </a:cubicBezTo>
                  <a:cubicBezTo>
                    <a:pt x="16" y="63"/>
                    <a:pt x="15" y="63"/>
                    <a:pt x="15" y="63"/>
                  </a:cubicBezTo>
                  <a:cubicBezTo>
                    <a:pt x="14" y="63"/>
                    <a:pt x="13" y="64"/>
                    <a:pt x="14" y="64"/>
                  </a:cubicBezTo>
                  <a:cubicBezTo>
                    <a:pt x="14" y="65"/>
                    <a:pt x="15" y="64"/>
                    <a:pt x="16" y="64"/>
                  </a:cubicBezTo>
                  <a:cubicBezTo>
                    <a:pt x="16" y="64"/>
                    <a:pt x="17" y="64"/>
                    <a:pt x="17" y="64"/>
                  </a:cubicBezTo>
                  <a:cubicBezTo>
                    <a:pt x="17" y="65"/>
                    <a:pt x="16" y="65"/>
                    <a:pt x="16" y="65"/>
                  </a:cubicBezTo>
                  <a:cubicBezTo>
                    <a:pt x="16" y="66"/>
                    <a:pt x="15" y="66"/>
                    <a:pt x="15" y="66"/>
                  </a:cubicBezTo>
                  <a:cubicBezTo>
                    <a:pt x="15" y="67"/>
                    <a:pt x="16" y="67"/>
                    <a:pt x="16" y="67"/>
                  </a:cubicBezTo>
                  <a:cubicBezTo>
                    <a:pt x="17" y="67"/>
                    <a:pt x="17" y="67"/>
                    <a:pt x="17" y="67"/>
                  </a:cubicBezTo>
                  <a:cubicBezTo>
                    <a:pt x="17" y="66"/>
                    <a:pt x="18" y="66"/>
                    <a:pt x="18" y="66"/>
                  </a:cubicBezTo>
                  <a:cubicBezTo>
                    <a:pt x="18" y="65"/>
                    <a:pt x="18" y="65"/>
                    <a:pt x="18" y="65"/>
                  </a:cubicBezTo>
                  <a:cubicBezTo>
                    <a:pt x="18" y="64"/>
                    <a:pt x="19" y="64"/>
                    <a:pt x="19" y="64"/>
                  </a:cubicBezTo>
                  <a:cubicBezTo>
                    <a:pt x="19" y="64"/>
                    <a:pt x="19" y="65"/>
                    <a:pt x="19" y="65"/>
                  </a:cubicBezTo>
                  <a:cubicBezTo>
                    <a:pt x="19" y="66"/>
                    <a:pt x="18" y="67"/>
                    <a:pt x="17" y="68"/>
                  </a:cubicBezTo>
                  <a:cubicBezTo>
                    <a:pt x="17" y="68"/>
                    <a:pt x="17" y="68"/>
                    <a:pt x="17" y="69"/>
                  </a:cubicBezTo>
                  <a:cubicBezTo>
                    <a:pt x="17" y="70"/>
                    <a:pt x="17" y="71"/>
                    <a:pt x="17" y="72"/>
                  </a:cubicBezTo>
                  <a:cubicBezTo>
                    <a:pt x="17" y="72"/>
                    <a:pt x="18" y="72"/>
                    <a:pt x="18" y="72"/>
                  </a:cubicBezTo>
                  <a:cubicBezTo>
                    <a:pt x="18" y="72"/>
                    <a:pt x="18" y="71"/>
                    <a:pt x="18" y="71"/>
                  </a:cubicBezTo>
                  <a:cubicBezTo>
                    <a:pt x="19" y="71"/>
                    <a:pt x="19" y="71"/>
                    <a:pt x="19" y="71"/>
                  </a:cubicBezTo>
                  <a:cubicBezTo>
                    <a:pt x="20" y="72"/>
                    <a:pt x="20" y="72"/>
                    <a:pt x="20" y="72"/>
                  </a:cubicBezTo>
                  <a:cubicBezTo>
                    <a:pt x="20" y="73"/>
                    <a:pt x="19" y="73"/>
                    <a:pt x="19" y="73"/>
                  </a:cubicBezTo>
                  <a:cubicBezTo>
                    <a:pt x="18" y="74"/>
                    <a:pt x="18" y="74"/>
                    <a:pt x="18" y="75"/>
                  </a:cubicBezTo>
                  <a:cubicBezTo>
                    <a:pt x="19" y="75"/>
                    <a:pt x="19" y="76"/>
                    <a:pt x="19" y="76"/>
                  </a:cubicBezTo>
                  <a:cubicBezTo>
                    <a:pt x="19" y="76"/>
                    <a:pt x="19" y="77"/>
                    <a:pt x="19" y="77"/>
                  </a:cubicBezTo>
                  <a:cubicBezTo>
                    <a:pt x="18" y="77"/>
                    <a:pt x="17" y="77"/>
                    <a:pt x="17" y="77"/>
                  </a:cubicBezTo>
                  <a:cubicBezTo>
                    <a:pt x="16" y="77"/>
                    <a:pt x="15" y="78"/>
                    <a:pt x="15" y="78"/>
                  </a:cubicBezTo>
                  <a:cubicBezTo>
                    <a:pt x="15" y="78"/>
                    <a:pt x="15" y="79"/>
                    <a:pt x="15" y="79"/>
                  </a:cubicBezTo>
                  <a:cubicBezTo>
                    <a:pt x="16" y="79"/>
                    <a:pt x="16" y="79"/>
                    <a:pt x="16" y="80"/>
                  </a:cubicBezTo>
                  <a:cubicBezTo>
                    <a:pt x="16" y="80"/>
                    <a:pt x="17" y="80"/>
                    <a:pt x="17" y="80"/>
                  </a:cubicBezTo>
                  <a:cubicBezTo>
                    <a:pt x="18" y="81"/>
                    <a:pt x="17" y="82"/>
                    <a:pt x="16" y="82"/>
                  </a:cubicBezTo>
                  <a:cubicBezTo>
                    <a:pt x="15" y="84"/>
                    <a:pt x="15" y="84"/>
                    <a:pt x="15" y="84"/>
                  </a:cubicBezTo>
                  <a:cubicBezTo>
                    <a:pt x="15" y="84"/>
                    <a:pt x="14" y="85"/>
                    <a:pt x="14" y="85"/>
                  </a:cubicBezTo>
                  <a:cubicBezTo>
                    <a:pt x="14" y="86"/>
                    <a:pt x="15" y="87"/>
                    <a:pt x="16" y="87"/>
                  </a:cubicBezTo>
                  <a:cubicBezTo>
                    <a:pt x="17" y="86"/>
                    <a:pt x="17" y="86"/>
                    <a:pt x="17" y="85"/>
                  </a:cubicBezTo>
                  <a:cubicBezTo>
                    <a:pt x="17" y="85"/>
                    <a:pt x="17" y="85"/>
                    <a:pt x="17" y="84"/>
                  </a:cubicBezTo>
                  <a:cubicBezTo>
                    <a:pt x="17" y="84"/>
                    <a:pt x="17" y="83"/>
                    <a:pt x="17" y="83"/>
                  </a:cubicBezTo>
                  <a:cubicBezTo>
                    <a:pt x="18" y="83"/>
                    <a:pt x="18" y="84"/>
                    <a:pt x="18" y="84"/>
                  </a:cubicBezTo>
                  <a:cubicBezTo>
                    <a:pt x="19" y="85"/>
                    <a:pt x="19" y="85"/>
                    <a:pt x="19" y="86"/>
                  </a:cubicBezTo>
                  <a:cubicBezTo>
                    <a:pt x="20" y="88"/>
                    <a:pt x="18" y="89"/>
                    <a:pt x="17" y="89"/>
                  </a:cubicBezTo>
                  <a:cubicBezTo>
                    <a:pt x="17" y="90"/>
                    <a:pt x="16" y="90"/>
                    <a:pt x="16" y="90"/>
                  </a:cubicBezTo>
                  <a:cubicBezTo>
                    <a:pt x="16" y="90"/>
                    <a:pt x="16" y="91"/>
                    <a:pt x="16" y="91"/>
                  </a:cubicBezTo>
                  <a:cubicBezTo>
                    <a:pt x="16" y="91"/>
                    <a:pt x="16" y="92"/>
                    <a:pt x="16" y="92"/>
                  </a:cubicBezTo>
                  <a:cubicBezTo>
                    <a:pt x="16" y="92"/>
                    <a:pt x="16" y="93"/>
                    <a:pt x="16" y="93"/>
                  </a:cubicBezTo>
                  <a:cubicBezTo>
                    <a:pt x="17" y="94"/>
                    <a:pt x="18" y="94"/>
                    <a:pt x="19" y="94"/>
                  </a:cubicBezTo>
                  <a:cubicBezTo>
                    <a:pt x="20" y="94"/>
                    <a:pt x="20" y="94"/>
                    <a:pt x="19" y="95"/>
                  </a:cubicBezTo>
                  <a:cubicBezTo>
                    <a:pt x="19" y="95"/>
                    <a:pt x="18" y="96"/>
                    <a:pt x="18" y="96"/>
                  </a:cubicBezTo>
                  <a:cubicBezTo>
                    <a:pt x="18" y="97"/>
                    <a:pt x="17" y="98"/>
                    <a:pt x="17" y="99"/>
                  </a:cubicBezTo>
                  <a:cubicBezTo>
                    <a:pt x="17" y="99"/>
                    <a:pt x="17" y="100"/>
                    <a:pt x="17" y="100"/>
                  </a:cubicBezTo>
                  <a:cubicBezTo>
                    <a:pt x="18" y="100"/>
                    <a:pt x="19" y="99"/>
                    <a:pt x="19" y="99"/>
                  </a:cubicBezTo>
                  <a:cubicBezTo>
                    <a:pt x="20" y="98"/>
                    <a:pt x="20" y="98"/>
                    <a:pt x="21" y="98"/>
                  </a:cubicBezTo>
                  <a:cubicBezTo>
                    <a:pt x="22" y="98"/>
                    <a:pt x="22" y="98"/>
                    <a:pt x="21" y="99"/>
                  </a:cubicBezTo>
                  <a:cubicBezTo>
                    <a:pt x="21" y="100"/>
                    <a:pt x="20" y="100"/>
                    <a:pt x="19" y="101"/>
                  </a:cubicBezTo>
                  <a:cubicBezTo>
                    <a:pt x="19" y="101"/>
                    <a:pt x="20" y="101"/>
                    <a:pt x="20" y="102"/>
                  </a:cubicBezTo>
                  <a:cubicBezTo>
                    <a:pt x="20" y="102"/>
                    <a:pt x="20" y="102"/>
                    <a:pt x="20" y="102"/>
                  </a:cubicBezTo>
                  <a:cubicBezTo>
                    <a:pt x="21" y="102"/>
                    <a:pt x="22" y="103"/>
                    <a:pt x="22" y="104"/>
                  </a:cubicBezTo>
                  <a:cubicBezTo>
                    <a:pt x="22" y="104"/>
                    <a:pt x="20" y="103"/>
                    <a:pt x="20" y="103"/>
                  </a:cubicBezTo>
                  <a:cubicBezTo>
                    <a:pt x="19" y="103"/>
                    <a:pt x="19" y="102"/>
                    <a:pt x="19" y="102"/>
                  </a:cubicBezTo>
                  <a:cubicBezTo>
                    <a:pt x="18" y="101"/>
                    <a:pt x="18" y="102"/>
                    <a:pt x="18" y="102"/>
                  </a:cubicBezTo>
                  <a:cubicBezTo>
                    <a:pt x="18" y="103"/>
                    <a:pt x="18" y="103"/>
                    <a:pt x="18" y="104"/>
                  </a:cubicBezTo>
                  <a:cubicBezTo>
                    <a:pt x="18" y="104"/>
                    <a:pt x="18" y="105"/>
                    <a:pt x="18" y="105"/>
                  </a:cubicBezTo>
                  <a:cubicBezTo>
                    <a:pt x="19" y="105"/>
                    <a:pt x="19" y="106"/>
                    <a:pt x="20" y="106"/>
                  </a:cubicBezTo>
                  <a:cubicBezTo>
                    <a:pt x="20" y="106"/>
                    <a:pt x="21" y="106"/>
                    <a:pt x="21" y="106"/>
                  </a:cubicBezTo>
                  <a:cubicBezTo>
                    <a:pt x="22" y="106"/>
                    <a:pt x="22" y="106"/>
                    <a:pt x="23" y="106"/>
                  </a:cubicBezTo>
                  <a:cubicBezTo>
                    <a:pt x="23" y="107"/>
                    <a:pt x="22" y="108"/>
                    <a:pt x="22" y="109"/>
                  </a:cubicBezTo>
                  <a:cubicBezTo>
                    <a:pt x="22" y="110"/>
                    <a:pt x="24" y="110"/>
                    <a:pt x="24" y="110"/>
                  </a:cubicBezTo>
                  <a:cubicBezTo>
                    <a:pt x="25" y="110"/>
                    <a:pt x="25" y="109"/>
                    <a:pt x="26" y="109"/>
                  </a:cubicBezTo>
                  <a:cubicBezTo>
                    <a:pt x="26" y="110"/>
                    <a:pt x="26" y="111"/>
                    <a:pt x="25" y="111"/>
                  </a:cubicBezTo>
                  <a:cubicBezTo>
                    <a:pt x="25" y="111"/>
                    <a:pt x="23" y="112"/>
                    <a:pt x="23" y="112"/>
                  </a:cubicBezTo>
                  <a:cubicBezTo>
                    <a:pt x="22" y="112"/>
                    <a:pt x="22" y="113"/>
                    <a:pt x="22" y="114"/>
                  </a:cubicBezTo>
                  <a:cubicBezTo>
                    <a:pt x="22" y="114"/>
                    <a:pt x="23" y="116"/>
                    <a:pt x="22" y="116"/>
                  </a:cubicBezTo>
                  <a:cubicBezTo>
                    <a:pt x="21" y="116"/>
                    <a:pt x="21" y="115"/>
                    <a:pt x="21" y="115"/>
                  </a:cubicBezTo>
                  <a:cubicBezTo>
                    <a:pt x="21" y="115"/>
                    <a:pt x="21" y="115"/>
                    <a:pt x="21" y="114"/>
                  </a:cubicBezTo>
                  <a:cubicBezTo>
                    <a:pt x="20" y="114"/>
                    <a:pt x="19" y="114"/>
                    <a:pt x="19" y="115"/>
                  </a:cubicBezTo>
                  <a:cubicBezTo>
                    <a:pt x="18" y="115"/>
                    <a:pt x="18" y="115"/>
                    <a:pt x="17" y="115"/>
                  </a:cubicBezTo>
                  <a:cubicBezTo>
                    <a:pt x="16" y="115"/>
                    <a:pt x="16" y="116"/>
                    <a:pt x="16" y="116"/>
                  </a:cubicBezTo>
                  <a:cubicBezTo>
                    <a:pt x="16" y="117"/>
                    <a:pt x="16" y="118"/>
                    <a:pt x="17" y="118"/>
                  </a:cubicBezTo>
                  <a:cubicBezTo>
                    <a:pt x="17" y="119"/>
                    <a:pt x="18" y="119"/>
                    <a:pt x="19" y="119"/>
                  </a:cubicBezTo>
                  <a:cubicBezTo>
                    <a:pt x="19" y="118"/>
                    <a:pt x="20" y="118"/>
                    <a:pt x="20" y="118"/>
                  </a:cubicBezTo>
                  <a:cubicBezTo>
                    <a:pt x="20" y="118"/>
                    <a:pt x="20" y="117"/>
                    <a:pt x="20" y="117"/>
                  </a:cubicBezTo>
                  <a:cubicBezTo>
                    <a:pt x="20" y="117"/>
                    <a:pt x="20" y="117"/>
                    <a:pt x="20" y="116"/>
                  </a:cubicBezTo>
                  <a:cubicBezTo>
                    <a:pt x="20" y="116"/>
                    <a:pt x="21" y="117"/>
                    <a:pt x="21" y="117"/>
                  </a:cubicBezTo>
                  <a:cubicBezTo>
                    <a:pt x="21" y="118"/>
                    <a:pt x="21" y="118"/>
                    <a:pt x="21" y="119"/>
                  </a:cubicBezTo>
                  <a:cubicBezTo>
                    <a:pt x="21" y="119"/>
                    <a:pt x="21" y="119"/>
                    <a:pt x="21" y="119"/>
                  </a:cubicBezTo>
                  <a:cubicBezTo>
                    <a:pt x="20" y="119"/>
                    <a:pt x="20" y="120"/>
                    <a:pt x="20" y="120"/>
                  </a:cubicBezTo>
                  <a:cubicBezTo>
                    <a:pt x="20" y="120"/>
                    <a:pt x="19" y="121"/>
                    <a:pt x="19" y="121"/>
                  </a:cubicBezTo>
                  <a:cubicBezTo>
                    <a:pt x="19" y="122"/>
                    <a:pt x="18" y="121"/>
                    <a:pt x="18" y="121"/>
                  </a:cubicBezTo>
                  <a:cubicBezTo>
                    <a:pt x="17" y="121"/>
                    <a:pt x="17" y="121"/>
                    <a:pt x="17" y="120"/>
                  </a:cubicBezTo>
                  <a:cubicBezTo>
                    <a:pt x="17" y="120"/>
                    <a:pt x="16" y="120"/>
                    <a:pt x="16" y="121"/>
                  </a:cubicBezTo>
                  <a:cubicBezTo>
                    <a:pt x="16" y="121"/>
                    <a:pt x="17" y="121"/>
                    <a:pt x="18" y="122"/>
                  </a:cubicBezTo>
                  <a:cubicBezTo>
                    <a:pt x="18" y="122"/>
                    <a:pt x="18" y="122"/>
                    <a:pt x="18" y="123"/>
                  </a:cubicBezTo>
                  <a:cubicBezTo>
                    <a:pt x="19" y="124"/>
                    <a:pt x="18" y="124"/>
                    <a:pt x="17" y="124"/>
                  </a:cubicBezTo>
                  <a:cubicBezTo>
                    <a:pt x="16" y="125"/>
                    <a:pt x="15" y="126"/>
                    <a:pt x="15" y="127"/>
                  </a:cubicBezTo>
                  <a:cubicBezTo>
                    <a:pt x="15" y="127"/>
                    <a:pt x="15" y="127"/>
                    <a:pt x="14" y="128"/>
                  </a:cubicBezTo>
                  <a:cubicBezTo>
                    <a:pt x="14" y="128"/>
                    <a:pt x="13" y="128"/>
                    <a:pt x="13" y="129"/>
                  </a:cubicBezTo>
                  <a:cubicBezTo>
                    <a:pt x="13" y="129"/>
                    <a:pt x="13" y="130"/>
                    <a:pt x="13" y="131"/>
                  </a:cubicBezTo>
                  <a:cubicBezTo>
                    <a:pt x="12" y="131"/>
                    <a:pt x="12" y="131"/>
                    <a:pt x="12" y="131"/>
                  </a:cubicBezTo>
                  <a:cubicBezTo>
                    <a:pt x="11" y="131"/>
                    <a:pt x="12" y="130"/>
                    <a:pt x="11" y="130"/>
                  </a:cubicBezTo>
                  <a:cubicBezTo>
                    <a:pt x="11" y="129"/>
                    <a:pt x="10" y="130"/>
                    <a:pt x="10" y="131"/>
                  </a:cubicBezTo>
                  <a:cubicBezTo>
                    <a:pt x="10" y="131"/>
                    <a:pt x="9" y="132"/>
                    <a:pt x="10" y="133"/>
                  </a:cubicBezTo>
                  <a:cubicBezTo>
                    <a:pt x="10" y="133"/>
                    <a:pt x="11" y="133"/>
                    <a:pt x="11" y="133"/>
                  </a:cubicBezTo>
                  <a:cubicBezTo>
                    <a:pt x="11" y="133"/>
                    <a:pt x="12" y="133"/>
                    <a:pt x="12" y="133"/>
                  </a:cubicBezTo>
                  <a:cubicBezTo>
                    <a:pt x="12" y="134"/>
                    <a:pt x="11" y="134"/>
                    <a:pt x="11" y="134"/>
                  </a:cubicBezTo>
                  <a:cubicBezTo>
                    <a:pt x="11" y="134"/>
                    <a:pt x="10" y="134"/>
                    <a:pt x="10" y="134"/>
                  </a:cubicBezTo>
                  <a:cubicBezTo>
                    <a:pt x="10" y="134"/>
                    <a:pt x="10" y="134"/>
                    <a:pt x="9" y="134"/>
                  </a:cubicBezTo>
                  <a:cubicBezTo>
                    <a:pt x="9" y="135"/>
                    <a:pt x="9" y="135"/>
                    <a:pt x="9" y="135"/>
                  </a:cubicBezTo>
                  <a:cubicBezTo>
                    <a:pt x="8" y="137"/>
                    <a:pt x="8" y="139"/>
                    <a:pt x="8" y="140"/>
                  </a:cubicBezTo>
                  <a:cubicBezTo>
                    <a:pt x="7" y="140"/>
                    <a:pt x="7" y="139"/>
                    <a:pt x="7" y="139"/>
                  </a:cubicBezTo>
                  <a:cubicBezTo>
                    <a:pt x="6" y="139"/>
                    <a:pt x="5" y="139"/>
                    <a:pt x="5" y="139"/>
                  </a:cubicBezTo>
                  <a:cubicBezTo>
                    <a:pt x="4" y="139"/>
                    <a:pt x="4" y="139"/>
                    <a:pt x="4" y="139"/>
                  </a:cubicBezTo>
                  <a:cubicBezTo>
                    <a:pt x="5" y="140"/>
                    <a:pt x="5" y="140"/>
                    <a:pt x="6" y="140"/>
                  </a:cubicBezTo>
                  <a:cubicBezTo>
                    <a:pt x="6" y="140"/>
                    <a:pt x="7" y="140"/>
                    <a:pt x="7" y="141"/>
                  </a:cubicBezTo>
                  <a:cubicBezTo>
                    <a:pt x="7" y="141"/>
                    <a:pt x="7" y="141"/>
                    <a:pt x="7" y="141"/>
                  </a:cubicBezTo>
                  <a:cubicBezTo>
                    <a:pt x="6" y="142"/>
                    <a:pt x="6" y="142"/>
                    <a:pt x="5" y="142"/>
                  </a:cubicBezTo>
                  <a:cubicBezTo>
                    <a:pt x="5" y="143"/>
                    <a:pt x="3" y="143"/>
                    <a:pt x="4" y="144"/>
                  </a:cubicBezTo>
                  <a:cubicBezTo>
                    <a:pt x="4" y="144"/>
                    <a:pt x="4" y="144"/>
                    <a:pt x="4" y="145"/>
                  </a:cubicBezTo>
                  <a:cubicBezTo>
                    <a:pt x="4" y="145"/>
                    <a:pt x="4" y="145"/>
                    <a:pt x="4" y="146"/>
                  </a:cubicBezTo>
                  <a:cubicBezTo>
                    <a:pt x="5" y="146"/>
                    <a:pt x="5" y="147"/>
                    <a:pt x="5" y="148"/>
                  </a:cubicBezTo>
                  <a:cubicBezTo>
                    <a:pt x="5" y="148"/>
                    <a:pt x="5" y="149"/>
                    <a:pt x="5" y="149"/>
                  </a:cubicBezTo>
                  <a:cubicBezTo>
                    <a:pt x="4" y="150"/>
                    <a:pt x="4" y="149"/>
                    <a:pt x="3" y="148"/>
                  </a:cubicBezTo>
                  <a:cubicBezTo>
                    <a:pt x="3" y="148"/>
                    <a:pt x="4" y="147"/>
                    <a:pt x="3" y="147"/>
                  </a:cubicBezTo>
                  <a:cubicBezTo>
                    <a:pt x="3" y="147"/>
                    <a:pt x="2" y="147"/>
                    <a:pt x="2" y="147"/>
                  </a:cubicBezTo>
                  <a:cubicBezTo>
                    <a:pt x="2" y="148"/>
                    <a:pt x="2" y="149"/>
                    <a:pt x="3" y="150"/>
                  </a:cubicBezTo>
                  <a:cubicBezTo>
                    <a:pt x="3" y="151"/>
                    <a:pt x="4" y="153"/>
                    <a:pt x="4" y="153"/>
                  </a:cubicBezTo>
                  <a:cubicBezTo>
                    <a:pt x="4" y="153"/>
                    <a:pt x="3" y="153"/>
                    <a:pt x="2" y="153"/>
                  </a:cubicBezTo>
                  <a:cubicBezTo>
                    <a:pt x="1" y="154"/>
                    <a:pt x="0" y="154"/>
                    <a:pt x="0" y="154"/>
                  </a:cubicBezTo>
                  <a:cubicBezTo>
                    <a:pt x="0" y="154"/>
                    <a:pt x="0" y="154"/>
                    <a:pt x="0" y="154"/>
                  </a:cubicBezTo>
                  <a:cubicBezTo>
                    <a:pt x="0" y="155"/>
                    <a:pt x="0" y="155"/>
                    <a:pt x="1" y="156"/>
                  </a:cubicBezTo>
                  <a:cubicBezTo>
                    <a:pt x="1" y="156"/>
                    <a:pt x="1" y="157"/>
                    <a:pt x="1" y="157"/>
                  </a:cubicBezTo>
                  <a:cubicBezTo>
                    <a:pt x="1" y="157"/>
                    <a:pt x="0" y="158"/>
                    <a:pt x="0" y="159"/>
                  </a:cubicBezTo>
                  <a:cubicBezTo>
                    <a:pt x="0" y="159"/>
                    <a:pt x="0" y="160"/>
                    <a:pt x="0" y="160"/>
                  </a:cubicBezTo>
                  <a:cubicBezTo>
                    <a:pt x="0" y="160"/>
                    <a:pt x="2" y="161"/>
                    <a:pt x="2" y="162"/>
                  </a:cubicBezTo>
                  <a:cubicBezTo>
                    <a:pt x="2" y="162"/>
                    <a:pt x="1" y="163"/>
                    <a:pt x="1" y="163"/>
                  </a:cubicBezTo>
                  <a:cubicBezTo>
                    <a:pt x="1" y="163"/>
                    <a:pt x="0" y="164"/>
                    <a:pt x="0" y="164"/>
                  </a:cubicBezTo>
                  <a:cubicBezTo>
                    <a:pt x="65" y="164"/>
                    <a:pt x="65" y="164"/>
                    <a:pt x="65" y="164"/>
                  </a:cubicBezTo>
                  <a:cubicBezTo>
                    <a:pt x="65" y="164"/>
                    <a:pt x="65" y="167"/>
                    <a:pt x="65" y="167"/>
                  </a:cubicBezTo>
                  <a:cubicBezTo>
                    <a:pt x="65" y="167"/>
                    <a:pt x="62" y="177"/>
                    <a:pt x="62" y="177"/>
                  </a:cubicBezTo>
                  <a:cubicBezTo>
                    <a:pt x="62" y="178"/>
                    <a:pt x="62" y="178"/>
                    <a:pt x="62" y="178"/>
                  </a:cubicBezTo>
                  <a:cubicBezTo>
                    <a:pt x="67" y="186"/>
                    <a:pt x="67" y="186"/>
                    <a:pt x="67" y="186"/>
                  </a:cubicBezTo>
                  <a:cubicBezTo>
                    <a:pt x="67" y="186"/>
                    <a:pt x="69" y="195"/>
                    <a:pt x="69" y="195"/>
                  </a:cubicBezTo>
                  <a:cubicBezTo>
                    <a:pt x="70" y="195"/>
                    <a:pt x="72" y="197"/>
                    <a:pt x="72" y="197"/>
                  </a:cubicBezTo>
                  <a:cubicBezTo>
                    <a:pt x="74" y="197"/>
                    <a:pt x="74" y="197"/>
                    <a:pt x="74" y="197"/>
                  </a:cubicBezTo>
                  <a:cubicBezTo>
                    <a:pt x="74" y="197"/>
                    <a:pt x="74" y="197"/>
                    <a:pt x="74" y="197"/>
                  </a:cubicBezTo>
                  <a:cubicBezTo>
                    <a:pt x="75" y="197"/>
                    <a:pt x="75" y="197"/>
                    <a:pt x="75" y="197"/>
                  </a:cubicBezTo>
                  <a:cubicBezTo>
                    <a:pt x="76" y="197"/>
                    <a:pt x="76" y="196"/>
                    <a:pt x="76" y="196"/>
                  </a:cubicBezTo>
                  <a:cubicBezTo>
                    <a:pt x="77" y="196"/>
                    <a:pt x="77" y="195"/>
                    <a:pt x="77" y="195"/>
                  </a:cubicBezTo>
                  <a:cubicBezTo>
                    <a:pt x="78" y="195"/>
                    <a:pt x="78" y="194"/>
                    <a:pt x="78" y="194"/>
                  </a:cubicBezTo>
                  <a:cubicBezTo>
                    <a:pt x="79" y="193"/>
                    <a:pt x="79" y="192"/>
                    <a:pt x="79" y="190"/>
                  </a:cubicBezTo>
                  <a:cubicBezTo>
                    <a:pt x="79" y="190"/>
                    <a:pt x="79" y="190"/>
                    <a:pt x="79" y="190"/>
                  </a:cubicBezTo>
                  <a:cubicBezTo>
                    <a:pt x="80" y="190"/>
                    <a:pt x="81" y="190"/>
                    <a:pt x="81" y="191"/>
                  </a:cubicBezTo>
                  <a:cubicBezTo>
                    <a:pt x="82" y="191"/>
                    <a:pt x="82" y="191"/>
                    <a:pt x="81" y="192"/>
                  </a:cubicBezTo>
                  <a:cubicBezTo>
                    <a:pt x="81" y="192"/>
                    <a:pt x="81" y="192"/>
                    <a:pt x="81" y="193"/>
                  </a:cubicBezTo>
                  <a:cubicBezTo>
                    <a:pt x="82" y="192"/>
                    <a:pt x="82" y="192"/>
                    <a:pt x="83" y="192"/>
                  </a:cubicBezTo>
                  <a:cubicBezTo>
                    <a:pt x="84" y="192"/>
                    <a:pt x="85" y="191"/>
                    <a:pt x="86" y="191"/>
                  </a:cubicBezTo>
                  <a:cubicBezTo>
                    <a:pt x="87" y="191"/>
                    <a:pt x="88" y="190"/>
                    <a:pt x="89" y="190"/>
                  </a:cubicBezTo>
                  <a:cubicBezTo>
                    <a:pt x="89" y="190"/>
                    <a:pt x="90" y="189"/>
                    <a:pt x="91" y="189"/>
                  </a:cubicBezTo>
                  <a:cubicBezTo>
                    <a:pt x="92" y="189"/>
                    <a:pt x="94" y="189"/>
                    <a:pt x="95" y="189"/>
                  </a:cubicBezTo>
                  <a:cubicBezTo>
                    <a:pt x="96" y="189"/>
                    <a:pt x="97" y="189"/>
                    <a:pt x="97" y="189"/>
                  </a:cubicBezTo>
                  <a:cubicBezTo>
                    <a:pt x="98" y="189"/>
                    <a:pt x="98" y="190"/>
                    <a:pt x="98" y="190"/>
                  </a:cubicBezTo>
                  <a:cubicBezTo>
                    <a:pt x="99" y="190"/>
                    <a:pt x="99" y="190"/>
                    <a:pt x="99" y="190"/>
                  </a:cubicBezTo>
                  <a:cubicBezTo>
                    <a:pt x="99" y="190"/>
                    <a:pt x="100" y="190"/>
                    <a:pt x="100" y="190"/>
                  </a:cubicBezTo>
                  <a:cubicBezTo>
                    <a:pt x="100" y="190"/>
                    <a:pt x="100" y="190"/>
                    <a:pt x="100" y="189"/>
                  </a:cubicBezTo>
                  <a:cubicBezTo>
                    <a:pt x="101" y="189"/>
                    <a:pt x="102" y="189"/>
                    <a:pt x="103" y="189"/>
                  </a:cubicBezTo>
                  <a:cubicBezTo>
                    <a:pt x="103" y="190"/>
                    <a:pt x="104" y="190"/>
                    <a:pt x="104" y="190"/>
                  </a:cubicBezTo>
                  <a:cubicBezTo>
                    <a:pt x="105" y="190"/>
                    <a:pt x="105" y="190"/>
                    <a:pt x="105" y="189"/>
                  </a:cubicBezTo>
                  <a:cubicBezTo>
                    <a:pt x="106" y="189"/>
                    <a:pt x="105" y="189"/>
                    <a:pt x="105" y="188"/>
                  </a:cubicBezTo>
                  <a:cubicBezTo>
                    <a:pt x="104" y="188"/>
                    <a:pt x="104" y="188"/>
                    <a:pt x="104" y="187"/>
                  </a:cubicBezTo>
                  <a:cubicBezTo>
                    <a:pt x="104" y="187"/>
                    <a:pt x="104" y="186"/>
                    <a:pt x="105" y="186"/>
                  </a:cubicBezTo>
                  <a:cubicBezTo>
                    <a:pt x="105" y="185"/>
                    <a:pt x="106" y="186"/>
                    <a:pt x="106" y="186"/>
                  </a:cubicBezTo>
                  <a:cubicBezTo>
                    <a:pt x="106" y="186"/>
                    <a:pt x="106" y="187"/>
                    <a:pt x="106" y="188"/>
                  </a:cubicBezTo>
                  <a:cubicBezTo>
                    <a:pt x="106" y="188"/>
                    <a:pt x="106" y="189"/>
                    <a:pt x="107" y="189"/>
                  </a:cubicBezTo>
                  <a:cubicBezTo>
                    <a:pt x="107" y="190"/>
                    <a:pt x="107" y="190"/>
                    <a:pt x="107" y="190"/>
                  </a:cubicBezTo>
                  <a:cubicBezTo>
                    <a:pt x="107" y="191"/>
                    <a:pt x="108" y="191"/>
                    <a:pt x="108" y="191"/>
                  </a:cubicBezTo>
                  <a:cubicBezTo>
                    <a:pt x="109" y="191"/>
                    <a:pt x="109" y="191"/>
                    <a:pt x="110" y="191"/>
                  </a:cubicBezTo>
                  <a:cubicBezTo>
                    <a:pt x="110" y="191"/>
                    <a:pt x="111" y="190"/>
                    <a:pt x="111" y="190"/>
                  </a:cubicBezTo>
                  <a:cubicBezTo>
                    <a:pt x="111" y="190"/>
                    <a:pt x="112" y="190"/>
                    <a:pt x="112" y="189"/>
                  </a:cubicBezTo>
                  <a:cubicBezTo>
                    <a:pt x="109" y="126"/>
                    <a:pt x="109" y="126"/>
                    <a:pt x="109" y="126"/>
                  </a:cubicBezTo>
                  <a:lnTo>
                    <a:pt x="122" y="4"/>
                  </a:lnTo>
                  <a:close/>
                </a:path>
              </a:pathLst>
            </a:custGeom>
            <a:solidFill>
              <a:schemeClr val="bg1">
                <a:lumMod val="85000"/>
              </a:schemeClr>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2" name="Freeform 35">
              <a:extLst>
                <a:ext uri="{FF2B5EF4-FFF2-40B4-BE49-F238E27FC236}">
                  <a16:creationId xmlns:a16="http://schemas.microsoft.com/office/drawing/2014/main" id="{896A9FD7-A311-8F9F-72CF-58D9AE773C18}"/>
                </a:ext>
              </a:extLst>
            </p:cNvPr>
            <p:cNvSpPr>
              <a:spLocks/>
            </p:cNvSpPr>
            <p:nvPr/>
          </p:nvSpPr>
          <p:spPr bwMode="auto">
            <a:xfrm>
              <a:off x="6283487" y="877246"/>
              <a:ext cx="1044193" cy="1174717"/>
            </a:xfrm>
            <a:custGeom>
              <a:avLst/>
              <a:gdLst>
                <a:gd name="T0" fmla="*/ 15 w 264"/>
                <a:gd name="T1" fmla="*/ 190 h 296"/>
                <a:gd name="T2" fmla="*/ 15 w 264"/>
                <a:gd name="T3" fmla="*/ 197 h 296"/>
                <a:gd name="T4" fmla="*/ 25 w 264"/>
                <a:gd name="T5" fmla="*/ 206 h 296"/>
                <a:gd name="T6" fmla="*/ 207 w 264"/>
                <a:gd name="T7" fmla="*/ 295 h 296"/>
                <a:gd name="T8" fmla="*/ 206 w 264"/>
                <a:gd name="T9" fmla="*/ 284 h 296"/>
                <a:gd name="T10" fmla="*/ 200 w 264"/>
                <a:gd name="T11" fmla="*/ 272 h 296"/>
                <a:gd name="T12" fmla="*/ 188 w 264"/>
                <a:gd name="T13" fmla="*/ 264 h 296"/>
                <a:gd name="T14" fmla="*/ 181 w 264"/>
                <a:gd name="T15" fmla="*/ 253 h 296"/>
                <a:gd name="T16" fmla="*/ 169 w 264"/>
                <a:gd name="T17" fmla="*/ 246 h 296"/>
                <a:gd name="T18" fmla="*/ 160 w 264"/>
                <a:gd name="T19" fmla="*/ 243 h 296"/>
                <a:gd name="T20" fmla="*/ 153 w 264"/>
                <a:gd name="T21" fmla="*/ 231 h 296"/>
                <a:gd name="T22" fmla="*/ 153 w 264"/>
                <a:gd name="T23" fmla="*/ 220 h 296"/>
                <a:gd name="T24" fmla="*/ 154 w 264"/>
                <a:gd name="T25" fmla="*/ 213 h 296"/>
                <a:gd name="T26" fmla="*/ 158 w 264"/>
                <a:gd name="T27" fmla="*/ 203 h 296"/>
                <a:gd name="T28" fmla="*/ 150 w 264"/>
                <a:gd name="T29" fmla="*/ 195 h 296"/>
                <a:gd name="T30" fmla="*/ 153 w 264"/>
                <a:gd name="T31" fmla="*/ 186 h 296"/>
                <a:gd name="T32" fmla="*/ 160 w 264"/>
                <a:gd name="T33" fmla="*/ 177 h 296"/>
                <a:gd name="T34" fmla="*/ 166 w 264"/>
                <a:gd name="T35" fmla="*/ 173 h 296"/>
                <a:gd name="T36" fmla="*/ 170 w 264"/>
                <a:gd name="T37" fmla="*/ 169 h 296"/>
                <a:gd name="T38" fmla="*/ 174 w 264"/>
                <a:gd name="T39" fmla="*/ 139 h 296"/>
                <a:gd name="T40" fmla="*/ 181 w 264"/>
                <a:gd name="T41" fmla="*/ 132 h 296"/>
                <a:gd name="T42" fmla="*/ 196 w 264"/>
                <a:gd name="T43" fmla="*/ 120 h 296"/>
                <a:gd name="T44" fmla="*/ 235 w 264"/>
                <a:gd name="T45" fmla="*/ 86 h 296"/>
                <a:gd name="T46" fmla="*/ 264 w 264"/>
                <a:gd name="T47" fmla="*/ 72 h 296"/>
                <a:gd name="T48" fmla="*/ 258 w 264"/>
                <a:gd name="T49" fmla="*/ 72 h 296"/>
                <a:gd name="T50" fmla="*/ 249 w 264"/>
                <a:gd name="T51" fmla="*/ 71 h 296"/>
                <a:gd name="T52" fmla="*/ 247 w 264"/>
                <a:gd name="T53" fmla="*/ 68 h 296"/>
                <a:gd name="T54" fmla="*/ 230 w 264"/>
                <a:gd name="T55" fmla="*/ 67 h 296"/>
                <a:gd name="T56" fmla="*/ 223 w 264"/>
                <a:gd name="T57" fmla="*/ 68 h 296"/>
                <a:gd name="T58" fmla="*/ 222 w 264"/>
                <a:gd name="T59" fmla="*/ 65 h 296"/>
                <a:gd name="T60" fmla="*/ 220 w 264"/>
                <a:gd name="T61" fmla="*/ 64 h 296"/>
                <a:gd name="T62" fmla="*/ 209 w 264"/>
                <a:gd name="T63" fmla="*/ 65 h 296"/>
                <a:gd name="T64" fmla="*/ 195 w 264"/>
                <a:gd name="T65" fmla="*/ 70 h 296"/>
                <a:gd name="T66" fmla="*/ 192 w 264"/>
                <a:gd name="T67" fmla="*/ 67 h 296"/>
                <a:gd name="T68" fmla="*/ 190 w 264"/>
                <a:gd name="T69" fmla="*/ 62 h 296"/>
                <a:gd name="T70" fmla="*/ 181 w 264"/>
                <a:gd name="T71" fmla="*/ 61 h 296"/>
                <a:gd name="T72" fmla="*/ 180 w 264"/>
                <a:gd name="T73" fmla="*/ 56 h 296"/>
                <a:gd name="T74" fmla="*/ 169 w 264"/>
                <a:gd name="T75" fmla="*/ 56 h 296"/>
                <a:gd name="T76" fmla="*/ 167 w 264"/>
                <a:gd name="T77" fmla="*/ 61 h 296"/>
                <a:gd name="T78" fmla="*/ 164 w 264"/>
                <a:gd name="T79" fmla="*/ 51 h 296"/>
                <a:gd name="T80" fmla="*/ 155 w 264"/>
                <a:gd name="T81" fmla="*/ 48 h 296"/>
                <a:gd name="T82" fmla="*/ 158 w 264"/>
                <a:gd name="T83" fmla="*/ 45 h 296"/>
                <a:gd name="T84" fmla="*/ 147 w 264"/>
                <a:gd name="T85" fmla="*/ 40 h 296"/>
                <a:gd name="T86" fmla="*/ 137 w 264"/>
                <a:gd name="T87" fmla="*/ 40 h 296"/>
                <a:gd name="T88" fmla="*/ 118 w 264"/>
                <a:gd name="T89" fmla="*/ 46 h 296"/>
                <a:gd name="T90" fmla="*/ 102 w 264"/>
                <a:gd name="T91" fmla="*/ 37 h 296"/>
                <a:gd name="T92" fmla="*/ 96 w 264"/>
                <a:gd name="T93" fmla="*/ 37 h 296"/>
                <a:gd name="T94" fmla="*/ 87 w 264"/>
                <a:gd name="T95" fmla="*/ 24 h 296"/>
                <a:gd name="T96" fmla="*/ 77 w 264"/>
                <a:gd name="T97" fmla="*/ 1 h 296"/>
                <a:gd name="T98" fmla="*/ 71 w 264"/>
                <a:gd name="T99" fmla="*/ 20 h 296"/>
                <a:gd name="T100" fmla="*/ 1 w 264"/>
                <a:gd name="T101" fmla="*/ 28 h 296"/>
                <a:gd name="T102" fmla="*/ 3 w 264"/>
                <a:gd name="T103" fmla="*/ 41 h 296"/>
                <a:gd name="T104" fmla="*/ 2 w 264"/>
                <a:gd name="T105" fmla="*/ 47 h 296"/>
                <a:gd name="T106" fmla="*/ 2 w 264"/>
                <a:gd name="T107" fmla="*/ 53 h 296"/>
                <a:gd name="T108" fmla="*/ 3 w 264"/>
                <a:gd name="T109" fmla="*/ 67 h 296"/>
                <a:gd name="T110" fmla="*/ 11 w 264"/>
                <a:gd name="T111" fmla="*/ 89 h 296"/>
                <a:gd name="T112" fmla="*/ 13 w 264"/>
                <a:gd name="T113" fmla="*/ 110 h 296"/>
                <a:gd name="T114" fmla="*/ 16 w 264"/>
                <a:gd name="T115" fmla="*/ 129 h 296"/>
                <a:gd name="T116" fmla="*/ 15 w 264"/>
                <a:gd name="T117" fmla="*/ 143 h 296"/>
                <a:gd name="T118" fmla="*/ 20 w 264"/>
                <a:gd name="T119" fmla="*/ 154 h 296"/>
                <a:gd name="T120" fmla="*/ 22 w 264"/>
                <a:gd name="T121" fmla="*/ 18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296">
                  <a:moveTo>
                    <a:pt x="22" y="182"/>
                  </a:moveTo>
                  <a:cubicBezTo>
                    <a:pt x="22" y="182"/>
                    <a:pt x="19" y="187"/>
                    <a:pt x="19" y="187"/>
                  </a:cubicBezTo>
                  <a:cubicBezTo>
                    <a:pt x="19" y="187"/>
                    <a:pt x="15" y="190"/>
                    <a:pt x="15" y="190"/>
                  </a:cubicBezTo>
                  <a:cubicBezTo>
                    <a:pt x="14" y="191"/>
                    <a:pt x="13" y="191"/>
                    <a:pt x="13" y="191"/>
                  </a:cubicBezTo>
                  <a:cubicBezTo>
                    <a:pt x="13" y="191"/>
                    <a:pt x="13" y="193"/>
                    <a:pt x="13" y="193"/>
                  </a:cubicBezTo>
                  <a:cubicBezTo>
                    <a:pt x="13" y="193"/>
                    <a:pt x="14" y="197"/>
                    <a:pt x="15" y="197"/>
                  </a:cubicBezTo>
                  <a:cubicBezTo>
                    <a:pt x="15" y="198"/>
                    <a:pt x="18" y="203"/>
                    <a:pt x="18" y="203"/>
                  </a:cubicBezTo>
                  <a:cubicBezTo>
                    <a:pt x="18" y="203"/>
                    <a:pt x="22" y="204"/>
                    <a:pt x="22" y="204"/>
                  </a:cubicBezTo>
                  <a:cubicBezTo>
                    <a:pt x="22" y="204"/>
                    <a:pt x="25" y="205"/>
                    <a:pt x="25" y="206"/>
                  </a:cubicBezTo>
                  <a:cubicBezTo>
                    <a:pt x="26" y="206"/>
                    <a:pt x="26" y="208"/>
                    <a:pt x="26" y="208"/>
                  </a:cubicBezTo>
                  <a:cubicBezTo>
                    <a:pt x="26" y="296"/>
                    <a:pt x="26" y="296"/>
                    <a:pt x="26" y="296"/>
                  </a:cubicBezTo>
                  <a:cubicBezTo>
                    <a:pt x="207" y="295"/>
                    <a:pt x="207" y="295"/>
                    <a:pt x="207" y="295"/>
                  </a:cubicBezTo>
                  <a:cubicBezTo>
                    <a:pt x="207" y="295"/>
                    <a:pt x="206" y="292"/>
                    <a:pt x="206" y="291"/>
                  </a:cubicBezTo>
                  <a:cubicBezTo>
                    <a:pt x="206" y="291"/>
                    <a:pt x="205" y="289"/>
                    <a:pt x="205" y="288"/>
                  </a:cubicBezTo>
                  <a:cubicBezTo>
                    <a:pt x="205" y="287"/>
                    <a:pt x="206" y="285"/>
                    <a:pt x="206" y="284"/>
                  </a:cubicBezTo>
                  <a:cubicBezTo>
                    <a:pt x="206" y="283"/>
                    <a:pt x="205" y="280"/>
                    <a:pt x="205" y="279"/>
                  </a:cubicBezTo>
                  <a:cubicBezTo>
                    <a:pt x="204" y="279"/>
                    <a:pt x="202" y="275"/>
                    <a:pt x="201" y="275"/>
                  </a:cubicBezTo>
                  <a:cubicBezTo>
                    <a:pt x="201" y="274"/>
                    <a:pt x="201" y="273"/>
                    <a:pt x="200" y="272"/>
                  </a:cubicBezTo>
                  <a:cubicBezTo>
                    <a:pt x="199" y="272"/>
                    <a:pt x="196" y="271"/>
                    <a:pt x="195" y="271"/>
                  </a:cubicBezTo>
                  <a:cubicBezTo>
                    <a:pt x="194" y="270"/>
                    <a:pt x="194" y="269"/>
                    <a:pt x="193" y="268"/>
                  </a:cubicBezTo>
                  <a:cubicBezTo>
                    <a:pt x="192" y="268"/>
                    <a:pt x="189" y="265"/>
                    <a:pt x="188" y="264"/>
                  </a:cubicBezTo>
                  <a:cubicBezTo>
                    <a:pt x="187" y="264"/>
                    <a:pt x="186" y="263"/>
                    <a:pt x="185" y="262"/>
                  </a:cubicBezTo>
                  <a:cubicBezTo>
                    <a:pt x="184" y="262"/>
                    <a:pt x="184" y="262"/>
                    <a:pt x="184" y="260"/>
                  </a:cubicBezTo>
                  <a:cubicBezTo>
                    <a:pt x="184" y="259"/>
                    <a:pt x="182" y="254"/>
                    <a:pt x="181" y="253"/>
                  </a:cubicBezTo>
                  <a:cubicBezTo>
                    <a:pt x="179" y="252"/>
                    <a:pt x="178" y="253"/>
                    <a:pt x="177" y="252"/>
                  </a:cubicBezTo>
                  <a:cubicBezTo>
                    <a:pt x="176" y="251"/>
                    <a:pt x="173" y="250"/>
                    <a:pt x="172" y="250"/>
                  </a:cubicBezTo>
                  <a:cubicBezTo>
                    <a:pt x="171" y="249"/>
                    <a:pt x="170" y="247"/>
                    <a:pt x="169" y="246"/>
                  </a:cubicBezTo>
                  <a:cubicBezTo>
                    <a:pt x="169" y="246"/>
                    <a:pt x="169" y="245"/>
                    <a:pt x="167" y="244"/>
                  </a:cubicBezTo>
                  <a:cubicBezTo>
                    <a:pt x="166" y="244"/>
                    <a:pt x="164" y="244"/>
                    <a:pt x="162" y="244"/>
                  </a:cubicBezTo>
                  <a:cubicBezTo>
                    <a:pt x="161" y="244"/>
                    <a:pt x="160" y="244"/>
                    <a:pt x="160" y="243"/>
                  </a:cubicBezTo>
                  <a:cubicBezTo>
                    <a:pt x="160" y="242"/>
                    <a:pt x="158" y="240"/>
                    <a:pt x="157" y="239"/>
                  </a:cubicBezTo>
                  <a:cubicBezTo>
                    <a:pt x="156" y="238"/>
                    <a:pt x="153" y="236"/>
                    <a:pt x="153" y="236"/>
                  </a:cubicBezTo>
                  <a:cubicBezTo>
                    <a:pt x="152" y="235"/>
                    <a:pt x="153" y="232"/>
                    <a:pt x="153" y="231"/>
                  </a:cubicBezTo>
                  <a:cubicBezTo>
                    <a:pt x="153" y="231"/>
                    <a:pt x="154" y="227"/>
                    <a:pt x="154" y="226"/>
                  </a:cubicBezTo>
                  <a:cubicBezTo>
                    <a:pt x="154" y="225"/>
                    <a:pt x="154" y="223"/>
                    <a:pt x="154" y="222"/>
                  </a:cubicBezTo>
                  <a:cubicBezTo>
                    <a:pt x="153" y="221"/>
                    <a:pt x="153" y="221"/>
                    <a:pt x="153" y="220"/>
                  </a:cubicBezTo>
                  <a:cubicBezTo>
                    <a:pt x="153" y="220"/>
                    <a:pt x="153" y="219"/>
                    <a:pt x="153" y="218"/>
                  </a:cubicBezTo>
                  <a:cubicBezTo>
                    <a:pt x="154" y="218"/>
                    <a:pt x="154" y="217"/>
                    <a:pt x="154" y="216"/>
                  </a:cubicBezTo>
                  <a:cubicBezTo>
                    <a:pt x="154" y="215"/>
                    <a:pt x="154" y="214"/>
                    <a:pt x="154" y="213"/>
                  </a:cubicBezTo>
                  <a:cubicBezTo>
                    <a:pt x="154" y="212"/>
                    <a:pt x="153" y="210"/>
                    <a:pt x="154" y="209"/>
                  </a:cubicBezTo>
                  <a:cubicBezTo>
                    <a:pt x="154" y="208"/>
                    <a:pt x="156" y="206"/>
                    <a:pt x="156" y="205"/>
                  </a:cubicBezTo>
                  <a:cubicBezTo>
                    <a:pt x="157" y="204"/>
                    <a:pt x="158" y="204"/>
                    <a:pt x="158" y="203"/>
                  </a:cubicBezTo>
                  <a:cubicBezTo>
                    <a:pt x="158" y="202"/>
                    <a:pt x="156" y="199"/>
                    <a:pt x="155" y="198"/>
                  </a:cubicBezTo>
                  <a:cubicBezTo>
                    <a:pt x="155" y="197"/>
                    <a:pt x="155" y="196"/>
                    <a:pt x="154" y="195"/>
                  </a:cubicBezTo>
                  <a:cubicBezTo>
                    <a:pt x="153" y="195"/>
                    <a:pt x="150" y="195"/>
                    <a:pt x="150" y="195"/>
                  </a:cubicBezTo>
                  <a:cubicBezTo>
                    <a:pt x="149" y="194"/>
                    <a:pt x="149" y="193"/>
                    <a:pt x="149" y="192"/>
                  </a:cubicBezTo>
                  <a:cubicBezTo>
                    <a:pt x="150" y="191"/>
                    <a:pt x="149" y="189"/>
                    <a:pt x="150" y="188"/>
                  </a:cubicBezTo>
                  <a:cubicBezTo>
                    <a:pt x="150" y="188"/>
                    <a:pt x="152" y="187"/>
                    <a:pt x="153" y="186"/>
                  </a:cubicBezTo>
                  <a:cubicBezTo>
                    <a:pt x="153" y="185"/>
                    <a:pt x="154" y="183"/>
                    <a:pt x="154" y="182"/>
                  </a:cubicBezTo>
                  <a:cubicBezTo>
                    <a:pt x="155" y="181"/>
                    <a:pt x="155" y="180"/>
                    <a:pt x="156" y="179"/>
                  </a:cubicBezTo>
                  <a:cubicBezTo>
                    <a:pt x="157" y="178"/>
                    <a:pt x="159" y="177"/>
                    <a:pt x="160" y="177"/>
                  </a:cubicBezTo>
                  <a:cubicBezTo>
                    <a:pt x="161" y="176"/>
                    <a:pt x="161" y="175"/>
                    <a:pt x="162" y="175"/>
                  </a:cubicBezTo>
                  <a:cubicBezTo>
                    <a:pt x="162" y="174"/>
                    <a:pt x="163" y="175"/>
                    <a:pt x="164" y="175"/>
                  </a:cubicBezTo>
                  <a:cubicBezTo>
                    <a:pt x="164" y="175"/>
                    <a:pt x="165" y="173"/>
                    <a:pt x="166" y="173"/>
                  </a:cubicBezTo>
                  <a:cubicBezTo>
                    <a:pt x="166" y="172"/>
                    <a:pt x="168" y="173"/>
                    <a:pt x="168" y="173"/>
                  </a:cubicBezTo>
                  <a:cubicBezTo>
                    <a:pt x="168" y="172"/>
                    <a:pt x="169" y="171"/>
                    <a:pt x="169" y="171"/>
                  </a:cubicBezTo>
                  <a:cubicBezTo>
                    <a:pt x="169" y="170"/>
                    <a:pt x="170" y="169"/>
                    <a:pt x="170" y="169"/>
                  </a:cubicBezTo>
                  <a:cubicBezTo>
                    <a:pt x="170" y="169"/>
                    <a:pt x="170" y="140"/>
                    <a:pt x="170" y="140"/>
                  </a:cubicBezTo>
                  <a:cubicBezTo>
                    <a:pt x="170" y="140"/>
                    <a:pt x="173" y="141"/>
                    <a:pt x="173" y="141"/>
                  </a:cubicBezTo>
                  <a:cubicBezTo>
                    <a:pt x="174" y="139"/>
                    <a:pt x="174" y="139"/>
                    <a:pt x="174" y="139"/>
                  </a:cubicBezTo>
                  <a:cubicBezTo>
                    <a:pt x="174" y="139"/>
                    <a:pt x="174" y="139"/>
                    <a:pt x="174" y="139"/>
                  </a:cubicBezTo>
                  <a:cubicBezTo>
                    <a:pt x="174" y="138"/>
                    <a:pt x="176" y="136"/>
                    <a:pt x="176" y="136"/>
                  </a:cubicBezTo>
                  <a:cubicBezTo>
                    <a:pt x="177" y="136"/>
                    <a:pt x="180" y="132"/>
                    <a:pt x="181" y="132"/>
                  </a:cubicBezTo>
                  <a:cubicBezTo>
                    <a:pt x="181" y="131"/>
                    <a:pt x="185" y="129"/>
                    <a:pt x="185" y="128"/>
                  </a:cubicBezTo>
                  <a:cubicBezTo>
                    <a:pt x="186" y="128"/>
                    <a:pt x="187" y="127"/>
                    <a:pt x="187" y="127"/>
                  </a:cubicBezTo>
                  <a:cubicBezTo>
                    <a:pt x="188" y="126"/>
                    <a:pt x="195" y="120"/>
                    <a:pt x="196" y="120"/>
                  </a:cubicBezTo>
                  <a:cubicBezTo>
                    <a:pt x="196" y="120"/>
                    <a:pt x="214" y="100"/>
                    <a:pt x="215" y="100"/>
                  </a:cubicBezTo>
                  <a:cubicBezTo>
                    <a:pt x="216" y="99"/>
                    <a:pt x="220" y="95"/>
                    <a:pt x="222" y="94"/>
                  </a:cubicBezTo>
                  <a:cubicBezTo>
                    <a:pt x="223" y="92"/>
                    <a:pt x="232" y="87"/>
                    <a:pt x="235" y="86"/>
                  </a:cubicBezTo>
                  <a:cubicBezTo>
                    <a:pt x="239" y="85"/>
                    <a:pt x="247" y="82"/>
                    <a:pt x="251" y="81"/>
                  </a:cubicBezTo>
                  <a:cubicBezTo>
                    <a:pt x="254" y="81"/>
                    <a:pt x="257" y="78"/>
                    <a:pt x="258" y="77"/>
                  </a:cubicBezTo>
                  <a:cubicBezTo>
                    <a:pt x="260" y="76"/>
                    <a:pt x="264" y="72"/>
                    <a:pt x="264" y="72"/>
                  </a:cubicBezTo>
                  <a:cubicBezTo>
                    <a:pt x="262" y="72"/>
                    <a:pt x="262" y="72"/>
                    <a:pt x="262" y="72"/>
                  </a:cubicBezTo>
                  <a:cubicBezTo>
                    <a:pt x="260" y="72"/>
                    <a:pt x="260" y="72"/>
                    <a:pt x="260" y="72"/>
                  </a:cubicBezTo>
                  <a:cubicBezTo>
                    <a:pt x="258" y="72"/>
                    <a:pt x="258" y="72"/>
                    <a:pt x="258" y="72"/>
                  </a:cubicBezTo>
                  <a:cubicBezTo>
                    <a:pt x="258" y="72"/>
                    <a:pt x="255" y="72"/>
                    <a:pt x="255" y="73"/>
                  </a:cubicBezTo>
                  <a:cubicBezTo>
                    <a:pt x="255" y="73"/>
                    <a:pt x="253" y="73"/>
                    <a:pt x="253" y="73"/>
                  </a:cubicBezTo>
                  <a:cubicBezTo>
                    <a:pt x="253" y="73"/>
                    <a:pt x="249" y="71"/>
                    <a:pt x="249" y="71"/>
                  </a:cubicBezTo>
                  <a:cubicBezTo>
                    <a:pt x="249" y="71"/>
                    <a:pt x="249" y="69"/>
                    <a:pt x="249" y="69"/>
                  </a:cubicBezTo>
                  <a:cubicBezTo>
                    <a:pt x="249" y="69"/>
                    <a:pt x="248" y="68"/>
                    <a:pt x="248" y="68"/>
                  </a:cubicBezTo>
                  <a:cubicBezTo>
                    <a:pt x="248" y="68"/>
                    <a:pt x="247" y="68"/>
                    <a:pt x="247" y="68"/>
                  </a:cubicBezTo>
                  <a:cubicBezTo>
                    <a:pt x="247" y="68"/>
                    <a:pt x="246" y="67"/>
                    <a:pt x="246" y="67"/>
                  </a:cubicBezTo>
                  <a:cubicBezTo>
                    <a:pt x="245" y="67"/>
                    <a:pt x="245" y="67"/>
                    <a:pt x="245" y="67"/>
                  </a:cubicBezTo>
                  <a:cubicBezTo>
                    <a:pt x="230" y="67"/>
                    <a:pt x="230" y="67"/>
                    <a:pt x="230" y="67"/>
                  </a:cubicBezTo>
                  <a:cubicBezTo>
                    <a:pt x="229" y="66"/>
                    <a:pt x="229" y="66"/>
                    <a:pt x="229" y="66"/>
                  </a:cubicBezTo>
                  <a:cubicBezTo>
                    <a:pt x="225" y="68"/>
                    <a:pt x="225" y="68"/>
                    <a:pt x="225" y="68"/>
                  </a:cubicBezTo>
                  <a:cubicBezTo>
                    <a:pt x="223" y="68"/>
                    <a:pt x="223" y="68"/>
                    <a:pt x="223" y="68"/>
                  </a:cubicBezTo>
                  <a:cubicBezTo>
                    <a:pt x="223" y="68"/>
                    <a:pt x="223" y="67"/>
                    <a:pt x="223" y="67"/>
                  </a:cubicBezTo>
                  <a:cubicBezTo>
                    <a:pt x="223" y="67"/>
                    <a:pt x="222" y="66"/>
                    <a:pt x="222" y="66"/>
                  </a:cubicBezTo>
                  <a:cubicBezTo>
                    <a:pt x="222" y="65"/>
                    <a:pt x="222" y="65"/>
                    <a:pt x="222" y="65"/>
                  </a:cubicBezTo>
                  <a:cubicBezTo>
                    <a:pt x="222" y="64"/>
                    <a:pt x="222" y="64"/>
                    <a:pt x="222" y="64"/>
                  </a:cubicBezTo>
                  <a:cubicBezTo>
                    <a:pt x="222" y="64"/>
                    <a:pt x="222" y="64"/>
                    <a:pt x="222" y="64"/>
                  </a:cubicBezTo>
                  <a:cubicBezTo>
                    <a:pt x="220" y="64"/>
                    <a:pt x="220" y="64"/>
                    <a:pt x="220" y="64"/>
                  </a:cubicBezTo>
                  <a:cubicBezTo>
                    <a:pt x="220" y="60"/>
                    <a:pt x="220" y="60"/>
                    <a:pt x="220" y="60"/>
                  </a:cubicBezTo>
                  <a:cubicBezTo>
                    <a:pt x="218" y="60"/>
                    <a:pt x="218" y="60"/>
                    <a:pt x="218" y="60"/>
                  </a:cubicBezTo>
                  <a:cubicBezTo>
                    <a:pt x="209" y="65"/>
                    <a:pt x="209" y="65"/>
                    <a:pt x="209" y="65"/>
                  </a:cubicBezTo>
                  <a:cubicBezTo>
                    <a:pt x="206" y="68"/>
                    <a:pt x="206" y="68"/>
                    <a:pt x="206" y="68"/>
                  </a:cubicBezTo>
                  <a:cubicBezTo>
                    <a:pt x="198" y="70"/>
                    <a:pt x="198" y="70"/>
                    <a:pt x="198" y="70"/>
                  </a:cubicBezTo>
                  <a:cubicBezTo>
                    <a:pt x="195" y="70"/>
                    <a:pt x="195" y="70"/>
                    <a:pt x="195" y="70"/>
                  </a:cubicBezTo>
                  <a:cubicBezTo>
                    <a:pt x="195" y="67"/>
                    <a:pt x="195" y="67"/>
                    <a:pt x="195" y="67"/>
                  </a:cubicBezTo>
                  <a:cubicBezTo>
                    <a:pt x="194" y="67"/>
                    <a:pt x="194" y="67"/>
                    <a:pt x="194" y="67"/>
                  </a:cubicBezTo>
                  <a:cubicBezTo>
                    <a:pt x="192" y="67"/>
                    <a:pt x="192" y="67"/>
                    <a:pt x="192" y="67"/>
                  </a:cubicBezTo>
                  <a:cubicBezTo>
                    <a:pt x="191" y="66"/>
                    <a:pt x="191" y="66"/>
                    <a:pt x="191" y="66"/>
                  </a:cubicBezTo>
                  <a:cubicBezTo>
                    <a:pt x="190" y="66"/>
                    <a:pt x="190" y="66"/>
                    <a:pt x="190" y="66"/>
                  </a:cubicBezTo>
                  <a:cubicBezTo>
                    <a:pt x="190" y="62"/>
                    <a:pt x="190" y="62"/>
                    <a:pt x="190" y="62"/>
                  </a:cubicBezTo>
                  <a:cubicBezTo>
                    <a:pt x="185" y="62"/>
                    <a:pt x="185" y="62"/>
                    <a:pt x="185" y="62"/>
                  </a:cubicBezTo>
                  <a:cubicBezTo>
                    <a:pt x="184" y="60"/>
                    <a:pt x="184" y="60"/>
                    <a:pt x="184" y="60"/>
                  </a:cubicBezTo>
                  <a:cubicBezTo>
                    <a:pt x="181" y="61"/>
                    <a:pt x="181" y="61"/>
                    <a:pt x="181" y="61"/>
                  </a:cubicBezTo>
                  <a:cubicBezTo>
                    <a:pt x="181" y="59"/>
                    <a:pt x="181" y="59"/>
                    <a:pt x="181" y="59"/>
                  </a:cubicBezTo>
                  <a:cubicBezTo>
                    <a:pt x="180" y="59"/>
                    <a:pt x="180" y="59"/>
                    <a:pt x="180" y="59"/>
                  </a:cubicBezTo>
                  <a:cubicBezTo>
                    <a:pt x="180" y="56"/>
                    <a:pt x="180" y="56"/>
                    <a:pt x="180" y="56"/>
                  </a:cubicBezTo>
                  <a:cubicBezTo>
                    <a:pt x="178" y="54"/>
                    <a:pt x="178" y="54"/>
                    <a:pt x="178" y="54"/>
                  </a:cubicBezTo>
                  <a:cubicBezTo>
                    <a:pt x="171" y="54"/>
                    <a:pt x="171" y="54"/>
                    <a:pt x="171" y="54"/>
                  </a:cubicBezTo>
                  <a:cubicBezTo>
                    <a:pt x="169" y="56"/>
                    <a:pt x="169" y="56"/>
                    <a:pt x="169" y="56"/>
                  </a:cubicBezTo>
                  <a:cubicBezTo>
                    <a:pt x="169" y="56"/>
                    <a:pt x="170" y="57"/>
                    <a:pt x="170" y="58"/>
                  </a:cubicBezTo>
                  <a:cubicBezTo>
                    <a:pt x="170" y="58"/>
                    <a:pt x="171" y="60"/>
                    <a:pt x="171" y="60"/>
                  </a:cubicBezTo>
                  <a:cubicBezTo>
                    <a:pt x="167" y="61"/>
                    <a:pt x="167" y="61"/>
                    <a:pt x="167" y="61"/>
                  </a:cubicBezTo>
                  <a:cubicBezTo>
                    <a:pt x="164" y="55"/>
                    <a:pt x="164" y="55"/>
                    <a:pt x="164" y="55"/>
                  </a:cubicBezTo>
                  <a:cubicBezTo>
                    <a:pt x="164" y="55"/>
                    <a:pt x="164" y="53"/>
                    <a:pt x="164" y="52"/>
                  </a:cubicBezTo>
                  <a:cubicBezTo>
                    <a:pt x="164" y="52"/>
                    <a:pt x="164" y="51"/>
                    <a:pt x="164" y="51"/>
                  </a:cubicBezTo>
                  <a:cubicBezTo>
                    <a:pt x="164" y="51"/>
                    <a:pt x="163" y="50"/>
                    <a:pt x="163" y="50"/>
                  </a:cubicBezTo>
                  <a:cubicBezTo>
                    <a:pt x="163" y="49"/>
                    <a:pt x="157" y="50"/>
                    <a:pt x="157" y="50"/>
                  </a:cubicBezTo>
                  <a:cubicBezTo>
                    <a:pt x="157" y="50"/>
                    <a:pt x="155" y="49"/>
                    <a:pt x="155" y="48"/>
                  </a:cubicBezTo>
                  <a:cubicBezTo>
                    <a:pt x="155" y="48"/>
                    <a:pt x="156" y="47"/>
                    <a:pt x="156" y="47"/>
                  </a:cubicBezTo>
                  <a:cubicBezTo>
                    <a:pt x="159" y="47"/>
                    <a:pt x="159" y="47"/>
                    <a:pt x="159" y="47"/>
                  </a:cubicBezTo>
                  <a:cubicBezTo>
                    <a:pt x="158" y="45"/>
                    <a:pt x="158" y="45"/>
                    <a:pt x="158" y="45"/>
                  </a:cubicBezTo>
                  <a:cubicBezTo>
                    <a:pt x="155" y="45"/>
                    <a:pt x="155" y="45"/>
                    <a:pt x="155" y="45"/>
                  </a:cubicBezTo>
                  <a:cubicBezTo>
                    <a:pt x="147" y="41"/>
                    <a:pt x="147" y="41"/>
                    <a:pt x="147" y="41"/>
                  </a:cubicBezTo>
                  <a:cubicBezTo>
                    <a:pt x="147" y="40"/>
                    <a:pt x="147" y="40"/>
                    <a:pt x="147" y="40"/>
                  </a:cubicBezTo>
                  <a:cubicBezTo>
                    <a:pt x="139" y="40"/>
                    <a:pt x="139" y="40"/>
                    <a:pt x="139" y="40"/>
                  </a:cubicBezTo>
                  <a:cubicBezTo>
                    <a:pt x="138" y="39"/>
                    <a:pt x="138" y="39"/>
                    <a:pt x="138" y="39"/>
                  </a:cubicBezTo>
                  <a:cubicBezTo>
                    <a:pt x="137" y="40"/>
                    <a:pt x="137" y="40"/>
                    <a:pt x="137" y="40"/>
                  </a:cubicBezTo>
                  <a:cubicBezTo>
                    <a:pt x="130" y="42"/>
                    <a:pt x="130" y="42"/>
                    <a:pt x="130" y="42"/>
                  </a:cubicBezTo>
                  <a:cubicBezTo>
                    <a:pt x="130" y="44"/>
                    <a:pt x="130" y="44"/>
                    <a:pt x="130" y="44"/>
                  </a:cubicBezTo>
                  <a:cubicBezTo>
                    <a:pt x="118" y="46"/>
                    <a:pt x="118" y="46"/>
                    <a:pt x="118" y="46"/>
                  </a:cubicBezTo>
                  <a:cubicBezTo>
                    <a:pt x="117" y="40"/>
                    <a:pt x="117" y="40"/>
                    <a:pt x="117" y="40"/>
                  </a:cubicBezTo>
                  <a:cubicBezTo>
                    <a:pt x="103" y="39"/>
                    <a:pt x="103" y="39"/>
                    <a:pt x="103" y="39"/>
                  </a:cubicBezTo>
                  <a:cubicBezTo>
                    <a:pt x="102" y="37"/>
                    <a:pt x="102" y="37"/>
                    <a:pt x="102" y="37"/>
                  </a:cubicBezTo>
                  <a:cubicBezTo>
                    <a:pt x="100" y="36"/>
                    <a:pt x="100" y="36"/>
                    <a:pt x="100" y="36"/>
                  </a:cubicBezTo>
                  <a:cubicBezTo>
                    <a:pt x="100" y="36"/>
                    <a:pt x="98" y="36"/>
                    <a:pt x="98" y="36"/>
                  </a:cubicBezTo>
                  <a:cubicBezTo>
                    <a:pt x="98" y="36"/>
                    <a:pt x="96" y="37"/>
                    <a:pt x="96" y="37"/>
                  </a:cubicBezTo>
                  <a:cubicBezTo>
                    <a:pt x="91" y="36"/>
                    <a:pt x="91" y="36"/>
                    <a:pt x="91" y="36"/>
                  </a:cubicBezTo>
                  <a:cubicBezTo>
                    <a:pt x="87" y="32"/>
                    <a:pt x="87" y="32"/>
                    <a:pt x="87" y="32"/>
                  </a:cubicBezTo>
                  <a:cubicBezTo>
                    <a:pt x="87" y="24"/>
                    <a:pt x="87" y="24"/>
                    <a:pt x="87" y="24"/>
                  </a:cubicBezTo>
                  <a:cubicBezTo>
                    <a:pt x="83" y="4"/>
                    <a:pt x="83" y="4"/>
                    <a:pt x="83" y="4"/>
                  </a:cubicBezTo>
                  <a:cubicBezTo>
                    <a:pt x="78" y="1"/>
                    <a:pt x="78" y="1"/>
                    <a:pt x="78" y="1"/>
                  </a:cubicBezTo>
                  <a:cubicBezTo>
                    <a:pt x="78" y="1"/>
                    <a:pt x="77" y="1"/>
                    <a:pt x="77" y="1"/>
                  </a:cubicBezTo>
                  <a:cubicBezTo>
                    <a:pt x="74" y="2"/>
                    <a:pt x="74" y="2"/>
                    <a:pt x="74" y="2"/>
                  </a:cubicBezTo>
                  <a:cubicBezTo>
                    <a:pt x="71" y="0"/>
                    <a:pt x="71" y="0"/>
                    <a:pt x="71" y="0"/>
                  </a:cubicBezTo>
                  <a:cubicBezTo>
                    <a:pt x="71" y="20"/>
                    <a:pt x="71" y="20"/>
                    <a:pt x="71" y="20"/>
                  </a:cubicBezTo>
                  <a:cubicBezTo>
                    <a:pt x="0" y="20"/>
                    <a:pt x="0" y="20"/>
                    <a:pt x="0" y="20"/>
                  </a:cubicBezTo>
                  <a:cubicBezTo>
                    <a:pt x="0" y="20"/>
                    <a:pt x="0" y="23"/>
                    <a:pt x="0" y="24"/>
                  </a:cubicBezTo>
                  <a:cubicBezTo>
                    <a:pt x="0" y="26"/>
                    <a:pt x="1" y="27"/>
                    <a:pt x="1" y="28"/>
                  </a:cubicBezTo>
                  <a:cubicBezTo>
                    <a:pt x="1" y="29"/>
                    <a:pt x="3" y="34"/>
                    <a:pt x="3" y="34"/>
                  </a:cubicBezTo>
                  <a:cubicBezTo>
                    <a:pt x="3" y="35"/>
                    <a:pt x="4" y="36"/>
                    <a:pt x="3" y="38"/>
                  </a:cubicBezTo>
                  <a:cubicBezTo>
                    <a:pt x="3" y="40"/>
                    <a:pt x="3" y="40"/>
                    <a:pt x="3" y="41"/>
                  </a:cubicBezTo>
                  <a:cubicBezTo>
                    <a:pt x="2" y="41"/>
                    <a:pt x="2" y="43"/>
                    <a:pt x="2" y="44"/>
                  </a:cubicBezTo>
                  <a:cubicBezTo>
                    <a:pt x="2" y="45"/>
                    <a:pt x="2" y="44"/>
                    <a:pt x="3" y="45"/>
                  </a:cubicBezTo>
                  <a:cubicBezTo>
                    <a:pt x="3" y="45"/>
                    <a:pt x="3" y="46"/>
                    <a:pt x="2" y="47"/>
                  </a:cubicBezTo>
                  <a:cubicBezTo>
                    <a:pt x="2" y="47"/>
                    <a:pt x="2" y="48"/>
                    <a:pt x="2" y="48"/>
                  </a:cubicBezTo>
                  <a:cubicBezTo>
                    <a:pt x="2" y="48"/>
                    <a:pt x="3" y="49"/>
                    <a:pt x="3" y="50"/>
                  </a:cubicBezTo>
                  <a:cubicBezTo>
                    <a:pt x="3" y="50"/>
                    <a:pt x="2" y="52"/>
                    <a:pt x="2" y="53"/>
                  </a:cubicBezTo>
                  <a:cubicBezTo>
                    <a:pt x="2" y="54"/>
                    <a:pt x="3" y="55"/>
                    <a:pt x="3" y="56"/>
                  </a:cubicBezTo>
                  <a:cubicBezTo>
                    <a:pt x="3" y="57"/>
                    <a:pt x="3" y="58"/>
                    <a:pt x="3" y="60"/>
                  </a:cubicBezTo>
                  <a:cubicBezTo>
                    <a:pt x="3" y="61"/>
                    <a:pt x="3" y="65"/>
                    <a:pt x="3" y="67"/>
                  </a:cubicBezTo>
                  <a:cubicBezTo>
                    <a:pt x="3" y="69"/>
                    <a:pt x="4" y="70"/>
                    <a:pt x="5" y="72"/>
                  </a:cubicBezTo>
                  <a:cubicBezTo>
                    <a:pt x="5" y="73"/>
                    <a:pt x="7" y="80"/>
                    <a:pt x="8" y="82"/>
                  </a:cubicBezTo>
                  <a:cubicBezTo>
                    <a:pt x="8" y="84"/>
                    <a:pt x="11" y="87"/>
                    <a:pt x="11" y="89"/>
                  </a:cubicBezTo>
                  <a:cubicBezTo>
                    <a:pt x="12" y="91"/>
                    <a:pt x="12" y="94"/>
                    <a:pt x="12" y="95"/>
                  </a:cubicBezTo>
                  <a:cubicBezTo>
                    <a:pt x="13" y="97"/>
                    <a:pt x="13" y="103"/>
                    <a:pt x="13" y="104"/>
                  </a:cubicBezTo>
                  <a:cubicBezTo>
                    <a:pt x="13" y="106"/>
                    <a:pt x="13" y="109"/>
                    <a:pt x="13" y="110"/>
                  </a:cubicBezTo>
                  <a:cubicBezTo>
                    <a:pt x="13" y="112"/>
                    <a:pt x="13" y="120"/>
                    <a:pt x="13" y="122"/>
                  </a:cubicBezTo>
                  <a:cubicBezTo>
                    <a:pt x="14" y="124"/>
                    <a:pt x="14" y="125"/>
                    <a:pt x="15" y="126"/>
                  </a:cubicBezTo>
                  <a:cubicBezTo>
                    <a:pt x="15" y="127"/>
                    <a:pt x="16" y="128"/>
                    <a:pt x="16" y="129"/>
                  </a:cubicBezTo>
                  <a:cubicBezTo>
                    <a:pt x="16" y="130"/>
                    <a:pt x="16" y="131"/>
                    <a:pt x="16" y="131"/>
                  </a:cubicBezTo>
                  <a:cubicBezTo>
                    <a:pt x="16" y="132"/>
                    <a:pt x="15" y="138"/>
                    <a:pt x="15" y="139"/>
                  </a:cubicBezTo>
                  <a:cubicBezTo>
                    <a:pt x="15" y="141"/>
                    <a:pt x="15" y="142"/>
                    <a:pt x="15" y="143"/>
                  </a:cubicBezTo>
                  <a:cubicBezTo>
                    <a:pt x="15" y="144"/>
                    <a:pt x="16" y="146"/>
                    <a:pt x="16" y="147"/>
                  </a:cubicBezTo>
                  <a:cubicBezTo>
                    <a:pt x="16" y="148"/>
                    <a:pt x="17" y="150"/>
                    <a:pt x="17" y="151"/>
                  </a:cubicBezTo>
                  <a:cubicBezTo>
                    <a:pt x="18" y="152"/>
                    <a:pt x="19" y="154"/>
                    <a:pt x="20" y="154"/>
                  </a:cubicBezTo>
                  <a:cubicBezTo>
                    <a:pt x="20" y="155"/>
                    <a:pt x="21" y="159"/>
                    <a:pt x="22" y="159"/>
                  </a:cubicBezTo>
                  <a:cubicBezTo>
                    <a:pt x="22" y="160"/>
                    <a:pt x="22" y="176"/>
                    <a:pt x="22" y="176"/>
                  </a:cubicBezTo>
                  <a:cubicBezTo>
                    <a:pt x="22" y="176"/>
                    <a:pt x="23" y="182"/>
                    <a:pt x="22" y="182"/>
                  </a:cubicBez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3" name="Freeform 36">
              <a:extLst>
                <a:ext uri="{FF2B5EF4-FFF2-40B4-BE49-F238E27FC236}">
                  <a16:creationId xmlns:a16="http://schemas.microsoft.com/office/drawing/2014/main" id="{00927A0F-F229-74E0-7EFD-C687DA2DA222}"/>
                </a:ext>
              </a:extLst>
            </p:cNvPr>
            <p:cNvSpPr>
              <a:spLocks noEditPoints="1"/>
            </p:cNvSpPr>
            <p:nvPr/>
          </p:nvSpPr>
          <p:spPr bwMode="auto">
            <a:xfrm>
              <a:off x="7213678" y="1134990"/>
              <a:ext cx="1093759" cy="1249067"/>
            </a:xfrm>
            <a:custGeom>
              <a:avLst/>
              <a:gdLst>
                <a:gd name="T0" fmla="*/ 63 w 276"/>
                <a:gd name="T1" fmla="*/ 5 h 315"/>
                <a:gd name="T2" fmla="*/ 45 w 276"/>
                <a:gd name="T3" fmla="*/ 17 h 315"/>
                <a:gd name="T4" fmla="*/ 129 w 276"/>
                <a:gd name="T5" fmla="*/ 83 h 315"/>
                <a:gd name="T6" fmla="*/ 167 w 276"/>
                <a:gd name="T7" fmla="*/ 123 h 315"/>
                <a:gd name="T8" fmla="*/ 154 w 276"/>
                <a:gd name="T9" fmla="*/ 155 h 315"/>
                <a:gd name="T10" fmla="*/ 208 w 276"/>
                <a:gd name="T11" fmla="*/ 121 h 315"/>
                <a:gd name="T12" fmla="*/ 208 w 276"/>
                <a:gd name="T13" fmla="*/ 122 h 315"/>
                <a:gd name="T14" fmla="*/ 239 w 276"/>
                <a:gd name="T15" fmla="*/ 111 h 315"/>
                <a:gd name="T16" fmla="*/ 232 w 276"/>
                <a:gd name="T17" fmla="*/ 107 h 315"/>
                <a:gd name="T18" fmla="*/ 7 w 276"/>
                <a:gd name="T19" fmla="*/ 84 h 315"/>
                <a:gd name="T20" fmla="*/ 72 w 276"/>
                <a:gd name="T21" fmla="*/ 111 h 315"/>
                <a:gd name="T22" fmla="*/ 90 w 276"/>
                <a:gd name="T23" fmla="*/ 126 h 315"/>
                <a:gd name="T24" fmla="*/ 95 w 276"/>
                <a:gd name="T25" fmla="*/ 139 h 315"/>
                <a:gd name="T26" fmla="*/ 110 w 276"/>
                <a:gd name="T27" fmla="*/ 130 h 315"/>
                <a:gd name="T28" fmla="*/ 118 w 276"/>
                <a:gd name="T29" fmla="*/ 116 h 315"/>
                <a:gd name="T30" fmla="*/ 124 w 276"/>
                <a:gd name="T31" fmla="*/ 121 h 315"/>
                <a:gd name="T32" fmla="*/ 128 w 276"/>
                <a:gd name="T33" fmla="*/ 126 h 315"/>
                <a:gd name="T34" fmla="*/ 145 w 276"/>
                <a:gd name="T35" fmla="*/ 112 h 315"/>
                <a:gd name="T36" fmla="*/ 169 w 276"/>
                <a:gd name="T37" fmla="*/ 105 h 315"/>
                <a:gd name="T38" fmla="*/ 192 w 276"/>
                <a:gd name="T39" fmla="*/ 114 h 315"/>
                <a:gd name="T40" fmla="*/ 204 w 276"/>
                <a:gd name="T41" fmla="*/ 109 h 315"/>
                <a:gd name="T42" fmla="*/ 222 w 276"/>
                <a:gd name="T43" fmla="*/ 108 h 315"/>
                <a:gd name="T44" fmla="*/ 214 w 276"/>
                <a:gd name="T45" fmla="*/ 97 h 315"/>
                <a:gd name="T46" fmla="*/ 212 w 276"/>
                <a:gd name="T47" fmla="*/ 88 h 315"/>
                <a:gd name="T48" fmla="*/ 211 w 276"/>
                <a:gd name="T49" fmla="*/ 85 h 315"/>
                <a:gd name="T50" fmla="*/ 194 w 276"/>
                <a:gd name="T51" fmla="*/ 86 h 315"/>
                <a:gd name="T52" fmla="*/ 186 w 276"/>
                <a:gd name="T53" fmla="*/ 71 h 315"/>
                <a:gd name="T54" fmla="*/ 140 w 276"/>
                <a:gd name="T55" fmla="*/ 80 h 315"/>
                <a:gd name="T56" fmla="*/ 119 w 276"/>
                <a:gd name="T57" fmla="*/ 84 h 315"/>
                <a:gd name="T58" fmla="*/ 98 w 276"/>
                <a:gd name="T59" fmla="*/ 72 h 315"/>
                <a:gd name="T60" fmla="*/ 82 w 276"/>
                <a:gd name="T61" fmla="*/ 64 h 315"/>
                <a:gd name="T62" fmla="*/ 67 w 276"/>
                <a:gd name="T63" fmla="*/ 69 h 315"/>
                <a:gd name="T64" fmla="*/ 91 w 276"/>
                <a:gd name="T65" fmla="*/ 39 h 315"/>
                <a:gd name="T66" fmla="*/ 63 w 276"/>
                <a:gd name="T67" fmla="*/ 46 h 315"/>
                <a:gd name="T68" fmla="*/ 45 w 276"/>
                <a:gd name="T69" fmla="*/ 60 h 315"/>
                <a:gd name="T70" fmla="*/ 0 w 276"/>
                <a:gd name="T71" fmla="*/ 80 h 315"/>
                <a:gd name="T72" fmla="*/ 254 w 276"/>
                <a:gd name="T73" fmla="*/ 286 h 315"/>
                <a:gd name="T74" fmla="*/ 267 w 276"/>
                <a:gd name="T75" fmla="*/ 270 h 315"/>
                <a:gd name="T76" fmla="*/ 272 w 276"/>
                <a:gd name="T77" fmla="*/ 238 h 315"/>
                <a:gd name="T78" fmla="*/ 265 w 276"/>
                <a:gd name="T79" fmla="*/ 207 h 315"/>
                <a:gd name="T80" fmla="*/ 245 w 276"/>
                <a:gd name="T81" fmla="*/ 211 h 315"/>
                <a:gd name="T82" fmla="*/ 236 w 276"/>
                <a:gd name="T83" fmla="*/ 223 h 315"/>
                <a:gd name="T84" fmla="*/ 225 w 276"/>
                <a:gd name="T85" fmla="*/ 212 h 315"/>
                <a:gd name="T86" fmla="*/ 239 w 276"/>
                <a:gd name="T87" fmla="*/ 194 h 315"/>
                <a:gd name="T88" fmla="*/ 247 w 276"/>
                <a:gd name="T89" fmla="*/ 171 h 315"/>
                <a:gd name="T90" fmla="*/ 244 w 276"/>
                <a:gd name="T91" fmla="*/ 155 h 315"/>
                <a:gd name="T92" fmla="*/ 242 w 276"/>
                <a:gd name="T93" fmla="*/ 143 h 315"/>
                <a:gd name="T94" fmla="*/ 212 w 276"/>
                <a:gd name="T95" fmla="*/ 127 h 315"/>
                <a:gd name="T96" fmla="*/ 197 w 276"/>
                <a:gd name="T97" fmla="*/ 121 h 315"/>
                <a:gd name="T98" fmla="*/ 185 w 276"/>
                <a:gd name="T99" fmla="*/ 128 h 315"/>
                <a:gd name="T100" fmla="*/ 183 w 276"/>
                <a:gd name="T101" fmla="*/ 141 h 315"/>
                <a:gd name="T102" fmla="*/ 173 w 276"/>
                <a:gd name="T103" fmla="*/ 158 h 315"/>
                <a:gd name="T104" fmla="*/ 169 w 276"/>
                <a:gd name="T105" fmla="*/ 166 h 315"/>
                <a:gd name="T106" fmla="*/ 165 w 276"/>
                <a:gd name="T107" fmla="*/ 167 h 315"/>
                <a:gd name="T108" fmla="*/ 166 w 276"/>
                <a:gd name="T109" fmla="*/ 153 h 315"/>
                <a:gd name="T110" fmla="*/ 157 w 276"/>
                <a:gd name="T111" fmla="*/ 160 h 315"/>
                <a:gd name="T112" fmla="*/ 145 w 276"/>
                <a:gd name="T113" fmla="*/ 173 h 315"/>
                <a:gd name="T114" fmla="*/ 142 w 276"/>
                <a:gd name="T115" fmla="*/ 193 h 315"/>
                <a:gd name="T116" fmla="*/ 137 w 276"/>
                <a:gd name="T117" fmla="*/ 211 h 315"/>
                <a:gd name="T118" fmla="*/ 142 w 276"/>
                <a:gd name="T119" fmla="*/ 245 h 315"/>
                <a:gd name="T120" fmla="*/ 141 w 276"/>
                <a:gd name="T121" fmla="*/ 286 h 315"/>
                <a:gd name="T122" fmla="*/ 125 w 276"/>
                <a:gd name="T123" fmla="*/ 31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6" h="315">
                  <a:moveTo>
                    <a:pt x="41" y="15"/>
                  </a:moveTo>
                  <a:cubicBezTo>
                    <a:pt x="42" y="14"/>
                    <a:pt x="43" y="13"/>
                    <a:pt x="43" y="12"/>
                  </a:cubicBezTo>
                  <a:cubicBezTo>
                    <a:pt x="44" y="10"/>
                    <a:pt x="46" y="9"/>
                    <a:pt x="47" y="9"/>
                  </a:cubicBezTo>
                  <a:cubicBezTo>
                    <a:pt x="49" y="8"/>
                    <a:pt x="50" y="7"/>
                    <a:pt x="52" y="7"/>
                  </a:cubicBezTo>
                  <a:cubicBezTo>
                    <a:pt x="54" y="6"/>
                    <a:pt x="55" y="5"/>
                    <a:pt x="57" y="4"/>
                  </a:cubicBezTo>
                  <a:cubicBezTo>
                    <a:pt x="57" y="4"/>
                    <a:pt x="58" y="3"/>
                    <a:pt x="59" y="3"/>
                  </a:cubicBezTo>
                  <a:cubicBezTo>
                    <a:pt x="59" y="2"/>
                    <a:pt x="60" y="1"/>
                    <a:pt x="61" y="1"/>
                  </a:cubicBezTo>
                  <a:cubicBezTo>
                    <a:pt x="62" y="1"/>
                    <a:pt x="62" y="1"/>
                    <a:pt x="63" y="0"/>
                  </a:cubicBezTo>
                  <a:cubicBezTo>
                    <a:pt x="64" y="0"/>
                    <a:pt x="64" y="0"/>
                    <a:pt x="65" y="0"/>
                  </a:cubicBezTo>
                  <a:cubicBezTo>
                    <a:pt x="65" y="0"/>
                    <a:pt x="66" y="0"/>
                    <a:pt x="66" y="0"/>
                  </a:cubicBezTo>
                  <a:cubicBezTo>
                    <a:pt x="66" y="1"/>
                    <a:pt x="64" y="2"/>
                    <a:pt x="63" y="2"/>
                  </a:cubicBezTo>
                  <a:cubicBezTo>
                    <a:pt x="63" y="2"/>
                    <a:pt x="62" y="3"/>
                    <a:pt x="62" y="3"/>
                  </a:cubicBezTo>
                  <a:cubicBezTo>
                    <a:pt x="62" y="4"/>
                    <a:pt x="63" y="4"/>
                    <a:pt x="63" y="5"/>
                  </a:cubicBezTo>
                  <a:cubicBezTo>
                    <a:pt x="63" y="5"/>
                    <a:pt x="63" y="6"/>
                    <a:pt x="62" y="6"/>
                  </a:cubicBezTo>
                  <a:cubicBezTo>
                    <a:pt x="62" y="6"/>
                    <a:pt x="61" y="7"/>
                    <a:pt x="61" y="7"/>
                  </a:cubicBezTo>
                  <a:cubicBezTo>
                    <a:pt x="60" y="8"/>
                    <a:pt x="59" y="8"/>
                    <a:pt x="59" y="8"/>
                  </a:cubicBezTo>
                  <a:cubicBezTo>
                    <a:pt x="58" y="8"/>
                    <a:pt x="58" y="8"/>
                    <a:pt x="57" y="8"/>
                  </a:cubicBezTo>
                  <a:cubicBezTo>
                    <a:pt x="57" y="8"/>
                    <a:pt x="56" y="9"/>
                    <a:pt x="56" y="9"/>
                  </a:cubicBezTo>
                  <a:cubicBezTo>
                    <a:pt x="55" y="9"/>
                    <a:pt x="54" y="9"/>
                    <a:pt x="53" y="10"/>
                  </a:cubicBezTo>
                  <a:cubicBezTo>
                    <a:pt x="52" y="10"/>
                    <a:pt x="52" y="11"/>
                    <a:pt x="51" y="11"/>
                  </a:cubicBezTo>
                  <a:cubicBezTo>
                    <a:pt x="51" y="12"/>
                    <a:pt x="51" y="12"/>
                    <a:pt x="51" y="12"/>
                  </a:cubicBezTo>
                  <a:cubicBezTo>
                    <a:pt x="51" y="12"/>
                    <a:pt x="51" y="12"/>
                    <a:pt x="51" y="12"/>
                  </a:cubicBezTo>
                  <a:cubicBezTo>
                    <a:pt x="52" y="13"/>
                    <a:pt x="51" y="14"/>
                    <a:pt x="51" y="14"/>
                  </a:cubicBezTo>
                  <a:cubicBezTo>
                    <a:pt x="50" y="14"/>
                    <a:pt x="48" y="15"/>
                    <a:pt x="47" y="15"/>
                  </a:cubicBezTo>
                  <a:cubicBezTo>
                    <a:pt x="47" y="15"/>
                    <a:pt x="46" y="16"/>
                    <a:pt x="46" y="16"/>
                  </a:cubicBezTo>
                  <a:cubicBezTo>
                    <a:pt x="46" y="16"/>
                    <a:pt x="46" y="16"/>
                    <a:pt x="45" y="17"/>
                  </a:cubicBezTo>
                  <a:cubicBezTo>
                    <a:pt x="45" y="17"/>
                    <a:pt x="44" y="17"/>
                    <a:pt x="44" y="17"/>
                  </a:cubicBezTo>
                  <a:cubicBezTo>
                    <a:pt x="44" y="17"/>
                    <a:pt x="44" y="17"/>
                    <a:pt x="43" y="16"/>
                  </a:cubicBezTo>
                  <a:cubicBezTo>
                    <a:pt x="43" y="16"/>
                    <a:pt x="42" y="16"/>
                    <a:pt x="41" y="16"/>
                  </a:cubicBezTo>
                  <a:cubicBezTo>
                    <a:pt x="41" y="16"/>
                    <a:pt x="41" y="16"/>
                    <a:pt x="41" y="15"/>
                  </a:cubicBezTo>
                  <a:close/>
                  <a:moveTo>
                    <a:pt x="129" y="84"/>
                  </a:moveTo>
                  <a:cubicBezTo>
                    <a:pt x="129" y="84"/>
                    <a:pt x="129" y="85"/>
                    <a:pt x="129" y="85"/>
                  </a:cubicBezTo>
                  <a:cubicBezTo>
                    <a:pt x="130" y="85"/>
                    <a:pt x="130" y="85"/>
                    <a:pt x="130" y="84"/>
                  </a:cubicBezTo>
                  <a:cubicBezTo>
                    <a:pt x="130" y="84"/>
                    <a:pt x="130" y="84"/>
                    <a:pt x="130" y="83"/>
                  </a:cubicBezTo>
                  <a:cubicBezTo>
                    <a:pt x="130" y="83"/>
                    <a:pt x="130" y="83"/>
                    <a:pt x="130" y="82"/>
                  </a:cubicBezTo>
                  <a:cubicBezTo>
                    <a:pt x="130" y="81"/>
                    <a:pt x="130" y="81"/>
                    <a:pt x="129" y="81"/>
                  </a:cubicBezTo>
                  <a:cubicBezTo>
                    <a:pt x="129" y="82"/>
                    <a:pt x="128" y="81"/>
                    <a:pt x="128" y="82"/>
                  </a:cubicBezTo>
                  <a:cubicBezTo>
                    <a:pt x="128" y="82"/>
                    <a:pt x="128" y="82"/>
                    <a:pt x="128" y="82"/>
                  </a:cubicBezTo>
                  <a:cubicBezTo>
                    <a:pt x="128" y="82"/>
                    <a:pt x="129" y="83"/>
                    <a:pt x="129" y="83"/>
                  </a:cubicBezTo>
                  <a:cubicBezTo>
                    <a:pt x="129" y="83"/>
                    <a:pt x="129" y="83"/>
                    <a:pt x="129" y="83"/>
                  </a:cubicBezTo>
                  <a:cubicBezTo>
                    <a:pt x="129" y="83"/>
                    <a:pt x="129" y="83"/>
                    <a:pt x="129" y="84"/>
                  </a:cubicBezTo>
                  <a:cubicBezTo>
                    <a:pt x="129" y="84"/>
                    <a:pt x="129" y="84"/>
                    <a:pt x="129" y="84"/>
                  </a:cubicBezTo>
                  <a:close/>
                  <a:moveTo>
                    <a:pt x="166" y="130"/>
                  </a:moveTo>
                  <a:cubicBezTo>
                    <a:pt x="167" y="130"/>
                    <a:pt x="167" y="130"/>
                    <a:pt x="168" y="130"/>
                  </a:cubicBezTo>
                  <a:cubicBezTo>
                    <a:pt x="168" y="129"/>
                    <a:pt x="168" y="129"/>
                    <a:pt x="169" y="129"/>
                  </a:cubicBezTo>
                  <a:cubicBezTo>
                    <a:pt x="169" y="129"/>
                    <a:pt x="170" y="129"/>
                    <a:pt x="170" y="129"/>
                  </a:cubicBezTo>
                  <a:cubicBezTo>
                    <a:pt x="170" y="128"/>
                    <a:pt x="170" y="128"/>
                    <a:pt x="170" y="128"/>
                  </a:cubicBezTo>
                  <a:cubicBezTo>
                    <a:pt x="170" y="127"/>
                    <a:pt x="170" y="126"/>
                    <a:pt x="170" y="126"/>
                  </a:cubicBezTo>
                  <a:cubicBezTo>
                    <a:pt x="170" y="125"/>
                    <a:pt x="170" y="125"/>
                    <a:pt x="170" y="125"/>
                  </a:cubicBezTo>
                  <a:cubicBezTo>
                    <a:pt x="170" y="124"/>
                    <a:pt x="170" y="123"/>
                    <a:pt x="169" y="122"/>
                  </a:cubicBezTo>
                  <a:cubicBezTo>
                    <a:pt x="169" y="122"/>
                    <a:pt x="168" y="121"/>
                    <a:pt x="168" y="121"/>
                  </a:cubicBezTo>
                  <a:cubicBezTo>
                    <a:pt x="167" y="122"/>
                    <a:pt x="167" y="122"/>
                    <a:pt x="167" y="123"/>
                  </a:cubicBezTo>
                  <a:cubicBezTo>
                    <a:pt x="167" y="123"/>
                    <a:pt x="167" y="124"/>
                    <a:pt x="167" y="124"/>
                  </a:cubicBezTo>
                  <a:cubicBezTo>
                    <a:pt x="167" y="125"/>
                    <a:pt x="167" y="125"/>
                    <a:pt x="167" y="126"/>
                  </a:cubicBezTo>
                  <a:cubicBezTo>
                    <a:pt x="166" y="126"/>
                    <a:pt x="166" y="127"/>
                    <a:pt x="166" y="127"/>
                  </a:cubicBezTo>
                  <a:cubicBezTo>
                    <a:pt x="165" y="128"/>
                    <a:pt x="166" y="128"/>
                    <a:pt x="166" y="129"/>
                  </a:cubicBezTo>
                  <a:cubicBezTo>
                    <a:pt x="166" y="129"/>
                    <a:pt x="166" y="129"/>
                    <a:pt x="166" y="130"/>
                  </a:cubicBezTo>
                  <a:close/>
                  <a:moveTo>
                    <a:pt x="151" y="154"/>
                  </a:moveTo>
                  <a:cubicBezTo>
                    <a:pt x="151" y="154"/>
                    <a:pt x="151" y="154"/>
                    <a:pt x="151" y="154"/>
                  </a:cubicBezTo>
                  <a:cubicBezTo>
                    <a:pt x="151" y="154"/>
                    <a:pt x="151" y="154"/>
                    <a:pt x="151" y="154"/>
                  </a:cubicBezTo>
                  <a:cubicBezTo>
                    <a:pt x="152" y="154"/>
                    <a:pt x="151" y="155"/>
                    <a:pt x="152" y="155"/>
                  </a:cubicBezTo>
                  <a:cubicBezTo>
                    <a:pt x="152" y="155"/>
                    <a:pt x="152" y="155"/>
                    <a:pt x="152" y="155"/>
                  </a:cubicBezTo>
                  <a:cubicBezTo>
                    <a:pt x="153" y="155"/>
                    <a:pt x="153" y="155"/>
                    <a:pt x="153" y="155"/>
                  </a:cubicBezTo>
                  <a:cubicBezTo>
                    <a:pt x="153" y="155"/>
                    <a:pt x="153" y="155"/>
                    <a:pt x="153" y="155"/>
                  </a:cubicBezTo>
                  <a:cubicBezTo>
                    <a:pt x="154" y="155"/>
                    <a:pt x="154" y="155"/>
                    <a:pt x="154" y="155"/>
                  </a:cubicBezTo>
                  <a:cubicBezTo>
                    <a:pt x="154" y="154"/>
                    <a:pt x="154" y="154"/>
                    <a:pt x="154" y="154"/>
                  </a:cubicBezTo>
                  <a:cubicBezTo>
                    <a:pt x="154" y="153"/>
                    <a:pt x="154" y="153"/>
                    <a:pt x="154" y="152"/>
                  </a:cubicBezTo>
                  <a:cubicBezTo>
                    <a:pt x="154" y="152"/>
                    <a:pt x="154" y="152"/>
                    <a:pt x="153" y="152"/>
                  </a:cubicBezTo>
                  <a:cubicBezTo>
                    <a:pt x="153" y="151"/>
                    <a:pt x="153" y="151"/>
                    <a:pt x="152" y="151"/>
                  </a:cubicBezTo>
                  <a:cubicBezTo>
                    <a:pt x="152" y="151"/>
                    <a:pt x="152" y="151"/>
                    <a:pt x="152" y="151"/>
                  </a:cubicBezTo>
                  <a:cubicBezTo>
                    <a:pt x="152" y="151"/>
                    <a:pt x="152" y="151"/>
                    <a:pt x="152" y="151"/>
                  </a:cubicBezTo>
                  <a:cubicBezTo>
                    <a:pt x="152" y="151"/>
                    <a:pt x="152" y="151"/>
                    <a:pt x="152" y="151"/>
                  </a:cubicBezTo>
                  <a:cubicBezTo>
                    <a:pt x="152" y="151"/>
                    <a:pt x="152" y="151"/>
                    <a:pt x="151" y="151"/>
                  </a:cubicBezTo>
                  <a:cubicBezTo>
                    <a:pt x="151" y="151"/>
                    <a:pt x="151" y="151"/>
                    <a:pt x="151" y="151"/>
                  </a:cubicBezTo>
                  <a:cubicBezTo>
                    <a:pt x="150" y="151"/>
                    <a:pt x="150" y="152"/>
                    <a:pt x="150" y="152"/>
                  </a:cubicBezTo>
                  <a:cubicBezTo>
                    <a:pt x="150" y="152"/>
                    <a:pt x="150" y="153"/>
                    <a:pt x="151" y="153"/>
                  </a:cubicBezTo>
                  <a:cubicBezTo>
                    <a:pt x="151" y="153"/>
                    <a:pt x="151" y="153"/>
                    <a:pt x="151" y="154"/>
                  </a:cubicBezTo>
                  <a:close/>
                  <a:moveTo>
                    <a:pt x="208" y="121"/>
                  </a:moveTo>
                  <a:cubicBezTo>
                    <a:pt x="208" y="121"/>
                    <a:pt x="208" y="120"/>
                    <a:pt x="208" y="120"/>
                  </a:cubicBezTo>
                  <a:cubicBezTo>
                    <a:pt x="207" y="120"/>
                    <a:pt x="207" y="120"/>
                    <a:pt x="207" y="119"/>
                  </a:cubicBezTo>
                  <a:cubicBezTo>
                    <a:pt x="207" y="119"/>
                    <a:pt x="207" y="119"/>
                    <a:pt x="206" y="119"/>
                  </a:cubicBezTo>
                  <a:cubicBezTo>
                    <a:pt x="206" y="119"/>
                    <a:pt x="206" y="119"/>
                    <a:pt x="205" y="119"/>
                  </a:cubicBezTo>
                  <a:cubicBezTo>
                    <a:pt x="205" y="119"/>
                    <a:pt x="204" y="119"/>
                    <a:pt x="203" y="119"/>
                  </a:cubicBezTo>
                  <a:cubicBezTo>
                    <a:pt x="203" y="119"/>
                    <a:pt x="203" y="118"/>
                    <a:pt x="203" y="118"/>
                  </a:cubicBezTo>
                  <a:cubicBezTo>
                    <a:pt x="202" y="118"/>
                    <a:pt x="202" y="118"/>
                    <a:pt x="202" y="118"/>
                  </a:cubicBezTo>
                  <a:cubicBezTo>
                    <a:pt x="201" y="118"/>
                    <a:pt x="202" y="119"/>
                    <a:pt x="203" y="120"/>
                  </a:cubicBezTo>
                  <a:cubicBezTo>
                    <a:pt x="203" y="120"/>
                    <a:pt x="203" y="120"/>
                    <a:pt x="204" y="121"/>
                  </a:cubicBezTo>
                  <a:cubicBezTo>
                    <a:pt x="204" y="121"/>
                    <a:pt x="204" y="122"/>
                    <a:pt x="204" y="122"/>
                  </a:cubicBezTo>
                  <a:cubicBezTo>
                    <a:pt x="204" y="123"/>
                    <a:pt x="205" y="123"/>
                    <a:pt x="205" y="123"/>
                  </a:cubicBezTo>
                  <a:cubicBezTo>
                    <a:pt x="206" y="122"/>
                    <a:pt x="206" y="122"/>
                    <a:pt x="206" y="122"/>
                  </a:cubicBezTo>
                  <a:cubicBezTo>
                    <a:pt x="207" y="122"/>
                    <a:pt x="207" y="122"/>
                    <a:pt x="208" y="122"/>
                  </a:cubicBezTo>
                  <a:cubicBezTo>
                    <a:pt x="208" y="121"/>
                    <a:pt x="208" y="121"/>
                    <a:pt x="208" y="121"/>
                  </a:cubicBezTo>
                  <a:close/>
                  <a:moveTo>
                    <a:pt x="229" y="112"/>
                  </a:moveTo>
                  <a:cubicBezTo>
                    <a:pt x="229" y="112"/>
                    <a:pt x="229" y="112"/>
                    <a:pt x="230" y="112"/>
                  </a:cubicBezTo>
                  <a:cubicBezTo>
                    <a:pt x="230" y="112"/>
                    <a:pt x="230" y="112"/>
                    <a:pt x="230" y="112"/>
                  </a:cubicBezTo>
                  <a:cubicBezTo>
                    <a:pt x="230" y="113"/>
                    <a:pt x="231" y="113"/>
                    <a:pt x="231" y="113"/>
                  </a:cubicBezTo>
                  <a:cubicBezTo>
                    <a:pt x="232" y="112"/>
                    <a:pt x="232" y="112"/>
                    <a:pt x="232" y="112"/>
                  </a:cubicBezTo>
                  <a:cubicBezTo>
                    <a:pt x="233" y="112"/>
                    <a:pt x="233" y="112"/>
                    <a:pt x="233" y="112"/>
                  </a:cubicBezTo>
                  <a:cubicBezTo>
                    <a:pt x="234" y="112"/>
                    <a:pt x="234" y="112"/>
                    <a:pt x="234" y="112"/>
                  </a:cubicBezTo>
                  <a:cubicBezTo>
                    <a:pt x="235" y="112"/>
                    <a:pt x="235" y="112"/>
                    <a:pt x="235" y="112"/>
                  </a:cubicBezTo>
                  <a:cubicBezTo>
                    <a:pt x="236" y="113"/>
                    <a:pt x="236" y="113"/>
                    <a:pt x="236" y="113"/>
                  </a:cubicBezTo>
                  <a:cubicBezTo>
                    <a:pt x="236" y="113"/>
                    <a:pt x="237" y="113"/>
                    <a:pt x="237" y="112"/>
                  </a:cubicBezTo>
                  <a:cubicBezTo>
                    <a:pt x="238" y="112"/>
                    <a:pt x="238" y="112"/>
                    <a:pt x="238" y="112"/>
                  </a:cubicBezTo>
                  <a:cubicBezTo>
                    <a:pt x="238" y="111"/>
                    <a:pt x="239" y="111"/>
                    <a:pt x="239" y="111"/>
                  </a:cubicBezTo>
                  <a:cubicBezTo>
                    <a:pt x="240" y="110"/>
                    <a:pt x="239" y="110"/>
                    <a:pt x="238" y="109"/>
                  </a:cubicBezTo>
                  <a:cubicBezTo>
                    <a:pt x="238" y="109"/>
                    <a:pt x="238" y="109"/>
                    <a:pt x="238" y="108"/>
                  </a:cubicBezTo>
                  <a:cubicBezTo>
                    <a:pt x="238" y="108"/>
                    <a:pt x="237" y="108"/>
                    <a:pt x="237" y="107"/>
                  </a:cubicBezTo>
                  <a:cubicBezTo>
                    <a:pt x="237" y="107"/>
                    <a:pt x="236" y="107"/>
                    <a:pt x="236" y="106"/>
                  </a:cubicBezTo>
                  <a:cubicBezTo>
                    <a:pt x="236" y="106"/>
                    <a:pt x="236" y="106"/>
                    <a:pt x="236" y="105"/>
                  </a:cubicBezTo>
                  <a:cubicBezTo>
                    <a:pt x="236" y="105"/>
                    <a:pt x="236" y="105"/>
                    <a:pt x="235" y="105"/>
                  </a:cubicBezTo>
                  <a:cubicBezTo>
                    <a:pt x="235" y="105"/>
                    <a:pt x="235" y="105"/>
                    <a:pt x="234" y="105"/>
                  </a:cubicBezTo>
                  <a:cubicBezTo>
                    <a:pt x="233" y="105"/>
                    <a:pt x="233" y="104"/>
                    <a:pt x="232" y="105"/>
                  </a:cubicBezTo>
                  <a:cubicBezTo>
                    <a:pt x="232" y="105"/>
                    <a:pt x="231" y="105"/>
                    <a:pt x="231" y="105"/>
                  </a:cubicBezTo>
                  <a:cubicBezTo>
                    <a:pt x="231" y="105"/>
                    <a:pt x="231" y="105"/>
                    <a:pt x="231" y="105"/>
                  </a:cubicBezTo>
                  <a:cubicBezTo>
                    <a:pt x="232" y="106"/>
                    <a:pt x="232" y="106"/>
                    <a:pt x="233" y="106"/>
                  </a:cubicBezTo>
                  <a:cubicBezTo>
                    <a:pt x="233" y="106"/>
                    <a:pt x="234" y="106"/>
                    <a:pt x="233" y="107"/>
                  </a:cubicBezTo>
                  <a:cubicBezTo>
                    <a:pt x="233" y="107"/>
                    <a:pt x="232" y="107"/>
                    <a:pt x="232" y="107"/>
                  </a:cubicBezTo>
                  <a:cubicBezTo>
                    <a:pt x="231" y="107"/>
                    <a:pt x="231" y="107"/>
                    <a:pt x="231" y="108"/>
                  </a:cubicBezTo>
                  <a:cubicBezTo>
                    <a:pt x="231" y="108"/>
                    <a:pt x="230" y="108"/>
                    <a:pt x="230" y="109"/>
                  </a:cubicBezTo>
                  <a:cubicBezTo>
                    <a:pt x="230" y="109"/>
                    <a:pt x="229" y="109"/>
                    <a:pt x="229" y="109"/>
                  </a:cubicBezTo>
                  <a:cubicBezTo>
                    <a:pt x="229" y="110"/>
                    <a:pt x="228" y="110"/>
                    <a:pt x="228" y="110"/>
                  </a:cubicBezTo>
                  <a:cubicBezTo>
                    <a:pt x="227" y="109"/>
                    <a:pt x="227" y="109"/>
                    <a:pt x="227" y="109"/>
                  </a:cubicBezTo>
                  <a:cubicBezTo>
                    <a:pt x="226" y="109"/>
                    <a:pt x="227" y="110"/>
                    <a:pt x="227" y="110"/>
                  </a:cubicBezTo>
                  <a:cubicBezTo>
                    <a:pt x="227" y="111"/>
                    <a:pt x="227" y="111"/>
                    <a:pt x="227" y="111"/>
                  </a:cubicBezTo>
                  <a:cubicBezTo>
                    <a:pt x="227" y="111"/>
                    <a:pt x="227" y="111"/>
                    <a:pt x="227" y="111"/>
                  </a:cubicBezTo>
                  <a:cubicBezTo>
                    <a:pt x="227" y="111"/>
                    <a:pt x="227" y="112"/>
                    <a:pt x="227" y="112"/>
                  </a:cubicBezTo>
                  <a:cubicBezTo>
                    <a:pt x="228" y="112"/>
                    <a:pt x="228" y="112"/>
                    <a:pt x="229" y="112"/>
                  </a:cubicBezTo>
                  <a:close/>
                  <a:moveTo>
                    <a:pt x="3" y="82"/>
                  </a:moveTo>
                  <a:cubicBezTo>
                    <a:pt x="3" y="82"/>
                    <a:pt x="3" y="83"/>
                    <a:pt x="3" y="83"/>
                  </a:cubicBezTo>
                  <a:cubicBezTo>
                    <a:pt x="3" y="83"/>
                    <a:pt x="7" y="84"/>
                    <a:pt x="7" y="84"/>
                  </a:cubicBezTo>
                  <a:cubicBezTo>
                    <a:pt x="10" y="91"/>
                    <a:pt x="10" y="91"/>
                    <a:pt x="10" y="91"/>
                  </a:cubicBezTo>
                  <a:cubicBezTo>
                    <a:pt x="42" y="101"/>
                    <a:pt x="42" y="101"/>
                    <a:pt x="42" y="101"/>
                  </a:cubicBezTo>
                  <a:cubicBezTo>
                    <a:pt x="46" y="102"/>
                    <a:pt x="46" y="102"/>
                    <a:pt x="46" y="102"/>
                  </a:cubicBezTo>
                  <a:cubicBezTo>
                    <a:pt x="55" y="108"/>
                    <a:pt x="55" y="108"/>
                    <a:pt x="55" y="108"/>
                  </a:cubicBezTo>
                  <a:cubicBezTo>
                    <a:pt x="58" y="108"/>
                    <a:pt x="58" y="108"/>
                    <a:pt x="58" y="108"/>
                  </a:cubicBezTo>
                  <a:cubicBezTo>
                    <a:pt x="61" y="109"/>
                    <a:pt x="61" y="109"/>
                    <a:pt x="61" y="109"/>
                  </a:cubicBezTo>
                  <a:cubicBezTo>
                    <a:pt x="61" y="109"/>
                    <a:pt x="62" y="108"/>
                    <a:pt x="62" y="108"/>
                  </a:cubicBezTo>
                  <a:cubicBezTo>
                    <a:pt x="63" y="108"/>
                    <a:pt x="65" y="108"/>
                    <a:pt x="65" y="108"/>
                  </a:cubicBezTo>
                  <a:cubicBezTo>
                    <a:pt x="65" y="108"/>
                    <a:pt x="67" y="109"/>
                    <a:pt x="67" y="109"/>
                  </a:cubicBezTo>
                  <a:cubicBezTo>
                    <a:pt x="68" y="109"/>
                    <a:pt x="68" y="109"/>
                    <a:pt x="68" y="109"/>
                  </a:cubicBezTo>
                  <a:cubicBezTo>
                    <a:pt x="68" y="109"/>
                    <a:pt x="69" y="110"/>
                    <a:pt x="69" y="110"/>
                  </a:cubicBezTo>
                  <a:cubicBezTo>
                    <a:pt x="69" y="110"/>
                    <a:pt x="70" y="109"/>
                    <a:pt x="70" y="110"/>
                  </a:cubicBezTo>
                  <a:cubicBezTo>
                    <a:pt x="70" y="110"/>
                    <a:pt x="72" y="111"/>
                    <a:pt x="72" y="111"/>
                  </a:cubicBezTo>
                  <a:cubicBezTo>
                    <a:pt x="72" y="111"/>
                    <a:pt x="75" y="111"/>
                    <a:pt x="76" y="111"/>
                  </a:cubicBezTo>
                  <a:cubicBezTo>
                    <a:pt x="77" y="111"/>
                    <a:pt x="78" y="112"/>
                    <a:pt x="79" y="112"/>
                  </a:cubicBezTo>
                  <a:cubicBezTo>
                    <a:pt x="79" y="112"/>
                    <a:pt x="80" y="113"/>
                    <a:pt x="80" y="113"/>
                  </a:cubicBezTo>
                  <a:cubicBezTo>
                    <a:pt x="80" y="114"/>
                    <a:pt x="80" y="115"/>
                    <a:pt x="80" y="116"/>
                  </a:cubicBezTo>
                  <a:cubicBezTo>
                    <a:pt x="80" y="116"/>
                    <a:pt x="79" y="117"/>
                    <a:pt x="79" y="117"/>
                  </a:cubicBezTo>
                  <a:cubicBezTo>
                    <a:pt x="79" y="117"/>
                    <a:pt x="79" y="118"/>
                    <a:pt x="79" y="118"/>
                  </a:cubicBezTo>
                  <a:cubicBezTo>
                    <a:pt x="79" y="119"/>
                    <a:pt x="80" y="119"/>
                    <a:pt x="81" y="119"/>
                  </a:cubicBezTo>
                  <a:cubicBezTo>
                    <a:pt x="81" y="120"/>
                    <a:pt x="83" y="119"/>
                    <a:pt x="83" y="119"/>
                  </a:cubicBezTo>
                  <a:cubicBezTo>
                    <a:pt x="84" y="119"/>
                    <a:pt x="84" y="119"/>
                    <a:pt x="84" y="120"/>
                  </a:cubicBezTo>
                  <a:cubicBezTo>
                    <a:pt x="84" y="120"/>
                    <a:pt x="85" y="121"/>
                    <a:pt x="85" y="121"/>
                  </a:cubicBezTo>
                  <a:cubicBezTo>
                    <a:pt x="85" y="121"/>
                    <a:pt x="88" y="121"/>
                    <a:pt x="88" y="121"/>
                  </a:cubicBezTo>
                  <a:cubicBezTo>
                    <a:pt x="88" y="121"/>
                    <a:pt x="91" y="124"/>
                    <a:pt x="91" y="124"/>
                  </a:cubicBezTo>
                  <a:cubicBezTo>
                    <a:pt x="91" y="125"/>
                    <a:pt x="90" y="125"/>
                    <a:pt x="90" y="126"/>
                  </a:cubicBezTo>
                  <a:cubicBezTo>
                    <a:pt x="90" y="126"/>
                    <a:pt x="89" y="127"/>
                    <a:pt x="90" y="127"/>
                  </a:cubicBezTo>
                  <a:cubicBezTo>
                    <a:pt x="90" y="127"/>
                    <a:pt x="90" y="128"/>
                    <a:pt x="90" y="129"/>
                  </a:cubicBezTo>
                  <a:cubicBezTo>
                    <a:pt x="91" y="129"/>
                    <a:pt x="91" y="130"/>
                    <a:pt x="91" y="130"/>
                  </a:cubicBezTo>
                  <a:cubicBezTo>
                    <a:pt x="90" y="130"/>
                    <a:pt x="89" y="131"/>
                    <a:pt x="89" y="131"/>
                  </a:cubicBezTo>
                  <a:cubicBezTo>
                    <a:pt x="89" y="131"/>
                    <a:pt x="89" y="131"/>
                    <a:pt x="89" y="132"/>
                  </a:cubicBezTo>
                  <a:cubicBezTo>
                    <a:pt x="89" y="132"/>
                    <a:pt x="90" y="133"/>
                    <a:pt x="90" y="133"/>
                  </a:cubicBezTo>
                  <a:cubicBezTo>
                    <a:pt x="90" y="133"/>
                    <a:pt x="89" y="135"/>
                    <a:pt x="89" y="135"/>
                  </a:cubicBezTo>
                  <a:cubicBezTo>
                    <a:pt x="89" y="135"/>
                    <a:pt x="88" y="137"/>
                    <a:pt x="88" y="137"/>
                  </a:cubicBezTo>
                  <a:cubicBezTo>
                    <a:pt x="88" y="138"/>
                    <a:pt x="87" y="139"/>
                    <a:pt x="87" y="140"/>
                  </a:cubicBezTo>
                  <a:cubicBezTo>
                    <a:pt x="87" y="140"/>
                    <a:pt x="87" y="140"/>
                    <a:pt x="88" y="140"/>
                  </a:cubicBezTo>
                  <a:cubicBezTo>
                    <a:pt x="88" y="141"/>
                    <a:pt x="91" y="141"/>
                    <a:pt x="91" y="141"/>
                  </a:cubicBezTo>
                  <a:cubicBezTo>
                    <a:pt x="91" y="141"/>
                    <a:pt x="93" y="139"/>
                    <a:pt x="93" y="139"/>
                  </a:cubicBezTo>
                  <a:cubicBezTo>
                    <a:pt x="93" y="139"/>
                    <a:pt x="95" y="139"/>
                    <a:pt x="95" y="139"/>
                  </a:cubicBezTo>
                  <a:cubicBezTo>
                    <a:pt x="95" y="140"/>
                    <a:pt x="95" y="140"/>
                    <a:pt x="95" y="141"/>
                  </a:cubicBezTo>
                  <a:cubicBezTo>
                    <a:pt x="95" y="141"/>
                    <a:pt x="93" y="146"/>
                    <a:pt x="93" y="147"/>
                  </a:cubicBezTo>
                  <a:cubicBezTo>
                    <a:pt x="93" y="147"/>
                    <a:pt x="92" y="149"/>
                    <a:pt x="92" y="149"/>
                  </a:cubicBezTo>
                  <a:cubicBezTo>
                    <a:pt x="92" y="149"/>
                    <a:pt x="93" y="151"/>
                    <a:pt x="94" y="151"/>
                  </a:cubicBezTo>
                  <a:cubicBezTo>
                    <a:pt x="94" y="151"/>
                    <a:pt x="95" y="152"/>
                    <a:pt x="95" y="152"/>
                  </a:cubicBezTo>
                  <a:cubicBezTo>
                    <a:pt x="95" y="152"/>
                    <a:pt x="96" y="153"/>
                    <a:pt x="97" y="153"/>
                  </a:cubicBezTo>
                  <a:cubicBezTo>
                    <a:pt x="97" y="153"/>
                    <a:pt x="97" y="152"/>
                    <a:pt x="98" y="151"/>
                  </a:cubicBezTo>
                  <a:cubicBezTo>
                    <a:pt x="98" y="150"/>
                    <a:pt x="99" y="149"/>
                    <a:pt x="100" y="148"/>
                  </a:cubicBezTo>
                  <a:cubicBezTo>
                    <a:pt x="102" y="145"/>
                    <a:pt x="103" y="143"/>
                    <a:pt x="105" y="141"/>
                  </a:cubicBezTo>
                  <a:cubicBezTo>
                    <a:pt x="106" y="140"/>
                    <a:pt x="106" y="139"/>
                    <a:pt x="107" y="138"/>
                  </a:cubicBezTo>
                  <a:cubicBezTo>
                    <a:pt x="107" y="137"/>
                    <a:pt x="108" y="136"/>
                    <a:pt x="108" y="135"/>
                  </a:cubicBezTo>
                  <a:cubicBezTo>
                    <a:pt x="108" y="134"/>
                    <a:pt x="109" y="133"/>
                    <a:pt x="109" y="132"/>
                  </a:cubicBezTo>
                  <a:cubicBezTo>
                    <a:pt x="109" y="132"/>
                    <a:pt x="110" y="131"/>
                    <a:pt x="110" y="130"/>
                  </a:cubicBezTo>
                  <a:cubicBezTo>
                    <a:pt x="110" y="130"/>
                    <a:pt x="110" y="129"/>
                    <a:pt x="111" y="128"/>
                  </a:cubicBezTo>
                  <a:cubicBezTo>
                    <a:pt x="111" y="127"/>
                    <a:pt x="111" y="127"/>
                    <a:pt x="112" y="126"/>
                  </a:cubicBezTo>
                  <a:cubicBezTo>
                    <a:pt x="112" y="126"/>
                    <a:pt x="112" y="126"/>
                    <a:pt x="112" y="126"/>
                  </a:cubicBezTo>
                  <a:cubicBezTo>
                    <a:pt x="113" y="126"/>
                    <a:pt x="113" y="126"/>
                    <a:pt x="113" y="126"/>
                  </a:cubicBezTo>
                  <a:cubicBezTo>
                    <a:pt x="114" y="126"/>
                    <a:pt x="114" y="125"/>
                    <a:pt x="114" y="125"/>
                  </a:cubicBezTo>
                  <a:cubicBezTo>
                    <a:pt x="114" y="125"/>
                    <a:pt x="115" y="124"/>
                    <a:pt x="115" y="124"/>
                  </a:cubicBezTo>
                  <a:cubicBezTo>
                    <a:pt x="115" y="124"/>
                    <a:pt x="115" y="123"/>
                    <a:pt x="115" y="123"/>
                  </a:cubicBezTo>
                  <a:cubicBezTo>
                    <a:pt x="115" y="123"/>
                    <a:pt x="115" y="123"/>
                    <a:pt x="116" y="122"/>
                  </a:cubicBezTo>
                  <a:cubicBezTo>
                    <a:pt x="116" y="122"/>
                    <a:pt x="116" y="122"/>
                    <a:pt x="116" y="122"/>
                  </a:cubicBezTo>
                  <a:cubicBezTo>
                    <a:pt x="116" y="121"/>
                    <a:pt x="115" y="120"/>
                    <a:pt x="116" y="120"/>
                  </a:cubicBezTo>
                  <a:cubicBezTo>
                    <a:pt x="116" y="119"/>
                    <a:pt x="116" y="119"/>
                    <a:pt x="117" y="119"/>
                  </a:cubicBezTo>
                  <a:cubicBezTo>
                    <a:pt x="117" y="118"/>
                    <a:pt x="117" y="118"/>
                    <a:pt x="117" y="117"/>
                  </a:cubicBezTo>
                  <a:cubicBezTo>
                    <a:pt x="117" y="117"/>
                    <a:pt x="117" y="116"/>
                    <a:pt x="118" y="116"/>
                  </a:cubicBezTo>
                  <a:cubicBezTo>
                    <a:pt x="118" y="116"/>
                    <a:pt x="118" y="115"/>
                    <a:pt x="118" y="114"/>
                  </a:cubicBezTo>
                  <a:cubicBezTo>
                    <a:pt x="119" y="114"/>
                    <a:pt x="120" y="115"/>
                    <a:pt x="120" y="116"/>
                  </a:cubicBezTo>
                  <a:cubicBezTo>
                    <a:pt x="120" y="116"/>
                    <a:pt x="119" y="116"/>
                    <a:pt x="119" y="116"/>
                  </a:cubicBezTo>
                  <a:cubicBezTo>
                    <a:pt x="119" y="116"/>
                    <a:pt x="119" y="117"/>
                    <a:pt x="119" y="117"/>
                  </a:cubicBezTo>
                  <a:cubicBezTo>
                    <a:pt x="118" y="117"/>
                    <a:pt x="118" y="118"/>
                    <a:pt x="118" y="118"/>
                  </a:cubicBezTo>
                  <a:cubicBezTo>
                    <a:pt x="118" y="119"/>
                    <a:pt x="118" y="120"/>
                    <a:pt x="118" y="120"/>
                  </a:cubicBezTo>
                  <a:cubicBezTo>
                    <a:pt x="118" y="121"/>
                    <a:pt x="118" y="122"/>
                    <a:pt x="118" y="122"/>
                  </a:cubicBezTo>
                  <a:cubicBezTo>
                    <a:pt x="118" y="123"/>
                    <a:pt x="119" y="123"/>
                    <a:pt x="119" y="123"/>
                  </a:cubicBezTo>
                  <a:cubicBezTo>
                    <a:pt x="119" y="123"/>
                    <a:pt x="119" y="123"/>
                    <a:pt x="119" y="123"/>
                  </a:cubicBezTo>
                  <a:cubicBezTo>
                    <a:pt x="119" y="124"/>
                    <a:pt x="119" y="124"/>
                    <a:pt x="120" y="124"/>
                  </a:cubicBezTo>
                  <a:cubicBezTo>
                    <a:pt x="121" y="124"/>
                    <a:pt x="121" y="124"/>
                    <a:pt x="122" y="123"/>
                  </a:cubicBezTo>
                  <a:cubicBezTo>
                    <a:pt x="122" y="123"/>
                    <a:pt x="123" y="123"/>
                    <a:pt x="123" y="123"/>
                  </a:cubicBezTo>
                  <a:cubicBezTo>
                    <a:pt x="124" y="122"/>
                    <a:pt x="124" y="122"/>
                    <a:pt x="124" y="121"/>
                  </a:cubicBezTo>
                  <a:cubicBezTo>
                    <a:pt x="124" y="120"/>
                    <a:pt x="124" y="120"/>
                    <a:pt x="124" y="119"/>
                  </a:cubicBezTo>
                  <a:cubicBezTo>
                    <a:pt x="125" y="119"/>
                    <a:pt x="125" y="118"/>
                    <a:pt x="125" y="117"/>
                  </a:cubicBezTo>
                  <a:cubicBezTo>
                    <a:pt x="125" y="117"/>
                    <a:pt x="125" y="116"/>
                    <a:pt x="126" y="116"/>
                  </a:cubicBezTo>
                  <a:cubicBezTo>
                    <a:pt x="126" y="116"/>
                    <a:pt x="126" y="117"/>
                    <a:pt x="127" y="117"/>
                  </a:cubicBezTo>
                  <a:cubicBezTo>
                    <a:pt x="127" y="117"/>
                    <a:pt x="127" y="117"/>
                    <a:pt x="127" y="117"/>
                  </a:cubicBezTo>
                  <a:cubicBezTo>
                    <a:pt x="128" y="117"/>
                    <a:pt x="129" y="117"/>
                    <a:pt x="130" y="117"/>
                  </a:cubicBezTo>
                  <a:cubicBezTo>
                    <a:pt x="130" y="117"/>
                    <a:pt x="131" y="117"/>
                    <a:pt x="131" y="116"/>
                  </a:cubicBezTo>
                  <a:cubicBezTo>
                    <a:pt x="132" y="116"/>
                    <a:pt x="132" y="115"/>
                    <a:pt x="133" y="115"/>
                  </a:cubicBezTo>
                  <a:cubicBezTo>
                    <a:pt x="134" y="114"/>
                    <a:pt x="134" y="115"/>
                    <a:pt x="134" y="116"/>
                  </a:cubicBezTo>
                  <a:cubicBezTo>
                    <a:pt x="134" y="117"/>
                    <a:pt x="133" y="117"/>
                    <a:pt x="133" y="118"/>
                  </a:cubicBezTo>
                  <a:cubicBezTo>
                    <a:pt x="132" y="119"/>
                    <a:pt x="132" y="120"/>
                    <a:pt x="131" y="121"/>
                  </a:cubicBezTo>
                  <a:cubicBezTo>
                    <a:pt x="130" y="122"/>
                    <a:pt x="129" y="123"/>
                    <a:pt x="129" y="123"/>
                  </a:cubicBezTo>
                  <a:cubicBezTo>
                    <a:pt x="128" y="124"/>
                    <a:pt x="128" y="125"/>
                    <a:pt x="128" y="126"/>
                  </a:cubicBezTo>
                  <a:cubicBezTo>
                    <a:pt x="128" y="126"/>
                    <a:pt x="129" y="126"/>
                    <a:pt x="129" y="127"/>
                  </a:cubicBezTo>
                  <a:cubicBezTo>
                    <a:pt x="129" y="127"/>
                    <a:pt x="130" y="127"/>
                    <a:pt x="130" y="128"/>
                  </a:cubicBezTo>
                  <a:cubicBezTo>
                    <a:pt x="130" y="128"/>
                    <a:pt x="131" y="129"/>
                    <a:pt x="131" y="128"/>
                  </a:cubicBezTo>
                  <a:cubicBezTo>
                    <a:pt x="131" y="128"/>
                    <a:pt x="131" y="127"/>
                    <a:pt x="131" y="127"/>
                  </a:cubicBezTo>
                  <a:cubicBezTo>
                    <a:pt x="131" y="127"/>
                    <a:pt x="131" y="127"/>
                    <a:pt x="131" y="126"/>
                  </a:cubicBezTo>
                  <a:cubicBezTo>
                    <a:pt x="131" y="126"/>
                    <a:pt x="131" y="126"/>
                    <a:pt x="132" y="125"/>
                  </a:cubicBezTo>
                  <a:cubicBezTo>
                    <a:pt x="132" y="125"/>
                    <a:pt x="132" y="124"/>
                    <a:pt x="133" y="123"/>
                  </a:cubicBezTo>
                  <a:cubicBezTo>
                    <a:pt x="133" y="123"/>
                    <a:pt x="134" y="122"/>
                    <a:pt x="135" y="122"/>
                  </a:cubicBezTo>
                  <a:cubicBezTo>
                    <a:pt x="136" y="121"/>
                    <a:pt x="137" y="121"/>
                    <a:pt x="138" y="120"/>
                  </a:cubicBezTo>
                  <a:cubicBezTo>
                    <a:pt x="139" y="120"/>
                    <a:pt x="140" y="120"/>
                    <a:pt x="140" y="119"/>
                  </a:cubicBezTo>
                  <a:cubicBezTo>
                    <a:pt x="140" y="119"/>
                    <a:pt x="140" y="118"/>
                    <a:pt x="140" y="118"/>
                  </a:cubicBezTo>
                  <a:cubicBezTo>
                    <a:pt x="140" y="116"/>
                    <a:pt x="141" y="115"/>
                    <a:pt x="142" y="114"/>
                  </a:cubicBezTo>
                  <a:cubicBezTo>
                    <a:pt x="142" y="113"/>
                    <a:pt x="144" y="112"/>
                    <a:pt x="145" y="112"/>
                  </a:cubicBezTo>
                  <a:cubicBezTo>
                    <a:pt x="146" y="111"/>
                    <a:pt x="146" y="111"/>
                    <a:pt x="147" y="111"/>
                  </a:cubicBezTo>
                  <a:cubicBezTo>
                    <a:pt x="147" y="111"/>
                    <a:pt x="148" y="111"/>
                    <a:pt x="149" y="111"/>
                  </a:cubicBezTo>
                  <a:cubicBezTo>
                    <a:pt x="149" y="111"/>
                    <a:pt x="150" y="111"/>
                    <a:pt x="150" y="111"/>
                  </a:cubicBezTo>
                  <a:cubicBezTo>
                    <a:pt x="151" y="111"/>
                    <a:pt x="151" y="111"/>
                    <a:pt x="152" y="112"/>
                  </a:cubicBezTo>
                  <a:cubicBezTo>
                    <a:pt x="152" y="112"/>
                    <a:pt x="153" y="113"/>
                    <a:pt x="154" y="113"/>
                  </a:cubicBezTo>
                  <a:cubicBezTo>
                    <a:pt x="155" y="112"/>
                    <a:pt x="155" y="112"/>
                    <a:pt x="155" y="111"/>
                  </a:cubicBezTo>
                  <a:cubicBezTo>
                    <a:pt x="156" y="111"/>
                    <a:pt x="157" y="110"/>
                    <a:pt x="157" y="110"/>
                  </a:cubicBezTo>
                  <a:cubicBezTo>
                    <a:pt x="164" y="110"/>
                    <a:pt x="164" y="110"/>
                    <a:pt x="164" y="110"/>
                  </a:cubicBezTo>
                  <a:cubicBezTo>
                    <a:pt x="165" y="110"/>
                    <a:pt x="165" y="110"/>
                    <a:pt x="165" y="110"/>
                  </a:cubicBezTo>
                  <a:cubicBezTo>
                    <a:pt x="166" y="110"/>
                    <a:pt x="166" y="109"/>
                    <a:pt x="166" y="108"/>
                  </a:cubicBezTo>
                  <a:cubicBezTo>
                    <a:pt x="167" y="107"/>
                    <a:pt x="167" y="107"/>
                    <a:pt x="168" y="106"/>
                  </a:cubicBezTo>
                  <a:cubicBezTo>
                    <a:pt x="168" y="106"/>
                    <a:pt x="169" y="105"/>
                    <a:pt x="169" y="105"/>
                  </a:cubicBezTo>
                  <a:cubicBezTo>
                    <a:pt x="169" y="105"/>
                    <a:pt x="169" y="105"/>
                    <a:pt x="169" y="105"/>
                  </a:cubicBezTo>
                  <a:cubicBezTo>
                    <a:pt x="170" y="104"/>
                    <a:pt x="170" y="104"/>
                    <a:pt x="170" y="104"/>
                  </a:cubicBezTo>
                  <a:cubicBezTo>
                    <a:pt x="171" y="104"/>
                    <a:pt x="171" y="104"/>
                    <a:pt x="171" y="104"/>
                  </a:cubicBezTo>
                  <a:cubicBezTo>
                    <a:pt x="173" y="104"/>
                    <a:pt x="174" y="105"/>
                    <a:pt x="175" y="105"/>
                  </a:cubicBezTo>
                  <a:cubicBezTo>
                    <a:pt x="176" y="105"/>
                    <a:pt x="177" y="106"/>
                    <a:pt x="178" y="106"/>
                  </a:cubicBezTo>
                  <a:cubicBezTo>
                    <a:pt x="178" y="106"/>
                    <a:pt x="179" y="106"/>
                    <a:pt x="180" y="106"/>
                  </a:cubicBezTo>
                  <a:cubicBezTo>
                    <a:pt x="180" y="107"/>
                    <a:pt x="181" y="107"/>
                    <a:pt x="181" y="107"/>
                  </a:cubicBezTo>
                  <a:cubicBezTo>
                    <a:pt x="182" y="107"/>
                    <a:pt x="183" y="108"/>
                    <a:pt x="183" y="108"/>
                  </a:cubicBezTo>
                  <a:cubicBezTo>
                    <a:pt x="184" y="108"/>
                    <a:pt x="184" y="108"/>
                    <a:pt x="185" y="108"/>
                  </a:cubicBezTo>
                  <a:cubicBezTo>
                    <a:pt x="186" y="108"/>
                    <a:pt x="186" y="108"/>
                    <a:pt x="187" y="109"/>
                  </a:cubicBezTo>
                  <a:cubicBezTo>
                    <a:pt x="187" y="109"/>
                    <a:pt x="187" y="110"/>
                    <a:pt x="187" y="110"/>
                  </a:cubicBezTo>
                  <a:cubicBezTo>
                    <a:pt x="187" y="110"/>
                    <a:pt x="188" y="111"/>
                    <a:pt x="188" y="111"/>
                  </a:cubicBezTo>
                  <a:cubicBezTo>
                    <a:pt x="189" y="111"/>
                    <a:pt x="189" y="112"/>
                    <a:pt x="190" y="113"/>
                  </a:cubicBezTo>
                  <a:cubicBezTo>
                    <a:pt x="191" y="113"/>
                    <a:pt x="191" y="114"/>
                    <a:pt x="192" y="114"/>
                  </a:cubicBezTo>
                  <a:cubicBezTo>
                    <a:pt x="192" y="115"/>
                    <a:pt x="193" y="116"/>
                    <a:pt x="194" y="116"/>
                  </a:cubicBezTo>
                  <a:cubicBezTo>
                    <a:pt x="194" y="116"/>
                    <a:pt x="194" y="116"/>
                    <a:pt x="194" y="116"/>
                  </a:cubicBezTo>
                  <a:cubicBezTo>
                    <a:pt x="195" y="117"/>
                    <a:pt x="195" y="117"/>
                    <a:pt x="196" y="117"/>
                  </a:cubicBezTo>
                  <a:cubicBezTo>
                    <a:pt x="197" y="116"/>
                    <a:pt x="195" y="115"/>
                    <a:pt x="196" y="114"/>
                  </a:cubicBezTo>
                  <a:cubicBezTo>
                    <a:pt x="196" y="114"/>
                    <a:pt x="196" y="113"/>
                    <a:pt x="197" y="113"/>
                  </a:cubicBezTo>
                  <a:cubicBezTo>
                    <a:pt x="197" y="113"/>
                    <a:pt x="197" y="112"/>
                    <a:pt x="197" y="112"/>
                  </a:cubicBezTo>
                  <a:cubicBezTo>
                    <a:pt x="198" y="111"/>
                    <a:pt x="198" y="110"/>
                    <a:pt x="198" y="109"/>
                  </a:cubicBezTo>
                  <a:cubicBezTo>
                    <a:pt x="199" y="109"/>
                    <a:pt x="198" y="108"/>
                    <a:pt x="199" y="107"/>
                  </a:cubicBezTo>
                  <a:cubicBezTo>
                    <a:pt x="199" y="107"/>
                    <a:pt x="199" y="107"/>
                    <a:pt x="199" y="107"/>
                  </a:cubicBezTo>
                  <a:cubicBezTo>
                    <a:pt x="199" y="107"/>
                    <a:pt x="200" y="107"/>
                    <a:pt x="200" y="107"/>
                  </a:cubicBezTo>
                  <a:cubicBezTo>
                    <a:pt x="200" y="107"/>
                    <a:pt x="201" y="107"/>
                    <a:pt x="201" y="108"/>
                  </a:cubicBezTo>
                  <a:cubicBezTo>
                    <a:pt x="201" y="108"/>
                    <a:pt x="201" y="108"/>
                    <a:pt x="202" y="108"/>
                  </a:cubicBezTo>
                  <a:cubicBezTo>
                    <a:pt x="202" y="108"/>
                    <a:pt x="203" y="109"/>
                    <a:pt x="204" y="109"/>
                  </a:cubicBezTo>
                  <a:cubicBezTo>
                    <a:pt x="204" y="110"/>
                    <a:pt x="204" y="110"/>
                    <a:pt x="204" y="111"/>
                  </a:cubicBezTo>
                  <a:cubicBezTo>
                    <a:pt x="205" y="111"/>
                    <a:pt x="206" y="110"/>
                    <a:pt x="207" y="110"/>
                  </a:cubicBezTo>
                  <a:cubicBezTo>
                    <a:pt x="207" y="110"/>
                    <a:pt x="208" y="111"/>
                    <a:pt x="208" y="110"/>
                  </a:cubicBezTo>
                  <a:cubicBezTo>
                    <a:pt x="208" y="110"/>
                    <a:pt x="208" y="110"/>
                    <a:pt x="208" y="110"/>
                  </a:cubicBezTo>
                  <a:cubicBezTo>
                    <a:pt x="209" y="109"/>
                    <a:pt x="210" y="110"/>
                    <a:pt x="210" y="110"/>
                  </a:cubicBezTo>
                  <a:cubicBezTo>
                    <a:pt x="212" y="109"/>
                    <a:pt x="214" y="109"/>
                    <a:pt x="215" y="110"/>
                  </a:cubicBezTo>
                  <a:cubicBezTo>
                    <a:pt x="216" y="110"/>
                    <a:pt x="217" y="110"/>
                    <a:pt x="217" y="110"/>
                  </a:cubicBezTo>
                  <a:cubicBezTo>
                    <a:pt x="218" y="110"/>
                    <a:pt x="218" y="110"/>
                    <a:pt x="219" y="111"/>
                  </a:cubicBezTo>
                  <a:cubicBezTo>
                    <a:pt x="219" y="111"/>
                    <a:pt x="220" y="111"/>
                    <a:pt x="221" y="112"/>
                  </a:cubicBezTo>
                  <a:cubicBezTo>
                    <a:pt x="222" y="112"/>
                    <a:pt x="222" y="112"/>
                    <a:pt x="222" y="112"/>
                  </a:cubicBezTo>
                  <a:cubicBezTo>
                    <a:pt x="223" y="112"/>
                    <a:pt x="223" y="111"/>
                    <a:pt x="223" y="111"/>
                  </a:cubicBezTo>
                  <a:cubicBezTo>
                    <a:pt x="224" y="111"/>
                    <a:pt x="224" y="110"/>
                    <a:pt x="224" y="110"/>
                  </a:cubicBezTo>
                  <a:cubicBezTo>
                    <a:pt x="223" y="109"/>
                    <a:pt x="223" y="108"/>
                    <a:pt x="222" y="108"/>
                  </a:cubicBezTo>
                  <a:cubicBezTo>
                    <a:pt x="221" y="107"/>
                    <a:pt x="221" y="107"/>
                    <a:pt x="221" y="107"/>
                  </a:cubicBezTo>
                  <a:cubicBezTo>
                    <a:pt x="220" y="106"/>
                    <a:pt x="220" y="106"/>
                    <a:pt x="220" y="106"/>
                  </a:cubicBezTo>
                  <a:cubicBezTo>
                    <a:pt x="220" y="106"/>
                    <a:pt x="220" y="105"/>
                    <a:pt x="220" y="105"/>
                  </a:cubicBezTo>
                  <a:cubicBezTo>
                    <a:pt x="220" y="105"/>
                    <a:pt x="220" y="105"/>
                    <a:pt x="220" y="104"/>
                  </a:cubicBezTo>
                  <a:cubicBezTo>
                    <a:pt x="220" y="104"/>
                    <a:pt x="220" y="104"/>
                    <a:pt x="220" y="104"/>
                  </a:cubicBezTo>
                  <a:cubicBezTo>
                    <a:pt x="221" y="103"/>
                    <a:pt x="220" y="103"/>
                    <a:pt x="220" y="102"/>
                  </a:cubicBezTo>
                  <a:cubicBezTo>
                    <a:pt x="220" y="102"/>
                    <a:pt x="219" y="101"/>
                    <a:pt x="219" y="101"/>
                  </a:cubicBezTo>
                  <a:cubicBezTo>
                    <a:pt x="219" y="101"/>
                    <a:pt x="218" y="101"/>
                    <a:pt x="217" y="101"/>
                  </a:cubicBezTo>
                  <a:cubicBezTo>
                    <a:pt x="217" y="101"/>
                    <a:pt x="216" y="101"/>
                    <a:pt x="216" y="101"/>
                  </a:cubicBezTo>
                  <a:cubicBezTo>
                    <a:pt x="215" y="101"/>
                    <a:pt x="213" y="101"/>
                    <a:pt x="213" y="100"/>
                  </a:cubicBezTo>
                  <a:cubicBezTo>
                    <a:pt x="213" y="100"/>
                    <a:pt x="213" y="99"/>
                    <a:pt x="213" y="99"/>
                  </a:cubicBezTo>
                  <a:cubicBezTo>
                    <a:pt x="213" y="98"/>
                    <a:pt x="213" y="98"/>
                    <a:pt x="214" y="98"/>
                  </a:cubicBezTo>
                  <a:cubicBezTo>
                    <a:pt x="214" y="98"/>
                    <a:pt x="214" y="97"/>
                    <a:pt x="214" y="97"/>
                  </a:cubicBezTo>
                  <a:cubicBezTo>
                    <a:pt x="214" y="97"/>
                    <a:pt x="214" y="96"/>
                    <a:pt x="215" y="96"/>
                  </a:cubicBezTo>
                  <a:cubicBezTo>
                    <a:pt x="215" y="96"/>
                    <a:pt x="215" y="97"/>
                    <a:pt x="215" y="97"/>
                  </a:cubicBezTo>
                  <a:cubicBezTo>
                    <a:pt x="215" y="97"/>
                    <a:pt x="216" y="97"/>
                    <a:pt x="216" y="97"/>
                  </a:cubicBezTo>
                  <a:cubicBezTo>
                    <a:pt x="216" y="98"/>
                    <a:pt x="217" y="98"/>
                    <a:pt x="217" y="98"/>
                  </a:cubicBezTo>
                  <a:cubicBezTo>
                    <a:pt x="217" y="97"/>
                    <a:pt x="217" y="97"/>
                    <a:pt x="217" y="97"/>
                  </a:cubicBezTo>
                  <a:cubicBezTo>
                    <a:pt x="217" y="95"/>
                    <a:pt x="217" y="94"/>
                    <a:pt x="216" y="94"/>
                  </a:cubicBezTo>
                  <a:cubicBezTo>
                    <a:pt x="215" y="93"/>
                    <a:pt x="215" y="93"/>
                    <a:pt x="215" y="94"/>
                  </a:cubicBezTo>
                  <a:cubicBezTo>
                    <a:pt x="215" y="95"/>
                    <a:pt x="214" y="94"/>
                    <a:pt x="214" y="94"/>
                  </a:cubicBezTo>
                  <a:cubicBezTo>
                    <a:pt x="214" y="93"/>
                    <a:pt x="214" y="93"/>
                    <a:pt x="214" y="92"/>
                  </a:cubicBezTo>
                  <a:cubicBezTo>
                    <a:pt x="214" y="92"/>
                    <a:pt x="214" y="92"/>
                    <a:pt x="214" y="91"/>
                  </a:cubicBezTo>
                  <a:cubicBezTo>
                    <a:pt x="214" y="91"/>
                    <a:pt x="213" y="91"/>
                    <a:pt x="213" y="91"/>
                  </a:cubicBezTo>
                  <a:cubicBezTo>
                    <a:pt x="212" y="90"/>
                    <a:pt x="213" y="89"/>
                    <a:pt x="213" y="89"/>
                  </a:cubicBezTo>
                  <a:cubicBezTo>
                    <a:pt x="213" y="88"/>
                    <a:pt x="212" y="88"/>
                    <a:pt x="212" y="88"/>
                  </a:cubicBezTo>
                  <a:cubicBezTo>
                    <a:pt x="211" y="87"/>
                    <a:pt x="212" y="87"/>
                    <a:pt x="213" y="87"/>
                  </a:cubicBezTo>
                  <a:cubicBezTo>
                    <a:pt x="213" y="88"/>
                    <a:pt x="214" y="89"/>
                    <a:pt x="214" y="89"/>
                  </a:cubicBezTo>
                  <a:cubicBezTo>
                    <a:pt x="215" y="89"/>
                    <a:pt x="215" y="89"/>
                    <a:pt x="215" y="88"/>
                  </a:cubicBezTo>
                  <a:cubicBezTo>
                    <a:pt x="216" y="88"/>
                    <a:pt x="216" y="87"/>
                    <a:pt x="216" y="86"/>
                  </a:cubicBezTo>
                  <a:cubicBezTo>
                    <a:pt x="216" y="85"/>
                    <a:pt x="217" y="84"/>
                    <a:pt x="216" y="83"/>
                  </a:cubicBezTo>
                  <a:cubicBezTo>
                    <a:pt x="216" y="83"/>
                    <a:pt x="216" y="83"/>
                    <a:pt x="215" y="83"/>
                  </a:cubicBezTo>
                  <a:cubicBezTo>
                    <a:pt x="215" y="83"/>
                    <a:pt x="215" y="83"/>
                    <a:pt x="214" y="84"/>
                  </a:cubicBezTo>
                  <a:cubicBezTo>
                    <a:pt x="214" y="84"/>
                    <a:pt x="214" y="84"/>
                    <a:pt x="214" y="84"/>
                  </a:cubicBezTo>
                  <a:cubicBezTo>
                    <a:pt x="214" y="84"/>
                    <a:pt x="213" y="84"/>
                    <a:pt x="213" y="84"/>
                  </a:cubicBezTo>
                  <a:cubicBezTo>
                    <a:pt x="213" y="84"/>
                    <a:pt x="213" y="84"/>
                    <a:pt x="213" y="84"/>
                  </a:cubicBezTo>
                  <a:cubicBezTo>
                    <a:pt x="213" y="85"/>
                    <a:pt x="213" y="85"/>
                    <a:pt x="212" y="86"/>
                  </a:cubicBezTo>
                  <a:cubicBezTo>
                    <a:pt x="212" y="86"/>
                    <a:pt x="212" y="86"/>
                    <a:pt x="211" y="85"/>
                  </a:cubicBezTo>
                  <a:cubicBezTo>
                    <a:pt x="211" y="85"/>
                    <a:pt x="211" y="85"/>
                    <a:pt x="211" y="85"/>
                  </a:cubicBezTo>
                  <a:cubicBezTo>
                    <a:pt x="211" y="85"/>
                    <a:pt x="211" y="85"/>
                    <a:pt x="210" y="85"/>
                  </a:cubicBezTo>
                  <a:cubicBezTo>
                    <a:pt x="210" y="85"/>
                    <a:pt x="210" y="84"/>
                    <a:pt x="209" y="84"/>
                  </a:cubicBezTo>
                  <a:cubicBezTo>
                    <a:pt x="209" y="84"/>
                    <a:pt x="208" y="84"/>
                    <a:pt x="208" y="85"/>
                  </a:cubicBezTo>
                  <a:cubicBezTo>
                    <a:pt x="208" y="85"/>
                    <a:pt x="207" y="86"/>
                    <a:pt x="207" y="86"/>
                  </a:cubicBezTo>
                  <a:cubicBezTo>
                    <a:pt x="206" y="86"/>
                    <a:pt x="206" y="86"/>
                    <a:pt x="205" y="87"/>
                  </a:cubicBezTo>
                  <a:cubicBezTo>
                    <a:pt x="204" y="87"/>
                    <a:pt x="204" y="87"/>
                    <a:pt x="203" y="88"/>
                  </a:cubicBezTo>
                  <a:cubicBezTo>
                    <a:pt x="202" y="88"/>
                    <a:pt x="202" y="88"/>
                    <a:pt x="201" y="88"/>
                  </a:cubicBezTo>
                  <a:cubicBezTo>
                    <a:pt x="200" y="87"/>
                    <a:pt x="200" y="87"/>
                    <a:pt x="199" y="86"/>
                  </a:cubicBezTo>
                  <a:cubicBezTo>
                    <a:pt x="199" y="86"/>
                    <a:pt x="198" y="85"/>
                    <a:pt x="198" y="85"/>
                  </a:cubicBezTo>
                  <a:cubicBezTo>
                    <a:pt x="198" y="85"/>
                    <a:pt x="197" y="85"/>
                    <a:pt x="197" y="85"/>
                  </a:cubicBezTo>
                  <a:cubicBezTo>
                    <a:pt x="197" y="85"/>
                    <a:pt x="196" y="86"/>
                    <a:pt x="196" y="86"/>
                  </a:cubicBezTo>
                  <a:cubicBezTo>
                    <a:pt x="195" y="86"/>
                    <a:pt x="195" y="86"/>
                    <a:pt x="195" y="86"/>
                  </a:cubicBezTo>
                  <a:cubicBezTo>
                    <a:pt x="195" y="86"/>
                    <a:pt x="194" y="86"/>
                    <a:pt x="194" y="86"/>
                  </a:cubicBezTo>
                  <a:cubicBezTo>
                    <a:pt x="194" y="87"/>
                    <a:pt x="193" y="87"/>
                    <a:pt x="193" y="87"/>
                  </a:cubicBezTo>
                  <a:cubicBezTo>
                    <a:pt x="193" y="87"/>
                    <a:pt x="193" y="87"/>
                    <a:pt x="192" y="87"/>
                  </a:cubicBezTo>
                  <a:cubicBezTo>
                    <a:pt x="192" y="87"/>
                    <a:pt x="191" y="86"/>
                    <a:pt x="191" y="86"/>
                  </a:cubicBezTo>
                  <a:cubicBezTo>
                    <a:pt x="190" y="86"/>
                    <a:pt x="190" y="85"/>
                    <a:pt x="189" y="85"/>
                  </a:cubicBezTo>
                  <a:cubicBezTo>
                    <a:pt x="189" y="85"/>
                    <a:pt x="189" y="84"/>
                    <a:pt x="188" y="85"/>
                  </a:cubicBezTo>
                  <a:cubicBezTo>
                    <a:pt x="188" y="85"/>
                    <a:pt x="187" y="85"/>
                    <a:pt x="187" y="85"/>
                  </a:cubicBezTo>
                  <a:cubicBezTo>
                    <a:pt x="186" y="85"/>
                    <a:pt x="186" y="85"/>
                    <a:pt x="186" y="85"/>
                  </a:cubicBezTo>
                  <a:cubicBezTo>
                    <a:pt x="186" y="84"/>
                    <a:pt x="186" y="84"/>
                    <a:pt x="186" y="83"/>
                  </a:cubicBezTo>
                  <a:cubicBezTo>
                    <a:pt x="186" y="82"/>
                    <a:pt x="186" y="82"/>
                    <a:pt x="186" y="81"/>
                  </a:cubicBezTo>
                  <a:cubicBezTo>
                    <a:pt x="186" y="80"/>
                    <a:pt x="186" y="79"/>
                    <a:pt x="186" y="78"/>
                  </a:cubicBezTo>
                  <a:cubicBezTo>
                    <a:pt x="186" y="76"/>
                    <a:pt x="186" y="74"/>
                    <a:pt x="187" y="73"/>
                  </a:cubicBezTo>
                  <a:cubicBezTo>
                    <a:pt x="187" y="72"/>
                    <a:pt x="188" y="72"/>
                    <a:pt x="188" y="71"/>
                  </a:cubicBezTo>
                  <a:cubicBezTo>
                    <a:pt x="187" y="71"/>
                    <a:pt x="186" y="71"/>
                    <a:pt x="186" y="71"/>
                  </a:cubicBezTo>
                  <a:cubicBezTo>
                    <a:pt x="182" y="71"/>
                    <a:pt x="182" y="71"/>
                    <a:pt x="182" y="71"/>
                  </a:cubicBezTo>
                  <a:cubicBezTo>
                    <a:pt x="181" y="71"/>
                    <a:pt x="181" y="72"/>
                    <a:pt x="180" y="72"/>
                  </a:cubicBezTo>
                  <a:cubicBezTo>
                    <a:pt x="178" y="72"/>
                    <a:pt x="177" y="72"/>
                    <a:pt x="176" y="73"/>
                  </a:cubicBezTo>
                  <a:cubicBezTo>
                    <a:pt x="175" y="73"/>
                    <a:pt x="174" y="74"/>
                    <a:pt x="173" y="74"/>
                  </a:cubicBezTo>
                  <a:cubicBezTo>
                    <a:pt x="173" y="74"/>
                    <a:pt x="172" y="75"/>
                    <a:pt x="172" y="75"/>
                  </a:cubicBezTo>
                  <a:cubicBezTo>
                    <a:pt x="171" y="75"/>
                    <a:pt x="170" y="75"/>
                    <a:pt x="170" y="75"/>
                  </a:cubicBezTo>
                  <a:cubicBezTo>
                    <a:pt x="170" y="75"/>
                    <a:pt x="170" y="75"/>
                    <a:pt x="170" y="75"/>
                  </a:cubicBezTo>
                  <a:cubicBezTo>
                    <a:pt x="148" y="75"/>
                    <a:pt x="148" y="75"/>
                    <a:pt x="148" y="75"/>
                  </a:cubicBezTo>
                  <a:cubicBezTo>
                    <a:pt x="147" y="76"/>
                    <a:pt x="147" y="76"/>
                    <a:pt x="146" y="76"/>
                  </a:cubicBezTo>
                  <a:cubicBezTo>
                    <a:pt x="146" y="76"/>
                    <a:pt x="145" y="77"/>
                    <a:pt x="144" y="78"/>
                  </a:cubicBezTo>
                  <a:cubicBezTo>
                    <a:pt x="144" y="78"/>
                    <a:pt x="144" y="78"/>
                    <a:pt x="143" y="79"/>
                  </a:cubicBezTo>
                  <a:cubicBezTo>
                    <a:pt x="143" y="79"/>
                    <a:pt x="142" y="79"/>
                    <a:pt x="142" y="80"/>
                  </a:cubicBezTo>
                  <a:cubicBezTo>
                    <a:pt x="141" y="80"/>
                    <a:pt x="141" y="80"/>
                    <a:pt x="140" y="80"/>
                  </a:cubicBezTo>
                  <a:cubicBezTo>
                    <a:pt x="139" y="81"/>
                    <a:pt x="139" y="81"/>
                    <a:pt x="138" y="81"/>
                  </a:cubicBezTo>
                  <a:cubicBezTo>
                    <a:pt x="137" y="82"/>
                    <a:pt x="136" y="83"/>
                    <a:pt x="135" y="84"/>
                  </a:cubicBezTo>
                  <a:cubicBezTo>
                    <a:pt x="134" y="84"/>
                    <a:pt x="133" y="85"/>
                    <a:pt x="133" y="86"/>
                  </a:cubicBezTo>
                  <a:cubicBezTo>
                    <a:pt x="132" y="86"/>
                    <a:pt x="133" y="87"/>
                    <a:pt x="132" y="87"/>
                  </a:cubicBezTo>
                  <a:cubicBezTo>
                    <a:pt x="132" y="87"/>
                    <a:pt x="132" y="87"/>
                    <a:pt x="131" y="88"/>
                  </a:cubicBezTo>
                  <a:cubicBezTo>
                    <a:pt x="131" y="88"/>
                    <a:pt x="131" y="88"/>
                    <a:pt x="130" y="88"/>
                  </a:cubicBezTo>
                  <a:cubicBezTo>
                    <a:pt x="130" y="88"/>
                    <a:pt x="130" y="88"/>
                    <a:pt x="130" y="87"/>
                  </a:cubicBezTo>
                  <a:cubicBezTo>
                    <a:pt x="129" y="87"/>
                    <a:pt x="129" y="86"/>
                    <a:pt x="128" y="86"/>
                  </a:cubicBezTo>
                  <a:cubicBezTo>
                    <a:pt x="127" y="86"/>
                    <a:pt x="127" y="85"/>
                    <a:pt x="126" y="86"/>
                  </a:cubicBezTo>
                  <a:cubicBezTo>
                    <a:pt x="126" y="86"/>
                    <a:pt x="125" y="86"/>
                    <a:pt x="124" y="87"/>
                  </a:cubicBezTo>
                  <a:cubicBezTo>
                    <a:pt x="123" y="87"/>
                    <a:pt x="122" y="88"/>
                    <a:pt x="122" y="87"/>
                  </a:cubicBezTo>
                  <a:cubicBezTo>
                    <a:pt x="121" y="87"/>
                    <a:pt x="121" y="86"/>
                    <a:pt x="121" y="86"/>
                  </a:cubicBezTo>
                  <a:cubicBezTo>
                    <a:pt x="121" y="85"/>
                    <a:pt x="120" y="85"/>
                    <a:pt x="119" y="84"/>
                  </a:cubicBezTo>
                  <a:cubicBezTo>
                    <a:pt x="119" y="83"/>
                    <a:pt x="119" y="83"/>
                    <a:pt x="118" y="83"/>
                  </a:cubicBezTo>
                  <a:cubicBezTo>
                    <a:pt x="117" y="83"/>
                    <a:pt x="116" y="84"/>
                    <a:pt x="115" y="84"/>
                  </a:cubicBezTo>
                  <a:cubicBezTo>
                    <a:pt x="113" y="85"/>
                    <a:pt x="111" y="85"/>
                    <a:pt x="108" y="85"/>
                  </a:cubicBezTo>
                  <a:cubicBezTo>
                    <a:pt x="107" y="84"/>
                    <a:pt x="106" y="84"/>
                    <a:pt x="105" y="83"/>
                  </a:cubicBezTo>
                  <a:cubicBezTo>
                    <a:pt x="105" y="83"/>
                    <a:pt x="105" y="83"/>
                    <a:pt x="104" y="82"/>
                  </a:cubicBezTo>
                  <a:cubicBezTo>
                    <a:pt x="104" y="82"/>
                    <a:pt x="105" y="81"/>
                    <a:pt x="104" y="80"/>
                  </a:cubicBezTo>
                  <a:cubicBezTo>
                    <a:pt x="104" y="80"/>
                    <a:pt x="104" y="80"/>
                    <a:pt x="104" y="80"/>
                  </a:cubicBezTo>
                  <a:cubicBezTo>
                    <a:pt x="104" y="80"/>
                    <a:pt x="104" y="80"/>
                    <a:pt x="104" y="79"/>
                  </a:cubicBezTo>
                  <a:cubicBezTo>
                    <a:pt x="103" y="79"/>
                    <a:pt x="103" y="79"/>
                    <a:pt x="102" y="78"/>
                  </a:cubicBezTo>
                  <a:cubicBezTo>
                    <a:pt x="102" y="78"/>
                    <a:pt x="101" y="77"/>
                    <a:pt x="101" y="76"/>
                  </a:cubicBezTo>
                  <a:cubicBezTo>
                    <a:pt x="100" y="76"/>
                    <a:pt x="99" y="75"/>
                    <a:pt x="99" y="75"/>
                  </a:cubicBezTo>
                  <a:cubicBezTo>
                    <a:pt x="99" y="74"/>
                    <a:pt x="98" y="74"/>
                    <a:pt x="98" y="73"/>
                  </a:cubicBezTo>
                  <a:cubicBezTo>
                    <a:pt x="98" y="72"/>
                    <a:pt x="98" y="72"/>
                    <a:pt x="98" y="72"/>
                  </a:cubicBezTo>
                  <a:cubicBezTo>
                    <a:pt x="98" y="72"/>
                    <a:pt x="97" y="71"/>
                    <a:pt x="97" y="71"/>
                  </a:cubicBezTo>
                  <a:cubicBezTo>
                    <a:pt x="97" y="70"/>
                    <a:pt x="98" y="70"/>
                    <a:pt x="97" y="70"/>
                  </a:cubicBezTo>
                  <a:cubicBezTo>
                    <a:pt x="97" y="70"/>
                    <a:pt x="97" y="70"/>
                    <a:pt x="96" y="70"/>
                  </a:cubicBezTo>
                  <a:cubicBezTo>
                    <a:pt x="96" y="69"/>
                    <a:pt x="96" y="69"/>
                    <a:pt x="96" y="69"/>
                  </a:cubicBezTo>
                  <a:cubicBezTo>
                    <a:pt x="96" y="69"/>
                    <a:pt x="95" y="69"/>
                    <a:pt x="95" y="69"/>
                  </a:cubicBezTo>
                  <a:cubicBezTo>
                    <a:pt x="94" y="68"/>
                    <a:pt x="94" y="68"/>
                    <a:pt x="94" y="68"/>
                  </a:cubicBezTo>
                  <a:cubicBezTo>
                    <a:pt x="93" y="68"/>
                    <a:pt x="93" y="68"/>
                    <a:pt x="93" y="67"/>
                  </a:cubicBezTo>
                  <a:cubicBezTo>
                    <a:pt x="92" y="67"/>
                    <a:pt x="91" y="66"/>
                    <a:pt x="91" y="65"/>
                  </a:cubicBezTo>
                  <a:cubicBezTo>
                    <a:pt x="90" y="65"/>
                    <a:pt x="90" y="65"/>
                    <a:pt x="90" y="65"/>
                  </a:cubicBezTo>
                  <a:cubicBezTo>
                    <a:pt x="89" y="65"/>
                    <a:pt x="89" y="64"/>
                    <a:pt x="88" y="64"/>
                  </a:cubicBezTo>
                  <a:cubicBezTo>
                    <a:pt x="88" y="64"/>
                    <a:pt x="87" y="64"/>
                    <a:pt x="87" y="64"/>
                  </a:cubicBezTo>
                  <a:cubicBezTo>
                    <a:pt x="86" y="64"/>
                    <a:pt x="86" y="64"/>
                    <a:pt x="85" y="64"/>
                  </a:cubicBezTo>
                  <a:cubicBezTo>
                    <a:pt x="84" y="64"/>
                    <a:pt x="83" y="64"/>
                    <a:pt x="82" y="64"/>
                  </a:cubicBezTo>
                  <a:cubicBezTo>
                    <a:pt x="81" y="64"/>
                    <a:pt x="81" y="64"/>
                    <a:pt x="80" y="64"/>
                  </a:cubicBezTo>
                  <a:cubicBezTo>
                    <a:pt x="80" y="63"/>
                    <a:pt x="79" y="63"/>
                    <a:pt x="79" y="64"/>
                  </a:cubicBezTo>
                  <a:cubicBezTo>
                    <a:pt x="78" y="64"/>
                    <a:pt x="78" y="64"/>
                    <a:pt x="78" y="64"/>
                  </a:cubicBezTo>
                  <a:cubicBezTo>
                    <a:pt x="78" y="64"/>
                    <a:pt x="77" y="64"/>
                    <a:pt x="77" y="64"/>
                  </a:cubicBezTo>
                  <a:cubicBezTo>
                    <a:pt x="77" y="64"/>
                    <a:pt x="77" y="63"/>
                    <a:pt x="77" y="62"/>
                  </a:cubicBezTo>
                  <a:cubicBezTo>
                    <a:pt x="77" y="62"/>
                    <a:pt x="76" y="62"/>
                    <a:pt x="75" y="62"/>
                  </a:cubicBezTo>
                  <a:cubicBezTo>
                    <a:pt x="75" y="62"/>
                    <a:pt x="74" y="63"/>
                    <a:pt x="74" y="63"/>
                  </a:cubicBezTo>
                  <a:cubicBezTo>
                    <a:pt x="74" y="64"/>
                    <a:pt x="74" y="64"/>
                    <a:pt x="73" y="64"/>
                  </a:cubicBezTo>
                  <a:cubicBezTo>
                    <a:pt x="73" y="65"/>
                    <a:pt x="73" y="65"/>
                    <a:pt x="72" y="65"/>
                  </a:cubicBezTo>
                  <a:cubicBezTo>
                    <a:pt x="72" y="66"/>
                    <a:pt x="71" y="66"/>
                    <a:pt x="70" y="67"/>
                  </a:cubicBezTo>
                  <a:cubicBezTo>
                    <a:pt x="70" y="68"/>
                    <a:pt x="69" y="69"/>
                    <a:pt x="68" y="70"/>
                  </a:cubicBezTo>
                  <a:cubicBezTo>
                    <a:pt x="68" y="70"/>
                    <a:pt x="68" y="71"/>
                    <a:pt x="67" y="71"/>
                  </a:cubicBezTo>
                  <a:cubicBezTo>
                    <a:pt x="67" y="70"/>
                    <a:pt x="67" y="69"/>
                    <a:pt x="67" y="69"/>
                  </a:cubicBezTo>
                  <a:cubicBezTo>
                    <a:pt x="67" y="67"/>
                    <a:pt x="67" y="66"/>
                    <a:pt x="67" y="64"/>
                  </a:cubicBezTo>
                  <a:cubicBezTo>
                    <a:pt x="68" y="63"/>
                    <a:pt x="68" y="62"/>
                    <a:pt x="68" y="60"/>
                  </a:cubicBezTo>
                  <a:cubicBezTo>
                    <a:pt x="69" y="60"/>
                    <a:pt x="69" y="59"/>
                    <a:pt x="70" y="59"/>
                  </a:cubicBezTo>
                  <a:cubicBezTo>
                    <a:pt x="70" y="58"/>
                    <a:pt x="70" y="57"/>
                    <a:pt x="71" y="56"/>
                  </a:cubicBezTo>
                  <a:cubicBezTo>
                    <a:pt x="71" y="56"/>
                    <a:pt x="72" y="55"/>
                    <a:pt x="72" y="54"/>
                  </a:cubicBezTo>
                  <a:cubicBezTo>
                    <a:pt x="73" y="53"/>
                    <a:pt x="73" y="53"/>
                    <a:pt x="74" y="52"/>
                  </a:cubicBezTo>
                  <a:cubicBezTo>
                    <a:pt x="75" y="50"/>
                    <a:pt x="76" y="49"/>
                    <a:pt x="77" y="48"/>
                  </a:cubicBezTo>
                  <a:cubicBezTo>
                    <a:pt x="78" y="47"/>
                    <a:pt x="79" y="47"/>
                    <a:pt x="79" y="47"/>
                  </a:cubicBezTo>
                  <a:cubicBezTo>
                    <a:pt x="80" y="46"/>
                    <a:pt x="80" y="46"/>
                    <a:pt x="81" y="45"/>
                  </a:cubicBezTo>
                  <a:cubicBezTo>
                    <a:pt x="81" y="45"/>
                    <a:pt x="82" y="45"/>
                    <a:pt x="83" y="44"/>
                  </a:cubicBezTo>
                  <a:cubicBezTo>
                    <a:pt x="83" y="43"/>
                    <a:pt x="84" y="43"/>
                    <a:pt x="84" y="42"/>
                  </a:cubicBezTo>
                  <a:cubicBezTo>
                    <a:pt x="85" y="41"/>
                    <a:pt x="85" y="40"/>
                    <a:pt x="86" y="40"/>
                  </a:cubicBezTo>
                  <a:cubicBezTo>
                    <a:pt x="88" y="39"/>
                    <a:pt x="90" y="40"/>
                    <a:pt x="91" y="39"/>
                  </a:cubicBezTo>
                  <a:cubicBezTo>
                    <a:pt x="92" y="38"/>
                    <a:pt x="92" y="38"/>
                    <a:pt x="92" y="37"/>
                  </a:cubicBezTo>
                  <a:cubicBezTo>
                    <a:pt x="93" y="37"/>
                    <a:pt x="93" y="37"/>
                    <a:pt x="93" y="36"/>
                  </a:cubicBezTo>
                  <a:cubicBezTo>
                    <a:pt x="92" y="36"/>
                    <a:pt x="91" y="35"/>
                    <a:pt x="91" y="35"/>
                  </a:cubicBezTo>
                  <a:cubicBezTo>
                    <a:pt x="89" y="34"/>
                    <a:pt x="88" y="34"/>
                    <a:pt x="87" y="34"/>
                  </a:cubicBezTo>
                  <a:cubicBezTo>
                    <a:pt x="86" y="35"/>
                    <a:pt x="84" y="34"/>
                    <a:pt x="83" y="35"/>
                  </a:cubicBezTo>
                  <a:cubicBezTo>
                    <a:pt x="82" y="35"/>
                    <a:pt x="82" y="35"/>
                    <a:pt x="81" y="35"/>
                  </a:cubicBezTo>
                  <a:cubicBezTo>
                    <a:pt x="80" y="35"/>
                    <a:pt x="79" y="35"/>
                    <a:pt x="78" y="35"/>
                  </a:cubicBezTo>
                  <a:cubicBezTo>
                    <a:pt x="77" y="36"/>
                    <a:pt x="76" y="36"/>
                    <a:pt x="75" y="37"/>
                  </a:cubicBezTo>
                  <a:cubicBezTo>
                    <a:pt x="74" y="37"/>
                    <a:pt x="73" y="38"/>
                    <a:pt x="73" y="38"/>
                  </a:cubicBezTo>
                  <a:cubicBezTo>
                    <a:pt x="72" y="38"/>
                    <a:pt x="71" y="39"/>
                    <a:pt x="70" y="39"/>
                  </a:cubicBezTo>
                  <a:cubicBezTo>
                    <a:pt x="69" y="40"/>
                    <a:pt x="68" y="41"/>
                    <a:pt x="68" y="42"/>
                  </a:cubicBezTo>
                  <a:cubicBezTo>
                    <a:pt x="67" y="43"/>
                    <a:pt x="67" y="44"/>
                    <a:pt x="66" y="44"/>
                  </a:cubicBezTo>
                  <a:cubicBezTo>
                    <a:pt x="65" y="45"/>
                    <a:pt x="64" y="46"/>
                    <a:pt x="63" y="46"/>
                  </a:cubicBezTo>
                  <a:cubicBezTo>
                    <a:pt x="63" y="47"/>
                    <a:pt x="63" y="47"/>
                    <a:pt x="62" y="47"/>
                  </a:cubicBezTo>
                  <a:cubicBezTo>
                    <a:pt x="62" y="48"/>
                    <a:pt x="61" y="48"/>
                    <a:pt x="61" y="48"/>
                  </a:cubicBezTo>
                  <a:cubicBezTo>
                    <a:pt x="60" y="48"/>
                    <a:pt x="60" y="49"/>
                    <a:pt x="60" y="49"/>
                  </a:cubicBezTo>
                  <a:cubicBezTo>
                    <a:pt x="59" y="49"/>
                    <a:pt x="59" y="49"/>
                    <a:pt x="58" y="49"/>
                  </a:cubicBezTo>
                  <a:cubicBezTo>
                    <a:pt x="58" y="50"/>
                    <a:pt x="58" y="50"/>
                    <a:pt x="58" y="50"/>
                  </a:cubicBezTo>
                  <a:cubicBezTo>
                    <a:pt x="57" y="50"/>
                    <a:pt x="57" y="51"/>
                    <a:pt x="57" y="51"/>
                  </a:cubicBezTo>
                  <a:cubicBezTo>
                    <a:pt x="56" y="51"/>
                    <a:pt x="56" y="52"/>
                    <a:pt x="55" y="52"/>
                  </a:cubicBezTo>
                  <a:cubicBezTo>
                    <a:pt x="54" y="53"/>
                    <a:pt x="53" y="53"/>
                    <a:pt x="53" y="54"/>
                  </a:cubicBezTo>
                  <a:cubicBezTo>
                    <a:pt x="52" y="54"/>
                    <a:pt x="52" y="55"/>
                    <a:pt x="52" y="55"/>
                  </a:cubicBezTo>
                  <a:cubicBezTo>
                    <a:pt x="52" y="56"/>
                    <a:pt x="51" y="57"/>
                    <a:pt x="51" y="57"/>
                  </a:cubicBezTo>
                  <a:cubicBezTo>
                    <a:pt x="50" y="58"/>
                    <a:pt x="50" y="58"/>
                    <a:pt x="49" y="59"/>
                  </a:cubicBezTo>
                  <a:cubicBezTo>
                    <a:pt x="49" y="59"/>
                    <a:pt x="48" y="59"/>
                    <a:pt x="47" y="59"/>
                  </a:cubicBezTo>
                  <a:cubicBezTo>
                    <a:pt x="47" y="60"/>
                    <a:pt x="46" y="60"/>
                    <a:pt x="45" y="60"/>
                  </a:cubicBezTo>
                  <a:cubicBezTo>
                    <a:pt x="45" y="60"/>
                    <a:pt x="44" y="60"/>
                    <a:pt x="43" y="61"/>
                  </a:cubicBezTo>
                  <a:cubicBezTo>
                    <a:pt x="42" y="61"/>
                    <a:pt x="41" y="62"/>
                    <a:pt x="40" y="63"/>
                  </a:cubicBezTo>
                  <a:cubicBezTo>
                    <a:pt x="38" y="65"/>
                    <a:pt x="36" y="66"/>
                    <a:pt x="33" y="67"/>
                  </a:cubicBezTo>
                  <a:cubicBezTo>
                    <a:pt x="32" y="67"/>
                    <a:pt x="31" y="67"/>
                    <a:pt x="29" y="68"/>
                  </a:cubicBezTo>
                  <a:cubicBezTo>
                    <a:pt x="28" y="68"/>
                    <a:pt x="27" y="68"/>
                    <a:pt x="26" y="68"/>
                  </a:cubicBezTo>
                  <a:cubicBezTo>
                    <a:pt x="24" y="68"/>
                    <a:pt x="22" y="68"/>
                    <a:pt x="22" y="69"/>
                  </a:cubicBezTo>
                  <a:cubicBezTo>
                    <a:pt x="21" y="69"/>
                    <a:pt x="20" y="69"/>
                    <a:pt x="20" y="70"/>
                  </a:cubicBezTo>
                  <a:cubicBezTo>
                    <a:pt x="20" y="70"/>
                    <a:pt x="19" y="70"/>
                    <a:pt x="19" y="71"/>
                  </a:cubicBezTo>
                  <a:cubicBezTo>
                    <a:pt x="18" y="72"/>
                    <a:pt x="16" y="74"/>
                    <a:pt x="15" y="74"/>
                  </a:cubicBezTo>
                  <a:cubicBezTo>
                    <a:pt x="14" y="75"/>
                    <a:pt x="12" y="76"/>
                    <a:pt x="11" y="77"/>
                  </a:cubicBezTo>
                  <a:cubicBezTo>
                    <a:pt x="11" y="77"/>
                    <a:pt x="7" y="78"/>
                    <a:pt x="5" y="78"/>
                  </a:cubicBezTo>
                  <a:cubicBezTo>
                    <a:pt x="4" y="78"/>
                    <a:pt x="2" y="79"/>
                    <a:pt x="1" y="80"/>
                  </a:cubicBezTo>
                  <a:cubicBezTo>
                    <a:pt x="1" y="80"/>
                    <a:pt x="0" y="80"/>
                    <a:pt x="0" y="80"/>
                  </a:cubicBezTo>
                  <a:cubicBezTo>
                    <a:pt x="0" y="82"/>
                    <a:pt x="0" y="82"/>
                    <a:pt x="0" y="82"/>
                  </a:cubicBezTo>
                  <a:lnTo>
                    <a:pt x="3" y="82"/>
                  </a:lnTo>
                  <a:close/>
                  <a:moveTo>
                    <a:pt x="240" y="313"/>
                  </a:moveTo>
                  <a:cubicBezTo>
                    <a:pt x="240" y="312"/>
                    <a:pt x="241" y="311"/>
                    <a:pt x="241" y="311"/>
                  </a:cubicBezTo>
                  <a:cubicBezTo>
                    <a:pt x="241" y="310"/>
                    <a:pt x="242" y="308"/>
                    <a:pt x="242" y="308"/>
                  </a:cubicBezTo>
                  <a:cubicBezTo>
                    <a:pt x="242" y="307"/>
                    <a:pt x="243" y="306"/>
                    <a:pt x="243" y="306"/>
                  </a:cubicBezTo>
                  <a:cubicBezTo>
                    <a:pt x="243" y="306"/>
                    <a:pt x="249" y="301"/>
                    <a:pt x="249" y="301"/>
                  </a:cubicBezTo>
                  <a:cubicBezTo>
                    <a:pt x="249" y="300"/>
                    <a:pt x="249" y="298"/>
                    <a:pt x="249" y="297"/>
                  </a:cubicBezTo>
                  <a:cubicBezTo>
                    <a:pt x="249" y="297"/>
                    <a:pt x="250" y="295"/>
                    <a:pt x="250" y="295"/>
                  </a:cubicBezTo>
                  <a:cubicBezTo>
                    <a:pt x="250" y="295"/>
                    <a:pt x="251" y="294"/>
                    <a:pt x="251" y="293"/>
                  </a:cubicBezTo>
                  <a:cubicBezTo>
                    <a:pt x="251" y="293"/>
                    <a:pt x="251" y="291"/>
                    <a:pt x="251" y="291"/>
                  </a:cubicBezTo>
                  <a:cubicBezTo>
                    <a:pt x="251" y="290"/>
                    <a:pt x="251" y="289"/>
                    <a:pt x="251" y="289"/>
                  </a:cubicBezTo>
                  <a:cubicBezTo>
                    <a:pt x="254" y="286"/>
                    <a:pt x="254" y="286"/>
                    <a:pt x="254" y="286"/>
                  </a:cubicBezTo>
                  <a:cubicBezTo>
                    <a:pt x="257" y="285"/>
                    <a:pt x="257" y="285"/>
                    <a:pt x="257" y="285"/>
                  </a:cubicBezTo>
                  <a:cubicBezTo>
                    <a:pt x="257" y="285"/>
                    <a:pt x="258" y="285"/>
                    <a:pt x="258" y="284"/>
                  </a:cubicBezTo>
                  <a:cubicBezTo>
                    <a:pt x="258" y="284"/>
                    <a:pt x="259" y="283"/>
                    <a:pt x="259" y="283"/>
                  </a:cubicBezTo>
                  <a:cubicBezTo>
                    <a:pt x="259" y="283"/>
                    <a:pt x="259" y="282"/>
                    <a:pt x="260" y="281"/>
                  </a:cubicBezTo>
                  <a:cubicBezTo>
                    <a:pt x="260" y="281"/>
                    <a:pt x="260" y="280"/>
                    <a:pt x="260" y="280"/>
                  </a:cubicBezTo>
                  <a:cubicBezTo>
                    <a:pt x="261" y="280"/>
                    <a:pt x="260" y="278"/>
                    <a:pt x="260" y="276"/>
                  </a:cubicBezTo>
                  <a:cubicBezTo>
                    <a:pt x="261" y="275"/>
                    <a:pt x="261" y="276"/>
                    <a:pt x="262" y="275"/>
                  </a:cubicBezTo>
                  <a:cubicBezTo>
                    <a:pt x="263" y="275"/>
                    <a:pt x="263" y="275"/>
                    <a:pt x="263" y="275"/>
                  </a:cubicBezTo>
                  <a:cubicBezTo>
                    <a:pt x="263" y="275"/>
                    <a:pt x="263" y="274"/>
                    <a:pt x="263" y="274"/>
                  </a:cubicBezTo>
                  <a:cubicBezTo>
                    <a:pt x="263" y="273"/>
                    <a:pt x="263" y="272"/>
                    <a:pt x="263" y="271"/>
                  </a:cubicBezTo>
                  <a:cubicBezTo>
                    <a:pt x="263" y="271"/>
                    <a:pt x="264" y="271"/>
                    <a:pt x="264" y="271"/>
                  </a:cubicBezTo>
                  <a:cubicBezTo>
                    <a:pt x="265" y="271"/>
                    <a:pt x="265" y="270"/>
                    <a:pt x="265" y="270"/>
                  </a:cubicBezTo>
                  <a:cubicBezTo>
                    <a:pt x="266" y="270"/>
                    <a:pt x="266" y="270"/>
                    <a:pt x="267" y="270"/>
                  </a:cubicBezTo>
                  <a:cubicBezTo>
                    <a:pt x="267" y="270"/>
                    <a:pt x="269" y="270"/>
                    <a:pt x="269" y="270"/>
                  </a:cubicBezTo>
                  <a:cubicBezTo>
                    <a:pt x="269" y="271"/>
                    <a:pt x="269" y="271"/>
                    <a:pt x="268" y="271"/>
                  </a:cubicBezTo>
                  <a:cubicBezTo>
                    <a:pt x="268" y="271"/>
                    <a:pt x="268" y="272"/>
                    <a:pt x="268" y="273"/>
                  </a:cubicBezTo>
                  <a:cubicBezTo>
                    <a:pt x="269" y="273"/>
                    <a:pt x="269" y="274"/>
                    <a:pt x="269" y="274"/>
                  </a:cubicBezTo>
                  <a:cubicBezTo>
                    <a:pt x="269" y="274"/>
                    <a:pt x="269" y="275"/>
                    <a:pt x="270" y="275"/>
                  </a:cubicBezTo>
                  <a:cubicBezTo>
                    <a:pt x="270" y="275"/>
                    <a:pt x="272" y="273"/>
                    <a:pt x="272" y="273"/>
                  </a:cubicBezTo>
                  <a:cubicBezTo>
                    <a:pt x="276" y="253"/>
                    <a:pt x="276" y="253"/>
                    <a:pt x="276" y="253"/>
                  </a:cubicBezTo>
                  <a:cubicBezTo>
                    <a:pt x="276" y="253"/>
                    <a:pt x="275" y="253"/>
                    <a:pt x="275" y="252"/>
                  </a:cubicBezTo>
                  <a:cubicBezTo>
                    <a:pt x="275" y="252"/>
                    <a:pt x="274" y="251"/>
                    <a:pt x="274" y="250"/>
                  </a:cubicBezTo>
                  <a:cubicBezTo>
                    <a:pt x="274" y="249"/>
                    <a:pt x="274" y="249"/>
                    <a:pt x="274" y="248"/>
                  </a:cubicBezTo>
                  <a:cubicBezTo>
                    <a:pt x="273" y="246"/>
                    <a:pt x="273" y="245"/>
                    <a:pt x="273" y="244"/>
                  </a:cubicBezTo>
                  <a:cubicBezTo>
                    <a:pt x="273" y="243"/>
                    <a:pt x="272" y="242"/>
                    <a:pt x="272" y="241"/>
                  </a:cubicBezTo>
                  <a:cubicBezTo>
                    <a:pt x="272" y="240"/>
                    <a:pt x="272" y="239"/>
                    <a:pt x="272" y="238"/>
                  </a:cubicBezTo>
                  <a:cubicBezTo>
                    <a:pt x="272" y="237"/>
                    <a:pt x="271" y="236"/>
                    <a:pt x="271" y="236"/>
                  </a:cubicBezTo>
                  <a:cubicBezTo>
                    <a:pt x="271" y="234"/>
                    <a:pt x="271" y="233"/>
                    <a:pt x="271" y="232"/>
                  </a:cubicBezTo>
                  <a:cubicBezTo>
                    <a:pt x="271" y="231"/>
                    <a:pt x="271" y="231"/>
                    <a:pt x="271" y="230"/>
                  </a:cubicBezTo>
                  <a:cubicBezTo>
                    <a:pt x="271" y="230"/>
                    <a:pt x="271" y="229"/>
                    <a:pt x="271" y="229"/>
                  </a:cubicBezTo>
                  <a:cubicBezTo>
                    <a:pt x="271" y="228"/>
                    <a:pt x="270" y="228"/>
                    <a:pt x="270" y="227"/>
                  </a:cubicBezTo>
                  <a:cubicBezTo>
                    <a:pt x="270" y="227"/>
                    <a:pt x="270" y="226"/>
                    <a:pt x="270" y="225"/>
                  </a:cubicBezTo>
                  <a:cubicBezTo>
                    <a:pt x="270" y="224"/>
                    <a:pt x="270" y="222"/>
                    <a:pt x="270" y="221"/>
                  </a:cubicBezTo>
                  <a:cubicBezTo>
                    <a:pt x="269" y="220"/>
                    <a:pt x="269" y="218"/>
                    <a:pt x="269" y="217"/>
                  </a:cubicBezTo>
                  <a:cubicBezTo>
                    <a:pt x="269" y="216"/>
                    <a:pt x="269" y="215"/>
                    <a:pt x="268" y="214"/>
                  </a:cubicBezTo>
                  <a:cubicBezTo>
                    <a:pt x="268" y="214"/>
                    <a:pt x="268" y="214"/>
                    <a:pt x="268" y="213"/>
                  </a:cubicBezTo>
                  <a:cubicBezTo>
                    <a:pt x="267" y="212"/>
                    <a:pt x="267" y="211"/>
                    <a:pt x="267" y="210"/>
                  </a:cubicBezTo>
                  <a:cubicBezTo>
                    <a:pt x="266" y="209"/>
                    <a:pt x="266" y="209"/>
                    <a:pt x="265" y="208"/>
                  </a:cubicBezTo>
                  <a:cubicBezTo>
                    <a:pt x="265" y="208"/>
                    <a:pt x="265" y="207"/>
                    <a:pt x="265" y="207"/>
                  </a:cubicBezTo>
                  <a:cubicBezTo>
                    <a:pt x="264" y="207"/>
                    <a:pt x="264" y="207"/>
                    <a:pt x="264" y="206"/>
                  </a:cubicBezTo>
                  <a:cubicBezTo>
                    <a:pt x="263" y="206"/>
                    <a:pt x="262" y="206"/>
                    <a:pt x="262" y="205"/>
                  </a:cubicBezTo>
                  <a:cubicBezTo>
                    <a:pt x="260" y="205"/>
                    <a:pt x="258" y="203"/>
                    <a:pt x="257" y="205"/>
                  </a:cubicBezTo>
                  <a:cubicBezTo>
                    <a:pt x="256" y="205"/>
                    <a:pt x="256" y="206"/>
                    <a:pt x="255" y="206"/>
                  </a:cubicBezTo>
                  <a:cubicBezTo>
                    <a:pt x="255" y="207"/>
                    <a:pt x="254" y="207"/>
                    <a:pt x="253" y="207"/>
                  </a:cubicBezTo>
                  <a:cubicBezTo>
                    <a:pt x="253" y="207"/>
                    <a:pt x="252" y="207"/>
                    <a:pt x="252" y="207"/>
                  </a:cubicBezTo>
                  <a:cubicBezTo>
                    <a:pt x="251" y="207"/>
                    <a:pt x="251" y="207"/>
                    <a:pt x="251" y="208"/>
                  </a:cubicBezTo>
                  <a:cubicBezTo>
                    <a:pt x="250" y="208"/>
                    <a:pt x="250" y="207"/>
                    <a:pt x="249" y="207"/>
                  </a:cubicBezTo>
                  <a:cubicBezTo>
                    <a:pt x="249" y="208"/>
                    <a:pt x="248" y="207"/>
                    <a:pt x="247" y="208"/>
                  </a:cubicBezTo>
                  <a:cubicBezTo>
                    <a:pt x="247" y="208"/>
                    <a:pt x="247" y="208"/>
                    <a:pt x="247" y="209"/>
                  </a:cubicBezTo>
                  <a:cubicBezTo>
                    <a:pt x="247" y="209"/>
                    <a:pt x="247" y="209"/>
                    <a:pt x="246" y="209"/>
                  </a:cubicBezTo>
                  <a:cubicBezTo>
                    <a:pt x="246" y="209"/>
                    <a:pt x="246" y="209"/>
                    <a:pt x="246" y="210"/>
                  </a:cubicBezTo>
                  <a:cubicBezTo>
                    <a:pt x="246" y="210"/>
                    <a:pt x="246" y="211"/>
                    <a:pt x="245" y="211"/>
                  </a:cubicBezTo>
                  <a:cubicBezTo>
                    <a:pt x="244" y="211"/>
                    <a:pt x="242" y="210"/>
                    <a:pt x="242" y="211"/>
                  </a:cubicBezTo>
                  <a:cubicBezTo>
                    <a:pt x="242" y="211"/>
                    <a:pt x="242" y="212"/>
                    <a:pt x="243" y="212"/>
                  </a:cubicBezTo>
                  <a:cubicBezTo>
                    <a:pt x="243" y="212"/>
                    <a:pt x="243" y="212"/>
                    <a:pt x="244" y="212"/>
                  </a:cubicBezTo>
                  <a:cubicBezTo>
                    <a:pt x="244" y="212"/>
                    <a:pt x="244" y="212"/>
                    <a:pt x="244" y="213"/>
                  </a:cubicBezTo>
                  <a:cubicBezTo>
                    <a:pt x="244" y="213"/>
                    <a:pt x="244" y="213"/>
                    <a:pt x="244" y="213"/>
                  </a:cubicBezTo>
                  <a:cubicBezTo>
                    <a:pt x="243" y="214"/>
                    <a:pt x="243" y="214"/>
                    <a:pt x="242" y="214"/>
                  </a:cubicBezTo>
                  <a:cubicBezTo>
                    <a:pt x="242" y="215"/>
                    <a:pt x="242" y="215"/>
                    <a:pt x="242" y="215"/>
                  </a:cubicBezTo>
                  <a:cubicBezTo>
                    <a:pt x="242" y="215"/>
                    <a:pt x="242" y="216"/>
                    <a:pt x="242" y="216"/>
                  </a:cubicBezTo>
                  <a:cubicBezTo>
                    <a:pt x="241" y="216"/>
                    <a:pt x="241" y="217"/>
                    <a:pt x="241" y="217"/>
                  </a:cubicBezTo>
                  <a:cubicBezTo>
                    <a:pt x="241" y="218"/>
                    <a:pt x="241" y="219"/>
                    <a:pt x="240" y="220"/>
                  </a:cubicBezTo>
                  <a:cubicBezTo>
                    <a:pt x="239" y="220"/>
                    <a:pt x="238" y="220"/>
                    <a:pt x="237" y="221"/>
                  </a:cubicBezTo>
                  <a:cubicBezTo>
                    <a:pt x="237" y="221"/>
                    <a:pt x="237" y="221"/>
                    <a:pt x="237" y="222"/>
                  </a:cubicBezTo>
                  <a:cubicBezTo>
                    <a:pt x="237" y="222"/>
                    <a:pt x="237" y="222"/>
                    <a:pt x="236" y="223"/>
                  </a:cubicBezTo>
                  <a:cubicBezTo>
                    <a:pt x="235" y="224"/>
                    <a:pt x="234" y="225"/>
                    <a:pt x="233" y="226"/>
                  </a:cubicBezTo>
                  <a:cubicBezTo>
                    <a:pt x="233" y="226"/>
                    <a:pt x="232" y="226"/>
                    <a:pt x="232" y="226"/>
                  </a:cubicBezTo>
                  <a:cubicBezTo>
                    <a:pt x="232" y="226"/>
                    <a:pt x="232" y="226"/>
                    <a:pt x="231" y="226"/>
                  </a:cubicBezTo>
                  <a:cubicBezTo>
                    <a:pt x="231" y="226"/>
                    <a:pt x="230" y="226"/>
                    <a:pt x="229" y="226"/>
                  </a:cubicBezTo>
                  <a:cubicBezTo>
                    <a:pt x="229" y="225"/>
                    <a:pt x="229" y="225"/>
                    <a:pt x="229" y="225"/>
                  </a:cubicBezTo>
                  <a:cubicBezTo>
                    <a:pt x="228" y="225"/>
                    <a:pt x="228" y="225"/>
                    <a:pt x="228" y="225"/>
                  </a:cubicBezTo>
                  <a:cubicBezTo>
                    <a:pt x="227" y="225"/>
                    <a:pt x="227" y="224"/>
                    <a:pt x="226" y="224"/>
                  </a:cubicBezTo>
                  <a:cubicBezTo>
                    <a:pt x="226" y="223"/>
                    <a:pt x="225" y="223"/>
                    <a:pt x="225" y="222"/>
                  </a:cubicBezTo>
                  <a:cubicBezTo>
                    <a:pt x="225" y="222"/>
                    <a:pt x="224" y="222"/>
                    <a:pt x="224" y="221"/>
                  </a:cubicBezTo>
                  <a:cubicBezTo>
                    <a:pt x="224" y="220"/>
                    <a:pt x="224" y="219"/>
                    <a:pt x="224" y="218"/>
                  </a:cubicBezTo>
                  <a:cubicBezTo>
                    <a:pt x="224" y="217"/>
                    <a:pt x="224" y="216"/>
                    <a:pt x="224" y="215"/>
                  </a:cubicBezTo>
                  <a:cubicBezTo>
                    <a:pt x="224" y="214"/>
                    <a:pt x="225" y="213"/>
                    <a:pt x="224" y="213"/>
                  </a:cubicBezTo>
                  <a:cubicBezTo>
                    <a:pt x="224" y="212"/>
                    <a:pt x="224" y="212"/>
                    <a:pt x="225" y="212"/>
                  </a:cubicBezTo>
                  <a:cubicBezTo>
                    <a:pt x="225" y="212"/>
                    <a:pt x="225" y="211"/>
                    <a:pt x="225" y="211"/>
                  </a:cubicBezTo>
                  <a:cubicBezTo>
                    <a:pt x="225" y="210"/>
                    <a:pt x="225" y="210"/>
                    <a:pt x="225" y="210"/>
                  </a:cubicBezTo>
                  <a:cubicBezTo>
                    <a:pt x="226" y="209"/>
                    <a:pt x="226" y="209"/>
                    <a:pt x="226" y="209"/>
                  </a:cubicBezTo>
                  <a:cubicBezTo>
                    <a:pt x="227" y="209"/>
                    <a:pt x="227" y="208"/>
                    <a:pt x="227" y="208"/>
                  </a:cubicBezTo>
                  <a:cubicBezTo>
                    <a:pt x="228" y="208"/>
                    <a:pt x="229" y="208"/>
                    <a:pt x="229" y="208"/>
                  </a:cubicBezTo>
                  <a:cubicBezTo>
                    <a:pt x="230" y="208"/>
                    <a:pt x="232" y="208"/>
                    <a:pt x="232" y="207"/>
                  </a:cubicBezTo>
                  <a:cubicBezTo>
                    <a:pt x="233" y="207"/>
                    <a:pt x="232" y="206"/>
                    <a:pt x="233" y="205"/>
                  </a:cubicBezTo>
                  <a:cubicBezTo>
                    <a:pt x="233" y="205"/>
                    <a:pt x="233" y="205"/>
                    <a:pt x="234" y="205"/>
                  </a:cubicBezTo>
                  <a:cubicBezTo>
                    <a:pt x="235" y="205"/>
                    <a:pt x="235" y="204"/>
                    <a:pt x="236" y="204"/>
                  </a:cubicBezTo>
                  <a:cubicBezTo>
                    <a:pt x="236" y="204"/>
                    <a:pt x="236" y="199"/>
                    <a:pt x="237" y="199"/>
                  </a:cubicBezTo>
                  <a:cubicBezTo>
                    <a:pt x="237" y="199"/>
                    <a:pt x="237" y="199"/>
                    <a:pt x="237" y="199"/>
                  </a:cubicBezTo>
                  <a:cubicBezTo>
                    <a:pt x="237" y="197"/>
                    <a:pt x="237" y="196"/>
                    <a:pt x="238" y="195"/>
                  </a:cubicBezTo>
                  <a:cubicBezTo>
                    <a:pt x="238" y="195"/>
                    <a:pt x="239" y="194"/>
                    <a:pt x="239" y="194"/>
                  </a:cubicBezTo>
                  <a:cubicBezTo>
                    <a:pt x="240" y="194"/>
                    <a:pt x="240" y="194"/>
                    <a:pt x="240" y="195"/>
                  </a:cubicBezTo>
                  <a:cubicBezTo>
                    <a:pt x="241" y="195"/>
                    <a:pt x="242" y="194"/>
                    <a:pt x="242" y="194"/>
                  </a:cubicBezTo>
                  <a:cubicBezTo>
                    <a:pt x="243" y="193"/>
                    <a:pt x="244" y="192"/>
                    <a:pt x="244" y="191"/>
                  </a:cubicBezTo>
                  <a:cubicBezTo>
                    <a:pt x="245" y="190"/>
                    <a:pt x="245" y="189"/>
                    <a:pt x="245" y="188"/>
                  </a:cubicBezTo>
                  <a:cubicBezTo>
                    <a:pt x="245" y="188"/>
                    <a:pt x="245" y="187"/>
                    <a:pt x="245" y="187"/>
                  </a:cubicBezTo>
                  <a:cubicBezTo>
                    <a:pt x="245" y="186"/>
                    <a:pt x="245" y="186"/>
                    <a:pt x="245" y="186"/>
                  </a:cubicBezTo>
                  <a:cubicBezTo>
                    <a:pt x="245" y="185"/>
                    <a:pt x="245" y="184"/>
                    <a:pt x="245" y="183"/>
                  </a:cubicBezTo>
                  <a:cubicBezTo>
                    <a:pt x="245" y="182"/>
                    <a:pt x="245" y="181"/>
                    <a:pt x="246" y="180"/>
                  </a:cubicBezTo>
                  <a:cubicBezTo>
                    <a:pt x="246" y="180"/>
                    <a:pt x="246" y="180"/>
                    <a:pt x="246" y="180"/>
                  </a:cubicBezTo>
                  <a:cubicBezTo>
                    <a:pt x="246" y="179"/>
                    <a:pt x="246" y="179"/>
                    <a:pt x="246" y="179"/>
                  </a:cubicBezTo>
                  <a:cubicBezTo>
                    <a:pt x="246" y="177"/>
                    <a:pt x="246" y="176"/>
                    <a:pt x="246" y="175"/>
                  </a:cubicBezTo>
                  <a:cubicBezTo>
                    <a:pt x="246" y="174"/>
                    <a:pt x="247" y="174"/>
                    <a:pt x="247" y="173"/>
                  </a:cubicBezTo>
                  <a:cubicBezTo>
                    <a:pt x="247" y="173"/>
                    <a:pt x="247" y="172"/>
                    <a:pt x="247" y="171"/>
                  </a:cubicBezTo>
                  <a:cubicBezTo>
                    <a:pt x="247" y="171"/>
                    <a:pt x="247" y="170"/>
                    <a:pt x="247" y="169"/>
                  </a:cubicBezTo>
                  <a:cubicBezTo>
                    <a:pt x="247" y="169"/>
                    <a:pt x="246" y="168"/>
                    <a:pt x="246" y="167"/>
                  </a:cubicBezTo>
                  <a:cubicBezTo>
                    <a:pt x="246" y="167"/>
                    <a:pt x="246" y="166"/>
                    <a:pt x="246" y="166"/>
                  </a:cubicBezTo>
                  <a:cubicBezTo>
                    <a:pt x="245" y="165"/>
                    <a:pt x="245" y="165"/>
                    <a:pt x="245" y="165"/>
                  </a:cubicBezTo>
                  <a:cubicBezTo>
                    <a:pt x="245" y="164"/>
                    <a:pt x="244" y="163"/>
                    <a:pt x="244" y="163"/>
                  </a:cubicBezTo>
                  <a:cubicBezTo>
                    <a:pt x="244" y="163"/>
                    <a:pt x="243" y="163"/>
                    <a:pt x="243" y="163"/>
                  </a:cubicBezTo>
                  <a:cubicBezTo>
                    <a:pt x="243" y="163"/>
                    <a:pt x="243" y="162"/>
                    <a:pt x="242" y="162"/>
                  </a:cubicBezTo>
                  <a:cubicBezTo>
                    <a:pt x="242" y="161"/>
                    <a:pt x="241" y="161"/>
                    <a:pt x="241" y="160"/>
                  </a:cubicBezTo>
                  <a:cubicBezTo>
                    <a:pt x="241" y="159"/>
                    <a:pt x="241" y="158"/>
                    <a:pt x="241" y="157"/>
                  </a:cubicBezTo>
                  <a:cubicBezTo>
                    <a:pt x="240" y="157"/>
                    <a:pt x="240" y="157"/>
                    <a:pt x="240" y="157"/>
                  </a:cubicBezTo>
                  <a:cubicBezTo>
                    <a:pt x="241" y="156"/>
                    <a:pt x="241" y="156"/>
                    <a:pt x="241" y="156"/>
                  </a:cubicBezTo>
                  <a:cubicBezTo>
                    <a:pt x="242" y="156"/>
                    <a:pt x="243" y="155"/>
                    <a:pt x="243" y="155"/>
                  </a:cubicBezTo>
                  <a:cubicBezTo>
                    <a:pt x="244" y="155"/>
                    <a:pt x="244" y="155"/>
                    <a:pt x="244" y="155"/>
                  </a:cubicBezTo>
                  <a:cubicBezTo>
                    <a:pt x="244" y="155"/>
                    <a:pt x="245" y="155"/>
                    <a:pt x="245" y="155"/>
                  </a:cubicBezTo>
                  <a:cubicBezTo>
                    <a:pt x="245" y="155"/>
                    <a:pt x="246" y="155"/>
                    <a:pt x="246" y="155"/>
                  </a:cubicBezTo>
                  <a:cubicBezTo>
                    <a:pt x="246" y="155"/>
                    <a:pt x="246" y="154"/>
                    <a:pt x="246" y="154"/>
                  </a:cubicBezTo>
                  <a:cubicBezTo>
                    <a:pt x="246" y="153"/>
                    <a:pt x="246" y="153"/>
                    <a:pt x="245" y="152"/>
                  </a:cubicBezTo>
                  <a:cubicBezTo>
                    <a:pt x="245" y="151"/>
                    <a:pt x="245" y="151"/>
                    <a:pt x="244" y="151"/>
                  </a:cubicBezTo>
                  <a:cubicBezTo>
                    <a:pt x="244" y="150"/>
                    <a:pt x="244" y="150"/>
                    <a:pt x="244" y="149"/>
                  </a:cubicBezTo>
                  <a:cubicBezTo>
                    <a:pt x="243" y="149"/>
                    <a:pt x="243" y="149"/>
                    <a:pt x="243" y="148"/>
                  </a:cubicBezTo>
                  <a:cubicBezTo>
                    <a:pt x="243" y="148"/>
                    <a:pt x="243" y="147"/>
                    <a:pt x="242" y="147"/>
                  </a:cubicBezTo>
                  <a:cubicBezTo>
                    <a:pt x="242" y="147"/>
                    <a:pt x="242" y="147"/>
                    <a:pt x="242" y="147"/>
                  </a:cubicBezTo>
                  <a:cubicBezTo>
                    <a:pt x="242" y="146"/>
                    <a:pt x="242" y="146"/>
                    <a:pt x="242" y="146"/>
                  </a:cubicBezTo>
                  <a:cubicBezTo>
                    <a:pt x="242" y="146"/>
                    <a:pt x="242" y="146"/>
                    <a:pt x="242" y="146"/>
                  </a:cubicBezTo>
                  <a:cubicBezTo>
                    <a:pt x="242" y="145"/>
                    <a:pt x="242" y="145"/>
                    <a:pt x="242" y="144"/>
                  </a:cubicBezTo>
                  <a:cubicBezTo>
                    <a:pt x="242" y="144"/>
                    <a:pt x="242" y="144"/>
                    <a:pt x="242" y="143"/>
                  </a:cubicBezTo>
                  <a:cubicBezTo>
                    <a:pt x="241" y="143"/>
                    <a:pt x="241" y="143"/>
                    <a:pt x="241" y="143"/>
                  </a:cubicBezTo>
                  <a:cubicBezTo>
                    <a:pt x="240" y="143"/>
                    <a:pt x="240" y="142"/>
                    <a:pt x="240" y="142"/>
                  </a:cubicBezTo>
                  <a:cubicBezTo>
                    <a:pt x="239" y="142"/>
                    <a:pt x="239" y="142"/>
                    <a:pt x="238" y="142"/>
                  </a:cubicBezTo>
                  <a:cubicBezTo>
                    <a:pt x="237" y="142"/>
                    <a:pt x="236" y="141"/>
                    <a:pt x="235" y="140"/>
                  </a:cubicBezTo>
                  <a:cubicBezTo>
                    <a:pt x="234" y="139"/>
                    <a:pt x="233" y="138"/>
                    <a:pt x="232" y="138"/>
                  </a:cubicBezTo>
                  <a:cubicBezTo>
                    <a:pt x="231" y="138"/>
                    <a:pt x="229" y="139"/>
                    <a:pt x="229" y="138"/>
                  </a:cubicBezTo>
                  <a:cubicBezTo>
                    <a:pt x="228" y="138"/>
                    <a:pt x="228" y="137"/>
                    <a:pt x="228" y="137"/>
                  </a:cubicBezTo>
                  <a:cubicBezTo>
                    <a:pt x="227" y="137"/>
                    <a:pt x="227" y="137"/>
                    <a:pt x="226" y="137"/>
                  </a:cubicBezTo>
                  <a:cubicBezTo>
                    <a:pt x="226" y="136"/>
                    <a:pt x="225" y="135"/>
                    <a:pt x="225" y="135"/>
                  </a:cubicBezTo>
                  <a:cubicBezTo>
                    <a:pt x="224" y="134"/>
                    <a:pt x="223" y="134"/>
                    <a:pt x="222" y="134"/>
                  </a:cubicBezTo>
                  <a:cubicBezTo>
                    <a:pt x="221" y="134"/>
                    <a:pt x="218" y="134"/>
                    <a:pt x="218" y="133"/>
                  </a:cubicBezTo>
                  <a:cubicBezTo>
                    <a:pt x="217" y="131"/>
                    <a:pt x="216" y="130"/>
                    <a:pt x="215" y="129"/>
                  </a:cubicBezTo>
                  <a:cubicBezTo>
                    <a:pt x="215" y="128"/>
                    <a:pt x="214" y="127"/>
                    <a:pt x="212" y="127"/>
                  </a:cubicBezTo>
                  <a:cubicBezTo>
                    <a:pt x="212" y="127"/>
                    <a:pt x="212" y="127"/>
                    <a:pt x="211" y="127"/>
                  </a:cubicBezTo>
                  <a:cubicBezTo>
                    <a:pt x="211" y="127"/>
                    <a:pt x="211" y="127"/>
                    <a:pt x="211" y="126"/>
                  </a:cubicBezTo>
                  <a:cubicBezTo>
                    <a:pt x="210" y="126"/>
                    <a:pt x="209" y="126"/>
                    <a:pt x="209" y="126"/>
                  </a:cubicBezTo>
                  <a:cubicBezTo>
                    <a:pt x="209" y="126"/>
                    <a:pt x="208" y="126"/>
                    <a:pt x="208" y="126"/>
                  </a:cubicBezTo>
                  <a:cubicBezTo>
                    <a:pt x="208" y="127"/>
                    <a:pt x="208" y="127"/>
                    <a:pt x="208" y="127"/>
                  </a:cubicBezTo>
                  <a:cubicBezTo>
                    <a:pt x="208" y="127"/>
                    <a:pt x="207" y="127"/>
                    <a:pt x="207" y="127"/>
                  </a:cubicBezTo>
                  <a:cubicBezTo>
                    <a:pt x="206" y="127"/>
                    <a:pt x="206" y="126"/>
                    <a:pt x="205" y="126"/>
                  </a:cubicBezTo>
                  <a:cubicBezTo>
                    <a:pt x="205" y="126"/>
                    <a:pt x="204" y="126"/>
                    <a:pt x="204" y="125"/>
                  </a:cubicBezTo>
                  <a:cubicBezTo>
                    <a:pt x="203" y="125"/>
                    <a:pt x="203" y="124"/>
                    <a:pt x="202" y="124"/>
                  </a:cubicBezTo>
                  <a:cubicBezTo>
                    <a:pt x="202" y="124"/>
                    <a:pt x="202" y="123"/>
                    <a:pt x="201" y="123"/>
                  </a:cubicBezTo>
                  <a:cubicBezTo>
                    <a:pt x="201" y="123"/>
                    <a:pt x="200" y="123"/>
                    <a:pt x="199" y="122"/>
                  </a:cubicBezTo>
                  <a:cubicBezTo>
                    <a:pt x="199" y="122"/>
                    <a:pt x="198" y="122"/>
                    <a:pt x="198" y="121"/>
                  </a:cubicBezTo>
                  <a:cubicBezTo>
                    <a:pt x="198" y="121"/>
                    <a:pt x="197" y="121"/>
                    <a:pt x="197" y="121"/>
                  </a:cubicBezTo>
                  <a:cubicBezTo>
                    <a:pt x="197" y="121"/>
                    <a:pt x="197" y="121"/>
                    <a:pt x="196" y="120"/>
                  </a:cubicBezTo>
                  <a:cubicBezTo>
                    <a:pt x="196" y="120"/>
                    <a:pt x="196" y="120"/>
                    <a:pt x="195" y="120"/>
                  </a:cubicBezTo>
                  <a:cubicBezTo>
                    <a:pt x="195" y="120"/>
                    <a:pt x="195" y="120"/>
                    <a:pt x="195" y="120"/>
                  </a:cubicBezTo>
                  <a:cubicBezTo>
                    <a:pt x="195" y="121"/>
                    <a:pt x="194" y="121"/>
                    <a:pt x="194" y="121"/>
                  </a:cubicBezTo>
                  <a:cubicBezTo>
                    <a:pt x="193" y="121"/>
                    <a:pt x="192" y="121"/>
                    <a:pt x="191" y="121"/>
                  </a:cubicBezTo>
                  <a:cubicBezTo>
                    <a:pt x="190" y="121"/>
                    <a:pt x="189" y="121"/>
                    <a:pt x="188" y="121"/>
                  </a:cubicBezTo>
                  <a:cubicBezTo>
                    <a:pt x="187" y="121"/>
                    <a:pt x="187" y="121"/>
                    <a:pt x="187" y="122"/>
                  </a:cubicBezTo>
                  <a:cubicBezTo>
                    <a:pt x="187" y="122"/>
                    <a:pt x="188" y="122"/>
                    <a:pt x="188" y="122"/>
                  </a:cubicBezTo>
                  <a:cubicBezTo>
                    <a:pt x="188" y="123"/>
                    <a:pt x="189" y="123"/>
                    <a:pt x="189" y="124"/>
                  </a:cubicBezTo>
                  <a:cubicBezTo>
                    <a:pt x="189" y="124"/>
                    <a:pt x="189" y="125"/>
                    <a:pt x="188" y="125"/>
                  </a:cubicBezTo>
                  <a:cubicBezTo>
                    <a:pt x="188" y="126"/>
                    <a:pt x="187" y="126"/>
                    <a:pt x="187" y="127"/>
                  </a:cubicBezTo>
                  <a:cubicBezTo>
                    <a:pt x="186" y="127"/>
                    <a:pt x="186" y="127"/>
                    <a:pt x="186" y="127"/>
                  </a:cubicBezTo>
                  <a:cubicBezTo>
                    <a:pt x="186" y="128"/>
                    <a:pt x="185" y="128"/>
                    <a:pt x="185" y="128"/>
                  </a:cubicBezTo>
                  <a:cubicBezTo>
                    <a:pt x="185" y="129"/>
                    <a:pt x="184" y="129"/>
                    <a:pt x="183" y="130"/>
                  </a:cubicBezTo>
                  <a:cubicBezTo>
                    <a:pt x="183" y="131"/>
                    <a:pt x="183" y="132"/>
                    <a:pt x="183" y="133"/>
                  </a:cubicBezTo>
                  <a:cubicBezTo>
                    <a:pt x="183" y="133"/>
                    <a:pt x="183" y="133"/>
                    <a:pt x="183" y="134"/>
                  </a:cubicBezTo>
                  <a:cubicBezTo>
                    <a:pt x="183" y="134"/>
                    <a:pt x="184" y="134"/>
                    <a:pt x="184" y="134"/>
                  </a:cubicBezTo>
                  <a:cubicBezTo>
                    <a:pt x="184" y="135"/>
                    <a:pt x="184" y="135"/>
                    <a:pt x="184" y="135"/>
                  </a:cubicBezTo>
                  <a:cubicBezTo>
                    <a:pt x="184" y="136"/>
                    <a:pt x="185" y="136"/>
                    <a:pt x="185" y="137"/>
                  </a:cubicBezTo>
                  <a:cubicBezTo>
                    <a:pt x="186" y="137"/>
                    <a:pt x="186" y="137"/>
                    <a:pt x="187" y="138"/>
                  </a:cubicBezTo>
                  <a:cubicBezTo>
                    <a:pt x="187" y="138"/>
                    <a:pt x="188" y="138"/>
                    <a:pt x="188" y="139"/>
                  </a:cubicBezTo>
                  <a:cubicBezTo>
                    <a:pt x="189" y="139"/>
                    <a:pt x="189" y="139"/>
                    <a:pt x="189" y="140"/>
                  </a:cubicBezTo>
                  <a:cubicBezTo>
                    <a:pt x="189" y="140"/>
                    <a:pt x="189" y="140"/>
                    <a:pt x="189" y="140"/>
                  </a:cubicBezTo>
                  <a:cubicBezTo>
                    <a:pt x="188" y="140"/>
                    <a:pt x="186" y="140"/>
                    <a:pt x="185" y="140"/>
                  </a:cubicBezTo>
                  <a:cubicBezTo>
                    <a:pt x="185" y="140"/>
                    <a:pt x="184" y="140"/>
                    <a:pt x="184" y="140"/>
                  </a:cubicBezTo>
                  <a:cubicBezTo>
                    <a:pt x="183" y="140"/>
                    <a:pt x="183" y="140"/>
                    <a:pt x="183" y="141"/>
                  </a:cubicBezTo>
                  <a:cubicBezTo>
                    <a:pt x="182" y="141"/>
                    <a:pt x="182" y="141"/>
                    <a:pt x="181" y="141"/>
                  </a:cubicBezTo>
                  <a:cubicBezTo>
                    <a:pt x="180" y="141"/>
                    <a:pt x="180" y="141"/>
                    <a:pt x="179" y="141"/>
                  </a:cubicBezTo>
                  <a:cubicBezTo>
                    <a:pt x="179" y="141"/>
                    <a:pt x="179" y="142"/>
                    <a:pt x="179" y="142"/>
                  </a:cubicBezTo>
                  <a:cubicBezTo>
                    <a:pt x="178" y="143"/>
                    <a:pt x="177" y="143"/>
                    <a:pt x="177" y="144"/>
                  </a:cubicBezTo>
                  <a:cubicBezTo>
                    <a:pt x="177" y="144"/>
                    <a:pt x="176" y="145"/>
                    <a:pt x="176" y="145"/>
                  </a:cubicBezTo>
                  <a:cubicBezTo>
                    <a:pt x="175" y="146"/>
                    <a:pt x="174" y="147"/>
                    <a:pt x="173" y="148"/>
                  </a:cubicBezTo>
                  <a:cubicBezTo>
                    <a:pt x="173" y="148"/>
                    <a:pt x="173" y="149"/>
                    <a:pt x="173" y="149"/>
                  </a:cubicBezTo>
                  <a:cubicBezTo>
                    <a:pt x="173" y="150"/>
                    <a:pt x="173" y="150"/>
                    <a:pt x="173" y="151"/>
                  </a:cubicBezTo>
                  <a:cubicBezTo>
                    <a:pt x="173" y="151"/>
                    <a:pt x="173" y="151"/>
                    <a:pt x="173" y="151"/>
                  </a:cubicBezTo>
                  <a:cubicBezTo>
                    <a:pt x="174" y="152"/>
                    <a:pt x="174" y="152"/>
                    <a:pt x="174" y="152"/>
                  </a:cubicBezTo>
                  <a:cubicBezTo>
                    <a:pt x="174" y="153"/>
                    <a:pt x="174" y="153"/>
                    <a:pt x="174" y="154"/>
                  </a:cubicBezTo>
                  <a:cubicBezTo>
                    <a:pt x="173" y="154"/>
                    <a:pt x="173" y="154"/>
                    <a:pt x="173" y="155"/>
                  </a:cubicBezTo>
                  <a:cubicBezTo>
                    <a:pt x="173" y="156"/>
                    <a:pt x="173" y="157"/>
                    <a:pt x="173" y="158"/>
                  </a:cubicBezTo>
                  <a:cubicBezTo>
                    <a:pt x="173" y="160"/>
                    <a:pt x="174" y="161"/>
                    <a:pt x="173" y="163"/>
                  </a:cubicBezTo>
                  <a:cubicBezTo>
                    <a:pt x="173" y="163"/>
                    <a:pt x="173" y="163"/>
                    <a:pt x="173" y="164"/>
                  </a:cubicBezTo>
                  <a:cubicBezTo>
                    <a:pt x="172" y="164"/>
                    <a:pt x="172" y="164"/>
                    <a:pt x="172" y="164"/>
                  </a:cubicBezTo>
                  <a:cubicBezTo>
                    <a:pt x="172" y="165"/>
                    <a:pt x="172" y="165"/>
                    <a:pt x="172" y="165"/>
                  </a:cubicBezTo>
                  <a:cubicBezTo>
                    <a:pt x="172" y="166"/>
                    <a:pt x="171" y="166"/>
                    <a:pt x="171" y="166"/>
                  </a:cubicBezTo>
                  <a:cubicBezTo>
                    <a:pt x="171" y="167"/>
                    <a:pt x="171" y="167"/>
                    <a:pt x="171" y="167"/>
                  </a:cubicBezTo>
                  <a:cubicBezTo>
                    <a:pt x="170" y="167"/>
                    <a:pt x="170" y="168"/>
                    <a:pt x="170" y="168"/>
                  </a:cubicBezTo>
                  <a:cubicBezTo>
                    <a:pt x="170" y="169"/>
                    <a:pt x="170" y="169"/>
                    <a:pt x="170" y="169"/>
                  </a:cubicBezTo>
                  <a:cubicBezTo>
                    <a:pt x="169" y="170"/>
                    <a:pt x="169" y="170"/>
                    <a:pt x="169" y="171"/>
                  </a:cubicBezTo>
                  <a:cubicBezTo>
                    <a:pt x="168" y="171"/>
                    <a:pt x="167" y="170"/>
                    <a:pt x="167" y="170"/>
                  </a:cubicBezTo>
                  <a:cubicBezTo>
                    <a:pt x="167" y="169"/>
                    <a:pt x="168" y="169"/>
                    <a:pt x="168" y="169"/>
                  </a:cubicBezTo>
                  <a:cubicBezTo>
                    <a:pt x="168" y="168"/>
                    <a:pt x="168" y="168"/>
                    <a:pt x="168" y="167"/>
                  </a:cubicBezTo>
                  <a:cubicBezTo>
                    <a:pt x="169" y="167"/>
                    <a:pt x="169" y="166"/>
                    <a:pt x="169" y="166"/>
                  </a:cubicBezTo>
                  <a:cubicBezTo>
                    <a:pt x="169" y="165"/>
                    <a:pt x="169" y="165"/>
                    <a:pt x="169" y="164"/>
                  </a:cubicBezTo>
                  <a:cubicBezTo>
                    <a:pt x="169" y="164"/>
                    <a:pt x="169" y="163"/>
                    <a:pt x="169" y="162"/>
                  </a:cubicBezTo>
                  <a:cubicBezTo>
                    <a:pt x="169" y="162"/>
                    <a:pt x="170" y="162"/>
                    <a:pt x="170" y="161"/>
                  </a:cubicBezTo>
                  <a:cubicBezTo>
                    <a:pt x="170" y="161"/>
                    <a:pt x="170" y="160"/>
                    <a:pt x="170" y="160"/>
                  </a:cubicBezTo>
                  <a:cubicBezTo>
                    <a:pt x="170" y="159"/>
                    <a:pt x="170" y="159"/>
                    <a:pt x="170" y="159"/>
                  </a:cubicBezTo>
                  <a:cubicBezTo>
                    <a:pt x="169" y="160"/>
                    <a:pt x="169" y="162"/>
                    <a:pt x="169" y="163"/>
                  </a:cubicBezTo>
                  <a:cubicBezTo>
                    <a:pt x="169" y="164"/>
                    <a:pt x="168" y="164"/>
                    <a:pt x="168" y="165"/>
                  </a:cubicBezTo>
                  <a:cubicBezTo>
                    <a:pt x="168" y="166"/>
                    <a:pt x="168" y="166"/>
                    <a:pt x="168" y="166"/>
                  </a:cubicBezTo>
                  <a:cubicBezTo>
                    <a:pt x="167" y="167"/>
                    <a:pt x="167" y="167"/>
                    <a:pt x="167" y="168"/>
                  </a:cubicBezTo>
                  <a:cubicBezTo>
                    <a:pt x="167" y="168"/>
                    <a:pt x="167" y="168"/>
                    <a:pt x="167" y="168"/>
                  </a:cubicBezTo>
                  <a:cubicBezTo>
                    <a:pt x="166" y="169"/>
                    <a:pt x="166" y="169"/>
                    <a:pt x="166" y="169"/>
                  </a:cubicBezTo>
                  <a:cubicBezTo>
                    <a:pt x="166" y="170"/>
                    <a:pt x="165" y="169"/>
                    <a:pt x="165" y="169"/>
                  </a:cubicBezTo>
                  <a:cubicBezTo>
                    <a:pt x="165" y="168"/>
                    <a:pt x="165" y="168"/>
                    <a:pt x="165" y="167"/>
                  </a:cubicBezTo>
                  <a:cubicBezTo>
                    <a:pt x="165" y="166"/>
                    <a:pt x="165" y="166"/>
                    <a:pt x="165" y="165"/>
                  </a:cubicBezTo>
                  <a:cubicBezTo>
                    <a:pt x="165" y="165"/>
                    <a:pt x="165" y="164"/>
                    <a:pt x="165" y="164"/>
                  </a:cubicBezTo>
                  <a:cubicBezTo>
                    <a:pt x="165" y="164"/>
                    <a:pt x="165" y="164"/>
                    <a:pt x="166" y="164"/>
                  </a:cubicBezTo>
                  <a:cubicBezTo>
                    <a:pt x="166" y="163"/>
                    <a:pt x="166" y="163"/>
                    <a:pt x="166" y="162"/>
                  </a:cubicBezTo>
                  <a:cubicBezTo>
                    <a:pt x="166" y="162"/>
                    <a:pt x="166" y="161"/>
                    <a:pt x="166" y="161"/>
                  </a:cubicBezTo>
                  <a:cubicBezTo>
                    <a:pt x="166" y="160"/>
                    <a:pt x="165" y="160"/>
                    <a:pt x="165" y="160"/>
                  </a:cubicBezTo>
                  <a:cubicBezTo>
                    <a:pt x="165" y="160"/>
                    <a:pt x="165" y="160"/>
                    <a:pt x="165" y="160"/>
                  </a:cubicBezTo>
                  <a:cubicBezTo>
                    <a:pt x="165" y="159"/>
                    <a:pt x="165" y="159"/>
                    <a:pt x="165" y="158"/>
                  </a:cubicBezTo>
                  <a:cubicBezTo>
                    <a:pt x="166" y="158"/>
                    <a:pt x="166" y="158"/>
                    <a:pt x="167" y="157"/>
                  </a:cubicBezTo>
                  <a:cubicBezTo>
                    <a:pt x="167" y="156"/>
                    <a:pt x="167" y="156"/>
                    <a:pt x="167" y="155"/>
                  </a:cubicBezTo>
                  <a:cubicBezTo>
                    <a:pt x="167" y="155"/>
                    <a:pt x="168" y="154"/>
                    <a:pt x="167" y="154"/>
                  </a:cubicBezTo>
                  <a:cubicBezTo>
                    <a:pt x="167" y="154"/>
                    <a:pt x="167" y="154"/>
                    <a:pt x="167" y="154"/>
                  </a:cubicBezTo>
                  <a:cubicBezTo>
                    <a:pt x="166" y="153"/>
                    <a:pt x="166" y="153"/>
                    <a:pt x="166" y="153"/>
                  </a:cubicBezTo>
                  <a:cubicBezTo>
                    <a:pt x="166" y="153"/>
                    <a:pt x="166" y="152"/>
                    <a:pt x="166" y="152"/>
                  </a:cubicBezTo>
                  <a:cubicBezTo>
                    <a:pt x="166" y="152"/>
                    <a:pt x="165" y="152"/>
                    <a:pt x="165" y="151"/>
                  </a:cubicBezTo>
                  <a:cubicBezTo>
                    <a:pt x="165" y="151"/>
                    <a:pt x="165" y="151"/>
                    <a:pt x="165" y="151"/>
                  </a:cubicBezTo>
                  <a:cubicBezTo>
                    <a:pt x="165" y="150"/>
                    <a:pt x="164" y="151"/>
                    <a:pt x="164" y="151"/>
                  </a:cubicBezTo>
                  <a:cubicBezTo>
                    <a:pt x="164" y="152"/>
                    <a:pt x="164" y="152"/>
                    <a:pt x="164" y="152"/>
                  </a:cubicBezTo>
                  <a:cubicBezTo>
                    <a:pt x="163" y="153"/>
                    <a:pt x="163" y="153"/>
                    <a:pt x="163" y="154"/>
                  </a:cubicBezTo>
                  <a:cubicBezTo>
                    <a:pt x="163" y="154"/>
                    <a:pt x="163" y="154"/>
                    <a:pt x="162" y="155"/>
                  </a:cubicBezTo>
                  <a:cubicBezTo>
                    <a:pt x="162" y="155"/>
                    <a:pt x="162" y="156"/>
                    <a:pt x="162" y="156"/>
                  </a:cubicBezTo>
                  <a:cubicBezTo>
                    <a:pt x="162" y="157"/>
                    <a:pt x="161" y="157"/>
                    <a:pt x="161" y="157"/>
                  </a:cubicBezTo>
                  <a:cubicBezTo>
                    <a:pt x="160" y="158"/>
                    <a:pt x="160" y="159"/>
                    <a:pt x="160" y="159"/>
                  </a:cubicBezTo>
                  <a:cubicBezTo>
                    <a:pt x="160" y="160"/>
                    <a:pt x="160" y="160"/>
                    <a:pt x="159" y="160"/>
                  </a:cubicBezTo>
                  <a:cubicBezTo>
                    <a:pt x="159" y="160"/>
                    <a:pt x="158" y="160"/>
                    <a:pt x="157" y="160"/>
                  </a:cubicBezTo>
                  <a:cubicBezTo>
                    <a:pt x="157" y="160"/>
                    <a:pt x="157" y="160"/>
                    <a:pt x="157" y="160"/>
                  </a:cubicBezTo>
                  <a:cubicBezTo>
                    <a:pt x="156" y="160"/>
                    <a:pt x="156" y="160"/>
                    <a:pt x="156" y="160"/>
                  </a:cubicBezTo>
                  <a:cubicBezTo>
                    <a:pt x="156" y="160"/>
                    <a:pt x="155" y="160"/>
                    <a:pt x="155" y="160"/>
                  </a:cubicBezTo>
                  <a:cubicBezTo>
                    <a:pt x="155" y="160"/>
                    <a:pt x="155" y="161"/>
                    <a:pt x="154" y="161"/>
                  </a:cubicBezTo>
                  <a:cubicBezTo>
                    <a:pt x="154" y="161"/>
                    <a:pt x="154" y="161"/>
                    <a:pt x="153" y="162"/>
                  </a:cubicBezTo>
                  <a:cubicBezTo>
                    <a:pt x="153" y="163"/>
                    <a:pt x="153" y="163"/>
                    <a:pt x="153" y="163"/>
                  </a:cubicBezTo>
                  <a:cubicBezTo>
                    <a:pt x="152" y="163"/>
                    <a:pt x="151" y="163"/>
                    <a:pt x="151" y="163"/>
                  </a:cubicBezTo>
                  <a:cubicBezTo>
                    <a:pt x="150" y="163"/>
                    <a:pt x="150" y="165"/>
                    <a:pt x="150" y="166"/>
                  </a:cubicBezTo>
                  <a:cubicBezTo>
                    <a:pt x="150" y="167"/>
                    <a:pt x="150" y="168"/>
                    <a:pt x="150" y="169"/>
                  </a:cubicBezTo>
                  <a:cubicBezTo>
                    <a:pt x="150" y="169"/>
                    <a:pt x="150" y="170"/>
                    <a:pt x="150" y="170"/>
                  </a:cubicBezTo>
                  <a:cubicBezTo>
                    <a:pt x="149" y="170"/>
                    <a:pt x="150" y="171"/>
                    <a:pt x="149" y="171"/>
                  </a:cubicBezTo>
                  <a:cubicBezTo>
                    <a:pt x="149" y="172"/>
                    <a:pt x="148" y="172"/>
                    <a:pt x="148" y="172"/>
                  </a:cubicBezTo>
                  <a:cubicBezTo>
                    <a:pt x="147" y="172"/>
                    <a:pt x="147" y="172"/>
                    <a:pt x="146" y="172"/>
                  </a:cubicBezTo>
                  <a:cubicBezTo>
                    <a:pt x="146" y="172"/>
                    <a:pt x="145" y="172"/>
                    <a:pt x="145" y="173"/>
                  </a:cubicBezTo>
                  <a:cubicBezTo>
                    <a:pt x="145" y="173"/>
                    <a:pt x="144" y="173"/>
                    <a:pt x="144" y="173"/>
                  </a:cubicBezTo>
                  <a:cubicBezTo>
                    <a:pt x="144" y="174"/>
                    <a:pt x="144" y="174"/>
                    <a:pt x="144" y="175"/>
                  </a:cubicBezTo>
                  <a:cubicBezTo>
                    <a:pt x="144" y="175"/>
                    <a:pt x="144" y="175"/>
                    <a:pt x="144" y="176"/>
                  </a:cubicBezTo>
                  <a:cubicBezTo>
                    <a:pt x="144" y="176"/>
                    <a:pt x="144" y="176"/>
                    <a:pt x="144" y="176"/>
                  </a:cubicBezTo>
                  <a:cubicBezTo>
                    <a:pt x="145" y="176"/>
                    <a:pt x="145" y="177"/>
                    <a:pt x="145" y="178"/>
                  </a:cubicBezTo>
                  <a:cubicBezTo>
                    <a:pt x="145" y="179"/>
                    <a:pt x="145" y="180"/>
                    <a:pt x="145" y="181"/>
                  </a:cubicBezTo>
                  <a:cubicBezTo>
                    <a:pt x="145" y="182"/>
                    <a:pt x="145" y="182"/>
                    <a:pt x="144" y="183"/>
                  </a:cubicBezTo>
                  <a:cubicBezTo>
                    <a:pt x="144" y="184"/>
                    <a:pt x="144" y="185"/>
                    <a:pt x="144" y="185"/>
                  </a:cubicBezTo>
                  <a:cubicBezTo>
                    <a:pt x="144" y="188"/>
                    <a:pt x="144" y="188"/>
                    <a:pt x="144" y="188"/>
                  </a:cubicBezTo>
                  <a:cubicBezTo>
                    <a:pt x="144" y="188"/>
                    <a:pt x="144" y="189"/>
                    <a:pt x="143" y="190"/>
                  </a:cubicBezTo>
                  <a:cubicBezTo>
                    <a:pt x="143" y="190"/>
                    <a:pt x="143" y="191"/>
                    <a:pt x="142" y="191"/>
                  </a:cubicBezTo>
                  <a:cubicBezTo>
                    <a:pt x="142" y="191"/>
                    <a:pt x="142" y="192"/>
                    <a:pt x="142" y="192"/>
                  </a:cubicBezTo>
                  <a:cubicBezTo>
                    <a:pt x="142" y="192"/>
                    <a:pt x="142" y="193"/>
                    <a:pt x="142" y="193"/>
                  </a:cubicBezTo>
                  <a:cubicBezTo>
                    <a:pt x="142" y="193"/>
                    <a:pt x="142" y="193"/>
                    <a:pt x="141" y="194"/>
                  </a:cubicBezTo>
                  <a:cubicBezTo>
                    <a:pt x="141" y="194"/>
                    <a:pt x="141" y="195"/>
                    <a:pt x="141" y="196"/>
                  </a:cubicBezTo>
                  <a:cubicBezTo>
                    <a:pt x="140" y="196"/>
                    <a:pt x="140" y="197"/>
                    <a:pt x="139" y="197"/>
                  </a:cubicBezTo>
                  <a:cubicBezTo>
                    <a:pt x="139" y="197"/>
                    <a:pt x="139" y="198"/>
                    <a:pt x="139" y="198"/>
                  </a:cubicBezTo>
                  <a:cubicBezTo>
                    <a:pt x="138" y="199"/>
                    <a:pt x="138" y="199"/>
                    <a:pt x="138" y="199"/>
                  </a:cubicBezTo>
                  <a:cubicBezTo>
                    <a:pt x="137" y="200"/>
                    <a:pt x="137" y="200"/>
                    <a:pt x="137" y="201"/>
                  </a:cubicBezTo>
                  <a:cubicBezTo>
                    <a:pt x="137" y="201"/>
                    <a:pt x="136" y="202"/>
                    <a:pt x="136" y="202"/>
                  </a:cubicBezTo>
                  <a:cubicBezTo>
                    <a:pt x="135" y="202"/>
                    <a:pt x="136" y="203"/>
                    <a:pt x="135" y="203"/>
                  </a:cubicBezTo>
                  <a:cubicBezTo>
                    <a:pt x="135" y="203"/>
                    <a:pt x="135" y="204"/>
                    <a:pt x="135" y="204"/>
                  </a:cubicBezTo>
                  <a:cubicBezTo>
                    <a:pt x="135" y="205"/>
                    <a:pt x="136" y="205"/>
                    <a:pt x="136" y="205"/>
                  </a:cubicBezTo>
                  <a:cubicBezTo>
                    <a:pt x="136" y="206"/>
                    <a:pt x="136" y="206"/>
                    <a:pt x="136" y="207"/>
                  </a:cubicBezTo>
                  <a:cubicBezTo>
                    <a:pt x="137" y="207"/>
                    <a:pt x="137" y="208"/>
                    <a:pt x="137" y="209"/>
                  </a:cubicBezTo>
                  <a:cubicBezTo>
                    <a:pt x="137" y="209"/>
                    <a:pt x="137" y="210"/>
                    <a:pt x="137" y="211"/>
                  </a:cubicBezTo>
                  <a:cubicBezTo>
                    <a:pt x="137" y="211"/>
                    <a:pt x="137" y="212"/>
                    <a:pt x="137" y="213"/>
                  </a:cubicBezTo>
                  <a:cubicBezTo>
                    <a:pt x="137" y="214"/>
                    <a:pt x="137" y="214"/>
                    <a:pt x="137" y="214"/>
                  </a:cubicBezTo>
                  <a:cubicBezTo>
                    <a:pt x="137" y="215"/>
                    <a:pt x="138" y="216"/>
                    <a:pt x="137" y="217"/>
                  </a:cubicBezTo>
                  <a:cubicBezTo>
                    <a:pt x="137" y="217"/>
                    <a:pt x="137" y="218"/>
                    <a:pt x="136" y="218"/>
                  </a:cubicBezTo>
                  <a:cubicBezTo>
                    <a:pt x="136" y="219"/>
                    <a:pt x="136" y="219"/>
                    <a:pt x="135" y="220"/>
                  </a:cubicBezTo>
                  <a:cubicBezTo>
                    <a:pt x="135" y="221"/>
                    <a:pt x="134" y="222"/>
                    <a:pt x="134" y="223"/>
                  </a:cubicBezTo>
                  <a:cubicBezTo>
                    <a:pt x="134" y="225"/>
                    <a:pt x="134" y="226"/>
                    <a:pt x="134" y="227"/>
                  </a:cubicBezTo>
                  <a:cubicBezTo>
                    <a:pt x="135" y="228"/>
                    <a:pt x="135" y="229"/>
                    <a:pt x="136" y="230"/>
                  </a:cubicBezTo>
                  <a:cubicBezTo>
                    <a:pt x="136" y="231"/>
                    <a:pt x="136" y="232"/>
                    <a:pt x="137" y="233"/>
                  </a:cubicBezTo>
                  <a:cubicBezTo>
                    <a:pt x="138" y="235"/>
                    <a:pt x="138" y="237"/>
                    <a:pt x="139" y="239"/>
                  </a:cubicBezTo>
                  <a:cubicBezTo>
                    <a:pt x="140" y="240"/>
                    <a:pt x="140" y="241"/>
                    <a:pt x="140" y="242"/>
                  </a:cubicBezTo>
                  <a:cubicBezTo>
                    <a:pt x="141" y="243"/>
                    <a:pt x="141" y="244"/>
                    <a:pt x="141" y="244"/>
                  </a:cubicBezTo>
                  <a:cubicBezTo>
                    <a:pt x="141" y="245"/>
                    <a:pt x="141" y="245"/>
                    <a:pt x="142" y="245"/>
                  </a:cubicBezTo>
                  <a:cubicBezTo>
                    <a:pt x="142" y="246"/>
                    <a:pt x="142" y="246"/>
                    <a:pt x="142" y="247"/>
                  </a:cubicBezTo>
                  <a:cubicBezTo>
                    <a:pt x="142" y="247"/>
                    <a:pt x="143" y="248"/>
                    <a:pt x="143" y="249"/>
                  </a:cubicBezTo>
                  <a:cubicBezTo>
                    <a:pt x="143" y="250"/>
                    <a:pt x="144" y="251"/>
                    <a:pt x="144" y="251"/>
                  </a:cubicBezTo>
                  <a:cubicBezTo>
                    <a:pt x="144" y="253"/>
                    <a:pt x="145" y="254"/>
                    <a:pt x="145" y="256"/>
                  </a:cubicBezTo>
                  <a:cubicBezTo>
                    <a:pt x="145" y="256"/>
                    <a:pt x="145" y="256"/>
                    <a:pt x="145" y="256"/>
                  </a:cubicBezTo>
                  <a:cubicBezTo>
                    <a:pt x="145" y="268"/>
                    <a:pt x="145" y="268"/>
                    <a:pt x="145" y="268"/>
                  </a:cubicBezTo>
                  <a:cubicBezTo>
                    <a:pt x="145" y="268"/>
                    <a:pt x="145" y="269"/>
                    <a:pt x="145" y="269"/>
                  </a:cubicBezTo>
                  <a:cubicBezTo>
                    <a:pt x="145" y="270"/>
                    <a:pt x="145" y="270"/>
                    <a:pt x="145" y="271"/>
                  </a:cubicBezTo>
                  <a:cubicBezTo>
                    <a:pt x="144" y="272"/>
                    <a:pt x="144" y="273"/>
                    <a:pt x="144" y="275"/>
                  </a:cubicBezTo>
                  <a:cubicBezTo>
                    <a:pt x="144" y="276"/>
                    <a:pt x="144" y="277"/>
                    <a:pt x="144" y="278"/>
                  </a:cubicBezTo>
                  <a:cubicBezTo>
                    <a:pt x="143" y="279"/>
                    <a:pt x="143" y="280"/>
                    <a:pt x="143" y="281"/>
                  </a:cubicBezTo>
                  <a:cubicBezTo>
                    <a:pt x="143" y="282"/>
                    <a:pt x="143" y="282"/>
                    <a:pt x="142" y="283"/>
                  </a:cubicBezTo>
                  <a:cubicBezTo>
                    <a:pt x="142" y="284"/>
                    <a:pt x="142" y="285"/>
                    <a:pt x="141" y="286"/>
                  </a:cubicBezTo>
                  <a:cubicBezTo>
                    <a:pt x="141" y="287"/>
                    <a:pt x="140" y="288"/>
                    <a:pt x="139" y="290"/>
                  </a:cubicBezTo>
                  <a:cubicBezTo>
                    <a:pt x="139" y="290"/>
                    <a:pt x="139" y="291"/>
                    <a:pt x="138" y="291"/>
                  </a:cubicBezTo>
                  <a:cubicBezTo>
                    <a:pt x="138" y="292"/>
                    <a:pt x="138" y="292"/>
                    <a:pt x="138" y="293"/>
                  </a:cubicBezTo>
                  <a:cubicBezTo>
                    <a:pt x="137" y="293"/>
                    <a:pt x="137" y="293"/>
                    <a:pt x="137" y="294"/>
                  </a:cubicBezTo>
                  <a:cubicBezTo>
                    <a:pt x="137" y="294"/>
                    <a:pt x="136" y="294"/>
                    <a:pt x="136" y="295"/>
                  </a:cubicBezTo>
                  <a:cubicBezTo>
                    <a:pt x="135" y="296"/>
                    <a:pt x="136" y="297"/>
                    <a:pt x="135" y="298"/>
                  </a:cubicBezTo>
                  <a:cubicBezTo>
                    <a:pt x="134" y="299"/>
                    <a:pt x="134" y="299"/>
                    <a:pt x="133" y="300"/>
                  </a:cubicBezTo>
                  <a:cubicBezTo>
                    <a:pt x="133" y="300"/>
                    <a:pt x="133" y="301"/>
                    <a:pt x="132" y="302"/>
                  </a:cubicBezTo>
                  <a:cubicBezTo>
                    <a:pt x="132" y="303"/>
                    <a:pt x="132" y="303"/>
                    <a:pt x="132" y="304"/>
                  </a:cubicBezTo>
                  <a:cubicBezTo>
                    <a:pt x="131" y="305"/>
                    <a:pt x="131" y="306"/>
                    <a:pt x="130" y="307"/>
                  </a:cubicBezTo>
                  <a:cubicBezTo>
                    <a:pt x="130" y="308"/>
                    <a:pt x="128" y="308"/>
                    <a:pt x="127" y="310"/>
                  </a:cubicBezTo>
                  <a:cubicBezTo>
                    <a:pt x="127" y="310"/>
                    <a:pt x="126" y="311"/>
                    <a:pt x="126" y="311"/>
                  </a:cubicBezTo>
                  <a:cubicBezTo>
                    <a:pt x="126" y="311"/>
                    <a:pt x="125" y="311"/>
                    <a:pt x="125" y="312"/>
                  </a:cubicBezTo>
                  <a:cubicBezTo>
                    <a:pt x="194" y="312"/>
                    <a:pt x="194" y="312"/>
                    <a:pt x="194" y="312"/>
                  </a:cubicBezTo>
                  <a:cubicBezTo>
                    <a:pt x="194" y="315"/>
                    <a:pt x="194" y="315"/>
                    <a:pt x="194" y="315"/>
                  </a:cubicBezTo>
                  <a:cubicBezTo>
                    <a:pt x="240" y="313"/>
                    <a:pt x="240" y="313"/>
                    <a:pt x="240" y="313"/>
                  </a:cubicBezTo>
                  <a:cubicBezTo>
                    <a:pt x="240" y="313"/>
                    <a:pt x="240" y="313"/>
                    <a:pt x="240" y="313"/>
                  </a:cubicBezTo>
                  <a:close/>
                </a:path>
              </a:pathLst>
            </a:custGeom>
            <a:solidFill>
              <a:srgbClr val="FF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4" name="Freeform 37">
              <a:extLst>
                <a:ext uri="{FF2B5EF4-FFF2-40B4-BE49-F238E27FC236}">
                  <a16:creationId xmlns:a16="http://schemas.microsoft.com/office/drawing/2014/main" id="{CDF72ADB-D28B-35C5-2755-7D3350CC37DD}"/>
                </a:ext>
              </a:extLst>
            </p:cNvPr>
            <p:cNvSpPr>
              <a:spLocks noEditPoints="1"/>
            </p:cNvSpPr>
            <p:nvPr/>
          </p:nvSpPr>
          <p:spPr bwMode="auto">
            <a:xfrm>
              <a:off x="9523459" y="2165966"/>
              <a:ext cx="490705" cy="305657"/>
            </a:xfrm>
            <a:custGeom>
              <a:avLst/>
              <a:gdLst>
                <a:gd name="T0" fmla="*/ 94 w 124"/>
                <a:gd name="T1" fmla="*/ 71 h 77"/>
                <a:gd name="T2" fmla="*/ 100 w 124"/>
                <a:gd name="T3" fmla="*/ 66 h 77"/>
                <a:gd name="T4" fmla="*/ 103 w 124"/>
                <a:gd name="T5" fmla="*/ 68 h 77"/>
                <a:gd name="T6" fmla="*/ 106 w 124"/>
                <a:gd name="T7" fmla="*/ 70 h 77"/>
                <a:gd name="T8" fmla="*/ 100 w 124"/>
                <a:gd name="T9" fmla="*/ 71 h 77"/>
                <a:gd name="T10" fmla="*/ 95 w 124"/>
                <a:gd name="T11" fmla="*/ 74 h 77"/>
                <a:gd name="T12" fmla="*/ 120 w 124"/>
                <a:gd name="T13" fmla="*/ 76 h 77"/>
                <a:gd name="T14" fmla="*/ 121 w 124"/>
                <a:gd name="T15" fmla="*/ 75 h 77"/>
                <a:gd name="T16" fmla="*/ 118 w 124"/>
                <a:gd name="T17" fmla="*/ 74 h 77"/>
                <a:gd name="T18" fmla="*/ 124 w 124"/>
                <a:gd name="T19" fmla="*/ 47 h 77"/>
                <a:gd name="T20" fmla="*/ 122 w 124"/>
                <a:gd name="T21" fmla="*/ 43 h 77"/>
                <a:gd name="T22" fmla="*/ 120 w 124"/>
                <a:gd name="T23" fmla="*/ 40 h 77"/>
                <a:gd name="T24" fmla="*/ 118 w 124"/>
                <a:gd name="T25" fmla="*/ 38 h 77"/>
                <a:gd name="T26" fmla="*/ 117 w 124"/>
                <a:gd name="T27" fmla="*/ 39 h 77"/>
                <a:gd name="T28" fmla="*/ 119 w 124"/>
                <a:gd name="T29" fmla="*/ 45 h 77"/>
                <a:gd name="T30" fmla="*/ 121 w 124"/>
                <a:gd name="T31" fmla="*/ 46 h 77"/>
                <a:gd name="T32" fmla="*/ 121 w 124"/>
                <a:gd name="T33" fmla="*/ 51 h 77"/>
                <a:gd name="T34" fmla="*/ 117 w 124"/>
                <a:gd name="T35" fmla="*/ 53 h 77"/>
                <a:gd name="T36" fmla="*/ 113 w 124"/>
                <a:gd name="T37" fmla="*/ 54 h 77"/>
                <a:gd name="T38" fmla="*/ 108 w 124"/>
                <a:gd name="T39" fmla="*/ 53 h 77"/>
                <a:gd name="T40" fmla="*/ 103 w 124"/>
                <a:gd name="T41" fmla="*/ 50 h 77"/>
                <a:gd name="T42" fmla="*/ 102 w 124"/>
                <a:gd name="T43" fmla="*/ 44 h 77"/>
                <a:gd name="T44" fmla="*/ 99 w 124"/>
                <a:gd name="T45" fmla="*/ 43 h 77"/>
                <a:gd name="T46" fmla="*/ 100 w 124"/>
                <a:gd name="T47" fmla="*/ 40 h 77"/>
                <a:gd name="T48" fmla="*/ 96 w 124"/>
                <a:gd name="T49" fmla="*/ 31 h 77"/>
                <a:gd name="T50" fmla="*/ 92 w 124"/>
                <a:gd name="T51" fmla="*/ 29 h 77"/>
                <a:gd name="T52" fmla="*/ 86 w 124"/>
                <a:gd name="T53" fmla="*/ 26 h 77"/>
                <a:gd name="T54" fmla="*/ 89 w 124"/>
                <a:gd name="T55" fmla="*/ 22 h 77"/>
                <a:gd name="T56" fmla="*/ 96 w 124"/>
                <a:gd name="T57" fmla="*/ 15 h 77"/>
                <a:gd name="T58" fmla="*/ 99 w 124"/>
                <a:gd name="T59" fmla="*/ 13 h 77"/>
                <a:gd name="T60" fmla="*/ 98 w 124"/>
                <a:gd name="T61" fmla="*/ 10 h 77"/>
                <a:gd name="T62" fmla="*/ 94 w 124"/>
                <a:gd name="T63" fmla="*/ 7 h 77"/>
                <a:gd name="T64" fmla="*/ 86 w 124"/>
                <a:gd name="T65" fmla="*/ 1 h 77"/>
                <a:gd name="T66" fmla="*/ 80 w 124"/>
                <a:gd name="T67" fmla="*/ 6 h 77"/>
                <a:gd name="T68" fmla="*/ 9 w 124"/>
                <a:gd name="T69" fmla="*/ 6 h 77"/>
                <a:gd name="T70" fmla="*/ 24 w 124"/>
                <a:gd name="T71" fmla="*/ 41 h 77"/>
                <a:gd name="T72" fmla="*/ 74 w 124"/>
                <a:gd name="T73" fmla="*/ 40 h 77"/>
                <a:gd name="T74" fmla="*/ 79 w 124"/>
                <a:gd name="T75" fmla="*/ 54 h 77"/>
                <a:gd name="T76" fmla="*/ 81 w 124"/>
                <a:gd name="T77" fmla="*/ 56 h 77"/>
                <a:gd name="T78" fmla="*/ 85 w 124"/>
                <a:gd name="T79" fmla="*/ 64 h 77"/>
                <a:gd name="T80" fmla="*/ 89 w 124"/>
                <a:gd name="T81" fmla="*/ 63 h 77"/>
                <a:gd name="T82" fmla="*/ 90 w 124"/>
                <a:gd name="T83" fmla="*/ 59 h 77"/>
                <a:gd name="T84" fmla="*/ 95 w 124"/>
                <a:gd name="T85" fmla="*/ 58 h 77"/>
                <a:gd name="T86" fmla="*/ 97 w 124"/>
                <a:gd name="T87" fmla="*/ 54 h 77"/>
                <a:gd name="T88" fmla="*/ 101 w 124"/>
                <a:gd name="T89" fmla="*/ 54 h 77"/>
                <a:gd name="T90" fmla="*/ 100 w 124"/>
                <a:gd name="T91" fmla="*/ 60 h 77"/>
                <a:gd name="T92" fmla="*/ 100 w 124"/>
                <a:gd name="T93" fmla="*/ 63 h 77"/>
                <a:gd name="T94" fmla="*/ 104 w 124"/>
                <a:gd name="T95" fmla="*/ 62 h 77"/>
                <a:gd name="T96" fmla="*/ 107 w 124"/>
                <a:gd name="T97" fmla="*/ 60 h 77"/>
                <a:gd name="T98" fmla="*/ 110 w 124"/>
                <a:gd name="T99" fmla="*/ 59 h 77"/>
                <a:gd name="T100" fmla="*/ 113 w 124"/>
                <a:gd name="T101" fmla="*/ 58 h 77"/>
                <a:gd name="T102" fmla="*/ 117 w 124"/>
                <a:gd name="T103" fmla="*/ 58 h 77"/>
                <a:gd name="T104" fmla="*/ 123 w 124"/>
                <a:gd name="T105" fmla="*/ 57 h 77"/>
                <a:gd name="T106" fmla="*/ 124 w 124"/>
                <a:gd name="T107" fmla="*/ 5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4" h="77">
                  <a:moveTo>
                    <a:pt x="95" y="74"/>
                  </a:moveTo>
                  <a:cubicBezTo>
                    <a:pt x="95" y="73"/>
                    <a:pt x="94" y="73"/>
                    <a:pt x="94" y="72"/>
                  </a:cubicBezTo>
                  <a:cubicBezTo>
                    <a:pt x="93" y="72"/>
                    <a:pt x="93" y="72"/>
                    <a:pt x="93" y="71"/>
                  </a:cubicBezTo>
                  <a:cubicBezTo>
                    <a:pt x="94" y="71"/>
                    <a:pt x="94" y="71"/>
                    <a:pt x="94" y="71"/>
                  </a:cubicBezTo>
                  <a:cubicBezTo>
                    <a:pt x="95" y="71"/>
                    <a:pt x="96" y="71"/>
                    <a:pt x="96" y="70"/>
                  </a:cubicBezTo>
                  <a:cubicBezTo>
                    <a:pt x="97" y="70"/>
                    <a:pt x="97" y="70"/>
                    <a:pt x="97" y="69"/>
                  </a:cubicBezTo>
                  <a:cubicBezTo>
                    <a:pt x="97" y="69"/>
                    <a:pt x="97" y="68"/>
                    <a:pt x="98" y="68"/>
                  </a:cubicBezTo>
                  <a:cubicBezTo>
                    <a:pt x="98" y="67"/>
                    <a:pt x="99" y="67"/>
                    <a:pt x="100" y="66"/>
                  </a:cubicBezTo>
                  <a:cubicBezTo>
                    <a:pt x="100" y="66"/>
                    <a:pt x="101" y="66"/>
                    <a:pt x="101" y="66"/>
                  </a:cubicBezTo>
                  <a:cubicBezTo>
                    <a:pt x="101" y="66"/>
                    <a:pt x="101" y="67"/>
                    <a:pt x="102" y="67"/>
                  </a:cubicBezTo>
                  <a:cubicBezTo>
                    <a:pt x="102" y="67"/>
                    <a:pt x="102" y="67"/>
                    <a:pt x="103" y="67"/>
                  </a:cubicBezTo>
                  <a:cubicBezTo>
                    <a:pt x="103" y="67"/>
                    <a:pt x="103" y="68"/>
                    <a:pt x="103" y="68"/>
                  </a:cubicBezTo>
                  <a:cubicBezTo>
                    <a:pt x="104" y="68"/>
                    <a:pt x="104" y="68"/>
                    <a:pt x="104" y="68"/>
                  </a:cubicBezTo>
                  <a:cubicBezTo>
                    <a:pt x="105" y="68"/>
                    <a:pt x="105" y="69"/>
                    <a:pt x="105" y="69"/>
                  </a:cubicBezTo>
                  <a:cubicBezTo>
                    <a:pt x="105" y="69"/>
                    <a:pt x="105" y="69"/>
                    <a:pt x="105" y="69"/>
                  </a:cubicBezTo>
                  <a:cubicBezTo>
                    <a:pt x="105" y="70"/>
                    <a:pt x="106" y="70"/>
                    <a:pt x="106" y="70"/>
                  </a:cubicBezTo>
                  <a:cubicBezTo>
                    <a:pt x="106" y="70"/>
                    <a:pt x="106" y="71"/>
                    <a:pt x="106" y="71"/>
                  </a:cubicBezTo>
                  <a:cubicBezTo>
                    <a:pt x="106" y="72"/>
                    <a:pt x="105" y="72"/>
                    <a:pt x="105" y="71"/>
                  </a:cubicBezTo>
                  <a:cubicBezTo>
                    <a:pt x="104" y="71"/>
                    <a:pt x="103" y="71"/>
                    <a:pt x="103" y="71"/>
                  </a:cubicBezTo>
                  <a:cubicBezTo>
                    <a:pt x="102" y="71"/>
                    <a:pt x="101" y="71"/>
                    <a:pt x="100" y="71"/>
                  </a:cubicBezTo>
                  <a:cubicBezTo>
                    <a:pt x="99" y="72"/>
                    <a:pt x="99" y="72"/>
                    <a:pt x="98" y="72"/>
                  </a:cubicBezTo>
                  <a:cubicBezTo>
                    <a:pt x="98" y="72"/>
                    <a:pt x="97" y="73"/>
                    <a:pt x="97" y="73"/>
                  </a:cubicBezTo>
                  <a:cubicBezTo>
                    <a:pt x="97" y="73"/>
                    <a:pt x="97" y="73"/>
                    <a:pt x="96" y="73"/>
                  </a:cubicBezTo>
                  <a:cubicBezTo>
                    <a:pt x="96" y="73"/>
                    <a:pt x="96" y="74"/>
                    <a:pt x="95" y="74"/>
                  </a:cubicBezTo>
                  <a:close/>
                  <a:moveTo>
                    <a:pt x="118" y="76"/>
                  </a:moveTo>
                  <a:cubicBezTo>
                    <a:pt x="118" y="76"/>
                    <a:pt x="118" y="76"/>
                    <a:pt x="119" y="76"/>
                  </a:cubicBezTo>
                  <a:cubicBezTo>
                    <a:pt x="119" y="76"/>
                    <a:pt x="119" y="76"/>
                    <a:pt x="120" y="76"/>
                  </a:cubicBezTo>
                  <a:cubicBezTo>
                    <a:pt x="120" y="76"/>
                    <a:pt x="120" y="76"/>
                    <a:pt x="120" y="76"/>
                  </a:cubicBezTo>
                  <a:cubicBezTo>
                    <a:pt x="120" y="77"/>
                    <a:pt x="121" y="77"/>
                    <a:pt x="121" y="77"/>
                  </a:cubicBezTo>
                  <a:cubicBezTo>
                    <a:pt x="122" y="77"/>
                    <a:pt x="122" y="77"/>
                    <a:pt x="122" y="77"/>
                  </a:cubicBezTo>
                  <a:cubicBezTo>
                    <a:pt x="122" y="76"/>
                    <a:pt x="122" y="76"/>
                    <a:pt x="122" y="76"/>
                  </a:cubicBezTo>
                  <a:cubicBezTo>
                    <a:pt x="122" y="76"/>
                    <a:pt x="121" y="75"/>
                    <a:pt x="121" y="75"/>
                  </a:cubicBezTo>
                  <a:cubicBezTo>
                    <a:pt x="121" y="75"/>
                    <a:pt x="121" y="74"/>
                    <a:pt x="121" y="74"/>
                  </a:cubicBezTo>
                  <a:cubicBezTo>
                    <a:pt x="120" y="74"/>
                    <a:pt x="120" y="74"/>
                    <a:pt x="120" y="74"/>
                  </a:cubicBezTo>
                  <a:cubicBezTo>
                    <a:pt x="120" y="74"/>
                    <a:pt x="119" y="74"/>
                    <a:pt x="119" y="74"/>
                  </a:cubicBezTo>
                  <a:cubicBezTo>
                    <a:pt x="119" y="74"/>
                    <a:pt x="118" y="74"/>
                    <a:pt x="118" y="74"/>
                  </a:cubicBezTo>
                  <a:cubicBezTo>
                    <a:pt x="117" y="74"/>
                    <a:pt x="117" y="74"/>
                    <a:pt x="116" y="75"/>
                  </a:cubicBezTo>
                  <a:cubicBezTo>
                    <a:pt x="116" y="75"/>
                    <a:pt x="116" y="75"/>
                    <a:pt x="116" y="76"/>
                  </a:cubicBezTo>
                  <a:cubicBezTo>
                    <a:pt x="117" y="76"/>
                    <a:pt x="117" y="76"/>
                    <a:pt x="118" y="76"/>
                  </a:cubicBezTo>
                  <a:close/>
                  <a:moveTo>
                    <a:pt x="124" y="47"/>
                  </a:moveTo>
                  <a:cubicBezTo>
                    <a:pt x="123" y="47"/>
                    <a:pt x="123" y="47"/>
                    <a:pt x="123" y="46"/>
                  </a:cubicBezTo>
                  <a:cubicBezTo>
                    <a:pt x="123" y="46"/>
                    <a:pt x="123" y="45"/>
                    <a:pt x="123" y="45"/>
                  </a:cubicBezTo>
                  <a:cubicBezTo>
                    <a:pt x="123" y="45"/>
                    <a:pt x="123" y="44"/>
                    <a:pt x="123" y="44"/>
                  </a:cubicBezTo>
                  <a:cubicBezTo>
                    <a:pt x="123" y="44"/>
                    <a:pt x="122" y="44"/>
                    <a:pt x="122" y="43"/>
                  </a:cubicBezTo>
                  <a:cubicBezTo>
                    <a:pt x="122" y="43"/>
                    <a:pt x="122" y="42"/>
                    <a:pt x="122" y="42"/>
                  </a:cubicBezTo>
                  <a:cubicBezTo>
                    <a:pt x="121" y="42"/>
                    <a:pt x="121" y="41"/>
                    <a:pt x="121" y="41"/>
                  </a:cubicBezTo>
                  <a:cubicBezTo>
                    <a:pt x="121" y="41"/>
                    <a:pt x="121" y="41"/>
                    <a:pt x="120" y="40"/>
                  </a:cubicBezTo>
                  <a:cubicBezTo>
                    <a:pt x="120" y="40"/>
                    <a:pt x="120" y="40"/>
                    <a:pt x="120" y="40"/>
                  </a:cubicBezTo>
                  <a:cubicBezTo>
                    <a:pt x="120" y="40"/>
                    <a:pt x="120" y="40"/>
                    <a:pt x="119" y="39"/>
                  </a:cubicBezTo>
                  <a:cubicBezTo>
                    <a:pt x="119" y="39"/>
                    <a:pt x="119" y="39"/>
                    <a:pt x="119" y="39"/>
                  </a:cubicBezTo>
                  <a:cubicBezTo>
                    <a:pt x="119" y="39"/>
                    <a:pt x="118" y="39"/>
                    <a:pt x="118" y="38"/>
                  </a:cubicBezTo>
                  <a:cubicBezTo>
                    <a:pt x="118" y="38"/>
                    <a:pt x="118" y="38"/>
                    <a:pt x="118" y="38"/>
                  </a:cubicBezTo>
                  <a:cubicBezTo>
                    <a:pt x="117" y="38"/>
                    <a:pt x="117" y="38"/>
                    <a:pt x="117" y="38"/>
                  </a:cubicBezTo>
                  <a:cubicBezTo>
                    <a:pt x="116" y="38"/>
                    <a:pt x="116" y="38"/>
                    <a:pt x="116" y="38"/>
                  </a:cubicBezTo>
                  <a:cubicBezTo>
                    <a:pt x="116" y="38"/>
                    <a:pt x="116" y="38"/>
                    <a:pt x="116" y="39"/>
                  </a:cubicBezTo>
                  <a:cubicBezTo>
                    <a:pt x="117" y="39"/>
                    <a:pt x="117" y="39"/>
                    <a:pt x="117" y="39"/>
                  </a:cubicBezTo>
                  <a:cubicBezTo>
                    <a:pt x="117" y="40"/>
                    <a:pt x="118" y="39"/>
                    <a:pt x="118" y="40"/>
                  </a:cubicBezTo>
                  <a:cubicBezTo>
                    <a:pt x="119" y="40"/>
                    <a:pt x="119" y="42"/>
                    <a:pt x="119" y="43"/>
                  </a:cubicBezTo>
                  <a:cubicBezTo>
                    <a:pt x="119" y="43"/>
                    <a:pt x="119" y="44"/>
                    <a:pt x="119" y="44"/>
                  </a:cubicBezTo>
                  <a:cubicBezTo>
                    <a:pt x="119" y="44"/>
                    <a:pt x="119" y="44"/>
                    <a:pt x="119" y="45"/>
                  </a:cubicBezTo>
                  <a:cubicBezTo>
                    <a:pt x="119" y="45"/>
                    <a:pt x="120" y="45"/>
                    <a:pt x="120" y="45"/>
                  </a:cubicBezTo>
                  <a:cubicBezTo>
                    <a:pt x="120" y="45"/>
                    <a:pt x="120" y="45"/>
                    <a:pt x="120" y="45"/>
                  </a:cubicBezTo>
                  <a:cubicBezTo>
                    <a:pt x="120" y="45"/>
                    <a:pt x="120" y="46"/>
                    <a:pt x="121" y="46"/>
                  </a:cubicBezTo>
                  <a:cubicBezTo>
                    <a:pt x="121" y="46"/>
                    <a:pt x="121" y="46"/>
                    <a:pt x="121" y="46"/>
                  </a:cubicBezTo>
                  <a:cubicBezTo>
                    <a:pt x="121" y="47"/>
                    <a:pt x="121" y="47"/>
                    <a:pt x="121" y="47"/>
                  </a:cubicBezTo>
                  <a:cubicBezTo>
                    <a:pt x="121" y="47"/>
                    <a:pt x="121" y="48"/>
                    <a:pt x="121" y="49"/>
                  </a:cubicBezTo>
                  <a:cubicBezTo>
                    <a:pt x="121" y="49"/>
                    <a:pt x="121" y="50"/>
                    <a:pt x="121" y="50"/>
                  </a:cubicBezTo>
                  <a:cubicBezTo>
                    <a:pt x="121" y="51"/>
                    <a:pt x="121" y="51"/>
                    <a:pt x="121" y="51"/>
                  </a:cubicBezTo>
                  <a:cubicBezTo>
                    <a:pt x="120" y="52"/>
                    <a:pt x="120" y="52"/>
                    <a:pt x="120" y="52"/>
                  </a:cubicBezTo>
                  <a:cubicBezTo>
                    <a:pt x="119" y="52"/>
                    <a:pt x="119" y="52"/>
                    <a:pt x="119" y="52"/>
                  </a:cubicBezTo>
                  <a:cubicBezTo>
                    <a:pt x="119" y="52"/>
                    <a:pt x="118" y="52"/>
                    <a:pt x="117" y="52"/>
                  </a:cubicBezTo>
                  <a:cubicBezTo>
                    <a:pt x="117" y="53"/>
                    <a:pt x="117" y="53"/>
                    <a:pt x="117" y="53"/>
                  </a:cubicBezTo>
                  <a:cubicBezTo>
                    <a:pt x="116" y="53"/>
                    <a:pt x="116" y="53"/>
                    <a:pt x="116" y="53"/>
                  </a:cubicBezTo>
                  <a:cubicBezTo>
                    <a:pt x="115" y="54"/>
                    <a:pt x="115" y="54"/>
                    <a:pt x="114" y="54"/>
                  </a:cubicBezTo>
                  <a:cubicBezTo>
                    <a:pt x="114" y="54"/>
                    <a:pt x="114" y="54"/>
                    <a:pt x="114" y="54"/>
                  </a:cubicBezTo>
                  <a:cubicBezTo>
                    <a:pt x="113" y="54"/>
                    <a:pt x="113" y="54"/>
                    <a:pt x="113" y="54"/>
                  </a:cubicBezTo>
                  <a:cubicBezTo>
                    <a:pt x="113" y="54"/>
                    <a:pt x="112" y="54"/>
                    <a:pt x="112" y="54"/>
                  </a:cubicBezTo>
                  <a:cubicBezTo>
                    <a:pt x="111" y="54"/>
                    <a:pt x="110" y="54"/>
                    <a:pt x="109" y="53"/>
                  </a:cubicBezTo>
                  <a:cubicBezTo>
                    <a:pt x="109" y="53"/>
                    <a:pt x="109" y="53"/>
                    <a:pt x="108" y="53"/>
                  </a:cubicBezTo>
                  <a:cubicBezTo>
                    <a:pt x="108" y="53"/>
                    <a:pt x="108" y="53"/>
                    <a:pt x="108" y="53"/>
                  </a:cubicBezTo>
                  <a:cubicBezTo>
                    <a:pt x="107" y="53"/>
                    <a:pt x="107" y="53"/>
                    <a:pt x="106" y="53"/>
                  </a:cubicBezTo>
                  <a:cubicBezTo>
                    <a:pt x="106" y="52"/>
                    <a:pt x="106" y="52"/>
                    <a:pt x="105" y="52"/>
                  </a:cubicBezTo>
                  <a:cubicBezTo>
                    <a:pt x="105" y="52"/>
                    <a:pt x="105" y="52"/>
                    <a:pt x="105" y="51"/>
                  </a:cubicBezTo>
                  <a:cubicBezTo>
                    <a:pt x="104" y="51"/>
                    <a:pt x="104" y="51"/>
                    <a:pt x="103" y="50"/>
                  </a:cubicBezTo>
                  <a:cubicBezTo>
                    <a:pt x="103" y="50"/>
                    <a:pt x="103" y="49"/>
                    <a:pt x="103" y="49"/>
                  </a:cubicBezTo>
                  <a:cubicBezTo>
                    <a:pt x="103" y="48"/>
                    <a:pt x="103" y="47"/>
                    <a:pt x="103" y="46"/>
                  </a:cubicBezTo>
                  <a:cubicBezTo>
                    <a:pt x="103" y="45"/>
                    <a:pt x="103" y="45"/>
                    <a:pt x="103" y="45"/>
                  </a:cubicBezTo>
                  <a:cubicBezTo>
                    <a:pt x="103" y="45"/>
                    <a:pt x="103" y="44"/>
                    <a:pt x="102" y="44"/>
                  </a:cubicBezTo>
                  <a:cubicBezTo>
                    <a:pt x="102" y="44"/>
                    <a:pt x="102" y="44"/>
                    <a:pt x="102" y="44"/>
                  </a:cubicBezTo>
                  <a:cubicBezTo>
                    <a:pt x="101" y="44"/>
                    <a:pt x="101" y="44"/>
                    <a:pt x="101" y="44"/>
                  </a:cubicBezTo>
                  <a:cubicBezTo>
                    <a:pt x="100" y="44"/>
                    <a:pt x="100" y="43"/>
                    <a:pt x="99" y="43"/>
                  </a:cubicBezTo>
                  <a:cubicBezTo>
                    <a:pt x="99" y="43"/>
                    <a:pt x="99" y="43"/>
                    <a:pt x="99" y="43"/>
                  </a:cubicBezTo>
                  <a:cubicBezTo>
                    <a:pt x="99" y="43"/>
                    <a:pt x="99" y="43"/>
                    <a:pt x="98" y="43"/>
                  </a:cubicBezTo>
                  <a:cubicBezTo>
                    <a:pt x="98" y="42"/>
                    <a:pt x="99" y="42"/>
                    <a:pt x="99" y="42"/>
                  </a:cubicBezTo>
                  <a:cubicBezTo>
                    <a:pt x="99" y="42"/>
                    <a:pt x="99" y="42"/>
                    <a:pt x="99" y="41"/>
                  </a:cubicBezTo>
                  <a:cubicBezTo>
                    <a:pt x="100" y="41"/>
                    <a:pt x="100" y="40"/>
                    <a:pt x="100" y="40"/>
                  </a:cubicBezTo>
                  <a:cubicBezTo>
                    <a:pt x="100" y="39"/>
                    <a:pt x="100" y="38"/>
                    <a:pt x="99" y="37"/>
                  </a:cubicBezTo>
                  <a:cubicBezTo>
                    <a:pt x="99" y="36"/>
                    <a:pt x="98" y="35"/>
                    <a:pt x="98" y="35"/>
                  </a:cubicBezTo>
                  <a:cubicBezTo>
                    <a:pt x="98" y="34"/>
                    <a:pt x="97" y="33"/>
                    <a:pt x="97" y="32"/>
                  </a:cubicBezTo>
                  <a:cubicBezTo>
                    <a:pt x="96" y="32"/>
                    <a:pt x="96" y="31"/>
                    <a:pt x="96" y="31"/>
                  </a:cubicBezTo>
                  <a:cubicBezTo>
                    <a:pt x="95" y="31"/>
                    <a:pt x="95" y="31"/>
                    <a:pt x="95" y="31"/>
                  </a:cubicBezTo>
                  <a:cubicBezTo>
                    <a:pt x="94" y="30"/>
                    <a:pt x="94" y="30"/>
                    <a:pt x="94" y="30"/>
                  </a:cubicBezTo>
                  <a:cubicBezTo>
                    <a:pt x="94" y="29"/>
                    <a:pt x="93" y="30"/>
                    <a:pt x="93" y="29"/>
                  </a:cubicBezTo>
                  <a:cubicBezTo>
                    <a:pt x="93" y="29"/>
                    <a:pt x="92" y="29"/>
                    <a:pt x="92" y="29"/>
                  </a:cubicBezTo>
                  <a:cubicBezTo>
                    <a:pt x="92" y="29"/>
                    <a:pt x="91" y="29"/>
                    <a:pt x="91" y="29"/>
                  </a:cubicBezTo>
                  <a:cubicBezTo>
                    <a:pt x="90" y="29"/>
                    <a:pt x="90" y="29"/>
                    <a:pt x="89" y="28"/>
                  </a:cubicBezTo>
                  <a:cubicBezTo>
                    <a:pt x="88" y="28"/>
                    <a:pt x="88" y="28"/>
                    <a:pt x="88" y="27"/>
                  </a:cubicBezTo>
                  <a:cubicBezTo>
                    <a:pt x="87" y="26"/>
                    <a:pt x="86" y="26"/>
                    <a:pt x="86" y="26"/>
                  </a:cubicBezTo>
                  <a:cubicBezTo>
                    <a:pt x="86" y="26"/>
                    <a:pt x="87" y="25"/>
                    <a:pt x="87" y="25"/>
                  </a:cubicBezTo>
                  <a:cubicBezTo>
                    <a:pt x="87" y="25"/>
                    <a:pt x="88" y="24"/>
                    <a:pt x="88" y="24"/>
                  </a:cubicBezTo>
                  <a:cubicBezTo>
                    <a:pt x="88" y="24"/>
                    <a:pt x="89" y="23"/>
                    <a:pt x="89" y="23"/>
                  </a:cubicBezTo>
                  <a:cubicBezTo>
                    <a:pt x="89" y="23"/>
                    <a:pt x="89" y="22"/>
                    <a:pt x="89" y="22"/>
                  </a:cubicBezTo>
                  <a:cubicBezTo>
                    <a:pt x="90" y="21"/>
                    <a:pt x="90" y="21"/>
                    <a:pt x="91" y="20"/>
                  </a:cubicBezTo>
                  <a:cubicBezTo>
                    <a:pt x="92" y="19"/>
                    <a:pt x="92" y="17"/>
                    <a:pt x="94" y="16"/>
                  </a:cubicBezTo>
                  <a:cubicBezTo>
                    <a:pt x="94" y="15"/>
                    <a:pt x="95" y="15"/>
                    <a:pt x="95" y="15"/>
                  </a:cubicBezTo>
                  <a:cubicBezTo>
                    <a:pt x="95" y="15"/>
                    <a:pt x="95" y="15"/>
                    <a:pt x="96" y="15"/>
                  </a:cubicBezTo>
                  <a:cubicBezTo>
                    <a:pt x="96" y="15"/>
                    <a:pt x="96" y="15"/>
                    <a:pt x="96" y="15"/>
                  </a:cubicBezTo>
                  <a:cubicBezTo>
                    <a:pt x="96" y="14"/>
                    <a:pt x="97" y="15"/>
                    <a:pt x="97" y="14"/>
                  </a:cubicBezTo>
                  <a:cubicBezTo>
                    <a:pt x="97" y="14"/>
                    <a:pt x="98" y="14"/>
                    <a:pt x="98" y="14"/>
                  </a:cubicBezTo>
                  <a:cubicBezTo>
                    <a:pt x="98" y="14"/>
                    <a:pt x="98" y="13"/>
                    <a:pt x="99" y="13"/>
                  </a:cubicBezTo>
                  <a:cubicBezTo>
                    <a:pt x="99" y="13"/>
                    <a:pt x="100" y="13"/>
                    <a:pt x="100" y="12"/>
                  </a:cubicBezTo>
                  <a:cubicBezTo>
                    <a:pt x="100" y="12"/>
                    <a:pt x="100" y="11"/>
                    <a:pt x="100" y="11"/>
                  </a:cubicBezTo>
                  <a:cubicBezTo>
                    <a:pt x="100" y="10"/>
                    <a:pt x="100" y="9"/>
                    <a:pt x="100" y="9"/>
                  </a:cubicBezTo>
                  <a:cubicBezTo>
                    <a:pt x="100" y="9"/>
                    <a:pt x="99" y="10"/>
                    <a:pt x="98" y="10"/>
                  </a:cubicBezTo>
                  <a:cubicBezTo>
                    <a:pt x="98" y="10"/>
                    <a:pt x="98" y="11"/>
                    <a:pt x="97" y="11"/>
                  </a:cubicBezTo>
                  <a:cubicBezTo>
                    <a:pt x="97" y="11"/>
                    <a:pt x="96" y="11"/>
                    <a:pt x="96" y="10"/>
                  </a:cubicBezTo>
                  <a:cubicBezTo>
                    <a:pt x="96" y="10"/>
                    <a:pt x="95" y="10"/>
                    <a:pt x="95" y="9"/>
                  </a:cubicBezTo>
                  <a:cubicBezTo>
                    <a:pt x="94" y="9"/>
                    <a:pt x="94" y="8"/>
                    <a:pt x="94" y="7"/>
                  </a:cubicBezTo>
                  <a:cubicBezTo>
                    <a:pt x="94" y="5"/>
                    <a:pt x="94" y="3"/>
                    <a:pt x="94" y="1"/>
                  </a:cubicBezTo>
                  <a:cubicBezTo>
                    <a:pt x="94" y="1"/>
                    <a:pt x="94" y="0"/>
                    <a:pt x="94" y="0"/>
                  </a:cubicBezTo>
                  <a:cubicBezTo>
                    <a:pt x="92" y="0"/>
                    <a:pt x="90" y="0"/>
                    <a:pt x="90" y="0"/>
                  </a:cubicBezTo>
                  <a:cubicBezTo>
                    <a:pt x="89" y="0"/>
                    <a:pt x="86" y="1"/>
                    <a:pt x="86" y="1"/>
                  </a:cubicBezTo>
                  <a:cubicBezTo>
                    <a:pt x="86" y="1"/>
                    <a:pt x="85" y="2"/>
                    <a:pt x="85" y="2"/>
                  </a:cubicBezTo>
                  <a:cubicBezTo>
                    <a:pt x="85" y="2"/>
                    <a:pt x="82" y="3"/>
                    <a:pt x="82" y="3"/>
                  </a:cubicBezTo>
                  <a:cubicBezTo>
                    <a:pt x="82" y="3"/>
                    <a:pt x="80" y="4"/>
                    <a:pt x="80" y="5"/>
                  </a:cubicBezTo>
                  <a:cubicBezTo>
                    <a:pt x="80" y="5"/>
                    <a:pt x="80" y="6"/>
                    <a:pt x="80" y="6"/>
                  </a:cubicBezTo>
                  <a:cubicBezTo>
                    <a:pt x="80" y="6"/>
                    <a:pt x="78" y="6"/>
                    <a:pt x="78" y="6"/>
                  </a:cubicBezTo>
                  <a:cubicBezTo>
                    <a:pt x="78" y="7"/>
                    <a:pt x="76" y="9"/>
                    <a:pt x="76" y="9"/>
                  </a:cubicBezTo>
                  <a:cubicBezTo>
                    <a:pt x="36" y="7"/>
                    <a:pt x="36" y="7"/>
                    <a:pt x="36" y="7"/>
                  </a:cubicBezTo>
                  <a:cubicBezTo>
                    <a:pt x="9" y="6"/>
                    <a:pt x="9" y="6"/>
                    <a:pt x="9" y="6"/>
                  </a:cubicBezTo>
                  <a:cubicBezTo>
                    <a:pt x="0" y="37"/>
                    <a:pt x="0" y="37"/>
                    <a:pt x="0" y="37"/>
                  </a:cubicBezTo>
                  <a:cubicBezTo>
                    <a:pt x="1" y="39"/>
                    <a:pt x="1" y="39"/>
                    <a:pt x="1" y="39"/>
                  </a:cubicBezTo>
                  <a:cubicBezTo>
                    <a:pt x="24" y="39"/>
                    <a:pt x="24" y="39"/>
                    <a:pt x="24" y="39"/>
                  </a:cubicBezTo>
                  <a:cubicBezTo>
                    <a:pt x="24" y="41"/>
                    <a:pt x="24" y="41"/>
                    <a:pt x="24" y="41"/>
                  </a:cubicBezTo>
                  <a:cubicBezTo>
                    <a:pt x="26" y="41"/>
                    <a:pt x="26" y="41"/>
                    <a:pt x="26" y="41"/>
                  </a:cubicBezTo>
                  <a:cubicBezTo>
                    <a:pt x="26" y="39"/>
                    <a:pt x="26" y="39"/>
                    <a:pt x="26" y="39"/>
                  </a:cubicBezTo>
                  <a:cubicBezTo>
                    <a:pt x="59" y="40"/>
                    <a:pt x="59" y="40"/>
                    <a:pt x="59" y="40"/>
                  </a:cubicBezTo>
                  <a:cubicBezTo>
                    <a:pt x="74" y="40"/>
                    <a:pt x="74" y="40"/>
                    <a:pt x="74" y="40"/>
                  </a:cubicBezTo>
                  <a:cubicBezTo>
                    <a:pt x="74" y="40"/>
                    <a:pt x="74" y="44"/>
                    <a:pt x="74" y="44"/>
                  </a:cubicBezTo>
                  <a:cubicBezTo>
                    <a:pt x="74" y="45"/>
                    <a:pt x="75" y="46"/>
                    <a:pt x="75" y="46"/>
                  </a:cubicBezTo>
                  <a:cubicBezTo>
                    <a:pt x="75" y="46"/>
                    <a:pt x="75" y="49"/>
                    <a:pt x="75" y="49"/>
                  </a:cubicBezTo>
                  <a:cubicBezTo>
                    <a:pt x="79" y="54"/>
                    <a:pt x="79" y="54"/>
                    <a:pt x="79" y="54"/>
                  </a:cubicBezTo>
                  <a:cubicBezTo>
                    <a:pt x="79" y="54"/>
                    <a:pt x="80" y="54"/>
                    <a:pt x="80" y="54"/>
                  </a:cubicBezTo>
                  <a:cubicBezTo>
                    <a:pt x="80" y="54"/>
                    <a:pt x="81" y="55"/>
                    <a:pt x="81" y="55"/>
                  </a:cubicBezTo>
                  <a:cubicBezTo>
                    <a:pt x="81" y="55"/>
                    <a:pt x="81" y="55"/>
                    <a:pt x="81" y="56"/>
                  </a:cubicBezTo>
                  <a:cubicBezTo>
                    <a:pt x="81" y="56"/>
                    <a:pt x="81" y="56"/>
                    <a:pt x="81" y="56"/>
                  </a:cubicBezTo>
                  <a:cubicBezTo>
                    <a:pt x="82" y="57"/>
                    <a:pt x="82" y="57"/>
                    <a:pt x="82" y="57"/>
                  </a:cubicBezTo>
                  <a:cubicBezTo>
                    <a:pt x="82" y="57"/>
                    <a:pt x="83" y="59"/>
                    <a:pt x="83" y="59"/>
                  </a:cubicBezTo>
                  <a:cubicBezTo>
                    <a:pt x="83" y="59"/>
                    <a:pt x="84" y="63"/>
                    <a:pt x="84" y="65"/>
                  </a:cubicBezTo>
                  <a:cubicBezTo>
                    <a:pt x="84" y="65"/>
                    <a:pt x="84" y="65"/>
                    <a:pt x="85" y="64"/>
                  </a:cubicBezTo>
                  <a:cubicBezTo>
                    <a:pt x="85" y="64"/>
                    <a:pt x="86" y="64"/>
                    <a:pt x="86" y="64"/>
                  </a:cubicBezTo>
                  <a:cubicBezTo>
                    <a:pt x="86" y="64"/>
                    <a:pt x="87" y="64"/>
                    <a:pt x="87" y="64"/>
                  </a:cubicBezTo>
                  <a:cubicBezTo>
                    <a:pt x="87" y="64"/>
                    <a:pt x="87" y="63"/>
                    <a:pt x="87" y="63"/>
                  </a:cubicBezTo>
                  <a:cubicBezTo>
                    <a:pt x="88" y="63"/>
                    <a:pt x="88" y="63"/>
                    <a:pt x="89" y="63"/>
                  </a:cubicBezTo>
                  <a:cubicBezTo>
                    <a:pt x="89" y="63"/>
                    <a:pt x="89" y="63"/>
                    <a:pt x="90" y="62"/>
                  </a:cubicBezTo>
                  <a:cubicBezTo>
                    <a:pt x="90" y="62"/>
                    <a:pt x="90" y="62"/>
                    <a:pt x="90" y="61"/>
                  </a:cubicBezTo>
                  <a:cubicBezTo>
                    <a:pt x="90" y="61"/>
                    <a:pt x="90" y="60"/>
                    <a:pt x="90" y="60"/>
                  </a:cubicBezTo>
                  <a:cubicBezTo>
                    <a:pt x="90" y="59"/>
                    <a:pt x="90" y="59"/>
                    <a:pt x="90" y="59"/>
                  </a:cubicBezTo>
                  <a:cubicBezTo>
                    <a:pt x="91" y="59"/>
                    <a:pt x="91" y="59"/>
                    <a:pt x="92" y="59"/>
                  </a:cubicBezTo>
                  <a:cubicBezTo>
                    <a:pt x="92" y="59"/>
                    <a:pt x="93" y="59"/>
                    <a:pt x="93" y="58"/>
                  </a:cubicBezTo>
                  <a:cubicBezTo>
                    <a:pt x="93" y="58"/>
                    <a:pt x="93" y="58"/>
                    <a:pt x="93" y="58"/>
                  </a:cubicBezTo>
                  <a:cubicBezTo>
                    <a:pt x="94" y="58"/>
                    <a:pt x="94" y="58"/>
                    <a:pt x="95" y="58"/>
                  </a:cubicBezTo>
                  <a:cubicBezTo>
                    <a:pt x="95" y="57"/>
                    <a:pt x="95" y="57"/>
                    <a:pt x="95" y="57"/>
                  </a:cubicBezTo>
                  <a:cubicBezTo>
                    <a:pt x="96" y="56"/>
                    <a:pt x="96" y="56"/>
                    <a:pt x="96" y="56"/>
                  </a:cubicBezTo>
                  <a:cubicBezTo>
                    <a:pt x="96" y="56"/>
                    <a:pt x="96" y="55"/>
                    <a:pt x="96" y="55"/>
                  </a:cubicBezTo>
                  <a:cubicBezTo>
                    <a:pt x="96" y="55"/>
                    <a:pt x="97" y="55"/>
                    <a:pt x="97" y="54"/>
                  </a:cubicBezTo>
                  <a:cubicBezTo>
                    <a:pt x="97" y="54"/>
                    <a:pt x="97" y="54"/>
                    <a:pt x="97" y="54"/>
                  </a:cubicBezTo>
                  <a:cubicBezTo>
                    <a:pt x="98" y="54"/>
                    <a:pt x="98" y="54"/>
                    <a:pt x="98" y="54"/>
                  </a:cubicBezTo>
                  <a:cubicBezTo>
                    <a:pt x="99" y="54"/>
                    <a:pt x="100" y="54"/>
                    <a:pt x="100" y="53"/>
                  </a:cubicBezTo>
                  <a:cubicBezTo>
                    <a:pt x="101" y="53"/>
                    <a:pt x="101" y="53"/>
                    <a:pt x="101" y="54"/>
                  </a:cubicBezTo>
                  <a:cubicBezTo>
                    <a:pt x="101" y="55"/>
                    <a:pt x="101" y="56"/>
                    <a:pt x="101" y="56"/>
                  </a:cubicBezTo>
                  <a:cubicBezTo>
                    <a:pt x="101" y="57"/>
                    <a:pt x="101" y="58"/>
                    <a:pt x="101" y="58"/>
                  </a:cubicBezTo>
                  <a:cubicBezTo>
                    <a:pt x="100" y="58"/>
                    <a:pt x="100" y="59"/>
                    <a:pt x="100" y="59"/>
                  </a:cubicBezTo>
                  <a:cubicBezTo>
                    <a:pt x="100" y="59"/>
                    <a:pt x="100" y="60"/>
                    <a:pt x="100" y="60"/>
                  </a:cubicBezTo>
                  <a:cubicBezTo>
                    <a:pt x="100" y="61"/>
                    <a:pt x="100" y="61"/>
                    <a:pt x="100" y="61"/>
                  </a:cubicBezTo>
                  <a:cubicBezTo>
                    <a:pt x="99" y="62"/>
                    <a:pt x="99" y="62"/>
                    <a:pt x="99" y="62"/>
                  </a:cubicBezTo>
                  <a:cubicBezTo>
                    <a:pt x="99" y="63"/>
                    <a:pt x="99" y="63"/>
                    <a:pt x="99" y="63"/>
                  </a:cubicBezTo>
                  <a:cubicBezTo>
                    <a:pt x="100" y="64"/>
                    <a:pt x="100" y="63"/>
                    <a:pt x="100" y="63"/>
                  </a:cubicBezTo>
                  <a:cubicBezTo>
                    <a:pt x="101" y="63"/>
                    <a:pt x="101" y="63"/>
                    <a:pt x="101" y="63"/>
                  </a:cubicBezTo>
                  <a:cubicBezTo>
                    <a:pt x="102" y="63"/>
                    <a:pt x="102" y="63"/>
                    <a:pt x="102" y="63"/>
                  </a:cubicBezTo>
                  <a:cubicBezTo>
                    <a:pt x="102" y="62"/>
                    <a:pt x="103" y="62"/>
                    <a:pt x="103" y="62"/>
                  </a:cubicBezTo>
                  <a:cubicBezTo>
                    <a:pt x="103" y="62"/>
                    <a:pt x="103" y="62"/>
                    <a:pt x="104" y="62"/>
                  </a:cubicBezTo>
                  <a:cubicBezTo>
                    <a:pt x="104" y="62"/>
                    <a:pt x="104" y="62"/>
                    <a:pt x="105" y="61"/>
                  </a:cubicBezTo>
                  <a:cubicBezTo>
                    <a:pt x="105" y="61"/>
                    <a:pt x="105" y="61"/>
                    <a:pt x="105" y="61"/>
                  </a:cubicBezTo>
                  <a:cubicBezTo>
                    <a:pt x="106" y="61"/>
                    <a:pt x="106" y="61"/>
                    <a:pt x="106" y="61"/>
                  </a:cubicBezTo>
                  <a:cubicBezTo>
                    <a:pt x="106" y="61"/>
                    <a:pt x="107" y="61"/>
                    <a:pt x="107" y="60"/>
                  </a:cubicBezTo>
                  <a:cubicBezTo>
                    <a:pt x="107" y="60"/>
                    <a:pt x="107" y="60"/>
                    <a:pt x="108" y="60"/>
                  </a:cubicBezTo>
                  <a:cubicBezTo>
                    <a:pt x="108" y="60"/>
                    <a:pt x="108" y="59"/>
                    <a:pt x="108" y="59"/>
                  </a:cubicBezTo>
                  <a:cubicBezTo>
                    <a:pt x="108" y="59"/>
                    <a:pt x="109" y="59"/>
                    <a:pt x="109" y="59"/>
                  </a:cubicBezTo>
                  <a:cubicBezTo>
                    <a:pt x="109" y="59"/>
                    <a:pt x="110" y="59"/>
                    <a:pt x="110" y="59"/>
                  </a:cubicBezTo>
                  <a:cubicBezTo>
                    <a:pt x="110" y="59"/>
                    <a:pt x="110" y="59"/>
                    <a:pt x="111" y="59"/>
                  </a:cubicBezTo>
                  <a:cubicBezTo>
                    <a:pt x="111" y="59"/>
                    <a:pt x="111" y="59"/>
                    <a:pt x="111" y="59"/>
                  </a:cubicBezTo>
                  <a:cubicBezTo>
                    <a:pt x="111" y="58"/>
                    <a:pt x="112" y="59"/>
                    <a:pt x="112" y="58"/>
                  </a:cubicBezTo>
                  <a:cubicBezTo>
                    <a:pt x="112" y="58"/>
                    <a:pt x="112" y="58"/>
                    <a:pt x="113" y="58"/>
                  </a:cubicBezTo>
                  <a:cubicBezTo>
                    <a:pt x="113" y="58"/>
                    <a:pt x="113" y="58"/>
                    <a:pt x="114" y="58"/>
                  </a:cubicBezTo>
                  <a:cubicBezTo>
                    <a:pt x="114" y="58"/>
                    <a:pt x="114" y="58"/>
                    <a:pt x="114" y="58"/>
                  </a:cubicBezTo>
                  <a:cubicBezTo>
                    <a:pt x="114" y="58"/>
                    <a:pt x="115" y="58"/>
                    <a:pt x="115" y="58"/>
                  </a:cubicBezTo>
                  <a:cubicBezTo>
                    <a:pt x="116" y="58"/>
                    <a:pt x="116" y="58"/>
                    <a:pt x="117" y="58"/>
                  </a:cubicBezTo>
                  <a:cubicBezTo>
                    <a:pt x="117" y="58"/>
                    <a:pt x="117" y="58"/>
                    <a:pt x="117" y="58"/>
                  </a:cubicBezTo>
                  <a:cubicBezTo>
                    <a:pt x="117" y="57"/>
                    <a:pt x="117" y="57"/>
                    <a:pt x="118" y="57"/>
                  </a:cubicBezTo>
                  <a:cubicBezTo>
                    <a:pt x="118" y="57"/>
                    <a:pt x="118" y="57"/>
                    <a:pt x="118" y="57"/>
                  </a:cubicBezTo>
                  <a:cubicBezTo>
                    <a:pt x="120" y="57"/>
                    <a:pt x="121" y="57"/>
                    <a:pt x="123" y="57"/>
                  </a:cubicBezTo>
                  <a:cubicBezTo>
                    <a:pt x="123" y="57"/>
                    <a:pt x="123" y="57"/>
                    <a:pt x="123" y="56"/>
                  </a:cubicBezTo>
                  <a:cubicBezTo>
                    <a:pt x="124" y="56"/>
                    <a:pt x="124" y="56"/>
                    <a:pt x="124" y="55"/>
                  </a:cubicBezTo>
                  <a:cubicBezTo>
                    <a:pt x="124" y="55"/>
                    <a:pt x="124" y="55"/>
                    <a:pt x="124" y="55"/>
                  </a:cubicBezTo>
                  <a:cubicBezTo>
                    <a:pt x="124" y="50"/>
                    <a:pt x="124" y="50"/>
                    <a:pt x="124" y="50"/>
                  </a:cubicBezTo>
                  <a:cubicBezTo>
                    <a:pt x="124" y="49"/>
                    <a:pt x="124" y="48"/>
                    <a:pt x="124" y="47"/>
                  </a:cubicBezTo>
                  <a:close/>
                </a:path>
              </a:pathLst>
            </a:custGeom>
            <a:solidFill>
              <a:srgbClr val="FF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5" name="Freeform 38">
              <a:extLst>
                <a:ext uri="{FF2B5EF4-FFF2-40B4-BE49-F238E27FC236}">
                  <a16:creationId xmlns:a16="http://schemas.microsoft.com/office/drawing/2014/main" id="{DB6BB0D9-FB93-E423-A39B-C3A7DF898A62}"/>
                </a:ext>
              </a:extLst>
            </p:cNvPr>
            <p:cNvSpPr>
              <a:spLocks noEditPoints="1"/>
            </p:cNvSpPr>
            <p:nvPr/>
          </p:nvSpPr>
          <p:spPr bwMode="auto">
            <a:xfrm>
              <a:off x="8707270" y="2740934"/>
              <a:ext cx="609664" cy="313919"/>
            </a:xfrm>
            <a:custGeom>
              <a:avLst/>
              <a:gdLst>
                <a:gd name="T0" fmla="*/ 151 w 154"/>
                <a:gd name="T1" fmla="*/ 62 h 79"/>
                <a:gd name="T2" fmla="*/ 148 w 154"/>
                <a:gd name="T3" fmla="*/ 67 h 79"/>
                <a:gd name="T4" fmla="*/ 145 w 154"/>
                <a:gd name="T5" fmla="*/ 71 h 79"/>
                <a:gd name="T6" fmla="*/ 141 w 154"/>
                <a:gd name="T7" fmla="*/ 76 h 79"/>
                <a:gd name="T8" fmla="*/ 127 w 154"/>
                <a:gd name="T9" fmla="*/ 75 h 79"/>
                <a:gd name="T10" fmla="*/ 123 w 154"/>
                <a:gd name="T11" fmla="*/ 69 h 79"/>
                <a:gd name="T12" fmla="*/ 127 w 154"/>
                <a:gd name="T13" fmla="*/ 57 h 79"/>
                <a:gd name="T14" fmla="*/ 123 w 154"/>
                <a:gd name="T15" fmla="*/ 66 h 79"/>
                <a:gd name="T16" fmla="*/ 118 w 154"/>
                <a:gd name="T17" fmla="*/ 66 h 79"/>
                <a:gd name="T18" fmla="*/ 111 w 154"/>
                <a:gd name="T19" fmla="*/ 59 h 79"/>
                <a:gd name="T20" fmla="*/ 113 w 154"/>
                <a:gd name="T21" fmla="*/ 52 h 79"/>
                <a:gd name="T22" fmla="*/ 116 w 154"/>
                <a:gd name="T23" fmla="*/ 50 h 79"/>
                <a:gd name="T24" fmla="*/ 121 w 154"/>
                <a:gd name="T25" fmla="*/ 49 h 79"/>
                <a:gd name="T26" fmla="*/ 114 w 154"/>
                <a:gd name="T27" fmla="*/ 46 h 79"/>
                <a:gd name="T28" fmla="*/ 111 w 154"/>
                <a:gd name="T29" fmla="*/ 41 h 79"/>
                <a:gd name="T30" fmla="*/ 116 w 154"/>
                <a:gd name="T31" fmla="*/ 38 h 79"/>
                <a:gd name="T32" fmla="*/ 115 w 154"/>
                <a:gd name="T33" fmla="*/ 32 h 79"/>
                <a:gd name="T34" fmla="*/ 113 w 154"/>
                <a:gd name="T35" fmla="*/ 30 h 79"/>
                <a:gd name="T36" fmla="*/ 113 w 154"/>
                <a:gd name="T37" fmla="*/ 22 h 79"/>
                <a:gd name="T38" fmla="*/ 117 w 154"/>
                <a:gd name="T39" fmla="*/ 17 h 79"/>
                <a:gd name="T40" fmla="*/ 123 w 154"/>
                <a:gd name="T41" fmla="*/ 16 h 79"/>
                <a:gd name="T42" fmla="*/ 123 w 154"/>
                <a:gd name="T43" fmla="*/ 10 h 79"/>
                <a:gd name="T44" fmla="*/ 122 w 154"/>
                <a:gd name="T45" fmla="*/ 7 h 79"/>
                <a:gd name="T46" fmla="*/ 117 w 154"/>
                <a:gd name="T47" fmla="*/ 11 h 79"/>
                <a:gd name="T48" fmla="*/ 112 w 154"/>
                <a:gd name="T49" fmla="*/ 18 h 79"/>
                <a:gd name="T50" fmla="*/ 108 w 154"/>
                <a:gd name="T51" fmla="*/ 16 h 79"/>
                <a:gd name="T52" fmla="*/ 106 w 154"/>
                <a:gd name="T53" fmla="*/ 23 h 79"/>
                <a:gd name="T54" fmla="*/ 102 w 154"/>
                <a:gd name="T55" fmla="*/ 23 h 79"/>
                <a:gd name="T56" fmla="*/ 106 w 154"/>
                <a:gd name="T57" fmla="*/ 31 h 79"/>
                <a:gd name="T58" fmla="*/ 102 w 154"/>
                <a:gd name="T59" fmla="*/ 35 h 79"/>
                <a:gd name="T60" fmla="*/ 102 w 154"/>
                <a:gd name="T61" fmla="*/ 43 h 79"/>
                <a:gd name="T62" fmla="*/ 103 w 154"/>
                <a:gd name="T63" fmla="*/ 52 h 79"/>
                <a:gd name="T64" fmla="*/ 107 w 154"/>
                <a:gd name="T65" fmla="*/ 62 h 79"/>
                <a:gd name="T66" fmla="*/ 99 w 154"/>
                <a:gd name="T67" fmla="*/ 55 h 79"/>
                <a:gd name="T68" fmla="*/ 109 w 154"/>
                <a:gd name="T69" fmla="*/ 69 h 79"/>
                <a:gd name="T70" fmla="*/ 105 w 154"/>
                <a:gd name="T71" fmla="*/ 70 h 79"/>
                <a:gd name="T72" fmla="*/ 98 w 154"/>
                <a:gd name="T73" fmla="*/ 65 h 79"/>
                <a:gd name="T74" fmla="*/ 92 w 154"/>
                <a:gd name="T75" fmla="*/ 63 h 79"/>
                <a:gd name="T76" fmla="*/ 86 w 154"/>
                <a:gd name="T77" fmla="*/ 60 h 79"/>
                <a:gd name="T78" fmla="*/ 82 w 154"/>
                <a:gd name="T79" fmla="*/ 50 h 79"/>
                <a:gd name="T80" fmla="*/ 86 w 154"/>
                <a:gd name="T81" fmla="*/ 39 h 79"/>
                <a:gd name="T82" fmla="*/ 78 w 154"/>
                <a:gd name="T83" fmla="*/ 33 h 79"/>
                <a:gd name="T84" fmla="*/ 70 w 154"/>
                <a:gd name="T85" fmla="*/ 22 h 79"/>
                <a:gd name="T86" fmla="*/ 59 w 154"/>
                <a:gd name="T87" fmla="*/ 11 h 79"/>
                <a:gd name="T88" fmla="*/ 57 w 154"/>
                <a:gd name="T89" fmla="*/ 5 h 79"/>
                <a:gd name="T90" fmla="*/ 44 w 154"/>
                <a:gd name="T91" fmla="*/ 1 h 79"/>
                <a:gd name="T92" fmla="*/ 36 w 154"/>
                <a:gd name="T93" fmla="*/ 6 h 79"/>
                <a:gd name="T94" fmla="*/ 28 w 154"/>
                <a:gd name="T95" fmla="*/ 7 h 79"/>
                <a:gd name="T96" fmla="*/ 23 w 154"/>
                <a:gd name="T97" fmla="*/ 7 h 79"/>
                <a:gd name="T98" fmla="*/ 14 w 154"/>
                <a:gd name="T99" fmla="*/ 11 h 79"/>
                <a:gd name="T100" fmla="*/ 5 w 154"/>
                <a:gd name="T101" fmla="*/ 19 h 79"/>
                <a:gd name="T102" fmla="*/ 109 w 154"/>
                <a:gd name="T103" fmla="*/ 39 h 79"/>
                <a:gd name="T104" fmla="*/ 110 w 154"/>
                <a:gd name="T105" fmla="*/ 3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79">
                  <a:moveTo>
                    <a:pt x="154" y="56"/>
                  </a:moveTo>
                  <a:cubicBezTo>
                    <a:pt x="154" y="57"/>
                    <a:pt x="153" y="57"/>
                    <a:pt x="152" y="57"/>
                  </a:cubicBezTo>
                  <a:cubicBezTo>
                    <a:pt x="152" y="58"/>
                    <a:pt x="152" y="58"/>
                    <a:pt x="151" y="58"/>
                  </a:cubicBezTo>
                  <a:cubicBezTo>
                    <a:pt x="151" y="58"/>
                    <a:pt x="150" y="58"/>
                    <a:pt x="150" y="59"/>
                  </a:cubicBezTo>
                  <a:cubicBezTo>
                    <a:pt x="150" y="60"/>
                    <a:pt x="150" y="60"/>
                    <a:pt x="151" y="61"/>
                  </a:cubicBezTo>
                  <a:cubicBezTo>
                    <a:pt x="151" y="61"/>
                    <a:pt x="151" y="61"/>
                    <a:pt x="151" y="62"/>
                  </a:cubicBezTo>
                  <a:cubicBezTo>
                    <a:pt x="151" y="62"/>
                    <a:pt x="151" y="62"/>
                    <a:pt x="151" y="62"/>
                  </a:cubicBezTo>
                  <a:cubicBezTo>
                    <a:pt x="151" y="63"/>
                    <a:pt x="151" y="63"/>
                    <a:pt x="151" y="63"/>
                  </a:cubicBezTo>
                  <a:cubicBezTo>
                    <a:pt x="151" y="64"/>
                    <a:pt x="151" y="65"/>
                    <a:pt x="150" y="66"/>
                  </a:cubicBezTo>
                  <a:cubicBezTo>
                    <a:pt x="150" y="66"/>
                    <a:pt x="149" y="66"/>
                    <a:pt x="149" y="67"/>
                  </a:cubicBezTo>
                  <a:cubicBezTo>
                    <a:pt x="149" y="67"/>
                    <a:pt x="149" y="68"/>
                    <a:pt x="148" y="68"/>
                  </a:cubicBezTo>
                  <a:cubicBezTo>
                    <a:pt x="148" y="68"/>
                    <a:pt x="148" y="67"/>
                    <a:pt x="148" y="67"/>
                  </a:cubicBezTo>
                  <a:cubicBezTo>
                    <a:pt x="147" y="67"/>
                    <a:pt x="147" y="67"/>
                    <a:pt x="147" y="67"/>
                  </a:cubicBezTo>
                  <a:cubicBezTo>
                    <a:pt x="147" y="67"/>
                    <a:pt x="147" y="67"/>
                    <a:pt x="147" y="67"/>
                  </a:cubicBezTo>
                  <a:cubicBezTo>
                    <a:pt x="147" y="67"/>
                    <a:pt x="146" y="67"/>
                    <a:pt x="146" y="67"/>
                  </a:cubicBezTo>
                  <a:cubicBezTo>
                    <a:pt x="146" y="68"/>
                    <a:pt x="146" y="68"/>
                    <a:pt x="146" y="69"/>
                  </a:cubicBezTo>
                  <a:cubicBezTo>
                    <a:pt x="146" y="69"/>
                    <a:pt x="146" y="70"/>
                    <a:pt x="146" y="70"/>
                  </a:cubicBezTo>
                  <a:cubicBezTo>
                    <a:pt x="146" y="70"/>
                    <a:pt x="145" y="71"/>
                    <a:pt x="145" y="71"/>
                  </a:cubicBezTo>
                  <a:cubicBezTo>
                    <a:pt x="145" y="71"/>
                    <a:pt x="145" y="71"/>
                    <a:pt x="145" y="72"/>
                  </a:cubicBezTo>
                  <a:cubicBezTo>
                    <a:pt x="145" y="72"/>
                    <a:pt x="145" y="72"/>
                    <a:pt x="144" y="72"/>
                  </a:cubicBezTo>
                  <a:cubicBezTo>
                    <a:pt x="144" y="72"/>
                    <a:pt x="144" y="72"/>
                    <a:pt x="144" y="73"/>
                  </a:cubicBezTo>
                  <a:cubicBezTo>
                    <a:pt x="143" y="73"/>
                    <a:pt x="143" y="73"/>
                    <a:pt x="143" y="74"/>
                  </a:cubicBezTo>
                  <a:cubicBezTo>
                    <a:pt x="143" y="74"/>
                    <a:pt x="143" y="74"/>
                    <a:pt x="142" y="74"/>
                  </a:cubicBezTo>
                  <a:cubicBezTo>
                    <a:pt x="142" y="75"/>
                    <a:pt x="142" y="75"/>
                    <a:pt x="141" y="76"/>
                  </a:cubicBezTo>
                  <a:cubicBezTo>
                    <a:pt x="134" y="76"/>
                    <a:pt x="134" y="76"/>
                    <a:pt x="134" y="76"/>
                  </a:cubicBezTo>
                  <a:cubicBezTo>
                    <a:pt x="132" y="79"/>
                    <a:pt x="132" y="79"/>
                    <a:pt x="132" y="79"/>
                  </a:cubicBezTo>
                  <a:cubicBezTo>
                    <a:pt x="131" y="78"/>
                    <a:pt x="130" y="78"/>
                    <a:pt x="129" y="78"/>
                  </a:cubicBezTo>
                  <a:cubicBezTo>
                    <a:pt x="129" y="78"/>
                    <a:pt x="128" y="78"/>
                    <a:pt x="128" y="79"/>
                  </a:cubicBezTo>
                  <a:cubicBezTo>
                    <a:pt x="127" y="79"/>
                    <a:pt x="126" y="79"/>
                    <a:pt x="126" y="79"/>
                  </a:cubicBezTo>
                  <a:cubicBezTo>
                    <a:pt x="125" y="77"/>
                    <a:pt x="127" y="76"/>
                    <a:pt x="127" y="75"/>
                  </a:cubicBezTo>
                  <a:cubicBezTo>
                    <a:pt x="128" y="75"/>
                    <a:pt x="128" y="74"/>
                    <a:pt x="128" y="74"/>
                  </a:cubicBezTo>
                  <a:cubicBezTo>
                    <a:pt x="127" y="74"/>
                    <a:pt x="126" y="74"/>
                    <a:pt x="126" y="73"/>
                  </a:cubicBezTo>
                  <a:cubicBezTo>
                    <a:pt x="126" y="72"/>
                    <a:pt x="128" y="72"/>
                    <a:pt x="127" y="71"/>
                  </a:cubicBezTo>
                  <a:cubicBezTo>
                    <a:pt x="126" y="70"/>
                    <a:pt x="126" y="71"/>
                    <a:pt x="125" y="71"/>
                  </a:cubicBezTo>
                  <a:cubicBezTo>
                    <a:pt x="125" y="72"/>
                    <a:pt x="124" y="72"/>
                    <a:pt x="123" y="71"/>
                  </a:cubicBezTo>
                  <a:cubicBezTo>
                    <a:pt x="122" y="71"/>
                    <a:pt x="123" y="70"/>
                    <a:pt x="123" y="69"/>
                  </a:cubicBezTo>
                  <a:cubicBezTo>
                    <a:pt x="123" y="69"/>
                    <a:pt x="123" y="69"/>
                    <a:pt x="124" y="68"/>
                  </a:cubicBezTo>
                  <a:cubicBezTo>
                    <a:pt x="124" y="68"/>
                    <a:pt x="124" y="68"/>
                    <a:pt x="124" y="67"/>
                  </a:cubicBezTo>
                  <a:cubicBezTo>
                    <a:pt x="124" y="66"/>
                    <a:pt x="124" y="65"/>
                    <a:pt x="124" y="64"/>
                  </a:cubicBezTo>
                  <a:cubicBezTo>
                    <a:pt x="124" y="63"/>
                    <a:pt x="125" y="63"/>
                    <a:pt x="125" y="62"/>
                  </a:cubicBezTo>
                  <a:cubicBezTo>
                    <a:pt x="126" y="61"/>
                    <a:pt x="126" y="60"/>
                    <a:pt x="126" y="59"/>
                  </a:cubicBezTo>
                  <a:cubicBezTo>
                    <a:pt x="126" y="59"/>
                    <a:pt x="126" y="58"/>
                    <a:pt x="127" y="57"/>
                  </a:cubicBezTo>
                  <a:cubicBezTo>
                    <a:pt x="127" y="57"/>
                    <a:pt x="127" y="57"/>
                    <a:pt x="127" y="57"/>
                  </a:cubicBezTo>
                  <a:cubicBezTo>
                    <a:pt x="127" y="56"/>
                    <a:pt x="126" y="58"/>
                    <a:pt x="126" y="58"/>
                  </a:cubicBezTo>
                  <a:cubicBezTo>
                    <a:pt x="126" y="59"/>
                    <a:pt x="125" y="59"/>
                    <a:pt x="125" y="60"/>
                  </a:cubicBezTo>
                  <a:cubicBezTo>
                    <a:pt x="125" y="61"/>
                    <a:pt x="125" y="62"/>
                    <a:pt x="124" y="62"/>
                  </a:cubicBezTo>
                  <a:cubicBezTo>
                    <a:pt x="124" y="63"/>
                    <a:pt x="123" y="64"/>
                    <a:pt x="123" y="65"/>
                  </a:cubicBezTo>
                  <a:cubicBezTo>
                    <a:pt x="123" y="65"/>
                    <a:pt x="123" y="66"/>
                    <a:pt x="123" y="66"/>
                  </a:cubicBezTo>
                  <a:cubicBezTo>
                    <a:pt x="122" y="66"/>
                    <a:pt x="122" y="66"/>
                    <a:pt x="122" y="65"/>
                  </a:cubicBezTo>
                  <a:cubicBezTo>
                    <a:pt x="122" y="65"/>
                    <a:pt x="122" y="65"/>
                    <a:pt x="121" y="65"/>
                  </a:cubicBezTo>
                  <a:cubicBezTo>
                    <a:pt x="121" y="64"/>
                    <a:pt x="120" y="64"/>
                    <a:pt x="120" y="65"/>
                  </a:cubicBezTo>
                  <a:cubicBezTo>
                    <a:pt x="120" y="65"/>
                    <a:pt x="120" y="66"/>
                    <a:pt x="119" y="67"/>
                  </a:cubicBezTo>
                  <a:cubicBezTo>
                    <a:pt x="119" y="67"/>
                    <a:pt x="118" y="67"/>
                    <a:pt x="118" y="66"/>
                  </a:cubicBezTo>
                  <a:cubicBezTo>
                    <a:pt x="118" y="66"/>
                    <a:pt x="118" y="66"/>
                    <a:pt x="118" y="66"/>
                  </a:cubicBezTo>
                  <a:cubicBezTo>
                    <a:pt x="118" y="66"/>
                    <a:pt x="117" y="65"/>
                    <a:pt x="117" y="65"/>
                  </a:cubicBezTo>
                  <a:cubicBezTo>
                    <a:pt x="116" y="64"/>
                    <a:pt x="115" y="63"/>
                    <a:pt x="115" y="62"/>
                  </a:cubicBezTo>
                  <a:cubicBezTo>
                    <a:pt x="115" y="62"/>
                    <a:pt x="115" y="61"/>
                    <a:pt x="114" y="61"/>
                  </a:cubicBezTo>
                  <a:cubicBezTo>
                    <a:pt x="114" y="60"/>
                    <a:pt x="114" y="60"/>
                    <a:pt x="114" y="61"/>
                  </a:cubicBezTo>
                  <a:cubicBezTo>
                    <a:pt x="113" y="61"/>
                    <a:pt x="112" y="61"/>
                    <a:pt x="112" y="60"/>
                  </a:cubicBezTo>
                  <a:cubicBezTo>
                    <a:pt x="111" y="60"/>
                    <a:pt x="111" y="60"/>
                    <a:pt x="111" y="59"/>
                  </a:cubicBezTo>
                  <a:cubicBezTo>
                    <a:pt x="111" y="58"/>
                    <a:pt x="110" y="58"/>
                    <a:pt x="110" y="57"/>
                  </a:cubicBezTo>
                  <a:cubicBezTo>
                    <a:pt x="110" y="57"/>
                    <a:pt x="110" y="56"/>
                    <a:pt x="110" y="55"/>
                  </a:cubicBezTo>
                  <a:cubicBezTo>
                    <a:pt x="110" y="55"/>
                    <a:pt x="111" y="55"/>
                    <a:pt x="111" y="55"/>
                  </a:cubicBezTo>
                  <a:cubicBezTo>
                    <a:pt x="111" y="55"/>
                    <a:pt x="112" y="55"/>
                    <a:pt x="112" y="55"/>
                  </a:cubicBezTo>
                  <a:cubicBezTo>
                    <a:pt x="112" y="54"/>
                    <a:pt x="113" y="54"/>
                    <a:pt x="114" y="54"/>
                  </a:cubicBezTo>
                  <a:cubicBezTo>
                    <a:pt x="114" y="53"/>
                    <a:pt x="113" y="53"/>
                    <a:pt x="113" y="52"/>
                  </a:cubicBezTo>
                  <a:cubicBezTo>
                    <a:pt x="113" y="52"/>
                    <a:pt x="113" y="52"/>
                    <a:pt x="113" y="52"/>
                  </a:cubicBezTo>
                  <a:cubicBezTo>
                    <a:pt x="113" y="51"/>
                    <a:pt x="113" y="51"/>
                    <a:pt x="113" y="51"/>
                  </a:cubicBezTo>
                  <a:cubicBezTo>
                    <a:pt x="112" y="51"/>
                    <a:pt x="112" y="50"/>
                    <a:pt x="112" y="50"/>
                  </a:cubicBezTo>
                  <a:cubicBezTo>
                    <a:pt x="113" y="50"/>
                    <a:pt x="113" y="49"/>
                    <a:pt x="114" y="49"/>
                  </a:cubicBezTo>
                  <a:cubicBezTo>
                    <a:pt x="115" y="49"/>
                    <a:pt x="115" y="49"/>
                    <a:pt x="116" y="49"/>
                  </a:cubicBezTo>
                  <a:cubicBezTo>
                    <a:pt x="116" y="50"/>
                    <a:pt x="116" y="50"/>
                    <a:pt x="116" y="50"/>
                  </a:cubicBezTo>
                  <a:cubicBezTo>
                    <a:pt x="116" y="50"/>
                    <a:pt x="116" y="50"/>
                    <a:pt x="117" y="51"/>
                  </a:cubicBezTo>
                  <a:cubicBezTo>
                    <a:pt x="118" y="51"/>
                    <a:pt x="119" y="52"/>
                    <a:pt x="120" y="51"/>
                  </a:cubicBezTo>
                  <a:cubicBezTo>
                    <a:pt x="121" y="51"/>
                    <a:pt x="122" y="51"/>
                    <a:pt x="122" y="50"/>
                  </a:cubicBezTo>
                  <a:cubicBezTo>
                    <a:pt x="122" y="50"/>
                    <a:pt x="123" y="49"/>
                    <a:pt x="123" y="49"/>
                  </a:cubicBezTo>
                  <a:cubicBezTo>
                    <a:pt x="123" y="49"/>
                    <a:pt x="123" y="48"/>
                    <a:pt x="122" y="48"/>
                  </a:cubicBezTo>
                  <a:cubicBezTo>
                    <a:pt x="122" y="48"/>
                    <a:pt x="121" y="49"/>
                    <a:pt x="121" y="49"/>
                  </a:cubicBezTo>
                  <a:cubicBezTo>
                    <a:pt x="121" y="50"/>
                    <a:pt x="121" y="50"/>
                    <a:pt x="120" y="51"/>
                  </a:cubicBezTo>
                  <a:cubicBezTo>
                    <a:pt x="120" y="51"/>
                    <a:pt x="119" y="51"/>
                    <a:pt x="118" y="50"/>
                  </a:cubicBezTo>
                  <a:cubicBezTo>
                    <a:pt x="118" y="50"/>
                    <a:pt x="117" y="49"/>
                    <a:pt x="116" y="49"/>
                  </a:cubicBezTo>
                  <a:cubicBezTo>
                    <a:pt x="116" y="49"/>
                    <a:pt x="116" y="48"/>
                    <a:pt x="116" y="48"/>
                  </a:cubicBezTo>
                  <a:cubicBezTo>
                    <a:pt x="115" y="48"/>
                    <a:pt x="115" y="48"/>
                    <a:pt x="114" y="47"/>
                  </a:cubicBezTo>
                  <a:cubicBezTo>
                    <a:pt x="114" y="47"/>
                    <a:pt x="114" y="47"/>
                    <a:pt x="114" y="46"/>
                  </a:cubicBezTo>
                  <a:cubicBezTo>
                    <a:pt x="114" y="46"/>
                    <a:pt x="114" y="46"/>
                    <a:pt x="113" y="45"/>
                  </a:cubicBezTo>
                  <a:cubicBezTo>
                    <a:pt x="113" y="45"/>
                    <a:pt x="113" y="44"/>
                    <a:pt x="113" y="44"/>
                  </a:cubicBezTo>
                  <a:cubicBezTo>
                    <a:pt x="112" y="43"/>
                    <a:pt x="112" y="45"/>
                    <a:pt x="111" y="45"/>
                  </a:cubicBezTo>
                  <a:cubicBezTo>
                    <a:pt x="110" y="45"/>
                    <a:pt x="110" y="45"/>
                    <a:pt x="110" y="44"/>
                  </a:cubicBezTo>
                  <a:cubicBezTo>
                    <a:pt x="110" y="44"/>
                    <a:pt x="110" y="43"/>
                    <a:pt x="110" y="43"/>
                  </a:cubicBezTo>
                  <a:cubicBezTo>
                    <a:pt x="110" y="42"/>
                    <a:pt x="110" y="42"/>
                    <a:pt x="111" y="41"/>
                  </a:cubicBezTo>
                  <a:cubicBezTo>
                    <a:pt x="111" y="41"/>
                    <a:pt x="112" y="41"/>
                    <a:pt x="113" y="41"/>
                  </a:cubicBezTo>
                  <a:cubicBezTo>
                    <a:pt x="113" y="41"/>
                    <a:pt x="114" y="42"/>
                    <a:pt x="114" y="42"/>
                  </a:cubicBezTo>
                  <a:cubicBezTo>
                    <a:pt x="114" y="41"/>
                    <a:pt x="115" y="41"/>
                    <a:pt x="115" y="41"/>
                  </a:cubicBezTo>
                  <a:cubicBezTo>
                    <a:pt x="115" y="40"/>
                    <a:pt x="115" y="40"/>
                    <a:pt x="115" y="39"/>
                  </a:cubicBezTo>
                  <a:cubicBezTo>
                    <a:pt x="115" y="39"/>
                    <a:pt x="115" y="39"/>
                    <a:pt x="115" y="38"/>
                  </a:cubicBezTo>
                  <a:cubicBezTo>
                    <a:pt x="115" y="38"/>
                    <a:pt x="116" y="38"/>
                    <a:pt x="116" y="38"/>
                  </a:cubicBezTo>
                  <a:cubicBezTo>
                    <a:pt x="116" y="37"/>
                    <a:pt x="115" y="37"/>
                    <a:pt x="115" y="37"/>
                  </a:cubicBezTo>
                  <a:cubicBezTo>
                    <a:pt x="114" y="36"/>
                    <a:pt x="114" y="36"/>
                    <a:pt x="114" y="36"/>
                  </a:cubicBezTo>
                  <a:cubicBezTo>
                    <a:pt x="114" y="36"/>
                    <a:pt x="113" y="35"/>
                    <a:pt x="113" y="35"/>
                  </a:cubicBezTo>
                  <a:cubicBezTo>
                    <a:pt x="113" y="35"/>
                    <a:pt x="113" y="34"/>
                    <a:pt x="113" y="34"/>
                  </a:cubicBezTo>
                  <a:cubicBezTo>
                    <a:pt x="114" y="33"/>
                    <a:pt x="114" y="34"/>
                    <a:pt x="114" y="34"/>
                  </a:cubicBezTo>
                  <a:cubicBezTo>
                    <a:pt x="115" y="33"/>
                    <a:pt x="114" y="33"/>
                    <a:pt x="115" y="32"/>
                  </a:cubicBezTo>
                  <a:cubicBezTo>
                    <a:pt x="115" y="32"/>
                    <a:pt x="115" y="32"/>
                    <a:pt x="115" y="31"/>
                  </a:cubicBezTo>
                  <a:cubicBezTo>
                    <a:pt x="115" y="31"/>
                    <a:pt x="115" y="31"/>
                    <a:pt x="115" y="30"/>
                  </a:cubicBezTo>
                  <a:cubicBezTo>
                    <a:pt x="115" y="30"/>
                    <a:pt x="115" y="30"/>
                    <a:pt x="116" y="30"/>
                  </a:cubicBezTo>
                  <a:cubicBezTo>
                    <a:pt x="116" y="30"/>
                    <a:pt x="116" y="29"/>
                    <a:pt x="116" y="29"/>
                  </a:cubicBezTo>
                  <a:cubicBezTo>
                    <a:pt x="115" y="29"/>
                    <a:pt x="115" y="29"/>
                    <a:pt x="115" y="29"/>
                  </a:cubicBezTo>
                  <a:cubicBezTo>
                    <a:pt x="115" y="30"/>
                    <a:pt x="114" y="30"/>
                    <a:pt x="113" y="30"/>
                  </a:cubicBezTo>
                  <a:cubicBezTo>
                    <a:pt x="113" y="29"/>
                    <a:pt x="113" y="29"/>
                    <a:pt x="113" y="29"/>
                  </a:cubicBezTo>
                  <a:cubicBezTo>
                    <a:pt x="113" y="28"/>
                    <a:pt x="113" y="28"/>
                    <a:pt x="113" y="28"/>
                  </a:cubicBezTo>
                  <a:cubicBezTo>
                    <a:pt x="112" y="28"/>
                    <a:pt x="112" y="28"/>
                    <a:pt x="112" y="27"/>
                  </a:cubicBezTo>
                  <a:cubicBezTo>
                    <a:pt x="112" y="27"/>
                    <a:pt x="112" y="25"/>
                    <a:pt x="112" y="25"/>
                  </a:cubicBezTo>
                  <a:cubicBezTo>
                    <a:pt x="112" y="24"/>
                    <a:pt x="113" y="24"/>
                    <a:pt x="113" y="24"/>
                  </a:cubicBezTo>
                  <a:cubicBezTo>
                    <a:pt x="113" y="23"/>
                    <a:pt x="113" y="22"/>
                    <a:pt x="113" y="22"/>
                  </a:cubicBezTo>
                  <a:cubicBezTo>
                    <a:pt x="113" y="21"/>
                    <a:pt x="114" y="21"/>
                    <a:pt x="114" y="20"/>
                  </a:cubicBezTo>
                  <a:cubicBezTo>
                    <a:pt x="115" y="20"/>
                    <a:pt x="115" y="19"/>
                    <a:pt x="115" y="19"/>
                  </a:cubicBezTo>
                  <a:cubicBezTo>
                    <a:pt x="115" y="18"/>
                    <a:pt x="116" y="18"/>
                    <a:pt x="116" y="18"/>
                  </a:cubicBezTo>
                  <a:cubicBezTo>
                    <a:pt x="116" y="18"/>
                    <a:pt x="116" y="17"/>
                    <a:pt x="117" y="17"/>
                  </a:cubicBezTo>
                  <a:cubicBezTo>
                    <a:pt x="117" y="17"/>
                    <a:pt x="117" y="16"/>
                    <a:pt x="117" y="16"/>
                  </a:cubicBezTo>
                  <a:cubicBezTo>
                    <a:pt x="117" y="16"/>
                    <a:pt x="117" y="16"/>
                    <a:pt x="117" y="17"/>
                  </a:cubicBezTo>
                  <a:cubicBezTo>
                    <a:pt x="118" y="17"/>
                    <a:pt x="119" y="17"/>
                    <a:pt x="120" y="17"/>
                  </a:cubicBezTo>
                  <a:cubicBezTo>
                    <a:pt x="120" y="17"/>
                    <a:pt x="120" y="17"/>
                    <a:pt x="121" y="17"/>
                  </a:cubicBezTo>
                  <a:cubicBezTo>
                    <a:pt x="121" y="18"/>
                    <a:pt x="122" y="18"/>
                    <a:pt x="123" y="17"/>
                  </a:cubicBezTo>
                  <a:cubicBezTo>
                    <a:pt x="123" y="17"/>
                    <a:pt x="124" y="17"/>
                    <a:pt x="124" y="17"/>
                  </a:cubicBezTo>
                  <a:cubicBezTo>
                    <a:pt x="125" y="17"/>
                    <a:pt x="126" y="17"/>
                    <a:pt x="126" y="16"/>
                  </a:cubicBezTo>
                  <a:cubicBezTo>
                    <a:pt x="125" y="16"/>
                    <a:pt x="123" y="16"/>
                    <a:pt x="123" y="16"/>
                  </a:cubicBezTo>
                  <a:cubicBezTo>
                    <a:pt x="123" y="16"/>
                    <a:pt x="121" y="16"/>
                    <a:pt x="121" y="16"/>
                  </a:cubicBezTo>
                  <a:cubicBezTo>
                    <a:pt x="120" y="16"/>
                    <a:pt x="121" y="15"/>
                    <a:pt x="121" y="14"/>
                  </a:cubicBezTo>
                  <a:cubicBezTo>
                    <a:pt x="122" y="13"/>
                    <a:pt x="123" y="12"/>
                    <a:pt x="124" y="11"/>
                  </a:cubicBezTo>
                  <a:cubicBezTo>
                    <a:pt x="125" y="10"/>
                    <a:pt x="125" y="9"/>
                    <a:pt x="125" y="8"/>
                  </a:cubicBezTo>
                  <a:cubicBezTo>
                    <a:pt x="126" y="7"/>
                    <a:pt x="124" y="9"/>
                    <a:pt x="124" y="9"/>
                  </a:cubicBezTo>
                  <a:cubicBezTo>
                    <a:pt x="124" y="9"/>
                    <a:pt x="123" y="10"/>
                    <a:pt x="123" y="10"/>
                  </a:cubicBezTo>
                  <a:cubicBezTo>
                    <a:pt x="123" y="10"/>
                    <a:pt x="122" y="11"/>
                    <a:pt x="122" y="11"/>
                  </a:cubicBezTo>
                  <a:cubicBezTo>
                    <a:pt x="122" y="11"/>
                    <a:pt x="121" y="11"/>
                    <a:pt x="121" y="11"/>
                  </a:cubicBezTo>
                  <a:cubicBezTo>
                    <a:pt x="121" y="10"/>
                    <a:pt x="122" y="10"/>
                    <a:pt x="122" y="10"/>
                  </a:cubicBezTo>
                  <a:cubicBezTo>
                    <a:pt x="122" y="9"/>
                    <a:pt x="122" y="9"/>
                    <a:pt x="122" y="8"/>
                  </a:cubicBezTo>
                  <a:cubicBezTo>
                    <a:pt x="122" y="8"/>
                    <a:pt x="122" y="8"/>
                    <a:pt x="122" y="8"/>
                  </a:cubicBezTo>
                  <a:cubicBezTo>
                    <a:pt x="123" y="7"/>
                    <a:pt x="123" y="7"/>
                    <a:pt x="122" y="7"/>
                  </a:cubicBezTo>
                  <a:cubicBezTo>
                    <a:pt x="122" y="7"/>
                    <a:pt x="122" y="7"/>
                    <a:pt x="121" y="7"/>
                  </a:cubicBezTo>
                  <a:cubicBezTo>
                    <a:pt x="121" y="7"/>
                    <a:pt x="121" y="7"/>
                    <a:pt x="121" y="8"/>
                  </a:cubicBezTo>
                  <a:cubicBezTo>
                    <a:pt x="121" y="8"/>
                    <a:pt x="120" y="8"/>
                    <a:pt x="120" y="8"/>
                  </a:cubicBezTo>
                  <a:cubicBezTo>
                    <a:pt x="119" y="8"/>
                    <a:pt x="119" y="8"/>
                    <a:pt x="119" y="8"/>
                  </a:cubicBezTo>
                  <a:cubicBezTo>
                    <a:pt x="119" y="9"/>
                    <a:pt x="118" y="9"/>
                    <a:pt x="118" y="9"/>
                  </a:cubicBezTo>
                  <a:cubicBezTo>
                    <a:pt x="117" y="10"/>
                    <a:pt x="117" y="10"/>
                    <a:pt x="117" y="11"/>
                  </a:cubicBezTo>
                  <a:cubicBezTo>
                    <a:pt x="117" y="12"/>
                    <a:pt x="118" y="13"/>
                    <a:pt x="117" y="14"/>
                  </a:cubicBezTo>
                  <a:cubicBezTo>
                    <a:pt x="117" y="14"/>
                    <a:pt x="116" y="14"/>
                    <a:pt x="116" y="15"/>
                  </a:cubicBezTo>
                  <a:cubicBezTo>
                    <a:pt x="116" y="15"/>
                    <a:pt x="116" y="15"/>
                    <a:pt x="115" y="15"/>
                  </a:cubicBezTo>
                  <a:cubicBezTo>
                    <a:pt x="115" y="15"/>
                    <a:pt x="115" y="15"/>
                    <a:pt x="115" y="15"/>
                  </a:cubicBezTo>
                  <a:cubicBezTo>
                    <a:pt x="114" y="16"/>
                    <a:pt x="114" y="16"/>
                    <a:pt x="113" y="16"/>
                  </a:cubicBezTo>
                  <a:cubicBezTo>
                    <a:pt x="113" y="17"/>
                    <a:pt x="112" y="17"/>
                    <a:pt x="112" y="18"/>
                  </a:cubicBezTo>
                  <a:cubicBezTo>
                    <a:pt x="112" y="18"/>
                    <a:pt x="112" y="18"/>
                    <a:pt x="112" y="18"/>
                  </a:cubicBezTo>
                  <a:cubicBezTo>
                    <a:pt x="111" y="18"/>
                    <a:pt x="112" y="18"/>
                    <a:pt x="111" y="18"/>
                  </a:cubicBezTo>
                  <a:cubicBezTo>
                    <a:pt x="111" y="18"/>
                    <a:pt x="111" y="18"/>
                    <a:pt x="111" y="18"/>
                  </a:cubicBezTo>
                  <a:cubicBezTo>
                    <a:pt x="110" y="17"/>
                    <a:pt x="110" y="17"/>
                    <a:pt x="110" y="17"/>
                  </a:cubicBezTo>
                  <a:cubicBezTo>
                    <a:pt x="110" y="16"/>
                    <a:pt x="110" y="16"/>
                    <a:pt x="109" y="15"/>
                  </a:cubicBezTo>
                  <a:cubicBezTo>
                    <a:pt x="109" y="15"/>
                    <a:pt x="108" y="15"/>
                    <a:pt x="108" y="16"/>
                  </a:cubicBezTo>
                  <a:cubicBezTo>
                    <a:pt x="108" y="16"/>
                    <a:pt x="109" y="16"/>
                    <a:pt x="109" y="17"/>
                  </a:cubicBezTo>
                  <a:cubicBezTo>
                    <a:pt x="109" y="17"/>
                    <a:pt x="109" y="18"/>
                    <a:pt x="109" y="18"/>
                  </a:cubicBezTo>
                  <a:cubicBezTo>
                    <a:pt x="109" y="19"/>
                    <a:pt x="109" y="20"/>
                    <a:pt x="108" y="20"/>
                  </a:cubicBezTo>
                  <a:cubicBezTo>
                    <a:pt x="108" y="21"/>
                    <a:pt x="107" y="21"/>
                    <a:pt x="107" y="22"/>
                  </a:cubicBezTo>
                  <a:cubicBezTo>
                    <a:pt x="107" y="22"/>
                    <a:pt x="107" y="22"/>
                    <a:pt x="107" y="22"/>
                  </a:cubicBezTo>
                  <a:cubicBezTo>
                    <a:pt x="106" y="23"/>
                    <a:pt x="106" y="23"/>
                    <a:pt x="106" y="23"/>
                  </a:cubicBezTo>
                  <a:cubicBezTo>
                    <a:pt x="106" y="23"/>
                    <a:pt x="106" y="24"/>
                    <a:pt x="105" y="24"/>
                  </a:cubicBezTo>
                  <a:cubicBezTo>
                    <a:pt x="105" y="24"/>
                    <a:pt x="105" y="23"/>
                    <a:pt x="104" y="23"/>
                  </a:cubicBezTo>
                  <a:cubicBezTo>
                    <a:pt x="104" y="23"/>
                    <a:pt x="104" y="23"/>
                    <a:pt x="103" y="23"/>
                  </a:cubicBezTo>
                  <a:cubicBezTo>
                    <a:pt x="103" y="23"/>
                    <a:pt x="103" y="22"/>
                    <a:pt x="102" y="22"/>
                  </a:cubicBezTo>
                  <a:cubicBezTo>
                    <a:pt x="102" y="22"/>
                    <a:pt x="101" y="22"/>
                    <a:pt x="101" y="23"/>
                  </a:cubicBezTo>
                  <a:cubicBezTo>
                    <a:pt x="101" y="23"/>
                    <a:pt x="101" y="23"/>
                    <a:pt x="102" y="23"/>
                  </a:cubicBezTo>
                  <a:cubicBezTo>
                    <a:pt x="102" y="23"/>
                    <a:pt x="102" y="24"/>
                    <a:pt x="102" y="24"/>
                  </a:cubicBezTo>
                  <a:cubicBezTo>
                    <a:pt x="103" y="24"/>
                    <a:pt x="103" y="25"/>
                    <a:pt x="103" y="25"/>
                  </a:cubicBezTo>
                  <a:cubicBezTo>
                    <a:pt x="104" y="26"/>
                    <a:pt x="104" y="26"/>
                    <a:pt x="104" y="26"/>
                  </a:cubicBezTo>
                  <a:cubicBezTo>
                    <a:pt x="105" y="27"/>
                    <a:pt x="105" y="27"/>
                    <a:pt x="105" y="27"/>
                  </a:cubicBezTo>
                  <a:cubicBezTo>
                    <a:pt x="106" y="28"/>
                    <a:pt x="106" y="29"/>
                    <a:pt x="106" y="30"/>
                  </a:cubicBezTo>
                  <a:cubicBezTo>
                    <a:pt x="106" y="30"/>
                    <a:pt x="106" y="31"/>
                    <a:pt x="106" y="31"/>
                  </a:cubicBezTo>
                  <a:cubicBezTo>
                    <a:pt x="107" y="31"/>
                    <a:pt x="107" y="32"/>
                    <a:pt x="107" y="32"/>
                  </a:cubicBezTo>
                  <a:cubicBezTo>
                    <a:pt x="107" y="33"/>
                    <a:pt x="107" y="33"/>
                    <a:pt x="106" y="34"/>
                  </a:cubicBezTo>
                  <a:cubicBezTo>
                    <a:pt x="106" y="34"/>
                    <a:pt x="105" y="35"/>
                    <a:pt x="104" y="36"/>
                  </a:cubicBezTo>
                  <a:cubicBezTo>
                    <a:pt x="104" y="36"/>
                    <a:pt x="103" y="35"/>
                    <a:pt x="103" y="35"/>
                  </a:cubicBezTo>
                  <a:cubicBezTo>
                    <a:pt x="103" y="35"/>
                    <a:pt x="102" y="35"/>
                    <a:pt x="102" y="35"/>
                  </a:cubicBezTo>
                  <a:cubicBezTo>
                    <a:pt x="101" y="35"/>
                    <a:pt x="102" y="35"/>
                    <a:pt x="102" y="35"/>
                  </a:cubicBezTo>
                  <a:cubicBezTo>
                    <a:pt x="102" y="36"/>
                    <a:pt x="103" y="36"/>
                    <a:pt x="103" y="36"/>
                  </a:cubicBezTo>
                  <a:cubicBezTo>
                    <a:pt x="103" y="37"/>
                    <a:pt x="103" y="37"/>
                    <a:pt x="104" y="37"/>
                  </a:cubicBezTo>
                  <a:cubicBezTo>
                    <a:pt x="104" y="38"/>
                    <a:pt x="104" y="38"/>
                    <a:pt x="104" y="39"/>
                  </a:cubicBezTo>
                  <a:cubicBezTo>
                    <a:pt x="104" y="40"/>
                    <a:pt x="103" y="40"/>
                    <a:pt x="103" y="41"/>
                  </a:cubicBezTo>
                  <a:cubicBezTo>
                    <a:pt x="103" y="42"/>
                    <a:pt x="103" y="42"/>
                    <a:pt x="102" y="42"/>
                  </a:cubicBezTo>
                  <a:cubicBezTo>
                    <a:pt x="102" y="43"/>
                    <a:pt x="102" y="43"/>
                    <a:pt x="102" y="43"/>
                  </a:cubicBezTo>
                  <a:cubicBezTo>
                    <a:pt x="102" y="44"/>
                    <a:pt x="102" y="44"/>
                    <a:pt x="102" y="45"/>
                  </a:cubicBezTo>
                  <a:cubicBezTo>
                    <a:pt x="102" y="45"/>
                    <a:pt x="102" y="45"/>
                    <a:pt x="102" y="45"/>
                  </a:cubicBezTo>
                  <a:cubicBezTo>
                    <a:pt x="102" y="45"/>
                    <a:pt x="102" y="45"/>
                    <a:pt x="102" y="46"/>
                  </a:cubicBezTo>
                  <a:cubicBezTo>
                    <a:pt x="103" y="46"/>
                    <a:pt x="103" y="48"/>
                    <a:pt x="103" y="49"/>
                  </a:cubicBezTo>
                  <a:cubicBezTo>
                    <a:pt x="103" y="49"/>
                    <a:pt x="103" y="49"/>
                    <a:pt x="103" y="50"/>
                  </a:cubicBezTo>
                  <a:cubicBezTo>
                    <a:pt x="103" y="50"/>
                    <a:pt x="103" y="51"/>
                    <a:pt x="103" y="52"/>
                  </a:cubicBezTo>
                  <a:cubicBezTo>
                    <a:pt x="103" y="52"/>
                    <a:pt x="104" y="52"/>
                    <a:pt x="104" y="52"/>
                  </a:cubicBezTo>
                  <a:cubicBezTo>
                    <a:pt x="104" y="53"/>
                    <a:pt x="104" y="53"/>
                    <a:pt x="104" y="53"/>
                  </a:cubicBezTo>
                  <a:cubicBezTo>
                    <a:pt x="104" y="54"/>
                    <a:pt x="104" y="55"/>
                    <a:pt x="104" y="56"/>
                  </a:cubicBezTo>
                  <a:cubicBezTo>
                    <a:pt x="104" y="57"/>
                    <a:pt x="105" y="57"/>
                    <a:pt x="105" y="58"/>
                  </a:cubicBezTo>
                  <a:cubicBezTo>
                    <a:pt x="106" y="59"/>
                    <a:pt x="106" y="60"/>
                    <a:pt x="107" y="60"/>
                  </a:cubicBezTo>
                  <a:cubicBezTo>
                    <a:pt x="107" y="61"/>
                    <a:pt x="108" y="61"/>
                    <a:pt x="107" y="62"/>
                  </a:cubicBezTo>
                  <a:cubicBezTo>
                    <a:pt x="106" y="62"/>
                    <a:pt x="106" y="62"/>
                    <a:pt x="105" y="61"/>
                  </a:cubicBezTo>
                  <a:cubicBezTo>
                    <a:pt x="104" y="61"/>
                    <a:pt x="104" y="61"/>
                    <a:pt x="103" y="60"/>
                  </a:cubicBezTo>
                  <a:cubicBezTo>
                    <a:pt x="103" y="60"/>
                    <a:pt x="102" y="59"/>
                    <a:pt x="102" y="59"/>
                  </a:cubicBezTo>
                  <a:cubicBezTo>
                    <a:pt x="102" y="58"/>
                    <a:pt x="101" y="58"/>
                    <a:pt x="101" y="57"/>
                  </a:cubicBezTo>
                  <a:cubicBezTo>
                    <a:pt x="100" y="57"/>
                    <a:pt x="100" y="57"/>
                    <a:pt x="100" y="56"/>
                  </a:cubicBezTo>
                  <a:cubicBezTo>
                    <a:pt x="99" y="56"/>
                    <a:pt x="99" y="56"/>
                    <a:pt x="99" y="55"/>
                  </a:cubicBezTo>
                  <a:cubicBezTo>
                    <a:pt x="99" y="55"/>
                    <a:pt x="98" y="54"/>
                    <a:pt x="98" y="54"/>
                  </a:cubicBezTo>
                  <a:cubicBezTo>
                    <a:pt x="97" y="54"/>
                    <a:pt x="98" y="55"/>
                    <a:pt x="98" y="56"/>
                  </a:cubicBezTo>
                  <a:cubicBezTo>
                    <a:pt x="98" y="56"/>
                    <a:pt x="99" y="57"/>
                    <a:pt x="99" y="57"/>
                  </a:cubicBezTo>
                  <a:cubicBezTo>
                    <a:pt x="100" y="58"/>
                    <a:pt x="100" y="59"/>
                    <a:pt x="101" y="59"/>
                  </a:cubicBezTo>
                  <a:cubicBezTo>
                    <a:pt x="102" y="60"/>
                    <a:pt x="103" y="61"/>
                    <a:pt x="103" y="62"/>
                  </a:cubicBezTo>
                  <a:cubicBezTo>
                    <a:pt x="105" y="65"/>
                    <a:pt x="108" y="66"/>
                    <a:pt x="109" y="69"/>
                  </a:cubicBezTo>
                  <a:cubicBezTo>
                    <a:pt x="109" y="70"/>
                    <a:pt x="110" y="70"/>
                    <a:pt x="110" y="70"/>
                  </a:cubicBezTo>
                  <a:cubicBezTo>
                    <a:pt x="110" y="71"/>
                    <a:pt x="110" y="73"/>
                    <a:pt x="109" y="74"/>
                  </a:cubicBezTo>
                  <a:cubicBezTo>
                    <a:pt x="108" y="74"/>
                    <a:pt x="108" y="73"/>
                    <a:pt x="108" y="72"/>
                  </a:cubicBezTo>
                  <a:cubicBezTo>
                    <a:pt x="107" y="72"/>
                    <a:pt x="107" y="71"/>
                    <a:pt x="107" y="70"/>
                  </a:cubicBezTo>
                  <a:cubicBezTo>
                    <a:pt x="106" y="70"/>
                    <a:pt x="106" y="69"/>
                    <a:pt x="105" y="69"/>
                  </a:cubicBezTo>
                  <a:cubicBezTo>
                    <a:pt x="105" y="69"/>
                    <a:pt x="105" y="70"/>
                    <a:pt x="105" y="70"/>
                  </a:cubicBezTo>
                  <a:cubicBezTo>
                    <a:pt x="105" y="71"/>
                    <a:pt x="104" y="71"/>
                    <a:pt x="104" y="71"/>
                  </a:cubicBezTo>
                  <a:cubicBezTo>
                    <a:pt x="103" y="71"/>
                    <a:pt x="103" y="71"/>
                    <a:pt x="102" y="70"/>
                  </a:cubicBezTo>
                  <a:cubicBezTo>
                    <a:pt x="102" y="69"/>
                    <a:pt x="102" y="69"/>
                    <a:pt x="101" y="68"/>
                  </a:cubicBezTo>
                  <a:cubicBezTo>
                    <a:pt x="100" y="68"/>
                    <a:pt x="100" y="67"/>
                    <a:pt x="99" y="67"/>
                  </a:cubicBezTo>
                  <a:cubicBezTo>
                    <a:pt x="98" y="67"/>
                    <a:pt x="97" y="66"/>
                    <a:pt x="98" y="66"/>
                  </a:cubicBezTo>
                  <a:cubicBezTo>
                    <a:pt x="98" y="66"/>
                    <a:pt x="98" y="66"/>
                    <a:pt x="98" y="65"/>
                  </a:cubicBezTo>
                  <a:cubicBezTo>
                    <a:pt x="98" y="65"/>
                    <a:pt x="98" y="65"/>
                    <a:pt x="98" y="65"/>
                  </a:cubicBezTo>
                  <a:cubicBezTo>
                    <a:pt x="98" y="65"/>
                    <a:pt x="98" y="65"/>
                    <a:pt x="97" y="65"/>
                  </a:cubicBezTo>
                  <a:cubicBezTo>
                    <a:pt x="97" y="65"/>
                    <a:pt x="96" y="65"/>
                    <a:pt x="96" y="65"/>
                  </a:cubicBezTo>
                  <a:cubicBezTo>
                    <a:pt x="95" y="66"/>
                    <a:pt x="95" y="66"/>
                    <a:pt x="95" y="66"/>
                  </a:cubicBezTo>
                  <a:cubicBezTo>
                    <a:pt x="94" y="66"/>
                    <a:pt x="94" y="66"/>
                    <a:pt x="93" y="65"/>
                  </a:cubicBezTo>
                  <a:cubicBezTo>
                    <a:pt x="93" y="64"/>
                    <a:pt x="93" y="63"/>
                    <a:pt x="92" y="63"/>
                  </a:cubicBezTo>
                  <a:cubicBezTo>
                    <a:pt x="91" y="63"/>
                    <a:pt x="92" y="64"/>
                    <a:pt x="91" y="64"/>
                  </a:cubicBezTo>
                  <a:cubicBezTo>
                    <a:pt x="91" y="64"/>
                    <a:pt x="90" y="64"/>
                    <a:pt x="90" y="64"/>
                  </a:cubicBezTo>
                  <a:cubicBezTo>
                    <a:pt x="90" y="64"/>
                    <a:pt x="89" y="63"/>
                    <a:pt x="89" y="63"/>
                  </a:cubicBezTo>
                  <a:cubicBezTo>
                    <a:pt x="89" y="63"/>
                    <a:pt x="88" y="63"/>
                    <a:pt x="88" y="62"/>
                  </a:cubicBezTo>
                  <a:cubicBezTo>
                    <a:pt x="88" y="62"/>
                    <a:pt x="88" y="62"/>
                    <a:pt x="87" y="61"/>
                  </a:cubicBezTo>
                  <a:cubicBezTo>
                    <a:pt x="87" y="61"/>
                    <a:pt x="87" y="60"/>
                    <a:pt x="86" y="60"/>
                  </a:cubicBezTo>
                  <a:cubicBezTo>
                    <a:pt x="86" y="59"/>
                    <a:pt x="85" y="55"/>
                    <a:pt x="83" y="57"/>
                  </a:cubicBezTo>
                  <a:cubicBezTo>
                    <a:pt x="81" y="57"/>
                    <a:pt x="82" y="59"/>
                    <a:pt x="81" y="60"/>
                  </a:cubicBezTo>
                  <a:cubicBezTo>
                    <a:pt x="80" y="62"/>
                    <a:pt x="78" y="61"/>
                    <a:pt x="78" y="59"/>
                  </a:cubicBezTo>
                  <a:cubicBezTo>
                    <a:pt x="77" y="58"/>
                    <a:pt x="77" y="56"/>
                    <a:pt x="78" y="54"/>
                  </a:cubicBezTo>
                  <a:cubicBezTo>
                    <a:pt x="78" y="53"/>
                    <a:pt x="79" y="53"/>
                    <a:pt x="79" y="52"/>
                  </a:cubicBezTo>
                  <a:cubicBezTo>
                    <a:pt x="80" y="51"/>
                    <a:pt x="81" y="51"/>
                    <a:pt x="82" y="50"/>
                  </a:cubicBezTo>
                  <a:cubicBezTo>
                    <a:pt x="83" y="49"/>
                    <a:pt x="85" y="48"/>
                    <a:pt x="86" y="46"/>
                  </a:cubicBezTo>
                  <a:cubicBezTo>
                    <a:pt x="86" y="45"/>
                    <a:pt x="86" y="45"/>
                    <a:pt x="86" y="44"/>
                  </a:cubicBezTo>
                  <a:cubicBezTo>
                    <a:pt x="86" y="44"/>
                    <a:pt x="85" y="43"/>
                    <a:pt x="85" y="44"/>
                  </a:cubicBezTo>
                  <a:cubicBezTo>
                    <a:pt x="85" y="44"/>
                    <a:pt x="85" y="44"/>
                    <a:pt x="85" y="44"/>
                  </a:cubicBezTo>
                  <a:cubicBezTo>
                    <a:pt x="85" y="39"/>
                    <a:pt x="85" y="39"/>
                    <a:pt x="85" y="39"/>
                  </a:cubicBezTo>
                  <a:cubicBezTo>
                    <a:pt x="86" y="39"/>
                    <a:pt x="86" y="39"/>
                    <a:pt x="86" y="39"/>
                  </a:cubicBezTo>
                  <a:cubicBezTo>
                    <a:pt x="88" y="38"/>
                    <a:pt x="88" y="38"/>
                    <a:pt x="88" y="38"/>
                  </a:cubicBezTo>
                  <a:cubicBezTo>
                    <a:pt x="88" y="36"/>
                    <a:pt x="88" y="36"/>
                    <a:pt x="88" y="36"/>
                  </a:cubicBezTo>
                  <a:cubicBezTo>
                    <a:pt x="85" y="32"/>
                    <a:pt x="85" y="32"/>
                    <a:pt x="85" y="32"/>
                  </a:cubicBezTo>
                  <a:cubicBezTo>
                    <a:pt x="85" y="32"/>
                    <a:pt x="82" y="36"/>
                    <a:pt x="82" y="35"/>
                  </a:cubicBezTo>
                  <a:cubicBezTo>
                    <a:pt x="82" y="35"/>
                    <a:pt x="80" y="33"/>
                    <a:pt x="80" y="33"/>
                  </a:cubicBezTo>
                  <a:cubicBezTo>
                    <a:pt x="80" y="33"/>
                    <a:pt x="78" y="33"/>
                    <a:pt x="78" y="33"/>
                  </a:cubicBezTo>
                  <a:cubicBezTo>
                    <a:pt x="78" y="33"/>
                    <a:pt x="77" y="31"/>
                    <a:pt x="77" y="31"/>
                  </a:cubicBezTo>
                  <a:cubicBezTo>
                    <a:pt x="77" y="31"/>
                    <a:pt x="76" y="30"/>
                    <a:pt x="75" y="30"/>
                  </a:cubicBezTo>
                  <a:cubicBezTo>
                    <a:pt x="75" y="30"/>
                    <a:pt x="72" y="29"/>
                    <a:pt x="71" y="29"/>
                  </a:cubicBezTo>
                  <a:cubicBezTo>
                    <a:pt x="71" y="29"/>
                    <a:pt x="68" y="28"/>
                    <a:pt x="68" y="27"/>
                  </a:cubicBezTo>
                  <a:cubicBezTo>
                    <a:pt x="68" y="27"/>
                    <a:pt x="68" y="25"/>
                    <a:pt x="68" y="25"/>
                  </a:cubicBezTo>
                  <a:cubicBezTo>
                    <a:pt x="68" y="25"/>
                    <a:pt x="70" y="22"/>
                    <a:pt x="70" y="22"/>
                  </a:cubicBezTo>
                  <a:cubicBezTo>
                    <a:pt x="70" y="22"/>
                    <a:pt x="67" y="19"/>
                    <a:pt x="67" y="19"/>
                  </a:cubicBezTo>
                  <a:cubicBezTo>
                    <a:pt x="66" y="18"/>
                    <a:pt x="61" y="18"/>
                    <a:pt x="61" y="18"/>
                  </a:cubicBezTo>
                  <a:cubicBezTo>
                    <a:pt x="60" y="17"/>
                    <a:pt x="60" y="17"/>
                    <a:pt x="60" y="17"/>
                  </a:cubicBezTo>
                  <a:cubicBezTo>
                    <a:pt x="60" y="13"/>
                    <a:pt x="60" y="13"/>
                    <a:pt x="60" y="13"/>
                  </a:cubicBezTo>
                  <a:cubicBezTo>
                    <a:pt x="58" y="13"/>
                    <a:pt x="58" y="13"/>
                    <a:pt x="58" y="13"/>
                  </a:cubicBezTo>
                  <a:cubicBezTo>
                    <a:pt x="58" y="13"/>
                    <a:pt x="59" y="11"/>
                    <a:pt x="59" y="11"/>
                  </a:cubicBezTo>
                  <a:cubicBezTo>
                    <a:pt x="59" y="11"/>
                    <a:pt x="59" y="10"/>
                    <a:pt x="59" y="10"/>
                  </a:cubicBezTo>
                  <a:cubicBezTo>
                    <a:pt x="57" y="10"/>
                    <a:pt x="57" y="10"/>
                    <a:pt x="57" y="10"/>
                  </a:cubicBezTo>
                  <a:cubicBezTo>
                    <a:pt x="57" y="9"/>
                    <a:pt x="57" y="9"/>
                    <a:pt x="57" y="9"/>
                  </a:cubicBezTo>
                  <a:cubicBezTo>
                    <a:pt x="56" y="9"/>
                    <a:pt x="56" y="9"/>
                    <a:pt x="56" y="9"/>
                  </a:cubicBezTo>
                  <a:cubicBezTo>
                    <a:pt x="56" y="9"/>
                    <a:pt x="56" y="7"/>
                    <a:pt x="56" y="6"/>
                  </a:cubicBezTo>
                  <a:cubicBezTo>
                    <a:pt x="56" y="6"/>
                    <a:pt x="57" y="5"/>
                    <a:pt x="57" y="5"/>
                  </a:cubicBezTo>
                  <a:cubicBezTo>
                    <a:pt x="57" y="5"/>
                    <a:pt x="55" y="5"/>
                    <a:pt x="55" y="5"/>
                  </a:cubicBezTo>
                  <a:cubicBezTo>
                    <a:pt x="55" y="5"/>
                    <a:pt x="53" y="6"/>
                    <a:pt x="53" y="6"/>
                  </a:cubicBezTo>
                  <a:cubicBezTo>
                    <a:pt x="53" y="6"/>
                    <a:pt x="54" y="5"/>
                    <a:pt x="53" y="5"/>
                  </a:cubicBezTo>
                  <a:cubicBezTo>
                    <a:pt x="53" y="4"/>
                    <a:pt x="52" y="5"/>
                    <a:pt x="52" y="5"/>
                  </a:cubicBezTo>
                  <a:cubicBezTo>
                    <a:pt x="52" y="5"/>
                    <a:pt x="46" y="1"/>
                    <a:pt x="46" y="1"/>
                  </a:cubicBezTo>
                  <a:cubicBezTo>
                    <a:pt x="44" y="1"/>
                    <a:pt x="44" y="1"/>
                    <a:pt x="44" y="1"/>
                  </a:cubicBezTo>
                  <a:cubicBezTo>
                    <a:pt x="42" y="4"/>
                    <a:pt x="42" y="4"/>
                    <a:pt x="42" y="4"/>
                  </a:cubicBezTo>
                  <a:cubicBezTo>
                    <a:pt x="42" y="4"/>
                    <a:pt x="39" y="4"/>
                    <a:pt x="39" y="4"/>
                  </a:cubicBezTo>
                  <a:cubicBezTo>
                    <a:pt x="39" y="3"/>
                    <a:pt x="38" y="5"/>
                    <a:pt x="38" y="5"/>
                  </a:cubicBezTo>
                  <a:cubicBezTo>
                    <a:pt x="36" y="4"/>
                    <a:pt x="36" y="4"/>
                    <a:pt x="36" y="4"/>
                  </a:cubicBezTo>
                  <a:cubicBezTo>
                    <a:pt x="36" y="4"/>
                    <a:pt x="37" y="6"/>
                    <a:pt x="37" y="6"/>
                  </a:cubicBezTo>
                  <a:cubicBezTo>
                    <a:pt x="37" y="6"/>
                    <a:pt x="36" y="6"/>
                    <a:pt x="36" y="6"/>
                  </a:cubicBezTo>
                  <a:cubicBezTo>
                    <a:pt x="35" y="7"/>
                    <a:pt x="35" y="8"/>
                    <a:pt x="35" y="8"/>
                  </a:cubicBezTo>
                  <a:cubicBezTo>
                    <a:pt x="37" y="8"/>
                    <a:pt x="37" y="8"/>
                    <a:pt x="37" y="8"/>
                  </a:cubicBezTo>
                  <a:cubicBezTo>
                    <a:pt x="35" y="9"/>
                    <a:pt x="35" y="9"/>
                    <a:pt x="35" y="9"/>
                  </a:cubicBezTo>
                  <a:cubicBezTo>
                    <a:pt x="35" y="9"/>
                    <a:pt x="33" y="9"/>
                    <a:pt x="33" y="9"/>
                  </a:cubicBezTo>
                  <a:cubicBezTo>
                    <a:pt x="33" y="9"/>
                    <a:pt x="31" y="9"/>
                    <a:pt x="30" y="8"/>
                  </a:cubicBezTo>
                  <a:cubicBezTo>
                    <a:pt x="30" y="8"/>
                    <a:pt x="28" y="7"/>
                    <a:pt x="28" y="7"/>
                  </a:cubicBezTo>
                  <a:cubicBezTo>
                    <a:pt x="28" y="7"/>
                    <a:pt x="26" y="7"/>
                    <a:pt x="26" y="7"/>
                  </a:cubicBezTo>
                  <a:cubicBezTo>
                    <a:pt x="26" y="6"/>
                    <a:pt x="25" y="5"/>
                    <a:pt x="25" y="5"/>
                  </a:cubicBezTo>
                  <a:cubicBezTo>
                    <a:pt x="25" y="4"/>
                    <a:pt x="24" y="5"/>
                    <a:pt x="24" y="5"/>
                  </a:cubicBezTo>
                  <a:cubicBezTo>
                    <a:pt x="24" y="5"/>
                    <a:pt x="24" y="5"/>
                    <a:pt x="24" y="5"/>
                  </a:cubicBezTo>
                  <a:cubicBezTo>
                    <a:pt x="23" y="5"/>
                    <a:pt x="23" y="6"/>
                    <a:pt x="23" y="7"/>
                  </a:cubicBezTo>
                  <a:cubicBezTo>
                    <a:pt x="23" y="7"/>
                    <a:pt x="23" y="7"/>
                    <a:pt x="23" y="7"/>
                  </a:cubicBezTo>
                  <a:cubicBezTo>
                    <a:pt x="22" y="7"/>
                    <a:pt x="22" y="7"/>
                    <a:pt x="22" y="7"/>
                  </a:cubicBezTo>
                  <a:cubicBezTo>
                    <a:pt x="22" y="7"/>
                    <a:pt x="19" y="10"/>
                    <a:pt x="19" y="10"/>
                  </a:cubicBezTo>
                  <a:cubicBezTo>
                    <a:pt x="19" y="11"/>
                    <a:pt x="18" y="12"/>
                    <a:pt x="18" y="12"/>
                  </a:cubicBezTo>
                  <a:cubicBezTo>
                    <a:pt x="18" y="12"/>
                    <a:pt x="17" y="12"/>
                    <a:pt x="17" y="12"/>
                  </a:cubicBezTo>
                  <a:cubicBezTo>
                    <a:pt x="17" y="11"/>
                    <a:pt x="16" y="11"/>
                    <a:pt x="15" y="11"/>
                  </a:cubicBezTo>
                  <a:cubicBezTo>
                    <a:pt x="15" y="10"/>
                    <a:pt x="14" y="11"/>
                    <a:pt x="14" y="11"/>
                  </a:cubicBezTo>
                  <a:cubicBezTo>
                    <a:pt x="13" y="12"/>
                    <a:pt x="13" y="12"/>
                    <a:pt x="13" y="12"/>
                  </a:cubicBezTo>
                  <a:cubicBezTo>
                    <a:pt x="12" y="13"/>
                    <a:pt x="12" y="13"/>
                    <a:pt x="12" y="13"/>
                  </a:cubicBezTo>
                  <a:cubicBezTo>
                    <a:pt x="11" y="15"/>
                    <a:pt x="11" y="15"/>
                    <a:pt x="11" y="15"/>
                  </a:cubicBezTo>
                  <a:cubicBezTo>
                    <a:pt x="10" y="15"/>
                    <a:pt x="10" y="15"/>
                    <a:pt x="10" y="15"/>
                  </a:cubicBezTo>
                  <a:cubicBezTo>
                    <a:pt x="7" y="18"/>
                    <a:pt x="7" y="18"/>
                    <a:pt x="7" y="18"/>
                  </a:cubicBezTo>
                  <a:cubicBezTo>
                    <a:pt x="7" y="18"/>
                    <a:pt x="5" y="19"/>
                    <a:pt x="5" y="19"/>
                  </a:cubicBezTo>
                  <a:cubicBezTo>
                    <a:pt x="5" y="19"/>
                    <a:pt x="0" y="22"/>
                    <a:pt x="0" y="22"/>
                  </a:cubicBezTo>
                  <a:cubicBezTo>
                    <a:pt x="0" y="0"/>
                    <a:pt x="0" y="0"/>
                    <a:pt x="0" y="0"/>
                  </a:cubicBezTo>
                  <a:cubicBezTo>
                    <a:pt x="128" y="0"/>
                    <a:pt x="128" y="0"/>
                    <a:pt x="128" y="0"/>
                  </a:cubicBezTo>
                  <a:cubicBezTo>
                    <a:pt x="131" y="56"/>
                    <a:pt x="131" y="56"/>
                    <a:pt x="131" y="56"/>
                  </a:cubicBezTo>
                  <a:lnTo>
                    <a:pt x="154" y="56"/>
                  </a:lnTo>
                  <a:close/>
                  <a:moveTo>
                    <a:pt x="109" y="39"/>
                  </a:moveTo>
                  <a:cubicBezTo>
                    <a:pt x="110" y="38"/>
                    <a:pt x="110" y="37"/>
                    <a:pt x="110" y="37"/>
                  </a:cubicBezTo>
                  <a:cubicBezTo>
                    <a:pt x="110" y="36"/>
                    <a:pt x="111" y="36"/>
                    <a:pt x="111" y="36"/>
                  </a:cubicBezTo>
                  <a:cubicBezTo>
                    <a:pt x="112" y="35"/>
                    <a:pt x="112" y="35"/>
                    <a:pt x="112" y="34"/>
                  </a:cubicBezTo>
                  <a:cubicBezTo>
                    <a:pt x="112" y="34"/>
                    <a:pt x="112" y="34"/>
                    <a:pt x="111" y="33"/>
                  </a:cubicBezTo>
                  <a:cubicBezTo>
                    <a:pt x="111" y="33"/>
                    <a:pt x="111" y="33"/>
                    <a:pt x="111" y="33"/>
                  </a:cubicBezTo>
                  <a:cubicBezTo>
                    <a:pt x="110" y="33"/>
                    <a:pt x="110" y="33"/>
                    <a:pt x="110" y="34"/>
                  </a:cubicBezTo>
                  <a:cubicBezTo>
                    <a:pt x="110" y="34"/>
                    <a:pt x="110" y="35"/>
                    <a:pt x="109" y="35"/>
                  </a:cubicBezTo>
                  <a:cubicBezTo>
                    <a:pt x="109" y="35"/>
                    <a:pt x="109" y="36"/>
                    <a:pt x="109" y="36"/>
                  </a:cubicBezTo>
                  <a:cubicBezTo>
                    <a:pt x="108" y="37"/>
                    <a:pt x="109" y="37"/>
                    <a:pt x="108" y="37"/>
                  </a:cubicBezTo>
                  <a:cubicBezTo>
                    <a:pt x="109" y="38"/>
                    <a:pt x="109" y="39"/>
                    <a:pt x="109" y="39"/>
                  </a:cubicBezTo>
                  <a:close/>
                </a:path>
              </a:pathLst>
            </a:custGeom>
            <a:solidFill>
              <a:srgbClr val="FF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6" name="Freeform 39">
              <a:extLst>
                <a:ext uri="{FF2B5EF4-FFF2-40B4-BE49-F238E27FC236}">
                  <a16:creationId xmlns:a16="http://schemas.microsoft.com/office/drawing/2014/main" id="{7681BF1D-EB82-ED1A-3AE2-9EED898E75AB}"/>
                </a:ext>
              </a:extLst>
            </p:cNvPr>
            <p:cNvSpPr>
              <a:spLocks noEditPoints="1"/>
            </p:cNvSpPr>
            <p:nvPr/>
          </p:nvSpPr>
          <p:spPr bwMode="auto">
            <a:xfrm>
              <a:off x="9855551" y="1273775"/>
              <a:ext cx="558445" cy="860798"/>
            </a:xfrm>
            <a:custGeom>
              <a:avLst/>
              <a:gdLst>
                <a:gd name="T0" fmla="*/ 76 w 141"/>
                <a:gd name="T1" fmla="*/ 158 h 217"/>
                <a:gd name="T2" fmla="*/ 78 w 141"/>
                <a:gd name="T3" fmla="*/ 165 h 217"/>
                <a:gd name="T4" fmla="*/ 76 w 141"/>
                <a:gd name="T5" fmla="*/ 164 h 217"/>
                <a:gd name="T6" fmla="*/ 78 w 141"/>
                <a:gd name="T7" fmla="*/ 170 h 217"/>
                <a:gd name="T8" fmla="*/ 76 w 141"/>
                <a:gd name="T9" fmla="*/ 168 h 217"/>
                <a:gd name="T10" fmla="*/ 85 w 141"/>
                <a:gd name="T11" fmla="*/ 162 h 217"/>
                <a:gd name="T12" fmla="*/ 83 w 141"/>
                <a:gd name="T13" fmla="*/ 161 h 217"/>
                <a:gd name="T14" fmla="*/ 77 w 141"/>
                <a:gd name="T15" fmla="*/ 154 h 217"/>
                <a:gd name="T16" fmla="*/ 138 w 141"/>
                <a:gd name="T17" fmla="*/ 130 h 217"/>
                <a:gd name="T18" fmla="*/ 137 w 141"/>
                <a:gd name="T19" fmla="*/ 127 h 217"/>
                <a:gd name="T20" fmla="*/ 138 w 141"/>
                <a:gd name="T21" fmla="*/ 121 h 217"/>
                <a:gd name="T22" fmla="*/ 132 w 141"/>
                <a:gd name="T23" fmla="*/ 114 h 217"/>
                <a:gd name="T24" fmla="*/ 124 w 141"/>
                <a:gd name="T25" fmla="*/ 100 h 217"/>
                <a:gd name="T26" fmla="*/ 121 w 141"/>
                <a:gd name="T27" fmla="*/ 93 h 217"/>
                <a:gd name="T28" fmla="*/ 113 w 141"/>
                <a:gd name="T29" fmla="*/ 84 h 217"/>
                <a:gd name="T30" fmla="*/ 114 w 141"/>
                <a:gd name="T31" fmla="*/ 77 h 217"/>
                <a:gd name="T32" fmla="*/ 86 w 141"/>
                <a:gd name="T33" fmla="*/ 11 h 217"/>
                <a:gd name="T34" fmla="*/ 36 w 141"/>
                <a:gd name="T35" fmla="*/ 53 h 217"/>
                <a:gd name="T36" fmla="*/ 28 w 141"/>
                <a:gd name="T37" fmla="*/ 74 h 217"/>
                <a:gd name="T38" fmla="*/ 16 w 141"/>
                <a:gd name="T39" fmla="*/ 93 h 217"/>
                <a:gd name="T40" fmla="*/ 9 w 141"/>
                <a:gd name="T41" fmla="*/ 109 h 217"/>
                <a:gd name="T42" fmla="*/ 4 w 141"/>
                <a:gd name="T43" fmla="*/ 186 h 217"/>
                <a:gd name="T44" fmla="*/ 13 w 141"/>
                <a:gd name="T45" fmla="*/ 216 h 217"/>
                <a:gd name="T46" fmla="*/ 20 w 141"/>
                <a:gd name="T47" fmla="*/ 204 h 217"/>
                <a:gd name="T48" fmla="*/ 29 w 141"/>
                <a:gd name="T49" fmla="*/ 193 h 217"/>
                <a:gd name="T50" fmla="*/ 36 w 141"/>
                <a:gd name="T51" fmla="*/ 180 h 217"/>
                <a:gd name="T52" fmla="*/ 40 w 141"/>
                <a:gd name="T53" fmla="*/ 179 h 217"/>
                <a:gd name="T54" fmla="*/ 45 w 141"/>
                <a:gd name="T55" fmla="*/ 184 h 217"/>
                <a:gd name="T56" fmla="*/ 45 w 141"/>
                <a:gd name="T57" fmla="*/ 175 h 217"/>
                <a:gd name="T58" fmla="*/ 47 w 141"/>
                <a:gd name="T59" fmla="*/ 181 h 217"/>
                <a:gd name="T60" fmla="*/ 47 w 141"/>
                <a:gd name="T61" fmla="*/ 177 h 217"/>
                <a:gd name="T62" fmla="*/ 51 w 141"/>
                <a:gd name="T63" fmla="*/ 178 h 217"/>
                <a:gd name="T64" fmla="*/ 53 w 141"/>
                <a:gd name="T65" fmla="*/ 172 h 217"/>
                <a:gd name="T66" fmla="*/ 55 w 141"/>
                <a:gd name="T67" fmla="*/ 178 h 217"/>
                <a:gd name="T68" fmla="*/ 59 w 141"/>
                <a:gd name="T69" fmla="*/ 169 h 217"/>
                <a:gd name="T70" fmla="*/ 61 w 141"/>
                <a:gd name="T71" fmla="*/ 173 h 217"/>
                <a:gd name="T72" fmla="*/ 66 w 141"/>
                <a:gd name="T73" fmla="*/ 173 h 217"/>
                <a:gd name="T74" fmla="*/ 70 w 141"/>
                <a:gd name="T75" fmla="*/ 168 h 217"/>
                <a:gd name="T76" fmla="*/ 70 w 141"/>
                <a:gd name="T77" fmla="*/ 163 h 217"/>
                <a:gd name="T78" fmla="*/ 74 w 141"/>
                <a:gd name="T79" fmla="*/ 157 h 217"/>
                <a:gd name="T80" fmla="*/ 74 w 141"/>
                <a:gd name="T81" fmla="*/ 151 h 217"/>
                <a:gd name="T82" fmla="*/ 79 w 141"/>
                <a:gd name="T83" fmla="*/ 147 h 217"/>
                <a:gd name="T84" fmla="*/ 79 w 141"/>
                <a:gd name="T85" fmla="*/ 151 h 217"/>
                <a:gd name="T86" fmla="*/ 81 w 141"/>
                <a:gd name="T87" fmla="*/ 156 h 217"/>
                <a:gd name="T88" fmla="*/ 88 w 141"/>
                <a:gd name="T89" fmla="*/ 160 h 217"/>
                <a:gd name="T90" fmla="*/ 88 w 141"/>
                <a:gd name="T91" fmla="*/ 156 h 217"/>
                <a:gd name="T92" fmla="*/ 90 w 141"/>
                <a:gd name="T93" fmla="*/ 149 h 217"/>
                <a:gd name="T94" fmla="*/ 93 w 141"/>
                <a:gd name="T95" fmla="*/ 152 h 217"/>
                <a:gd name="T96" fmla="*/ 94 w 141"/>
                <a:gd name="T97" fmla="*/ 156 h 217"/>
                <a:gd name="T98" fmla="*/ 98 w 141"/>
                <a:gd name="T99" fmla="*/ 159 h 217"/>
                <a:gd name="T100" fmla="*/ 98 w 141"/>
                <a:gd name="T101" fmla="*/ 153 h 217"/>
                <a:gd name="T102" fmla="*/ 99 w 141"/>
                <a:gd name="T103" fmla="*/ 149 h 217"/>
                <a:gd name="T104" fmla="*/ 103 w 141"/>
                <a:gd name="T105" fmla="*/ 153 h 217"/>
                <a:gd name="T106" fmla="*/ 107 w 141"/>
                <a:gd name="T107" fmla="*/ 149 h 217"/>
                <a:gd name="T108" fmla="*/ 111 w 141"/>
                <a:gd name="T109" fmla="*/ 152 h 217"/>
                <a:gd name="T110" fmla="*/ 113 w 141"/>
                <a:gd name="T111" fmla="*/ 145 h 217"/>
                <a:gd name="T112" fmla="*/ 123 w 141"/>
                <a:gd name="T113" fmla="*/ 142 h 217"/>
                <a:gd name="T114" fmla="*/ 126 w 141"/>
                <a:gd name="T115" fmla="*/ 143 h 217"/>
                <a:gd name="T116" fmla="*/ 129 w 141"/>
                <a:gd name="T117" fmla="*/ 138 h 217"/>
                <a:gd name="T118" fmla="*/ 135 w 141"/>
                <a:gd name="T119" fmla="*/ 14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1" h="217">
                  <a:moveTo>
                    <a:pt x="74" y="159"/>
                  </a:moveTo>
                  <a:cubicBezTo>
                    <a:pt x="74" y="158"/>
                    <a:pt x="74" y="158"/>
                    <a:pt x="74" y="158"/>
                  </a:cubicBezTo>
                  <a:cubicBezTo>
                    <a:pt x="75" y="158"/>
                    <a:pt x="75" y="158"/>
                    <a:pt x="75" y="157"/>
                  </a:cubicBezTo>
                  <a:cubicBezTo>
                    <a:pt x="75" y="157"/>
                    <a:pt x="75" y="157"/>
                    <a:pt x="75" y="157"/>
                  </a:cubicBezTo>
                  <a:cubicBezTo>
                    <a:pt x="75" y="157"/>
                    <a:pt x="75" y="156"/>
                    <a:pt x="75" y="156"/>
                  </a:cubicBezTo>
                  <a:cubicBezTo>
                    <a:pt x="76" y="156"/>
                    <a:pt x="76" y="156"/>
                    <a:pt x="76" y="156"/>
                  </a:cubicBezTo>
                  <a:cubicBezTo>
                    <a:pt x="76" y="156"/>
                    <a:pt x="76" y="157"/>
                    <a:pt x="76" y="157"/>
                  </a:cubicBezTo>
                  <a:cubicBezTo>
                    <a:pt x="76" y="157"/>
                    <a:pt x="76" y="157"/>
                    <a:pt x="76" y="158"/>
                  </a:cubicBezTo>
                  <a:cubicBezTo>
                    <a:pt x="76" y="158"/>
                    <a:pt x="76" y="158"/>
                    <a:pt x="76" y="158"/>
                  </a:cubicBezTo>
                  <a:cubicBezTo>
                    <a:pt x="76" y="158"/>
                    <a:pt x="76" y="158"/>
                    <a:pt x="75" y="159"/>
                  </a:cubicBezTo>
                  <a:cubicBezTo>
                    <a:pt x="75" y="159"/>
                    <a:pt x="75" y="159"/>
                    <a:pt x="75" y="159"/>
                  </a:cubicBezTo>
                  <a:cubicBezTo>
                    <a:pt x="75" y="159"/>
                    <a:pt x="75" y="159"/>
                    <a:pt x="74" y="159"/>
                  </a:cubicBezTo>
                  <a:close/>
                  <a:moveTo>
                    <a:pt x="76" y="165"/>
                  </a:moveTo>
                  <a:cubicBezTo>
                    <a:pt x="76" y="165"/>
                    <a:pt x="76" y="165"/>
                    <a:pt x="77" y="165"/>
                  </a:cubicBezTo>
                  <a:cubicBezTo>
                    <a:pt x="77" y="165"/>
                    <a:pt x="77" y="165"/>
                    <a:pt x="77" y="165"/>
                  </a:cubicBezTo>
                  <a:cubicBezTo>
                    <a:pt x="78" y="165"/>
                    <a:pt x="78" y="165"/>
                    <a:pt x="78" y="165"/>
                  </a:cubicBezTo>
                  <a:cubicBezTo>
                    <a:pt x="79" y="165"/>
                    <a:pt x="79" y="165"/>
                    <a:pt x="79" y="165"/>
                  </a:cubicBezTo>
                  <a:cubicBezTo>
                    <a:pt x="79" y="164"/>
                    <a:pt x="79" y="164"/>
                    <a:pt x="79" y="164"/>
                  </a:cubicBezTo>
                  <a:cubicBezTo>
                    <a:pt x="79" y="164"/>
                    <a:pt x="79" y="164"/>
                    <a:pt x="79" y="164"/>
                  </a:cubicBezTo>
                  <a:cubicBezTo>
                    <a:pt x="79" y="164"/>
                    <a:pt x="78" y="164"/>
                    <a:pt x="78" y="164"/>
                  </a:cubicBezTo>
                  <a:cubicBezTo>
                    <a:pt x="78" y="164"/>
                    <a:pt x="78" y="164"/>
                    <a:pt x="78" y="163"/>
                  </a:cubicBezTo>
                  <a:cubicBezTo>
                    <a:pt x="78" y="163"/>
                    <a:pt x="77" y="163"/>
                    <a:pt x="77" y="164"/>
                  </a:cubicBezTo>
                  <a:cubicBezTo>
                    <a:pt x="77" y="164"/>
                    <a:pt x="77" y="164"/>
                    <a:pt x="77" y="164"/>
                  </a:cubicBezTo>
                  <a:cubicBezTo>
                    <a:pt x="77" y="164"/>
                    <a:pt x="76" y="164"/>
                    <a:pt x="76" y="164"/>
                  </a:cubicBezTo>
                  <a:cubicBezTo>
                    <a:pt x="76" y="164"/>
                    <a:pt x="75" y="164"/>
                    <a:pt x="75" y="164"/>
                  </a:cubicBezTo>
                  <a:cubicBezTo>
                    <a:pt x="75" y="165"/>
                    <a:pt x="76" y="165"/>
                    <a:pt x="76" y="165"/>
                  </a:cubicBezTo>
                  <a:close/>
                  <a:moveTo>
                    <a:pt x="76" y="168"/>
                  </a:moveTo>
                  <a:cubicBezTo>
                    <a:pt x="76" y="168"/>
                    <a:pt x="76" y="168"/>
                    <a:pt x="77" y="168"/>
                  </a:cubicBezTo>
                  <a:cubicBezTo>
                    <a:pt x="77" y="168"/>
                    <a:pt x="77" y="168"/>
                    <a:pt x="77" y="169"/>
                  </a:cubicBezTo>
                  <a:cubicBezTo>
                    <a:pt x="77" y="169"/>
                    <a:pt x="77" y="169"/>
                    <a:pt x="77" y="169"/>
                  </a:cubicBezTo>
                  <a:cubicBezTo>
                    <a:pt x="77" y="169"/>
                    <a:pt x="77" y="170"/>
                    <a:pt x="77" y="170"/>
                  </a:cubicBezTo>
                  <a:cubicBezTo>
                    <a:pt x="77" y="170"/>
                    <a:pt x="78" y="170"/>
                    <a:pt x="78" y="170"/>
                  </a:cubicBezTo>
                  <a:cubicBezTo>
                    <a:pt x="78" y="170"/>
                    <a:pt x="79" y="170"/>
                    <a:pt x="79" y="170"/>
                  </a:cubicBezTo>
                  <a:cubicBezTo>
                    <a:pt x="79" y="170"/>
                    <a:pt x="79" y="169"/>
                    <a:pt x="79" y="169"/>
                  </a:cubicBezTo>
                  <a:cubicBezTo>
                    <a:pt x="79" y="168"/>
                    <a:pt x="79" y="168"/>
                    <a:pt x="79" y="168"/>
                  </a:cubicBezTo>
                  <a:cubicBezTo>
                    <a:pt x="79" y="167"/>
                    <a:pt x="79" y="167"/>
                    <a:pt x="79" y="167"/>
                  </a:cubicBezTo>
                  <a:cubicBezTo>
                    <a:pt x="79" y="166"/>
                    <a:pt x="78" y="167"/>
                    <a:pt x="78" y="167"/>
                  </a:cubicBezTo>
                  <a:cubicBezTo>
                    <a:pt x="78" y="167"/>
                    <a:pt x="77" y="167"/>
                    <a:pt x="77" y="167"/>
                  </a:cubicBezTo>
                  <a:cubicBezTo>
                    <a:pt x="77" y="167"/>
                    <a:pt x="76" y="166"/>
                    <a:pt x="76" y="167"/>
                  </a:cubicBezTo>
                  <a:cubicBezTo>
                    <a:pt x="76" y="167"/>
                    <a:pt x="76" y="167"/>
                    <a:pt x="76" y="168"/>
                  </a:cubicBezTo>
                  <a:cubicBezTo>
                    <a:pt x="76" y="168"/>
                    <a:pt x="76" y="168"/>
                    <a:pt x="76" y="168"/>
                  </a:cubicBezTo>
                  <a:close/>
                  <a:moveTo>
                    <a:pt x="82" y="163"/>
                  </a:moveTo>
                  <a:cubicBezTo>
                    <a:pt x="83" y="163"/>
                    <a:pt x="83" y="163"/>
                    <a:pt x="83" y="163"/>
                  </a:cubicBezTo>
                  <a:cubicBezTo>
                    <a:pt x="83" y="163"/>
                    <a:pt x="83" y="163"/>
                    <a:pt x="83" y="163"/>
                  </a:cubicBezTo>
                  <a:cubicBezTo>
                    <a:pt x="83" y="163"/>
                    <a:pt x="84" y="163"/>
                    <a:pt x="84" y="163"/>
                  </a:cubicBezTo>
                  <a:cubicBezTo>
                    <a:pt x="84" y="163"/>
                    <a:pt x="84" y="163"/>
                    <a:pt x="84" y="163"/>
                  </a:cubicBezTo>
                  <a:cubicBezTo>
                    <a:pt x="84" y="163"/>
                    <a:pt x="84" y="162"/>
                    <a:pt x="84" y="162"/>
                  </a:cubicBezTo>
                  <a:cubicBezTo>
                    <a:pt x="84" y="162"/>
                    <a:pt x="85" y="162"/>
                    <a:pt x="85" y="162"/>
                  </a:cubicBezTo>
                  <a:cubicBezTo>
                    <a:pt x="85" y="162"/>
                    <a:pt x="85" y="161"/>
                    <a:pt x="85" y="161"/>
                  </a:cubicBezTo>
                  <a:cubicBezTo>
                    <a:pt x="85" y="161"/>
                    <a:pt x="86" y="161"/>
                    <a:pt x="86" y="161"/>
                  </a:cubicBezTo>
                  <a:cubicBezTo>
                    <a:pt x="86" y="160"/>
                    <a:pt x="86" y="160"/>
                    <a:pt x="86" y="160"/>
                  </a:cubicBezTo>
                  <a:cubicBezTo>
                    <a:pt x="86" y="160"/>
                    <a:pt x="85" y="160"/>
                    <a:pt x="85" y="160"/>
                  </a:cubicBezTo>
                  <a:cubicBezTo>
                    <a:pt x="85" y="160"/>
                    <a:pt x="85" y="160"/>
                    <a:pt x="84" y="159"/>
                  </a:cubicBezTo>
                  <a:cubicBezTo>
                    <a:pt x="84" y="159"/>
                    <a:pt x="84" y="159"/>
                    <a:pt x="84" y="159"/>
                  </a:cubicBezTo>
                  <a:cubicBezTo>
                    <a:pt x="84" y="159"/>
                    <a:pt x="83" y="159"/>
                    <a:pt x="83" y="160"/>
                  </a:cubicBezTo>
                  <a:cubicBezTo>
                    <a:pt x="83" y="160"/>
                    <a:pt x="83" y="160"/>
                    <a:pt x="83" y="161"/>
                  </a:cubicBezTo>
                  <a:cubicBezTo>
                    <a:pt x="83" y="161"/>
                    <a:pt x="83" y="161"/>
                    <a:pt x="83" y="162"/>
                  </a:cubicBezTo>
                  <a:cubicBezTo>
                    <a:pt x="83" y="162"/>
                    <a:pt x="82" y="162"/>
                    <a:pt x="82" y="162"/>
                  </a:cubicBezTo>
                  <a:cubicBezTo>
                    <a:pt x="82" y="163"/>
                    <a:pt x="82" y="163"/>
                    <a:pt x="82" y="163"/>
                  </a:cubicBezTo>
                  <a:cubicBezTo>
                    <a:pt x="82" y="163"/>
                    <a:pt x="82" y="163"/>
                    <a:pt x="82" y="163"/>
                  </a:cubicBezTo>
                  <a:close/>
                  <a:moveTo>
                    <a:pt x="77" y="154"/>
                  </a:moveTo>
                  <a:cubicBezTo>
                    <a:pt x="77" y="154"/>
                    <a:pt x="77" y="154"/>
                    <a:pt x="77" y="154"/>
                  </a:cubicBezTo>
                  <a:cubicBezTo>
                    <a:pt x="76" y="153"/>
                    <a:pt x="76" y="154"/>
                    <a:pt x="76" y="154"/>
                  </a:cubicBezTo>
                  <a:cubicBezTo>
                    <a:pt x="76" y="154"/>
                    <a:pt x="76" y="154"/>
                    <a:pt x="77" y="154"/>
                  </a:cubicBezTo>
                  <a:close/>
                  <a:moveTo>
                    <a:pt x="141" y="131"/>
                  </a:moveTo>
                  <a:cubicBezTo>
                    <a:pt x="141" y="131"/>
                    <a:pt x="140" y="131"/>
                    <a:pt x="140" y="131"/>
                  </a:cubicBezTo>
                  <a:cubicBezTo>
                    <a:pt x="140" y="131"/>
                    <a:pt x="140" y="130"/>
                    <a:pt x="140" y="130"/>
                  </a:cubicBezTo>
                  <a:cubicBezTo>
                    <a:pt x="140" y="130"/>
                    <a:pt x="140" y="130"/>
                    <a:pt x="140" y="130"/>
                  </a:cubicBezTo>
                  <a:cubicBezTo>
                    <a:pt x="140" y="129"/>
                    <a:pt x="140" y="129"/>
                    <a:pt x="140" y="129"/>
                  </a:cubicBezTo>
                  <a:cubicBezTo>
                    <a:pt x="139" y="129"/>
                    <a:pt x="139" y="129"/>
                    <a:pt x="139" y="129"/>
                  </a:cubicBezTo>
                  <a:cubicBezTo>
                    <a:pt x="139" y="129"/>
                    <a:pt x="139" y="129"/>
                    <a:pt x="139" y="129"/>
                  </a:cubicBezTo>
                  <a:cubicBezTo>
                    <a:pt x="139" y="130"/>
                    <a:pt x="139" y="130"/>
                    <a:pt x="138" y="130"/>
                  </a:cubicBezTo>
                  <a:cubicBezTo>
                    <a:pt x="138" y="130"/>
                    <a:pt x="138" y="130"/>
                    <a:pt x="138" y="131"/>
                  </a:cubicBezTo>
                  <a:cubicBezTo>
                    <a:pt x="138" y="131"/>
                    <a:pt x="138" y="131"/>
                    <a:pt x="137" y="131"/>
                  </a:cubicBezTo>
                  <a:cubicBezTo>
                    <a:pt x="137" y="132"/>
                    <a:pt x="137" y="132"/>
                    <a:pt x="137" y="132"/>
                  </a:cubicBezTo>
                  <a:cubicBezTo>
                    <a:pt x="136" y="132"/>
                    <a:pt x="136" y="132"/>
                    <a:pt x="136" y="131"/>
                  </a:cubicBezTo>
                  <a:cubicBezTo>
                    <a:pt x="136" y="131"/>
                    <a:pt x="136" y="131"/>
                    <a:pt x="137" y="131"/>
                  </a:cubicBezTo>
                  <a:cubicBezTo>
                    <a:pt x="137" y="130"/>
                    <a:pt x="137" y="130"/>
                    <a:pt x="137" y="130"/>
                  </a:cubicBezTo>
                  <a:cubicBezTo>
                    <a:pt x="137" y="129"/>
                    <a:pt x="137" y="129"/>
                    <a:pt x="137" y="128"/>
                  </a:cubicBezTo>
                  <a:cubicBezTo>
                    <a:pt x="137" y="128"/>
                    <a:pt x="137" y="127"/>
                    <a:pt x="137" y="127"/>
                  </a:cubicBezTo>
                  <a:cubicBezTo>
                    <a:pt x="137" y="126"/>
                    <a:pt x="137" y="126"/>
                    <a:pt x="138" y="126"/>
                  </a:cubicBezTo>
                  <a:cubicBezTo>
                    <a:pt x="138" y="126"/>
                    <a:pt x="138" y="126"/>
                    <a:pt x="139" y="126"/>
                  </a:cubicBezTo>
                  <a:cubicBezTo>
                    <a:pt x="139" y="126"/>
                    <a:pt x="139" y="126"/>
                    <a:pt x="139" y="126"/>
                  </a:cubicBezTo>
                  <a:cubicBezTo>
                    <a:pt x="139" y="126"/>
                    <a:pt x="140" y="126"/>
                    <a:pt x="140" y="126"/>
                  </a:cubicBezTo>
                  <a:cubicBezTo>
                    <a:pt x="139" y="126"/>
                    <a:pt x="139" y="125"/>
                    <a:pt x="139" y="125"/>
                  </a:cubicBezTo>
                  <a:cubicBezTo>
                    <a:pt x="139" y="124"/>
                    <a:pt x="139" y="124"/>
                    <a:pt x="139" y="123"/>
                  </a:cubicBezTo>
                  <a:cubicBezTo>
                    <a:pt x="138" y="123"/>
                    <a:pt x="138" y="123"/>
                    <a:pt x="138" y="122"/>
                  </a:cubicBezTo>
                  <a:cubicBezTo>
                    <a:pt x="138" y="122"/>
                    <a:pt x="138" y="121"/>
                    <a:pt x="138" y="121"/>
                  </a:cubicBezTo>
                  <a:cubicBezTo>
                    <a:pt x="138" y="120"/>
                    <a:pt x="137" y="120"/>
                    <a:pt x="137" y="119"/>
                  </a:cubicBezTo>
                  <a:cubicBezTo>
                    <a:pt x="137" y="119"/>
                    <a:pt x="137" y="119"/>
                    <a:pt x="137" y="118"/>
                  </a:cubicBezTo>
                  <a:cubicBezTo>
                    <a:pt x="137" y="118"/>
                    <a:pt x="136" y="118"/>
                    <a:pt x="136" y="118"/>
                  </a:cubicBezTo>
                  <a:cubicBezTo>
                    <a:pt x="136" y="118"/>
                    <a:pt x="136" y="118"/>
                    <a:pt x="136" y="118"/>
                  </a:cubicBezTo>
                  <a:cubicBezTo>
                    <a:pt x="136" y="118"/>
                    <a:pt x="135" y="116"/>
                    <a:pt x="135" y="116"/>
                  </a:cubicBezTo>
                  <a:cubicBezTo>
                    <a:pt x="135" y="116"/>
                    <a:pt x="134" y="116"/>
                    <a:pt x="134" y="116"/>
                  </a:cubicBezTo>
                  <a:cubicBezTo>
                    <a:pt x="134" y="115"/>
                    <a:pt x="133" y="115"/>
                    <a:pt x="133" y="114"/>
                  </a:cubicBezTo>
                  <a:cubicBezTo>
                    <a:pt x="133" y="114"/>
                    <a:pt x="132" y="114"/>
                    <a:pt x="132" y="114"/>
                  </a:cubicBezTo>
                  <a:cubicBezTo>
                    <a:pt x="129" y="117"/>
                    <a:pt x="129" y="117"/>
                    <a:pt x="129" y="117"/>
                  </a:cubicBezTo>
                  <a:cubicBezTo>
                    <a:pt x="127" y="115"/>
                    <a:pt x="127" y="115"/>
                    <a:pt x="127" y="115"/>
                  </a:cubicBezTo>
                  <a:cubicBezTo>
                    <a:pt x="127" y="115"/>
                    <a:pt x="126" y="113"/>
                    <a:pt x="126" y="113"/>
                  </a:cubicBezTo>
                  <a:cubicBezTo>
                    <a:pt x="126" y="113"/>
                    <a:pt x="125" y="111"/>
                    <a:pt x="125" y="111"/>
                  </a:cubicBezTo>
                  <a:cubicBezTo>
                    <a:pt x="124" y="110"/>
                    <a:pt x="124" y="109"/>
                    <a:pt x="124" y="109"/>
                  </a:cubicBezTo>
                  <a:cubicBezTo>
                    <a:pt x="124" y="109"/>
                    <a:pt x="127" y="105"/>
                    <a:pt x="127" y="105"/>
                  </a:cubicBezTo>
                  <a:cubicBezTo>
                    <a:pt x="126" y="105"/>
                    <a:pt x="126" y="104"/>
                    <a:pt x="126" y="104"/>
                  </a:cubicBezTo>
                  <a:cubicBezTo>
                    <a:pt x="126" y="104"/>
                    <a:pt x="124" y="100"/>
                    <a:pt x="124" y="100"/>
                  </a:cubicBezTo>
                  <a:cubicBezTo>
                    <a:pt x="124" y="100"/>
                    <a:pt x="124" y="99"/>
                    <a:pt x="124" y="99"/>
                  </a:cubicBezTo>
                  <a:cubicBezTo>
                    <a:pt x="124" y="99"/>
                    <a:pt x="124" y="99"/>
                    <a:pt x="124" y="99"/>
                  </a:cubicBezTo>
                  <a:cubicBezTo>
                    <a:pt x="127" y="99"/>
                    <a:pt x="127" y="99"/>
                    <a:pt x="127" y="99"/>
                  </a:cubicBezTo>
                  <a:cubicBezTo>
                    <a:pt x="127" y="99"/>
                    <a:pt x="127" y="94"/>
                    <a:pt x="127" y="94"/>
                  </a:cubicBezTo>
                  <a:cubicBezTo>
                    <a:pt x="126" y="94"/>
                    <a:pt x="125" y="93"/>
                    <a:pt x="125" y="93"/>
                  </a:cubicBezTo>
                  <a:cubicBezTo>
                    <a:pt x="124" y="94"/>
                    <a:pt x="124" y="94"/>
                    <a:pt x="124" y="94"/>
                  </a:cubicBezTo>
                  <a:cubicBezTo>
                    <a:pt x="124" y="94"/>
                    <a:pt x="123" y="94"/>
                    <a:pt x="123" y="94"/>
                  </a:cubicBezTo>
                  <a:cubicBezTo>
                    <a:pt x="123" y="94"/>
                    <a:pt x="121" y="93"/>
                    <a:pt x="121" y="93"/>
                  </a:cubicBezTo>
                  <a:cubicBezTo>
                    <a:pt x="121" y="93"/>
                    <a:pt x="119" y="93"/>
                    <a:pt x="119" y="93"/>
                  </a:cubicBezTo>
                  <a:cubicBezTo>
                    <a:pt x="119" y="93"/>
                    <a:pt x="118" y="91"/>
                    <a:pt x="118" y="91"/>
                  </a:cubicBezTo>
                  <a:cubicBezTo>
                    <a:pt x="118" y="91"/>
                    <a:pt x="116" y="90"/>
                    <a:pt x="116" y="90"/>
                  </a:cubicBezTo>
                  <a:cubicBezTo>
                    <a:pt x="116" y="89"/>
                    <a:pt x="115" y="90"/>
                    <a:pt x="114" y="90"/>
                  </a:cubicBezTo>
                  <a:cubicBezTo>
                    <a:pt x="114" y="90"/>
                    <a:pt x="113" y="89"/>
                    <a:pt x="113" y="89"/>
                  </a:cubicBezTo>
                  <a:cubicBezTo>
                    <a:pt x="113" y="89"/>
                    <a:pt x="114" y="87"/>
                    <a:pt x="114" y="87"/>
                  </a:cubicBezTo>
                  <a:cubicBezTo>
                    <a:pt x="114" y="87"/>
                    <a:pt x="114" y="86"/>
                    <a:pt x="114" y="86"/>
                  </a:cubicBezTo>
                  <a:cubicBezTo>
                    <a:pt x="114" y="86"/>
                    <a:pt x="113" y="85"/>
                    <a:pt x="113" y="84"/>
                  </a:cubicBezTo>
                  <a:cubicBezTo>
                    <a:pt x="113" y="84"/>
                    <a:pt x="113" y="84"/>
                    <a:pt x="114" y="84"/>
                  </a:cubicBezTo>
                  <a:cubicBezTo>
                    <a:pt x="114" y="84"/>
                    <a:pt x="115" y="82"/>
                    <a:pt x="115" y="82"/>
                  </a:cubicBezTo>
                  <a:cubicBezTo>
                    <a:pt x="115" y="82"/>
                    <a:pt x="114" y="81"/>
                    <a:pt x="114" y="81"/>
                  </a:cubicBezTo>
                  <a:cubicBezTo>
                    <a:pt x="114" y="81"/>
                    <a:pt x="113" y="80"/>
                    <a:pt x="113" y="80"/>
                  </a:cubicBezTo>
                  <a:cubicBezTo>
                    <a:pt x="113" y="80"/>
                    <a:pt x="114" y="80"/>
                    <a:pt x="114" y="80"/>
                  </a:cubicBezTo>
                  <a:cubicBezTo>
                    <a:pt x="114" y="80"/>
                    <a:pt x="115" y="78"/>
                    <a:pt x="115" y="78"/>
                  </a:cubicBezTo>
                  <a:cubicBezTo>
                    <a:pt x="115" y="78"/>
                    <a:pt x="115" y="77"/>
                    <a:pt x="115" y="77"/>
                  </a:cubicBezTo>
                  <a:cubicBezTo>
                    <a:pt x="115" y="77"/>
                    <a:pt x="114" y="77"/>
                    <a:pt x="114" y="77"/>
                  </a:cubicBezTo>
                  <a:cubicBezTo>
                    <a:pt x="114" y="20"/>
                    <a:pt x="114" y="20"/>
                    <a:pt x="114" y="20"/>
                  </a:cubicBezTo>
                  <a:cubicBezTo>
                    <a:pt x="110" y="18"/>
                    <a:pt x="110" y="18"/>
                    <a:pt x="110" y="18"/>
                  </a:cubicBezTo>
                  <a:cubicBezTo>
                    <a:pt x="108" y="14"/>
                    <a:pt x="108" y="14"/>
                    <a:pt x="108" y="14"/>
                  </a:cubicBezTo>
                  <a:cubicBezTo>
                    <a:pt x="99" y="6"/>
                    <a:pt x="99" y="6"/>
                    <a:pt x="99" y="6"/>
                  </a:cubicBezTo>
                  <a:cubicBezTo>
                    <a:pt x="94" y="6"/>
                    <a:pt x="94" y="6"/>
                    <a:pt x="94" y="6"/>
                  </a:cubicBezTo>
                  <a:cubicBezTo>
                    <a:pt x="94" y="9"/>
                    <a:pt x="94" y="9"/>
                    <a:pt x="94" y="9"/>
                  </a:cubicBezTo>
                  <a:cubicBezTo>
                    <a:pt x="87" y="9"/>
                    <a:pt x="87" y="9"/>
                    <a:pt x="87" y="9"/>
                  </a:cubicBezTo>
                  <a:cubicBezTo>
                    <a:pt x="86" y="11"/>
                    <a:pt x="86" y="11"/>
                    <a:pt x="86" y="11"/>
                  </a:cubicBezTo>
                  <a:cubicBezTo>
                    <a:pt x="82" y="11"/>
                    <a:pt x="82" y="11"/>
                    <a:pt x="82" y="11"/>
                  </a:cubicBezTo>
                  <a:cubicBezTo>
                    <a:pt x="75" y="15"/>
                    <a:pt x="75" y="15"/>
                    <a:pt x="75" y="15"/>
                  </a:cubicBezTo>
                  <a:cubicBezTo>
                    <a:pt x="71" y="11"/>
                    <a:pt x="71" y="11"/>
                    <a:pt x="71" y="11"/>
                  </a:cubicBezTo>
                  <a:cubicBezTo>
                    <a:pt x="70" y="1"/>
                    <a:pt x="70" y="1"/>
                    <a:pt x="70" y="1"/>
                  </a:cubicBezTo>
                  <a:cubicBezTo>
                    <a:pt x="70" y="1"/>
                    <a:pt x="69" y="2"/>
                    <a:pt x="68" y="2"/>
                  </a:cubicBezTo>
                  <a:cubicBezTo>
                    <a:pt x="68" y="2"/>
                    <a:pt x="64" y="0"/>
                    <a:pt x="64" y="0"/>
                  </a:cubicBezTo>
                  <a:cubicBezTo>
                    <a:pt x="38" y="39"/>
                    <a:pt x="38" y="39"/>
                    <a:pt x="38" y="39"/>
                  </a:cubicBezTo>
                  <a:cubicBezTo>
                    <a:pt x="36" y="53"/>
                    <a:pt x="36" y="53"/>
                    <a:pt x="36" y="53"/>
                  </a:cubicBezTo>
                  <a:cubicBezTo>
                    <a:pt x="31" y="56"/>
                    <a:pt x="31" y="56"/>
                    <a:pt x="31" y="56"/>
                  </a:cubicBezTo>
                  <a:cubicBezTo>
                    <a:pt x="27" y="64"/>
                    <a:pt x="27" y="64"/>
                    <a:pt x="27" y="64"/>
                  </a:cubicBezTo>
                  <a:cubicBezTo>
                    <a:pt x="29" y="67"/>
                    <a:pt x="29" y="67"/>
                    <a:pt x="29" y="67"/>
                  </a:cubicBezTo>
                  <a:cubicBezTo>
                    <a:pt x="29" y="69"/>
                    <a:pt x="29" y="69"/>
                    <a:pt x="29" y="69"/>
                  </a:cubicBezTo>
                  <a:cubicBezTo>
                    <a:pt x="29" y="69"/>
                    <a:pt x="27" y="70"/>
                    <a:pt x="27" y="70"/>
                  </a:cubicBezTo>
                  <a:cubicBezTo>
                    <a:pt x="27" y="71"/>
                    <a:pt x="28" y="71"/>
                    <a:pt x="28" y="71"/>
                  </a:cubicBezTo>
                  <a:cubicBezTo>
                    <a:pt x="28" y="71"/>
                    <a:pt x="27" y="73"/>
                    <a:pt x="26" y="73"/>
                  </a:cubicBezTo>
                  <a:cubicBezTo>
                    <a:pt x="26" y="73"/>
                    <a:pt x="28" y="74"/>
                    <a:pt x="28" y="74"/>
                  </a:cubicBezTo>
                  <a:cubicBezTo>
                    <a:pt x="28" y="74"/>
                    <a:pt x="27" y="75"/>
                    <a:pt x="26" y="75"/>
                  </a:cubicBezTo>
                  <a:cubicBezTo>
                    <a:pt x="26" y="76"/>
                    <a:pt x="27" y="76"/>
                    <a:pt x="27" y="76"/>
                  </a:cubicBezTo>
                  <a:cubicBezTo>
                    <a:pt x="29" y="76"/>
                    <a:pt x="29" y="76"/>
                    <a:pt x="29" y="76"/>
                  </a:cubicBezTo>
                  <a:cubicBezTo>
                    <a:pt x="29" y="79"/>
                    <a:pt x="29" y="79"/>
                    <a:pt x="29" y="79"/>
                  </a:cubicBezTo>
                  <a:cubicBezTo>
                    <a:pt x="23" y="84"/>
                    <a:pt x="23" y="84"/>
                    <a:pt x="23" y="84"/>
                  </a:cubicBezTo>
                  <a:cubicBezTo>
                    <a:pt x="23" y="84"/>
                    <a:pt x="24" y="85"/>
                    <a:pt x="24" y="86"/>
                  </a:cubicBezTo>
                  <a:cubicBezTo>
                    <a:pt x="24" y="86"/>
                    <a:pt x="24" y="87"/>
                    <a:pt x="24" y="87"/>
                  </a:cubicBezTo>
                  <a:cubicBezTo>
                    <a:pt x="16" y="93"/>
                    <a:pt x="16" y="93"/>
                    <a:pt x="16" y="93"/>
                  </a:cubicBezTo>
                  <a:cubicBezTo>
                    <a:pt x="16" y="93"/>
                    <a:pt x="12" y="98"/>
                    <a:pt x="12" y="98"/>
                  </a:cubicBezTo>
                  <a:cubicBezTo>
                    <a:pt x="12" y="98"/>
                    <a:pt x="16" y="102"/>
                    <a:pt x="16" y="102"/>
                  </a:cubicBezTo>
                  <a:cubicBezTo>
                    <a:pt x="16" y="104"/>
                    <a:pt x="16" y="104"/>
                    <a:pt x="16" y="104"/>
                  </a:cubicBezTo>
                  <a:cubicBezTo>
                    <a:pt x="10" y="102"/>
                    <a:pt x="10" y="102"/>
                    <a:pt x="10" y="102"/>
                  </a:cubicBezTo>
                  <a:cubicBezTo>
                    <a:pt x="10" y="103"/>
                    <a:pt x="10" y="103"/>
                    <a:pt x="10" y="103"/>
                  </a:cubicBezTo>
                  <a:cubicBezTo>
                    <a:pt x="10" y="103"/>
                    <a:pt x="9" y="105"/>
                    <a:pt x="9" y="105"/>
                  </a:cubicBezTo>
                  <a:cubicBezTo>
                    <a:pt x="9" y="106"/>
                    <a:pt x="10" y="107"/>
                    <a:pt x="10" y="107"/>
                  </a:cubicBezTo>
                  <a:cubicBezTo>
                    <a:pt x="10" y="107"/>
                    <a:pt x="9" y="109"/>
                    <a:pt x="9" y="109"/>
                  </a:cubicBezTo>
                  <a:cubicBezTo>
                    <a:pt x="9" y="109"/>
                    <a:pt x="8" y="112"/>
                    <a:pt x="8" y="112"/>
                  </a:cubicBezTo>
                  <a:cubicBezTo>
                    <a:pt x="8" y="112"/>
                    <a:pt x="6" y="109"/>
                    <a:pt x="6" y="109"/>
                  </a:cubicBezTo>
                  <a:cubicBezTo>
                    <a:pt x="6" y="109"/>
                    <a:pt x="5" y="106"/>
                    <a:pt x="5" y="106"/>
                  </a:cubicBezTo>
                  <a:cubicBezTo>
                    <a:pt x="3" y="106"/>
                    <a:pt x="3" y="106"/>
                    <a:pt x="3" y="106"/>
                  </a:cubicBezTo>
                  <a:cubicBezTo>
                    <a:pt x="3" y="108"/>
                    <a:pt x="3" y="108"/>
                    <a:pt x="3" y="108"/>
                  </a:cubicBezTo>
                  <a:cubicBezTo>
                    <a:pt x="0" y="108"/>
                    <a:pt x="0" y="108"/>
                    <a:pt x="0" y="108"/>
                  </a:cubicBezTo>
                  <a:cubicBezTo>
                    <a:pt x="3" y="166"/>
                    <a:pt x="3" y="166"/>
                    <a:pt x="3" y="166"/>
                  </a:cubicBezTo>
                  <a:cubicBezTo>
                    <a:pt x="4" y="186"/>
                    <a:pt x="4" y="186"/>
                    <a:pt x="4" y="186"/>
                  </a:cubicBezTo>
                  <a:cubicBezTo>
                    <a:pt x="4" y="186"/>
                    <a:pt x="4" y="195"/>
                    <a:pt x="4" y="195"/>
                  </a:cubicBezTo>
                  <a:cubicBezTo>
                    <a:pt x="4" y="195"/>
                    <a:pt x="4" y="202"/>
                    <a:pt x="4" y="202"/>
                  </a:cubicBezTo>
                  <a:cubicBezTo>
                    <a:pt x="9" y="208"/>
                    <a:pt x="9" y="208"/>
                    <a:pt x="9" y="208"/>
                  </a:cubicBezTo>
                  <a:cubicBezTo>
                    <a:pt x="9" y="208"/>
                    <a:pt x="9" y="211"/>
                    <a:pt x="9" y="211"/>
                  </a:cubicBezTo>
                  <a:cubicBezTo>
                    <a:pt x="9" y="211"/>
                    <a:pt x="9" y="213"/>
                    <a:pt x="9" y="214"/>
                  </a:cubicBezTo>
                  <a:cubicBezTo>
                    <a:pt x="9" y="214"/>
                    <a:pt x="10" y="214"/>
                    <a:pt x="10" y="214"/>
                  </a:cubicBezTo>
                  <a:cubicBezTo>
                    <a:pt x="10" y="214"/>
                    <a:pt x="11" y="214"/>
                    <a:pt x="12" y="215"/>
                  </a:cubicBezTo>
                  <a:cubicBezTo>
                    <a:pt x="12" y="215"/>
                    <a:pt x="13" y="215"/>
                    <a:pt x="13" y="216"/>
                  </a:cubicBezTo>
                  <a:cubicBezTo>
                    <a:pt x="13" y="216"/>
                    <a:pt x="13" y="216"/>
                    <a:pt x="14" y="217"/>
                  </a:cubicBezTo>
                  <a:cubicBezTo>
                    <a:pt x="14" y="217"/>
                    <a:pt x="14" y="216"/>
                    <a:pt x="15" y="216"/>
                  </a:cubicBezTo>
                  <a:cubicBezTo>
                    <a:pt x="15" y="215"/>
                    <a:pt x="15" y="215"/>
                    <a:pt x="15" y="214"/>
                  </a:cubicBezTo>
                  <a:cubicBezTo>
                    <a:pt x="16" y="213"/>
                    <a:pt x="17" y="213"/>
                    <a:pt x="17" y="212"/>
                  </a:cubicBezTo>
                  <a:cubicBezTo>
                    <a:pt x="17" y="211"/>
                    <a:pt x="17" y="210"/>
                    <a:pt x="18" y="209"/>
                  </a:cubicBezTo>
                  <a:cubicBezTo>
                    <a:pt x="18" y="209"/>
                    <a:pt x="18" y="209"/>
                    <a:pt x="18" y="208"/>
                  </a:cubicBezTo>
                  <a:cubicBezTo>
                    <a:pt x="18" y="207"/>
                    <a:pt x="18" y="207"/>
                    <a:pt x="19" y="206"/>
                  </a:cubicBezTo>
                  <a:cubicBezTo>
                    <a:pt x="19" y="205"/>
                    <a:pt x="19" y="204"/>
                    <a:pt x="20" y="204"/>
                  </a:cubicBezTo>
                  <a:cubicBezTo>
                    <a:pt x="21" y="204"/>
                    <a:pt x="22" y="203"/>
                    <a:pt x="22" y="203"/>
                  </a:cubicBezTo>
                  <a:cubicBezTo>
                    <a:pt x="23" y="202"/>
                    <a:pt x="24" y="201"/>
                    <a:pt x="24" y="200"/>
                  </a:cubicBezTo>
                  <a:cubicBezTo>
                    <a:pt x="24" y="199"/>
                    <a:pt x="24" y="198"/>
                    <a:pt x="25" y="198"/>
                  </a:cubicBezTo>
                  <a:cubicBezTo>
                    <a:pt x="25" y="197"/>
                    <a:pt x="25" y="197"/>
                    <a:pt x="25" y="196"/>
                  </a:cubicBezTo>
                  <a:cubicBezTo>
                    <a:pt x="25" y="195"/>
                    <a:pt x="25" y="194"/>
                    <a:pt x="26" y="194"/>
                  </a:cubicBezTo>
                  <a:cubicBezTo>
                    <a:pt x="27" y="194"/>
                    <a:pt x="27" y="194"/>
                    <a:pt x="28" y="194"/>
                  </a:cubicBezTo>
                  <a:cubicBezTo>
                    <a:pt x="28" y="194"/>
                    <a:pt x="29" y="194"/>
                    <a:pt x="29" y="194"/>
                  </a:cubicBezTo>
                  <a:cubicBezTo>
                    <a:pt x="29" y="194"/>
                    <a:pt x="29" y="194"/>
                    <a:pt x="29" y="193"/>
                  </a:cubicBezTo>
                  <a:cubicBezTo>
                    <a:pt x="30" y="193"/>
                    <a:pt x="31" y="193"/>
                    <a:pt x="31" y="192"/>
                  </a:cubicBezTo>
                  <a:cubicBezTo>
                    <a:pt x="31" y="191"/>
                    <a:pt x="31" y="190"/>
                    <a:pt x="30" y="189"/>
                  </a:cubicBezTo>
                  <a:cubicBezTo>
                    <a:pt x="30" y="188"/>
                    <a:pt x="29" y="188"/>
                    <a:pt x="29" y="187"/>
                  </a:cubicBezTo>
                  <a:cubicBezTo>
                    <a:pt x="29" y="187"/>
                    <a:pt x="30" y="186"/>
                    <a:pt x="30" y="186"/>
                  </a:cubicBezTo>
                  <a:cubicBezTo>
                    <a:pt x="30" y="185"/>
                    <a:pt x="31" y="185"/>
                    <a:pt x="31" y="185"/>
                  </a:cubicBezTo>
                  <a:cubicBezTo>
                    <a:pt x="32" y="184"/>
                    <a:pt x="32" y="183"/>
                    <a:pt x="33" y="183"/>
                  </a:cubicBezTo>
                  <a:cubicBezTo>
                    <a:pt x="34" y="182"/>
                    <a:pt x="34" y="182"/>
                    <a:pt x="35" y="181"/>
                  </a:cubicBezTo>
                  <a:cubicBezTo>
                    <a:pt x="35" y="181"/>
                    <a:pt x="36" y="180"/>
                    <a:pt x="36" y="180"/>
                  </a:cubicBezTo>
                  <a:cubicBezTo>
                    <a:pt x="36" y="180"/>
                    <a:pt x="36" y="179"/>
                    <a:pt x="37" y="179"/>
                  </a:cubicBezTo>
                  <a:cubicBezTo>
                    <a:pt x="37" y="179"/>
                    <a:pt x="37" y="179"/>
                    <a:pt x="37" y="179"/>
                  </a:cubicBezTo>
                  <a:cubicBezTo>
                    <a:pt x="37" y="179"/>
                    <a:pt x="37" y="179"/>
                    <a:pt x="37" y="179"/>
                  </a:cubicBezTo>
                  <a:cubicBezTo>
                    <a:pt x="37" y="179"/>
                    <a:pt x="38" y="179"/>
                    <a:pt x="38" y="179"/>
                  </a:cubicBezTo>
                  <a:cubicBezTo>
                    <a:pt x="38" y="179"/>
                    <a:pt x="38" y="179"/>
                    <a:pt x="38" y="180"/>
                  </a:cubicBezTo>
                  <a:cubicBezTo>
                    <a:pt x="39" y="180"/>
                    <a:pt x="39" y="180"/>
                    <a:pt x="40" y="180"/>
                  </a:cubicBezTo>
                  <a:cubicBezTo>
                    <a:pt x="40" y="180"/>
                    <a:pt x="40" y="180"/>
                    <a:pt x="40" y="179"/>
                  </a:cubicBezTo>
                  <a:cubicBezTo>
                    <a:pt x="40" y="179"/>
                    <a:pt x="40" y="179"/>
                    <a:pt x="40" y="179"/>
                  </a:cubicBezTo>
                  <a:cubicBezTo>
                    <a:pt x="40" y="179"/>
                    <a:pt x="40" y="178"/>
                    <a:pt x="41" y="178"/>
                  </a:cubicBezTo>
                  <a:cubicBezTo>
                    <a:pt x="41" y="178"/>
                    <a:pt x="42" y="179"/>
                    <a:pt x="42" y="179"/>
                  </a:cubicBezTo>
                  <a:cubicBezTo>
                    <a:pt x="43" y="179"/>
                    <a:pt x="43" y="180"/>
                    <a:pt x="43" y="181"/>
                  </a:cubicBezTo>
                  <a:cubicBezTo>
                    <a:pt x="44" y="181"/>
                    <a:pt x="44" y="182"/>
                    <a:pt x="44" y="182"/>
                  </a:cubicBezTo>
                  <a:cubicBezTo>
                    <a:pt x="43" y="183"/>
                    <a:pt x="43" y="184"/>
                    <a:pt x="43" y="184"/>
                  </a:cubicBezTo>
                  <a:cubicBezTo>
                    <a:pt x="43" y="185"/>
                    <a:pt x="44" y="185"/>
                    <a:pt x="44" y="185"/>
                  </a:cubicBezTo>
                  <a:cubicBezTo>
                    <a:pt x="44" y="185"/>
                    <a:pt x="45" y="185"/>
                    <a:pt x="45" y="184"/>
                  </a:cubicBezTo>
                  <a:cubicBezTo>
                    <a:pt x="45" y="184"/>
                    <a:pt x="45" y="184"/>
                    <a:pt x="45" y="184"/>
                  </a:cubicBezTo>
                  <a:cubicBezTo>
                    <a:pt x="45" y="184"/>
                    <a:pt x="45" y="184"/>
                    <a:pt x="45" y="183"/>
                  </a:cubicBezTo>
                  <a:cubicBezTo>
                    <a:pt x="45" y="183"/>
                    <a:pt x="45" y="183"/>
                    <a:pt x="45" y="183"/>
                  </a:cubicBezTo>
                  <a:cubicBezTo>
                    <a:pt x="45" y="183"/>
                    <a:pt x="45" y="182"/>
                    <a:pt x="45" y="182"/>
                  </a:cubicBezTo>
                  <a:cubicBezTo>
                    <a:pt x="45" y="181"/>
                    <a:pt x="45" y="181"/>
                    <a:pt x="45" y="180"/>
                  </a:cubicBezTo>
                  <a:cubicBezTo>
                    <a:pt x="45" y="180"/>
                    <a:pt x="45" y="179"/>
                    <a:pt x="45" y="179"/>
                  </a:cubicBezTo>
                  <a:cubicBezTo>
                    <a:pt x="45" y="179"/>
                    <a:pt x="44" y="178"/>
                    <a:pt x="44" y="178"/>
                  </a:cubicBezTo>
                  <a:cubicBezTo>
                    <a:pt x="44" y="177"/>
                    <a:pt x="44" y="177"/>
                    <a:pt x="44" y="176"/>
                  </a:cubicBezTo>
                  <a:cubicBezTo>
                    <a:pt x="44" y="176"/>
                    <a:pt x="44" y="175"/>
                    <a:pt x="45" y="175"/>
                  </a:cubicBezTo>
                  <a:cubicBezTo>
                    <a:pt x="45" y="175"/>
                    <a:pt x="45" y="176"/>
                    <a:pt x="45" y="176"/>
                  </a:cubicBezTo>
                  <a:cubicBezTo>
                    <a:pt x="45" y="176"/>
                    <a:pt x="45" y="177"/>
                    <a:pt x="45" y="178"/>
                  </a:cubicBezTo>
                  <a:cubicBezTo>
                    <a:pt x="46" y="179"/>
                    <a:pt x="46" y="180"/>
                    <a:pt x="46" y="181"/>
                  </a:cubicBezTo>
                  <a:cubicBezTo>
                    <a:pt x="46" y="181"/>
                    <a:pt x="46" y="182"/>
                    <a:pt x="46" y="182"/>
                  </a:cubicBezTo>
                  <a:cubicBezTo>
                    <a:pt x="46" y="182"/>
                    <a:pt x="46" y="183"/>
                    <a:pt x="46" y="183"/>
                  </a:cubicBezTo>
                  <a:cubicBezTo>
                    <a:pt x="47" y="183"/>
                    <a:pt x="46" y="182"/>
                    <a:pt x="47" y="182"/>
                  </a:cubicBezTo>
                  <a:cubicBezTo>
                    <a:pt x="47" y="182"/>
                    <a:pt x="47" y="182"/>
                    <a:pt x="47" y="181"/>
                  </a:cubicBezTo>
                  <a:cubicBezTo>
                    <a:pt x="47" y="181"/>
                    <a:pt x="47" y="181"/>
                    <a:pt x="47" y="181"/>
                  </a:cubicBezTo>
                  <a:cubicBezTo>
                    <a:pt x="47" y="180"/>
                    <a:pt x="47" y="180"/>
                    <a:pt x="48" y="180"/>
                  </a:cubicBezTo>
                  <a:cubicBezTo>
                    <a:pt x="48" y="180"/>
                    <a:pt x="48" y="179"/>
                    <a:pt x="48" y="179"/>
                  </a:cubicBezTo>
                  <a:cubicBezTo>
                    <a:pt x="47" y="180"/>
                    <a:pt x="47" y="180"/>
                    <a:pt x="47" y="180"/>
                  </a:cubicBezTo>
                  <a:cubicBezTo>
                    <a:pt x="47" y="180"/>
                    <a:pt x="47" y="180"/>
                    <a:pt x="47" y="180"/>
                  </a:cubicBezTo>
                  <a:cubicBezTo>
                    <a:pt x="47" y="180"/>
                    <a:pt x="47" y="180"/>
                    <a:pt x="47" y="180"/>
                  </a:cubicBezTo>
                  <a:cubicBezTo>
                    <a:pt x="46" y="179"/>
                    <a:pt x="46" y="179"/>
                    <a:pt x="46" y="179"/>
                  </a:cubicBezTo>
                  <a:cubicBezTo>
                    <a:pt x="46" y="178"/>
                    <a:pt x="46" y="177"/>
                    <a:pt x="47" y="177"/>
                  </a:cubicBezTo>
                  <a:cubicBezTo>
                    <a:pt x="47" y="177"/>
                    <a:pt x="47" y="176"/>
                    <a:pt x="47" y="177"/>
                  </a:cubicBezTo>
                  <a:cubicBezTo>
                    <a:pt x="47" y="177"/>
                    <a:pt x="47" y="177"/>
                    <a:pt x="47" y="177"/>
                  </a:cubicBezTo>
                  <a:cubicBezTo>
                    <a:pt x="48" y="178"/>
                    <a:pt x="47" y="178"/>
                    <a:pt x="47" y="178"/>
                  </a:cubicBezTo>
                  <a:cubicBezTo>
                    <a:pt x="47" y="179"/>
                    <a:pt x="47" y="179"/>
                    <a:pt x="48" y="179"/>
                  </a:cubicBezTo>
                  <a:cubicBezTo>
                    <a:pt x="48" y="179"/>
                    <a:pt x="48" y="179"/>
                    <a:pt x="48" y="178"/>
                  </a:cubicBezTo>
                  <a:cubicBezTo>
                    <a:pt x="48" y="178"/>
                    <a:pt x="48" y="178"/>
                    <a:pt x="48" y="178"/>
                  </a:cubicBezTo>
                  <a:cubicBezTo>
                    <a:pt x="49" y="178"/>
                    <a:pt x="49" y="178"/>
                    <a:pt x="49" y="178"/>
                  </a:cubicBezTo>
                  <a:cubicBezTo>
                    <a:pt x="49" y="178"/>
                    <a:pt x="50" y="178"/>
                    <a:pt x="50" y="178"/>
                  </a:cubicBezTo>
                  <a:cubicBezTo>
                    <a:pt x="50" y="178"/>
                    <a:pt x="51" y="178"/>
                    <a:pt x="51" y="178"/>
                  </a:cubicBezTo>
                  <a:cubicBezTo>
                    <a:pt x="51" y="178"/>
                    <a:pt x="51" y="178"/>
                    <a:pt x="51" y="179"/>
                  </a:cubicBezTo>
                  <a:cubicBezTo>
                    <a:pt x="51" y="179"/>
                    <a:pt x="51" y="178"/>
                    <a:pt x="51" y="178"/>
                  </a:cubicBezTo>
                  <a:cubicBezTo>
                    <a:pt x="51" y="178"/>
                    <a:pt x="52" y="177"/>
                    <a:pt x="52" y="177"/>
                  </a:cubicBezTo>
                  <a:cubicBezTo>
                    <a:pt x="52" y="176"/>
                    <a:pt x="52" y="176"/>
                    <a:pt x="52" y="175"/>
                  </a:cubicBezTo>
                  <a:cubicBezTo>
                    <a:pt x="52" y="175"/>
                    <a:pt x="52" y="175"/>
                    <a:pt x="52" y="174"/>
                  </a:cubicBezTo>
                  <a:cubicBezTo>
                    <a:pt x="52" y="174"/>
                    <a:pt x="52" y="174"/>
                    <a:pt x="52" y="173"/>
                  </a:cubicBezTo>
                  <a:cubicBezTo>
                    <a:pt x="52" y="173"/>
                    <a:pt x="52" y="173"/>
                    <a:pt x="52" y="173"/>
                  </a:cubicBezTo>
                  <a:cubicBezTo>
                    <a:pt x="53" y="173"/>
                    <a:pt x="53" y="172"/>
                    <a:pt x="53" y="172"/>
                  </a:cubicBezTo>
                  <a:cubicBezTo>
                    <a:pt x="53" y="172"/>
                    <a:pt x="53" y="173"/>
                    <a:pt x="53" y="174"/>
                  </a:cubicBezTo>
                  <a:cubicBezTo>
                    <a:pt x="53" y="174"/>
                    <a:pt x="53" y="175"/>
                    <a:pt x="53" y="175"/>
                  </a:cubicBezTo>
                  <a:cubicBezTo>
                    <a:pt x="53" y="176"/>
                    <a:pt x="53" y="176"/>
                    <a:pt x="53" y="177"/>
                  </a:cubicBezTo>
                  <a:cubicBezTo>
                    <a:pt x="54" y="177"/>
                    <a:pt x="54" y="177"/>
                    <a:pt x="54" y="177"/>
                  </a:cubicBezTo>
                  <a:cubicBezTo>
                    <a:pt x="54" y="177"/>
                    <a:pt x="54" y="178"/>
                    <a:pt x="54" y="178"/>
                  </a:cubicBezTo>
                  <a:cubicBezTo>
                    <a:pt x="54" y="178"/>
                    <a:pt x="54" y="178"/>
                    <a:pt x="54" y="178"/>
                  </a:cubicBezTo>
                  <a:cubicBezTo>
                    <a:pt x="54" y="178"/>
                    <a:pt x="54" y="179"/>
                    <a:pt x="54" y="179"/>
                  </a:cubicBezTo>
                  <a:cubicBezTo>
                    <a:pt x="55" y="179"/>
                    <a:pt x="55" y="178"/>
                    <a:pt x="55" y="178"/>
                  </a:cubicBezTo>
                  <a:cubicBezTo>
                    <a:pt x="56" y="178"/>
                    <a:pt x="56" y="177"/>
                    <a:pt x="56" y="177"/>
                  </a:cubicBezTo>
                  <a:cubicBezTo>
                    <a:pt x="56" y="177"/>
                    <a:pt x="56" y="176"/>
                    <a:pt x="57" y="176"/>
                  </a:cubicBezTo>
                  <a:cubicBezTo>
                    <a:pt x="57" y="175"/>
                    <a:pt x="57" y="175"/>
                    <a:pt x="57" y="175"/>
                  </a:cubicBezTo>
                  <a:cubicBezTo>
                    <a:pt x="57" y="174"/>
                    <a:pt x="58" y="174"/>
                    <a:pt x="58" y="173"/>
                  </a:cubicBezTo>
                  <a:cubicBezTo>
                    <a:pt x="58" y="173"/>
                    <a:pt x="58" y="173"/>
                    <a:pt x="59" y="173"/>
                  </a:cubicBezTo>
                  <a:cubicBezTo>
                    <a:pt x="59" y="172"/>
                    <a:pt x="59" y="172"/>
                    <a:pt x="59" y="171"/>
                  </a:cubicBezTo>
                  <a:cubicBezTo>
                    <a:pt x="59" y="171"/>
                    <a:pt x="59" y="170"/>
                    <a:pt x="59" y="170"/>
                  </a:cubicBezTo>
                  <a:cubicBezTo>
                    <a:pt x="59" y="170"/>
                    <a:pt x="59" y="169"/>
                    <a:pt x="59" y="169"/>
                  </a:cubicBezTo>
                  <a:cubicBezTo>
                    <a:pt x="59" y="169"/>
                    <a:pt x="59" y="169"/>
                    <a:pt x="59" y="169"/>
                  </a:cubicBezTo>
                  <a:cubicBezTo>
                    <a:pt x="60" y="169"/>
                    <a:pt x="60" y="169"/>
                    <a:pt x="60" y="169"/>
                  </a:cubicBezTo>
                  <a:cubicBezTo>
                    <a:pt x="60" y="169"/>
                    <a:pt x="61" y="170"/>
                    <a:pt x="61" y="170"/>
                  </a:cubicBezTo>
                  <a:cubicBezTo>
                    <a:pt x="61" y="170"/>
                    <a:pt x="61" y="170"/>
                    <a:pt x="60" y="170"/>
                  </a:cubicBezTo>
                  <a:cubicBezTo>
                    <a:pt x="60" y="170"/>
                    <a:pt x="60" y="170"/>
                    <a:pt x="60" y="170"/>
                  </a:cubicBezTo>
                  <a:cubicBezTo>
                    <a:pt x="60" y="171"/>
                    <a:pt x="60" y="171"/>
                    <a:pt x="60" y="171"/>
                  </a:cubicBezTo>
                  <a:cubicBezTo>
                    <a:pt x="60" y="172"/>
                    <a:pt x="60" y="172"/>
                    <a:pt x="60" y="172"/>
                  </a:cubicBezTo>
                  <a:cubicBezTo>
                    <a:pt x="60" y="173"/>
                    <a:pt x="60" y="173"/>
                    <a:pt x="61" y="173"/>
                  </a:cubicBezTo>
                  <a:cubicBezTo>
                    <a:pt x="61" y="174"/>
                    <a:pt x="61" y="174"/>
                    <a:pt x="61" y="174"/>
                  </a:cubicBezTo>
                  <a:cubicBezTo>
                    <a:pt x="62" y="174"/>
                    <a:pt x="62" y="174"/>
                    <a:pt x="63" y="174"/>
                  </a:cubicBezTo>
                  <a:cubicBezTo>
                    <a:pt x="63" y="174"/>
                    <a:pt x="63" y="175"/>
                    <a:pt x="63" y="175"/>
                  </a:cubicBezTo>
                  <a:cubicBezTo>
                    <a:pt x="64" y="175"/>
                    <a:pt x="64" y="175"/>
                    <a:pt x="64" y="175"/>
                  </a:cubicBezTo>
                  <a:cubicBezTo>
                    <a:pt x="65" y="175"/>
                    <a:pt x="65" y="175"/>
                    <a:pt x="65" y="174"/>
                  </a:cubicBezTo>
                  <a:cubicBezTo>
                    <a:pt x="65" y="174"/>
                    <a:pt x="65" y="174"/>
                    <a:pt x="66" y="173"/>
                  </a:cubicBezTo>
                  <a:cubicBezTo>
                    <a:pt x="66" y="173"/>
                    <a:pt x="66" y="173"/>
                    <a:pt x="66" y="173"/>
                  </a:cubicBezTo>
                  <a:cubicBezTo>
                    <a:pt x="66" y="173"/>
                    <a:pt x="66" y="173"/>
                    <a:pt x="66" y="173"/>
                  </a:cubicBezTo>
                  <a:cubicBezTo>
                    <a:pt x="67" y="173"/>
                    <a:pt x="67" y="173"/>
                    <a:pt x="67" y="173"/>
                  </a:cubicBezTo>
                  <a:cubicBezTo>
                    <a:pt x="68" y="173"/>
                    <a:pt x="68" y="172"/>
                    <a:pt x="68" y="172"/>
                  </a:cubicBezTo>
                  <a:cubicBezTo>
                    <a:pt x="68" y="172"/>
                    <a:pt x="69" y="172"/>
                    <a:pt x="69" y="171"/>
                  </a:cubicBezTo>
                  <a:cubicBezTo>
                    <a:pt x="69" y="171"/>
                    <a:pt x="69" y="171"/>
                    <a:pt x="69" y="171"/>
                  </a:cubicBezTo>
                  <a:cubicBezTo>
                    <a:pt x="70" y="170"/>
                    <a:pt x="70" y="170"/>
                    <a:pt x="70" y="169"/>
                  </a:cubicBezTo>
                  <a:cubicBezTo>
                    <a:pt x="70" y="169"/>
                    <a:pt x="71" y="169"/>
                    <a:pt x="71" y="168"/>
                  </a:cubicBezTo>
                  <a:cubicBezTo>
                    <a:pt x="71" y="168"/>
                    <a:pt x="71" y="168"/>
                    <a:pt x="70" y="168"/>
                  </a:cubicBezTo>
                  <a:cubicBezTo>
                    <a:pt x="70" y="168"/>
                    <a:pt x="70" y="168"/>
                    <a:pt x="70" y="168"/>
                  </a:cubicBezTo>
                  <a:cubicBezTo>
                    <a:pt x="70" y="168"/>
                    <a:pt x="70" y="167"/>
                    <a:pt x="70" y="167"/>
                  </a:cubicBezTo>
                  <a:cubicBezTo>
                    <a:pt x="70" y="167"/>
                    <a:pt x="70" y="167"/>
                    <a:pt x="70" y="167"/>
                  </a:cubicBezTo>
                  <a:cubicBezTo>
                    <a:pt x="69" y="166"/>
                    <a:pt x="69" y="166"/>
                    <a:pt x="69" y="166"/>
                  </a:cubicBezTo>
                  <a:cubicBezTo>
                    <a:pt x="70" y="166"/>
                    <a:pt x="70" y="166"/>
                    <a:pt x="70" y="166"/>
                  </a:cubicBezTo>
                  <a:cubicBezTo>
                    <a:pt x="70" y="166"/>
                    <a:pt x="70" y="165"/>
                    <a:pt x="70" y="165"/>
                  </a:cubicBezTo>
                  <a:cubicBezTo>
                    <a:pt x="70" y="165"/>
                    <a:pt x="70" y="165"/>
                    <a:pt x="70" y="165"/>
                  </a:cubicBezTo>
                  <a:cubicBezTo>
                    <a:pt x="70" y="164"/>
                    <a:pt x="70" y="164"/>
                    <a:pt x="70" y="163"/>
                  </a:cubicBezTo>
                  <a:cubicBezTo>
                    <a:pt x="70" y="163"/>
                    <a:pt x="70" y="163"/>
                    <a:pt x="70" y="163"/>
                  </a:cubicBezTo>
                  <a:cubicBezTo>
                    <a:pt x="71" y="163"/>
                    <a:pt x="71" y="162"/>
                    <a:pt x="71" y="162"/>
                  </a:cubicBezTo>
                  <a:cubicBezTo>
                    <a:pt x="71" y="162"/>
                    <a:pt x="71" y="162"/>
                    <a:pt x="71" y="161"/>
                  </a:cubicBezTo>
                  <a:cubicBezTo>
                    <a:pt x="71" y="161"/>
                    <a:pt x="71" y="161"/>
                    <a:pt x="71" y="161"/>
                  </a:cubicBezTo>
                  <a:cubicBezTo>
                    <a:pt x="71" y="160"/>
                    <a:pt x="71" y="160"/>
                    <a:pt x="72" y="160"/>
                  </a:cubicBezTo>
                  <a:cubicBezTo>
                    <a:pt x="72" y="160"/>
                    <a:pt x="72" y="160"/>
                    <a:pt x="72" y="160"/>
                  </a:cubicBezTo>
                  <a:cubicBezTo>
                    <a:pt x="72" y="159"/>
                    <a:pt x="72" y="159"/>
                    <a:pt x="72" y="159"/>
                  </a:cubicBezTo>
                  <a:cubicBezTo>
                    <a:pt x="72" y="159"/>
                    <a:pt x="72" y="159"/>
                    <a:pt x="73" y="158"/>
                  </a:cubicBezTo>
                  <a:cubicBezTo>
                    <a:pt x="73" y="158"/>
                    <a:pt x="73" y="158"/>
                    <a:pt x="74" y="157"/>
                  </a:cubicBezTo>
                  <a:cubicBezTo>
                    <a:pt x="74" y="157"/>
                    <a:pt x="74" y="156"/>
                    <a:pt x="74" y="156"/>
                  </a:cubicBezTo>
                  <a:cubicBezTo>
                    <a:pt x="74" y="156"/>
                    <a:pt x="74" y="155"/>
                    <a:pt x="74" y="154"/>
                  </a:cubicBezTo>
                  <a:cubicBezTo>
                    <a:pt x="74" y="154"/>
                    <a:pt x="73" y="154"/>
                    <a:pt x="73" y="154"/>
                  </a:cubicBezTo>
                  <a:cubicBezTo>
                    <a:pt x="73" y="154"/>
                    <a:pt x="73" y="153"/>
                    <a:pt x="73" y="153"/>
                  </a:cubicBezTo>
                  <a:cubicBezTo>
                    <a:pt x="73" y="153"/>
                    <a:pt x="73" y="153"/>
                    <a:pt x="73" y="152"/>
                  </a:cubicBezTo>
                  <a:cubicBezTo>
                    <a:pt x="73" y="152"/>
                    <a:pt x="74" y="152"/>
                    <a:pt x="74" y="152"/>
                  </a:cubicBezTo>
                  <a:cubicBezTo>
                    <a:pt x="74" y="152"/>
                    <a:pt x="74" y="152"/>
                    <a:pt x="74" y="152"/>
                  </a:cubicBezTo>
                  <a:cubicBezTo>
                    <a:pt x="74" y="151"/>
                    <a:pt x="74" y="151"/>
                    <a:pt x="74" y="151"/>
                  </a:cubicBezTo>
                  <a:cubicBezTo>
                    <a:pt x="75" y="151"/>
                    <a:pt x="75" y="151"/>
                    <a:pt x="75" y="151"/>
                  </a:cubicBezTo>
                  <a:cubicBezTo>
                    <a:pt x="75" y="151"/>
                    <a:pt x="76" y="151"/>
                    <a:pt x="76" y="150"/>
                  </a:cubicBezTo>
                  <a:cubicBezTo>
                    <a:pt x="76" y="150"/>
                    <a:pt x="76" y="150"/>
                    <a:pt x="77" y="150"/>
                  </a:cubicBezTo>
                  <a:cubicBezTo>
                    <a:pt x="77" y="150"/>
                    <a:pt x="77" y="150"/>
                    <a:pt x="78" y="150"/>
                  </a:cubicBezTo>
                  <a:cubicBezTo>
                    <a:pt x="78" y="150"/>
                    <a:pt x="78" y="150"/>
                    <a:pt x="78" y="149"/>
                  </a:cubicBezTo>
                  <a:cubicBezTo>
                    <a:pt x="78" y="149"/>
                    <a:pt x="78" y="149"/>
                    <a:pt x="78" y="149"/>
                  </a:cubicBezTo>
                  <a:cubicBezTo>
                    <a:pt x="78" y="148"/>
                    <a:pt x="78" y="148"/>
                    <a:pt x="79" y="148"/>
                  </a:cubicBezTo>
                  <a:cubicBezTo>
                    <a:pt x="79" y="148"/>
                    <a:pt x="79" y="147"/>
                    <a:pt x="79" y="147"/>
                  </a:cubicBezTo>
                  <a:cubicBezTo>
                    <a:pt x="79" y="147"/>
                    <a:pt x="79" y="147"/>
                    <a:pt x="79" y="146"/>
                  </a:cubicBezTo>
                  <a:cubicBezTo>
                    <a:pt x="79" y="146"/>
                    <a:pt x="79" y="146"/>
                    <a:pt x="79" y="145"/>
                  </a:cubicBezTo>
                  <a:cubicBezTo>
                    <a:pt x="79" y="145"/>
                    <a:pt x="80" y="145"/>
                    <a:pt x="80" y="145"/>
                  </a:cubicBezTo>
                  <a:cubicBezTo>
                    <a:pt x="80" y="146"/>
                    <a:pt x="80" y="146"/>
                    <a:pt x="80" y="147"/>
                  </a:cubicBezTo>
                  <a:cubicBezTo>
                    <a:pt x="80" y="147"/>
                    <a:pt x="80" y="147"/>
                    <a:pt x="80" y="148"/>
                  </a:cubicBezTo>
                  <a:cubicBezTo>
                    <a:pt x="80" y="148"/>
                    <a:pt x="81" y="148"/>
                    <a:pt x="81" y="148"/>
                  </a:cubicBezTo>
                  <a:cubicBezTo>
                    <a:pt x="81" y="148"/>
                    <a:pt x="80" y="148"/>
                    <a:pt x="80" y="149"/>
                  </a:cubicBezTo>
                  <a:cubicBezTo>
                    <a:pt x="80" y="149"/>
                    <a:pt x="79" y="150"/>
                    <a:pt x="79" y="151"/>
                  </a:cubicBezTo>
                  <a:cubicBezTo>
                    <a:pt x="79" y="151"/>
                    <a:pt x="79" y="151"/>
                    <a:pt x="79" y="151"/>
                  </a:cubicBezTo>
                  <a:cubicBezTo>
                    <a:pt x="79" y="151"/>
                    <a:pt x="79" y="152"/>
                    <a:pt x="78" y="152"/>
                  </a:cubicBezTo>
                  <a:cubicBezTo>
                    <a:pt x="78" y="152"/>
                    <a:pt x="78" y="153"/>
                    <a:pt x="78" y="153"/>
                  </a:cubicBezTo>
                  <a:cubicBezTo>
                    <a:pt x="78" y="154"/>
                    <a:pt x="78" y="154"/>
                    <a:pt x="78" y="155"/>
                  </a:cubicBezTo>
                  <a:cubicBezTo>
                    <a:pt x="78" y="155"/>
                    <a:pt x="78" y="156"/>
                    <a:pt x="79" y="156"/>
                  </a:cubicBezTo>
                  <a:cubicBezTo>
                    <a:pt x="79" y="156"/>
                    <a:pt x="79" y="156"/>
                    <a:pt x="80" y="156"/>
                  </a:cubicBezTo>
                  <a:cubicBezTo>
                    <a:pt x="80" y="157"/>
                    <a:pt x="80" y="157"/>
                    <a:pt x="81" y="157"/>
                  </a:cubicBezTo>
                  <a:cubicBezTo>
                    <a:pt x="81" y="157"/>
                    <a:pt x="81" y="157"/>
                    <a:pt x="81" y="156"/>
                  </a:cubicBezTo>
                  <a:cubicBezTo>
                    <a:pt x="81" y="156"/>
                    <a:pt x="81" y="156"/>
                    <a:pt x="81" y="156"/>
                  </a:cubicBezTo>
                  <a:cubicBezTo>
                    <a:pt x="82" y="156"/>
                    <a:pt x="82" y="156"/>
                    <a:pt x="82" y="156"/>
                  </a:cubicBezTo>
                  <a:cubicBezTo>
                    <a:pt x="83" y="157"/>
                    <a:pt x="83" y="157"/>
                    <a:pt x="84" y="158"/>
                  </a:cubicBezTo>
                  <a:cubicBezTo>
                    <a:pt x="84" y="158"/>
                    <a:pt x="84" y="158"/>
                    <a:pt x="85" y="158"/>
                  </a:cubicBezTo>
                  <a:cubicBezTo>
                    <a:pt x="85" y="158"/>
                    <a:pt x="85" y="158"/>
                    <a:pt x="85" y="158"/>
                  </a:cubicBezTo>
                  <a:cubicBezTo>
                    <a:pt x="85" y="159"/>
                    <a:pt x="86" y="159"/>
                    <a:pt x="86" y="159"/>
                  </a:cubicBezTo>
                  <a:cubicBezTo>
                    <a:pt x="87" y="159"/>
                    <a:pt x="87" y="160"/>
                    <a:pt x="88" y="160"/>
                  </a:cubicBezTo>
                  <a:cubicBezTo>
                    <a:pt x="88" y="160"/>
                    <a:pt x="88" y="160"/>
                    <a:pt x="88" y="160"/>
                  </a:cubicBezTo>
                  <a:cubicBezTo>
                    <a:pt x="88" y="160"/>
                    <a:pt x="88" y="160"/>
                    <a:pt x="88" y="160"/>
                  </a:cubicBezTo>
                  <a:cubicBezTo>
                    <a:pt x="88" y="161"/>
                    <a:pt x="89" y="161"/>
                    <a:pt x="89" y="161"/>
                  </a:cubicBezTo>
                  <a:cubicBezTo>
                    <a:pt x="89" y="160"/>
                    <a:pt x="89" y="160"/>
                    <a:pt x="89" y="160"/>
                  </a:cubicBezTo>
                  <a:cubicBezTo>
                    <a:pt x="89" y="160"/>
                    <a:pt x="89" y="160"/>
                    <a:pt x="89" y="160"/>
                  </a:cubicBezTo>
                  <a:cubicBezTo>
                    <a:pt x="89" y="159"/>
                    <a:pt x="89" y="159"/>
                    <a:pt x="89" y="159"/>
                  </a:cubicBezTo>
                  <a:cubicBezTo>
                    <a:pt x="89" y="158"/>
                    <a:pt x="89" y="158"/>
                    <a:pt x="89" y="158"/>
                  </a:cubicBezTo>
                  <a:cubicBezTo>
                    <a:pt x="89" y="158"/>
                    <a:pt x="89" y="157"/>
                    <a:pt x="88" y="157"/>
                  </a:cubicBezTo>
                  <a:cubicBezTo>
                    <a:pt x="88" y="157"/>
                    <a:pt x="88" y="156"/>
                    <a:pt x="88" y="156"/>
                  </a:cubicBezTo>
                  <a:cubicBezTo>
                    <a:pt x="88" y="155"/>
                    <a:pt x="88" y="155"/>
                    <a:pt x="88" y="154"/>
                  </a:cubicBezTo>
                  <a:cubicBezTo>
                    <a:pt x="88" y="154"/>
                    <a:pt x="89" y="154"/>
                    <a:pt x="89" y="153"/>
                  </a:cubicBezTo>
                  <a:cubicBezTo>
                    <a:pt x="89" y="153"/>
                    <a:pt x="89" y="153"/>
                    <a:pt x="89" y="153"/>
                  </a:cubicBezTo>
                  <a:cubicBezTo>
                    <a:pt x="89" y="152"/>
                    <a:pt x="89" y="152"/>
                    <a:pt x="89" y="152"/>
                  </a:cubicBezTo>
                  <a:cubicBezTo>
                    <a:pt x="90" y="152"/>
                    <a:pt x="89" y="151"/>
                    <a:pt x="89" y="151"/>
                  </a:cubicBezTo>
                  <a:cubicBezTo>
                    <a:pt x="89" y="151"/>
                    <a:pt x="90" y="150"/>
                    <a:pt x="90" y="150"/>
                  </a:cubicBezTo>
                  <a:cubicBezTo>
                    <a:pt x="90" y="150"/>
                    <a:pt x="90" y="150"/>
                    <a:pt x="90" y="150"/>
                  </a:cubicBezTo>
                  <a:cubicBezTo>
                    <a:pt x="90" y="150"/>
                    <a:pt x="90" y="149"/>
                    <a:pt x="90" y="149"/>
                  </a:cubicBezTo>
                  <a:cubicBezTo>
                    <a:pt x="91" y="149"/>
                    <a:pt x="91" y="149"/>
                    <a:pt x="91" y="149"/>
                  </a:cubicBezTo>
                  <a:cubicBezTo>
                    <a:pt x="91" y="149"/>
                    <a:pt x="91" y="148"/>
                    <a:pt x="91" y="148"/>
                  </a:cubicBezTo>
                  <a:cubicBezTo>
                    <a:pt x="91" y="148"/>
                    <a:pt x="91" y="149"/>
                    <a:pt x="91" y="150"/>
                  </a:cubicBezTo>
                  <a:cubicBezTo>
                    <a:pt x="91" y="150"/>
                    <a:pt x="91" y="150"/>
                    <a:pt x="91" y="150"/>
                  </a:cubicBezTo>
                  <a:cubicBezTo>
                    <a:pt x="91" y="151"/>
                    <a:pt x="92" y="151"/>
                    <a:pt x="92" y="151"/>
                  </a:cubicBezTo>
                  <a:cubicBezTo>
                    <a:pt x="92" y="151"/>
                    <a:pt x="92" y="151"/>
                    <a:pt x="92" y="151"/>
                  </a:cubicBezTo>
                  <a:cubicBezTo>
                    <a:pt x="92" y="151"/>
                    <a:pt x="92" y="152"/>
                    <a:pt x="92" y="152"/>
                  </a:cubicBezTo>
                  <a:cubicBezTo>
                    <a:pt x="92" y="152"/>
                    <a:pt x="92" y="152"/>
                    <a:pt x="93" y="152"/>
                  </a:cubicBezTo>
                  <a:cubicBezTo>
                    <a:pt x="93" y="152"/>
                    <a:pt x="93" y="152"/>
                    <a:pt x="93" y="152"/>
                  </a:cubicBezTo>
                  <a:cubicBezTo>
                    <a:pt x="94" y="151"/>
                    <a:pt x="94" y="151"/>
                    <a:pt x="94" y="151"/>
                  </a:cubicBezTo>
                  <a:cubicBezTo>
                    <a:pt x="95" y="151"/>
                    <a:pt x="95" y="150"/>
                    <a:pt x="95" y="151"/>
                  </a:cubicBezTo>
                  <a:cubicBezTo>
                    <a:pt x="96" y="151"/>
                    <a:pt x="95" y="151"/>
                    <a:pt x="95" y="152"/>
                  </a:cubicBezTo>
                  <a:cubicBezTo>
                    <a:pt x="95" y="152"/>
                    <a:pt x="94" y="152"/>
                    <a:pt x="94" y="153"/>
                  </a:cubicBezTo>
                  <a:cubicBezTo>
                    <a:pt x="94" y="153"/>
                    <a:pt x="94" y="153"/>
                    <a:pt x="94" y="154"/>
                  </a:cubicBezTo>
                  <a:cubicBezTo>
                    <a:pt x="94" y="154"/>
                    <a:pt x="94" y="155"/>
                    <a:pt x="94" y="155"/>
                  </a:cubicBezTo>
                  <a:cubicBezTo>
                    <a:pt x="94" y="155"/>
                    <a:pt x="94" y="156"/>
                    <a:pt x="94" y="156"/>
                  </a:cubicBezTo>
                  <a:cubicBezTo>
                    <a:pt x="94" y="156"/>
                    <a:pt x="94" y="157"/>
                    <a:pt x="94" y="157"/>
                  </a:cubicBezTo>
                  <a:cubicBezTo>
                    <a:pt x="93" y="157"/>
                    <a:pt x="93" y="157"/>
                    <a:pt x="93" y="157"/>
                  </a:cubicBezTo>
                  <a:cubicBezTo>
                    <a:pt x="93" y="158"/>
                    <a:pt x="93" y="158"/>
                    <a:pt x="92" y="158"/>
                  </a:cubicBezTo>
                  <a:cubicBezTo>
                    <a:pt x="92" y="158"/>
                    <a:pt x="92" y="158"/>
                    <a:pt x="92" y="159"/>
                  </a:cubicBezTo>
                  <a:cubicBezTo>
                    <a:pt x="92" y="159"/>
                    <a:pt x="93" y="160"/>
                    <a:pt x="94" y="160"/>
                  </a:cubicBezTo>
                  <a:cubicBezTo>
                    <a:pt x="94" y="160"/>
                    <a:pt x="94" y="160"/>
                    <a:pt x="95" y="160"/>
                  </a:cubicBezTo>
                  <a:cubicBezTo>
                    <a:pt x="95" y="160"/>
                    <a:pt x="96" y="160"/>
                    <a:pt x="96" y="159"/>
                  </a:cubicBezTo>
                  <a:cubicBezTo>
                    <a:pt x="97" y="159"/>
                    <a:pt x="97" y="159"/>
                    <a:pt x="98" y="159"/>
                  </a:cubicBezTo>
                  <a:cubicBezTo>
                    <a:pt x="98" y="159"/>
                    <a:pt x="98" y="158"/>
                    <a:pt x="98" y="158"/>
                  </a:cubicBezTo>
                  <a:cubicBezTo>
                    <a:pt x="98" y="158"/>
                    <a:pt x="98" y="158"/>
                    <a:pt x="98" y="158"/>
                  </a:cubicBezTo>
                  <a:cubicBezTo>
                    <a:pt x="98" y="158"/>
                    <a:pt x="99" y="157"/>
                    <a:pt x="99" y="157"/>
                  </a:cubicBezTo>
                  <a:cubicBezTo>
                    <a:pt x="99" y="157"/>
                    <a:pt x="100" y="156"/>
                    <a:pt x="100" y="156"/>
                  </a:cubicBezTo>
                  <a:cubicBezTo>
                    <a:pt x="100" y="156"/>
                    <a:pt x="100" y="155"/>
                    <a:pt x="100" y="155"/>
                  </a:cubicBezTo>
                  <a:cubicBezTo>
                    <a:pt x="100" y="155"/>
                    <a:pt x="100" y="154"/>
                    <a:pt x="100" y="154"/>
                  </a:cubicBezTo>
                  <a:cubicBezTo>
                    <a:pt x="100" y="153"/>
                    <a:pt x="99" y="154"/>
                    <a:pt x="99" y="153"/>
                  </a:cubicBezTo>
                  <a:cubicBezTo>
                    <a:pt x="99" y="153"/>
                    <a:pt x="98" y="153"/>
                    <a:pt x="98" y="153"/>
                  </a:cubicBezTo>
                  <a:cubicBezTo>
                    <a:pt x="98" y="152"/>
                    <a:pt x="98" y="152"/>
                    <a:pt x="97" y="152"/>
                  </a:cubicBezTo>
                  <a:cubicBezTo>
                    <a:pt x="97" y="152"/>
                    <a:pt x="96" y="151"/>
                    <a:pt x="96" y="151"/>
                  </a:cubicBezTo>
                  <a:cubicBezTo>
                    <a:pt x="96" y="150"/>
                    <a:pt x="97" y="150"/>
                    <a:pt x="97" y="150"/>
                  </a:cubicBezTo>
                  <a:cubicBezTo>
                    <a:pt x="97" y="149"/>
                    <a:pt x="97" y="149"/>
                    <a:pt x="97" y="148"/>
                  </a:cubicBezTo>
                  <a:cubicBezTo>
                    <a:pt x="96" y="148"/>
                    <a:pt x="96" y="147"/>
                    <a:pt x="97" y="147"/>
                  </a:cubicBezTo>
                  <a:cubicBezTo>
                    <a:pt x="97" y="147"/>
                    <a:pt x="97" y="147"/>
                    <a:pt x="97" y="147"/>
                  </a:cubicBezTo>
                  <a:cubicBezTo>
                    <a:pt x="97" y="147"/>
                    <a:pt x="97" y="148"/>
                    <a:pt x="97" y="148"/>
                  </a:cubicBezTo>
                  <a:cubicBezTo>
                    <a:pt x="98" y="148"/>
                    <a:pt x="98" y="149"/>
                    <a:pt x="99" y="149"/>
                  </a:cubicBezTo>
                  <a:cubicBezTo>
                    <a:pt x="99" y="149"/>
                    <a:pt x="99" y="149"/>
                    <a:pt x="99" y="148"/>
                  </a:cubicBezTo>
                  <a:cubicBezTo>
                    <a:pt x="99" y="148"/>
                    <a:pt x="99" y="148"/>
                    <a:pt x="99" y="148"/>
                  </a:cubicBezTo>
                  <a:cubicBezTo>
                    <a:pt x="100" y="148"/>
                    <a:pt x="100" y="148"/>
                    <a:pt x="100" y="148"/>
                  </a:cubicBezTo>
                  <a:cubicBezTo>
                    <a:pt x="101" y="147"/>
                    <a:pt x="101" y="148"/>
                    <a:pt x="101" y="148"/>
                  </a:cubicBezTo>
                  <a:cubicBezTo>
                    <a:pt x="101" y="148"/>
                    <a:pt x="102" y="148"/>
                    <a:pt x="102" y="149"/>
                  </a:cubicBezTo>
                  <a:cubicBezTo>
                    <a:pt x="103" y="149"/>
                    <a:pt x="103" y="149"/>
                    <a:pt x="103" y="150"/>
                  </a:cubicBezTo>
                  <a:cubicBezTo>
                    <a:pt x="103" y="151"/>
                    <a:pt x="103" y="152"/>
                    <a:pt x="103" y="152"/>
                  </a:cubicBezTo>
                  <a:cubicBezTo>
                    <a:pt x="103" y="153"/>
                    <a:pt x="103" y="153"/>
                    <a:pt x="103" y="153"/>
                  </a:cubicBezTo>
                  <a:cubicBezTo>
                    <a:pt x="103" y="154"/>
                    <a:pt x="104" y="154"/>
                    <a:pt x="104" y="154"/>
                  </a:cubicBezTo>
                  <a:cubicBezTo>
                    <a:pt x="104" y="154"/>
                    <a:pt x="104" y="154"/>
                    <a:pt x="105" y="154"/>
                  </a:cubicBezTo>
                  <a:cubicBezTo>
                    <a:pt x="105" y="155"/>
                    <a:pt x="105" y="155"/>
                    <a:pt x="105" y="155"/>
                  </a:cubicBezTo>
                  <a:cubicBezTo>
                    <a:pt x="106" y="155"/>
                    <a:pt x="105" y="154"/>
                    <a:pt x="105" y="154"/>
                  </a:cubicBezTo>
                  <a:cubicBezTo>
                    <a:pt x="105" y="153"/>
                    <a:pt x="105" y="153"/>
                    <a:pt x="106" y="152"/>
                  </a:cubicBezTo>
                  <a:cubicBezTo>
                    <a:pt x="106" y="151"/>
                    <a:pt x="106" y="151"/>
                    <a:pt x="106" y="150"/>
                  </a:cubicBezTo>
                  <a:cubicBezTo>
                    <a:pt x="106" y="150"/>
                    <a:pt x="106" y="149"/>
                    <a:pt x="106" y="149"/>
                  </a:cubicBezTo>
                  <a:cubicBezTo>
                    <a:pt x="106" y="149"/>
                    <a:pt x="107" y="149"/>
                    <a:pt x="107" y="149"/>
                  </a:cubicBezTo>
                  <a:cubicBezTo>
                    <a:pt x="107" y="149"/>
                    <a:pt x="107" y="149"/>
                    <a:pt x="107" y="149"/>
                  </a:cubicBezTo>
                  <a:cubicBezTo>
                    <a:pt x="108" y="148"/>
                    <a:pt x="108" y="149"/>
                    <a:pt x="108" y="149"/>
                  </a:cubicBezTo>
                  <a:cubicBezTo>
                    <a:pt x="108" y="149"/>
                    <a:pt x="108" y="149"/>
                    <a:pt x="108" y="150"/>
                  </a:cubicBezTo>
                  <a:cubicBezTo>
                    <a:pt x="108" y="150"/>
                    <a:pt x="108" y="150"/>
                    <a:pt x="108" y="150"/>
                  </a:cubicBezTo>
                  <a:cubicBezTo>
                    <a:pt x="109" y="151"/>
                    <a:pt x="109" y="151"/>
                    <a:pt x="109" y="152"/>
                  </a:cubicBezTo>
                  <a:cubicBezTo>
                    <a:pt x="109" y="152"/>
                    <a:pt x="110" y="152"/>
                    <a:pt x="110" y="152"/>
                  </a:cubicBezTo>
                  <a:cubicBezTo>
                    <a:pt x="110" y="153"/>
                    <a:pt x="111" y="153"/>
                    <a:pt x="111" y="153"/>
                  </a:cubicBezTo>
                  <a:cubicBezTo>
                    <a:pt x="111" y="152"/>
                    <a:pt x="111" y="152"/>
                    <a:pt x="111" y="152"/>
                  </a:cubicBezTo>
                  <a:cubicBezTo>
                    <a:pt x="111" y="151"/>
                    <a:pt x="111" y="151"/>
                    <a:pt x="111" y="151"/>
                  </a:cubicBezTo>
                  <a:cubicBezTo>
                    <a:pt x="111" y="150"/>
                    <a:pt x="111" y="150"/>
                    <a:pt x="112" y="150"/>
                  </a:cubicBezTo>
                  <a:cubicBezTo>
                    <a:pt x="112" y="149"/>
                    <a:pt x="112" y="149"/>
                    <a:pt x="112" y="148"/>
                  </a:cubicBezTo>
                  <a:cubicBezTo>
                    <a:pt x="112" y="147"/>
                    <a:pt x="112" y="147"/>
                    <a:pt x="112" y="146"/>
                  </a:cubicBezTo>
                  <a:cubicBezTo>
                    <a:pt x="112" y="146"/>
                    <a:pt x="112" y="145"/>
                    <a:pt x="112" y="145"/>
                  </a:cubicBezTo>
                  <a:cubicBezTo>
                    <a:pt x="112" y="145"/>
                    <a:pt x="112" y="145"/>
                    <a:pt x="113" y="145"/>
                  </a:cubicBezTo>
                  <a:cubicBezTo>
                    <a:pt x="113" y="145"/>
                    <a:pt x="113" y="145"/>
                    <a:pt x="113" y="145"/>
                  </a:cubicBezTo>
                  <a:cubicBezTo>
                    <a:pt x="113" y="145"/>
                    <a:pt x="113" y="145"/>
                    <a:pt x="113" y="145"/>
                  </a:cubicBezTo>
                  <a:cubicBezTo>
                    <a:pt x="113" y="145"/>
                    <a:pt x="114" y="145"/>
                    <a:pt x="114" y="145"/>
                  </a:cubicBezTo>
                  <a:cubicBezTo>
                    <a:pt x="115" y="145"/>
                    <a:pt x="116" y="145"/>
                    <a:pt x="116" y="145"/>
                  </a:cubicBezTo>
                  <a:cubicBezTo>
                    <a:pt x="117" y="145"/>
                    <a:pt x="118" y="145"/>
                    <a:pt x="118" y="145"/>
                  </a:cubicBezTo>
                  <a:cubicBezTo>
                    <a:pt x="118" y="146"/>
                    <a:pt x="118" y="146"/>
                    <a:pt x="119" y="146"/>
                  </a:cubicBezTo>
                  <a:cubicBezTo>
                    <a:pt x="119" y="146"/>
                    <a:pt x="119" y="146"/>
                    <a:pt x="119" y="146"/>
                  </a:cubicBezTo>
                  <a:cubicBezTo>
                    <a:pt x="120" y="146"/>
                    <a:pt x="121" y="146"/>
                    <a:pt x="122" y="146"/>
                  </a:cubicBezTo>
                  <a:cubicBezTo>
                    <a:pt x="122" y="146"/>
                    <a:pt x="122" y="145"/>
                    <a:pt x="122" y="145"/>
                  </a:cubicBezTo>
                  <a:cubicBezTo>
                    <a:pt x="122" y="144"/>
                    <a:pt x="122" y="143"/>
                    <a:pt x="123" y="142"/>
                  </a:cubicBezTo>
                  <a:cubicBezTo>
                    <a:pt x="123" y="141"/>
                    <a:pt x="123" y="141"/>
                    <a:pt x="123" y="141"/>
                  </a:cubicBezTo>
                  <a:cubicBezTo>
                    <a:pt x="123" y="141"/>
                    <a:pt x="123" y="141"/>
                    <a:pt x="123" y="141"/>
                  </a:cubicBezTo>
                  <a:cubicBezTo>
                    <a:pt x="123" y="141"/>
                    <a:pt x="124" y="141"/>
                    <a:pt x="124" y="141"/>
                  </a:cubicBezTo>
                  <a:cubicBezTo>
                    <a:pt x="124" y="141"/>
                    <a:pt x="124" y="141"/>
                    <a:pt x="124" y="141"/>
                  </a:cubicBezTo>
                  <a:cubicBezTo>
                    <a:pt x="124" y="141"/>
                    <a:pt x="124" y="142"/>
                    <a:pt x="124" y="142"/>
                  </a:cubicBezTo>
                  <a:cubicBezTo>
                    <a:pt x="124" y="142"/>
                    <a:pt x="124" y="142"/>
                    <a:pt x="125" y="142"/>
                  </a:cubicBezTo>
                  <a:cubicBezTo>
                    <a:pt x="125" y="142"/>
                    <a:pt x="125" y="142"/>
                    <a:pt x="126" y="142"/>
                  </a:cubicBezTo>
                  <a:cubicBezTo>
                    <a:pt x="126" y="143"/>
                    <a:pt x="126" y="143"/>
                    <a:pt x="126" y="143"/>
                  </a:cubicBezTo>
                  <a:cubicBezTo>
                    <a:pt x="126" y="143"/>
                    <a:pt x="126" y="143"/>
                    <a:pt x="126" y="143"/>
                  </a:cubicBezTo>
                  <a:cubicBezTo>
                    <a:pt x="127" y="143"/>
                    <a:pt x="127" y="143"/>
                    <a:pt x="127" y="143"/>
                  </a:cubicBezTo>
                  <a:cubicBezTo>
                    <a:pt x="128" y="143"/>
                    <a:pt x="128" y="142"/>
                    <a:pt x="128" y="142"/>
                  </a:cubicBezTo>
                  <a:cubicBezTo>
                    <a:pt x="128" y="142"/>
                    <a:pt x="128" y="142"/>
                    <a:pt x="128" y="141"/>
                  </a:cubicBezTo>
                  <a:cubicBezTo>
                    <a:pt x="128" y="141"/>
                    <a:pt x="128" y="140"/>
                    <a:pt x="128" y="140"/>
                  </a:cubicBezTo>
                  <a:cubicBezTo>
                    <a:pt x="128" y="140"/>
                    <a:pt x="128" y="139"/>
                    <a:pt x="129" y="139"/>
                  </a:cubicBezTo>
                  <a:cubicBezTo>
                    <a:pt x="129" y="139"/>
                    <a:pt x="129" y="139"/>
                    <a:pt x="129" y="139"/>
                  </a:cubicBezTo>
                  <a:cubicBezTo>
                    <a:pt x="129" y="138"/>
                    <a:pt x="129" y="138"/>
                    <a:pt x="129" y="138"/>
                  </a:cubicBezTo>
                  <a:cubicBezTo>
                    <a:pt x="129" y="138"/>
                    <a:pt x="130" y="138"/>
                    <a:pt x="130" y="138"/>
                  </a:cubicBezTo>
                  <a:cubicBezTo>
                    <a:pt x="130" y="138"/>
                    <a:pt x="130" y="138"/>
                    <a:pt x="131" y="138"/>
                  </a:cubicBezTo>
                  <a:cubicBezTo>
                    <a:pt x="131" y="138"/>
                    <a:pt x="131" y="138"/>
                    <a:pt x="131" y="139"/>
                  </a:cubicBezTo>
                  <a:cubicBezTo>
                    <a:pt x="132" y="139"/>
                    <a:pt x="132" y="139"/>
                    <a:pt x="132" y="140"/>
                  </a:cubicBezTo>
                  <a:cubicBezTo>
                    <a:pt x="132" y="140"/>
                    <a:pt x="132" y="140"/>
                    <a:pt x="132" y="141"/>
                  </a:cubicBezTo>
                  <a:cubicBezTo>
                    <a:pt x="132" y="142"/>
                    <a:pt x="133" y="141"/>
                    <a:pt x="133" y="141"/>
                  </a:cubicBezTo>
                  <a:cubicBezTo>
                    <a:pt x="133" y="141"/>
                    <a:pt x="134" y="141"/>
                    <a:pt x="134" y="141"/>
                  </a:cubicBezTo>
                  <a:cubicBezTo>
                    <a:pt x="134" y="141"/>
                    <a:pt x="134" y="140"/>
                    <a:pt x="135" y="140"/>
                  </a:cubicBezTo>
                  <a:cubicBezTo>
                    <a:pt x="135" y="140"/>
                    <a:pt x="135" y="140"/>
                    <a:pt x="135" y="140"/>
                  </a:cubicBezTo>
                  <a:cubicBezTo>
                    <a:pt x="136" y="140"/>
                    <a:pt x="137" y="139"/>
                    <a:pt x="137" y="138"/>
                  </a:cubicBezTo>
                  <a:cubicBezTo>
                    <a:pt x="138" y="138"/>
                    <a:pt x="139" y="137"/>
                    <a:pt x="139" y="136"/>
                  </a:cubicBezTo>
                  <a:cubicBezTo>
                    <a:pt x="140" y="136"/>
                    <a:pt x="140" y="135"/>
                    <a:pt x="141" y="135"/>
                  </a:cubicBezTo>
                  <a:cubicBezTo>
                    <a:pt x="141" y="135"/>
                    <a:pt x="141" y="134"/>
                    <a:pt x="141" y="134"/>
                  </a:cubicBezTo>
                  <a:cubicBezTo>
                    <a:pt x="141" y="133"/>
                    <a:pt x="141" y="132"/>
                    <a:pt x="141" y="131"/>
                  </a:cubicBezTo>
                  <a:close/>
                </a:path>
              </a:pathLst>
            </a:custGeom>
            <a:solidFill>
              <a:schemeClr val="bg1">
                <a:lumMod val="85000"/>
              </a:schemeClr>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7" name="Freeform 40">
              <a:extLst>
                <a:ext uri="{FF2B5EF4-FFF2-40B4-BE49-F238E27FC236}">
                  <a16:creationId xmlns:a16="http://schemas.microsoft.com/office/drawing/2014/main" id="{6019517C-44CE-E30A-7DCE-F1B83D4D222A}"/>
                </a:ext>
              </a:extLst>
            </p:cNvPr>
            <p:cNvSpPr>
              <a:spLocks noEditPoints="1"/>
            </p:cNvSpPr>
            <p:nvPr/>
          </p:nvSpPr>
          <p:spPr bwMode="auto">
            <a:xfrm>
              <a:off x="6718017" y="3882607"/>
              <a:ext cx="677403" cy="634447"/>
            </a:xfrm>
            <a:custGeom>
              <a:avLst/>
              <a:gdLst>
                <a:gd name="T0" fmla="*/ 150 w 171"/>
                <a:gd name="T1" fmla="*/ 151 h 160"/>
                <a:gd name="T2" fmla="*/ 159 w 171"/>
                <a:gd name="T3" fmla="*/ 153 h 160"/>
                <a:gd name="T4" fmla="*/ 159 w 171"/>
                <a:gd name="T5" fmla="*/ 155 h 160"/>
                <a:gd name="T6" fmla="*/ 166 w 171"/>
                <a:gd name="T7" fmla="*/ 150 h 160"/>
                <a:gd name="T8" fmla="*/ 171 w 171"/>
                <a:gd name="T9" fmla="*/ 156 h 160"/>
                <a:gd name="T10" fmla="*/ 150 w 171"/>
                <a:gd name="T11" fmla="*/ 104 h 160"/>
                <a:gd name="T12" fmla="*/ 83 w 171"/>
                <a:gd name="T13" fmla="*/ 77 h 160"/>
                <a:gd name="T14" fmla="*/ 86 w 171"/>
                <a:gd name="T15" fmla="*/ 65 h 160"/>
                <a:gd name="T16" fmla="*/ 90 w 171"/>
                <a:gd name="T17" fmla="*/ 59 h 160"/>
                <a:gd name="T18" fmla="*/ 94 w 171"/>
                <a:gd name="T19" fmla="*/ 52 h 160"/>
                <a:gd name="T20" fmla="*/ 97 w 171"/>
                <a:gd name="T21" fmla="*/ 46 h 160"/>
                <a:gd name="T22" fmla="*/ 103 w 171"/>
                <a:gd name="T23" fmla="*/ 38 h 160"/>
                <a:gd name="T24" fmla="*/ 99 w 171"/>
                <a:gd name="T25" fmla="*/ 34 h 160"/>
                <a:gd name="T26" fmla="*/ 109 w 171"/>
                <a:gd name="T27" fmla="*/ 27 h 160"/>
                <a:gd name="T28" fmla="*/ 102 w 171"/>
                <a:gd name="T29" fmla="*/ 20 h 160"/>
                <a:gd name="T30" fmla="*/ 100 w 171"/>
                <a:gd name="T31" fmla="*/ 18 h 160"/>
                <a:gd name="T32" fmla="*/ 100 w 171"/>
                <a:gd name="T33" fmla="*/ 7 h 160"/>
                <a:gd name="T34" fmla="*/ 99 w 171"/>
                <a:gd name="T35" fmla="*/ 0 h 160"/>
                <a:gd name="T36" fmla="*/ 10 w 171"/>
                <a:gd name="T37" fmla="*/ 63 h 160"/>
                <a:gd name="T38" fmla="*/ 17 w 171"/>
                <a:gd name="T39" fmla="*/ 75 h 160"/>
                <a:gd name="T40" fmla="*/ 15 w 171"/>
                <a:gd name="T41" fmla="*/ 94 h 160"/>
                <a:gd name="T42" fmla="*/ 11 w 171"/>
                <a:gd name="T43" fmla="*/ 120 h 160"/>
                <a:gd name="T44" fmla="*/ 7 w 171"/>
                <a:gd name="T45" fmla="*/ 134 h 160"/>
                <a:gd name="T46" fmla="*/ 37 w 171"/>
                <a:gd name="T47" fmla="*/ 134 h 160"/>
                <a:gd name="T48" fmla="*/ 65 w 171"/>
                <a:gd name="T49" fmla="*/ 140 h 160"/>
                <a:gd name="T50" fmla="*/ 64 w 171"/>
                <a:gd name="T51" fmla="*/ 134 h 160"/>
                <a:gd name="T52" fmla="*/ 71 w 171"/>
                <a:gd name="T53" fmla="*/ 128 h 160"/>
                <a:gd name="T54" fmla="*/ 77 w 171"/>
                <a:gd name="T55" fmla="*/ 129 h 160"/>
                <a:gd name="T56" fmla="*/ 84 w 171"/>
                <a:gd name="T57" fmla="*/ 137 h 160"/>
                <a:gd name="T58" fmla="*/ 94 w 171"/>
                <a:gd name="T59" fmla="*/ 142 h 160"/>
                <a:gd name="T60" fmla="*/ 97 w 171"/>
                <a:gd name="T61" fmla="*/ 143 h 160"/>
                <a:gd name="T62" fmla="*/ 94 w 171"/>
                <a:gd name="T63" fmla="*/ 151 h 160"/>
                <a:gd name="T64" fmla="*/ 104 w 171"/>
                <a:gd name="T65" fmla="*/ 154 h 160"/>
                <a:gd name="T66" fmla="*/ 111 w 171"/>
                <a:gd name="T67" fmla="*/ 154 h 160"/>
                <a:gd name="T68" fmla="*/ 117 w 171"/>
                <a:gd name="T69" fmla="*/ 152 h 160"/>
                <a:gd name="T70" fmla="*/ 123 w 171"/>
                <a:gd name="T71" fmla="*/ 149 h 160"/>
                <a:gd name="T72" fmla="*/ 136 w 171"/>
                <a:gd name="T73" fmla="*/ 156 h 160"/>
                <a:gd name="T74" fmla="*/ 134 w 171"/>
                <a:gd name="T75" fmla="*/ 139 h 160"/>
                <a:gd name="T76" fmla="*/ 128 w 171"/>
                <a:gd name="T77" fmla="*/ 133 h 160"/>
                <a:gd name="T78" fmla="*/ 135 w 171"/>
                <a:gd name="T79" fmla="*/ 137 h 160"/>
                <a:gd name="T80" fmla="*/ 150 w 171"/>
                <a:gd name="T81" fmla="*/ 147 h 160"/>
                <a:gd name="T82" fmla="*/ 162 w 171"/>
                <a:gd name="T83" fmla="*/ 151 h 160"/>
                <a:gd name="T84" fmla="*/ 158 w 171"/>
                <a:gd name="T85" fmla="*/ 147 h 160"/>
                <a:gd name="T86" fmla="*/ 149 w 171"/>
                <a:gd name="T87" fmla="*/ 139 h 160"/>
                <a:gd name="T88" fmla="*/ 149 w 171"/>
                <a:gd name="T89" fmla="*/ 137 h 160"/>
                <a:gd name="T90" fmla="*/ 153 w 171"/>
                <a:gd name="T91" fmla="*/ 134 h 160"/>
                <a:gd name="T92" fmla="*/ 159 w 171"/>
                <a:gd name="T93" fmla="*/ 133 h 160"/>
                <a:gd name="T94" fmla="*/ 159 w 171"/>
                <a:gd name="T95" fmla="*/ 120 h 160"/>
                <a:gd name="T96" fmla="*/ 146 w 171"/>
                <a:gd name="T97" fmla="*/ 126 h 160"/>
                <a:gd name="T98" fmla="*/ 148 w 171"/>
                <a:gd name="T99" fmla="*/ 116 h 160"/>
                <a:gd name="T100" fmla="*/ 132 w 171"/>
                <a:gd name="T101" fmla="*/ 121 h 160"/>
                <a:gd name="T102" fmla="*/ 128 w 171"/>
                <a:gd name="T103" fmla="*/ 112 h 160"/>
                <a:gd name="T104" fmla="*/ 124 w 171"/>
                <a:gd name="T105" fmla="*/ 109 h 160"/>
                <a:gd name="T106" fmla="*/ 139 w 171"/>
                <a:gd name="T107" fmla="*/ 110 h 160"/>
                <a:gd name="T108" fmla="*/ 152 w 171"/>
                <a:gd name="T109" fmla="*/ 114 h 160"/>
                <a:gd name="T110" fmla="*/ 73 w 171"/>
                <a:gd name="T111" fmla="*/ 142 h 160"/>
                <a:gd name="T112" fmla="*/ 77 w 171"/>
                <a:gd name="T113" fmla="*/ 139 h 160"/>
                <a:gd name="T114" fmla="*/ 70 w 171"/>
                <a:gd name="T115" fmla="*/ 14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 h="160">
                  <a:moveTo>
                    <a:pt x="148" y="150"/>
                  </a:moveTo>
                  <a:cubicBezTo>
                    <a:pt x="148" y="150"/>
                    <a:pt x="148" y="150"/>
                    <a:pt x="149" y="149"/>
                  </a:cubicBezTo>
                  <a:cubicBezTo>
                    <a:pt x="149" y="149"/>
                    <a:pt x="149" y="149"/>
                    <a:pt x="149" y="149"/>
                  </a:cubicBezTo>
                  <a:cubicBezTo>
                    <a:pt x="149" y="148"/>
                    <a:pt x="149" y="148"/>
                    <a:pt x="149" y="148"/>
                  </a:cubicBezTo>
                  <a:cubicBezTo>
                    <a:pt x="149" y="148"/>
                    <a:pt x="150" y="148"/>
                    <a:pt x="150" y="148"/>
                  </a:cubicBezTo>
                  <a:cubicBezTo>
                    <a:pt x="150" y="147"/>
                    <a:pt x="151" y="148"/>
                    <a:pt x="151" y="148"/>
                  </a:cubicBezTo>
                  <a:cubicBezTo>
                    <a:pt x="151" y="149"/>
                    <a:pt x="151" y="149"/>
                    <a:pt x="151" y="149"/>
                  </a:cubicBezTo>
                  <a:cubicBezTo>
                    <a:pt x="151" y="150"/>
                    <a:pt x="150" y="150"/>
                    <a:pt x="150" y="150"/>
                  </a:cubicBezTo>
                  <a:cubicBezTo>
                    <a:pt x="150" y="151"/>
                    <a:pt x="150" y="151"/>
                    <a:pt x="150" y="151"/>
                  </a:cubicBezTo>
                  <a:cubicBezTo>
                    <a:pt x="149" y="151"/>
                    <a:pt x="149" y="151"/>
                    <a:pt x="148" y="150"/>
                  </a:cubicBezTo>
                  <a:close/>
                  <a:moveTo>
                    <a:pt x="160" y="155"/>
                  </a:moveTo>
                  <a:cubicBezTo>
                    <a:pt x="160" y="155"/>
                    <a:pt x="160" y="155"/>
                    <a:pt x="160" y="154"/>
                  </a:cubicBezTo>
                  <a:cubicBezTo>
                    <a:pt x="161" y="154"/>
                    <a:pt x="161" y="154"/>
                    <a:pt x="161" y="153"/>
                  </a:cubicBezTo>
                  <a:cubicBezTo>
                    <a:pt x="161" y="153"/>
                    <a:pt x="161" y="153"/>
                    <a:pt x="162" y="152"/>
                  </a:cubicBezTo>
                  <a:cubicBezTo>
                    <a:pt x="162" y="152"/>
                    <a:pt x="162" y="152"/>
                    <a:pt x="162" y="152"/>
                  </a:cubicBezTo>
                  <a:cubicBezTo>
                    <a:pt x="161" y="152"/>
                    <a:pt x="161" y="152"/>
                    <a:pt x="161" y="152"/>
                  </a:cubicBezTo>
                  <a:cubicBezTo>
                    <a:pt x="161" y="152"/>
                    <a:pt x="161" y="152"/>
                    <a:pt x="161" y="152"/>
                  </a:cubicBezTo>
                  <a:cubicBezTo>
                    <a:pt x="160" y="153"/>
                    <a:pt x="160" y="153"/>
                    <a:pt x="159" y="153"/>
                  </a:cubicBezTo>
                  <a:cubicBezTo>
                    <a:pt x="159" y="153"/>
                    <a:pt x="159" y="152"/>
                    <a:pt x="159" y="152"/>
                  </a:cubicBezTo>
                  <a:cubicBezTo>
                    <a:pt x="158" y="152"/>
                    <a:pt x="158" y="151"/>
                    <a:pt x="158" y="151"/>
                  </a:cubicBezTo>
                  <a:cubicBezTo>
                    <a:pt x="158" y="151"/>
                    <a:pt x="158" y="151"/>
                    <a:pt x="158" y="151"/>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8" y="154"/>
                    <a:pt x="158" y="154"/>
                    <a:pt x="158" y="154"/>
                  </a:cubicBezTo>
                  <a:cubicBezTo>
                    <a:pt x="158" y="155"/>
                    <a:pt x="158" y="155"/>
                    <a:pt x="159" y="155"/>
                  </a:cubicBezTo>
                  <a:cubicBezTo>
                    <a:pt x="159" y="156"/>
                    <a:pt x="159" y="156"/>
                    <a:pt x="159" y="156"/>
                  </a:cubicBezTo>
                  <a:cubicBezTo>
                    <a:pt x="160" y="156"/>
                    <a:pt x="160" y="156"/>
                    <a:pt x="160" y="155"/>
                  </a:cubicBezTo>
                  <a:close/>
                  <a:moveTo>
                    <a:pt x="168" y="152"/>
                  </a:moveTo>
                  <a:cubicBezTo>
                    <a:pt x="168" y="152"/>
                    <a:pt x="168" y="152"/>
                    <a:pt x="169" y="152"/>
                  </a:cubicBezTo>
                  <a:cubicBezTo>
                    <a:pt x="169" y="153"/>
                    <a:pt x="169" y="153"/>
                    <a:pt x="169" y="153"/>
                  </a:cubicBezTo>
                  <a:cubicBezTo>
                    <a:pt x="170" y="152"/>
                    <a:pt x="169" y="152"/>
                    <a:pt x="169" y="152"/>
                  </a:cubicBezTo>
                  <a:cubicBezTo>
                    <a:pt x="169" y="152"/>
                    <a:pt x="169" y="151"/>
                    <a:pt x="168" y="150"/>
                  </a:cubicBezTo>
                  <a:cubicBezTo>
                    <a:pt x="168" y="150"/>
                    <a:pt x="167" y="150"/>
                    <a:pt x="167" y="150"/>
                  </a:cubicBezTo>
                  <a:cubicBezTo>
                    <a:pt x="166" y="150"/>
                    <a:pt x="166" y="150"/>
                    <a:pt x="166" y="150"/>
                  </a:cubicBezTo>
                  <a:cubicBezTo>
                    <a:pt x="166" y="151"/>
                    <a:pt x="166" y="151"/>
                    <a:pt x="166" y="151"/>
                  </a:cubicBezTo>
                  <a:cubicBezTo>
                    <a:pt x="167" y="151"/>
                    <a:pt x="167" y="152"/>
                    <a:pt x="168" y="152"/>
                  </a:cubicBezTo>
                  <a:close/>
                  <a:moveTo>
                    <a:pt x="168" y="160"/>
                  </a:moveTo>
                  <a:cubicBezTo>
                    <a:pt x="168" y="160"/>
                    <a:pt x="168" y="160"/>
                    <a:pt x="169" y="160"/>
                  </a:cubicBezTo>
                  <a:cubicBezTo>
                    <a:pt x="169" y="160"/>
                    <a:pt x="169" y="160"/>
                    <a:pt x="169" y="160"/>
                  </a:cubicBezTo>
                  <a:cubicBezTo>
                    <a:pt x="170" y="159"/>
                    <a:pt x="170" y="159"/>
                    <a:pt x="170" y="158"/>
                  </a:cubicBezTo>
                  <a:cubicBezTo>
                    <a:pt x="170" y="158"/>
                    <a:pt x="170" y="158"/>
                    <a:pt x="170" y="158"/>
                  </a:cubicBezTo>
                  <a:cubicBezTo>
                    <a:pt x="170" y="158"/>
                    <a:pt x="170" y="157"/>
                    <a:pt x="170" y="157"/>
                  </a:cubicBezTo>
                  <a:cubicBezTo>
                    <a:pt x="170" y="157"/>
                    <a:pt x="170" y="156"/>
                    <a:pt x="171" y="156"/>
                  </a:cubicBezTo>
                  <a:cubicBezTo>
                    <a:pt x="171" y="156"/>
                    <a:pt x="171" y="156"/>
                    <a:pt x="171" y="156"/>
                  </a:cubicBezTo>
                  <a:cubicBezTo>
                    <a:pt x="171" y="155"/>
                    <a:pt x="170" y="156"/>
                    <a:pt x="170" y="156"/>
                  </a:cubicBezTo>
                  <a:cubicBezTo>
                    <a:pt x="170" y="156"/>
                    <a:pt x="169" y="156"/>
                    <a:pt x="169" y="156"/>
                  </a:cubicBezTo>
                  <a:cubicBezTo>
                    <a:pt x="169" y="156"/>
                    <a:pt x="169" y="157"/>
                    <a:pt x="168" y="157"/>
                  </a:cubicBezTo>
                  <a:cubicBezTo>
                    <a:pt x="168" y="157"/>
                    <a:pt x="168" y="157"/>
                    <a:pt x="167" y="158"/>
                  </a:cubicBezTo>
                  <a:cubicBezTo>
                    <a:pt x="167" y="158"/>
                    <a:pt x="167" y="158"/>
                    <a:pt x="167" y="159"/>
                  </a:cubicBezTo>
                  <a:cubicBezTo>
                    <a:pt x="167" y="159"/>
                    <a:pt x="168" y="160"/>
                    <a:pt x="168" y="160"/>
                  </a:cubicBezTo>
                  <a:close/>
                  <a:moveTo>
                    <a:pt x="152" y="113"/>
                  </a:moveTo>
                  <a:cubicBezTo>
                    <a:pt x="152" y="113"/>
                    <a:pt x="150" y="104"/>
                    <a:pt x="150" y="104"/>
                  </a:cubicBezTo>
                  <a:cubicBezTo>
                    <a:pt x="145" y="96"/>
                    <a:pt x="145" y="96"/>
                    <a:pt x="145" y="96"/>
                  </a:cubicBezTo>
                  <a:cubicBezTo>
                    <a:pt x="145" y="95"/>
                    <a:pt x="145" y="95"/>
                    <a:pt x="145" y="95"/>
                  </a:cubicBezTo>
                  <a:cubicBezTo>
                    <a:pt x="145" y="95"/>
                    <a:pt x="148" y="85"/>
                    <a:pt x="148" y="85"/>
                  </a:cubicBezTo>
                  <a:cubicBezTo>
                    <a:pt x="148" y="85"/>
                    <a:pt x="148" y="82"/>
                    <a:pt x="148" y="82"/>
                  </a:cubicBezTo>
                  <a:cubicBezTo>
                    <a:pt x="83" y="82"/>
                    <a:pt x="83" y="82"/>
                    <a:pt x="83" y="82"/>
                  </a:cubicBezTo>
                  <a:cubicBezTo>
                    <a:pt x="83" y="82"/>
                    <a:pt x="84" y="81"/>
                    <a:pt x="84" y="81"/>
                  </a:cubicBezTo>
                  <a:cubicBezTo>
                    <a:pt x="84" y="81"/>
                    <a:pt x="85" y="80"/>
                    <a:pt x="85" y="80"/>
                  </a:cubicBezTo>
                  <a:cubicBezTo>
                    <a:pt x="85" y="79"/>
                    <a:pt x="83" y="78"/>
                    <a:pt x="83" y="78"/>
                  </a:cubicBezTo>
                  <a:cubicBezTo>
                    <a:pt x="83" y="78"/>
                    <a:pt x="83" y="77"/>
                    <a:pt x="83" y="77"/>
                  </a:cubicBezTo>
                  <a:cubicBezTo>
                    <a:pt x="83" y="76"/>
                    <a:pt x="84" y="75"/>
                    <a:pt x="84" y="75"/>
                  </a:cubicBezTo>
                  <a:cubicBezTo>
                    <a:pt x="84" y="75"/>
                    <a:pt x="84" y="74"/>
                    <a:pt x="84" y="74"/>
                  </a:cubicBezTo>
                  <a:cubicBezTo>
                    <a:pt x="83" y="73"/>
                    <a:pt x="83" y="73"/>
                    <a:pt x="83" y="72"/>
                  </a:cubicBezTo>
                  <a:cubicBezTo>
                    <a:pt x="83" y="72"/>
                    <a:pt x="83" y="72"/>
                    <a:pt x="83" y="72"/>
                  </a:cubicBezTo>
                  <a:cubicBezTo>
                    <a:pt x="83" y="72"/>
                    <a:pt x="84" y="72"/>
                    <a:pt x="85" y="71"/>
                  </a:cubicBezTo>
                  <a:cubicBezTo>
                    <a:pt x="86" y="71"/>
                    <a:pt x="87" y="71"/>
                    <a:pt x="87" y="71"/>
                  </a:cubicBezTo>
                  <a:cubicBezTo>
                    <a:pt x="87" y="71"/>
                    <a:pt x="86" y="69"/>
                    <a:pt x="86" y="68"/>
                  </a:cubicBezTo>
                  <a:cubicBezTo>
                    <a:pt x="85" y="67"/>
                    <a:pt x="85" y="66"/>
                    <a:pt x="85" y="65"/>
                  </a:cubicBezTo>
                  <a:cubicBezTo>
                    <a:pt x="85" y="65"/>
                    <a:pt x="86" y="65"/>
                    <a:pt x="86" y="65"/>
                  </a:cubicBezTo>
                  <a:cubicBezTo>
                    <a:pt x="87" y="65"/>
                    <a:pt x="86" y="66"/>
                    <a:pt x="86" y="66"/>
                  </a:cubicBezTo>
                  <a:cubicBezTo>
                    <a:pt x="87" y="67"/>
                    <a:pt x="87" y="68"/>
                    <a:pt x="88" y="67"/>
                  </a:cubicBezTo>
                  <a:cubicBezTo>
                    <a:pt x="88" y="67"/>
                    <a:pt x="88" y="66"/>
                    <a:pt x="88" y="66"/>
                  </a:cubicBezTo>
                  <a:cubicBezTo>
                    <a:pt x="88" y="65"/>
                    <a:pt x="88" y="64"/>
                    <a:pt x="87" y="64"/>
                  </a:cubicBezTo>
                  <a:cubicBezTo>
                    <a:pt x="87" y="63"/>
                    <a:pt x="87" y="63"/>
                    <a:pt x="87" y="63"/>
                  </a:cubicBezTo>
                  <a:cubicBezTo>
                    <a:pt x="87" y="62"/>
                    <a:pt x="87" y="62"/>
                    <a:pt x="87" y="62"/>
                  </a:cubicBezTo>
                  <a:cubicBezTo>
                    <a:pt x="86" y="61"/>
                    <a:pt x="88" y="61"/>
                    <a:pt x="88" y="60"/>
                  </a:cubicBezTo>
                  <a:cubicBezTo>
                    <a:pt x="89" y="60"/>
                    <a:pt x="89" y="60"/>
                    <a:pt x="90" y="59"/>
                  </a:cubicBezTo>
                  <a:cubicBezTo>
                    <a:pt x="90" y="59"/>
                    <a:pt x="90" y="59"/>
                    <a:pt x="90" y="59"/>
                  </a:cubicBezTo>
                  <a:cubicBezTo>
                    <a:pt x="90" y="58"/>
                    <a:pt x="89" y="58"/>
                    <a:pt x="89" y="58"/>
                  </a:cubicBezTo>
                  <a:cubicBezTo>
                    <a:pt x="88" y="58"/>
                    <a:pt x="88" y="58"/>
                    <a:pt x="87" y="57"/>
                  </a:cubicBezTo>
                  <a:cubicBezTo>
                    <a:pt x="87" y="57"/>
                    <a:pt x="87" y="57"/>
                    <a:pt x="88" y="57"/>
                  </a:cubicBezTo>
                  <a:cubicBezTo>
                    <a:pt x="88" y="57"/>
                    <a:pt x="89" y="57"/>
                    <a:pt x="90" y="57"/>
                  </a:cubicBezTo>
                  <a:cubicBezTo>
                    <a:pt x="90" y="57"/>
                    <a:pt x="90" y="58"/>
                    <a:pt x="91" y="58"/>
                  </a:cubicBezTo>
                  <a:cubicBezTo>
                    <a:pt x="91" y="57"/>
                    <a:pt x="91" y="55"/>
                    <a:pt x="92" y="53"/>
                  </a:cubicBezTo>
                  <a:cubicBezTo>
                    <a:pt x="92" y="53"/>
                    <a:pt x="92" y="53"/>
                    <a:pt x="92" y="52"/>
                  </a:cubicBezTo>
                  <a:cubicBezTo>
                    <a:pt x="93" y="52"/>
                    <a:pt x="93" y="52"/>
                    <a:pt x="93" y="52"/>
                  </a:cubicBezTo>
                  <a:cubicBezTo>
                    <a:pt x="93" y="52"/>
                    <a:pt x="94" y="52"/>
                    <a:pt x="94" y="52"/>
                  </a:cubicBezTo>
                  <a:cubicBezTo>
                    <a:pt x="94" y="52"/>
                    <a:pt x="95" y="52"/>
                    <a:pt x="95" y="51"/>
                  </a:cubicBezTo>
                  <a:cubicBezTo>
                    <a:pt x="95" y="51"/>
                    <a:pt x="94" y="51"/>
                    <a:pt x="94" y="51"/>
                  </a:cubicBezTo>
                  <a:cubicBezTo>
                    <a:pt x="94" y="51"/>
                    <a:pt x="93" y="51"/>
                    <a:pt x="93" y="51"/>
                  </a:cubicBezTo>
                  <a:cubicBezTo>
                    <a:pt x="92" y="50"/>
                    <a:pt x="93" y="49"/>
                    <a:pt x="93" y="49"/>
                  </a:cubicBezTo>
                  <a:cubicBezTo>
                    <a:pt x="93" y="48"/>
                    <a:pt x="94" y="47"/>
                    <a:pt x="94" y="48"/>
                  </a:cubicBezTo>
                  <a:cubicBezTo>
                    <a:pt x="95" y="48"/>
                    <a:pt x="94" y="49"/>
                    <a:pt x="95" y="49"/>
                  </a:cubicBezTo>
                  <a:cubicBezTo>
                    <a:pt x="95" y="49"/>
                    <a:pt x="95" y="49"/>
                    <a:pt x="96" y="49"/>
                  </a:cubicBezTo>
                  <a:cubicBezTo>
                    <a:pt x="96" y="48"/>
                    <a:pt x="96" y="47"/>
                    <a:pt x="96" y="47"/>
                  </a:cubicBezTo>
                  <a:cubicBezTo>
                    <a:pt x="96" y="46"/>
                    <a:pt x="97" y="46"/>
                    <a:pt x="97" y="46"/>
                  </a:cubicBezTo>
                  <a:cubicBezTo>
                    <a:pt x="98" y="45"/>
                    <a:pt x="98" y="45"/>
                    <a:pt x="98" y="45"/>
                  </a:cubicBezTo>
                  <a:cubicBezTo>
                    <a:pt x="98" y="44"/>
                    <a:pt x="99" y="43"/>
                    <a:pt x="100" y="42"/>
                  </a:cubicBezTo>
                  <a:cubicBezTo>
                    <a:pt x="101" y="42"/>
                    <a:pt x="102" y="42"/>
                    <a:pt x="101" y="41"/>
                  </a:cubicBezTo>
                  <a:cubicBezTo>
                    <a:pt x="101" y="40"/>
                    <a:pt x="101" y="40"/>
                    <a:pt x="101" y="40"/>
                  </a:cubicBezTo>
                  <a:cubicBezTo>
                    <a:pt x="100" y="39"/>
                    <a:pt x="99" y="39"/>
                    <a:pt x="99" y="39"/>
                  </a:cubicBezTo>
                  <a:cubicBezTo>
                    <a:pt x="99" y="38"/>
                    <a:pt x="100" y="38"/>
                    <a:pt x="100" y="38"/>
                  </a:cubicBezTo>
                  <a:cubicBezTo>
                    <a:pt x="100" y="39"/>
                    <a:pt x="100" y="39"/>
                    <a:pt x="101" y="39"/>
                  </a:cubicBezTo>
                  <a:cubicBezTo>
                    <a:pt x="101" y="39"/>
                    <a:pt x="102" y="40"/>
                    <a:pt x="102" y="39"/>
                  </a:cubicBezTo>
                  <a:cubicBezTo>
                    <a:pt x="102" y="39"/>
                    <a:pt x="103" y="38"/>
                    <a:pt x="103" y="38"/>
                  </a:cubicBezTo>
                  <a:cubicBezTo>
                    <a:pt x="103" y="38"/>
                    <a:pt x="103" y="37"/>
                    <a:pt x="104" y="37"/>
                  </a:cubicBezTo>
                  <a:cubicBezTo>
                    <a:pt x="104" y="37"/>
                    <a:pt x="104" y="37"/>
                    <a:pt x="104" y="37"/>
                  </a:cubicBezTo>
                  <a:cubicBezTo>
                    <a:pt x="104" y="36"/>
                    <a:pt x="104" y="36"/>
                    <a:pt x="104" y="35"/>
                  </a:cubicBezTo>
                  <a:cubicBezTo>
                    <a:pt x="104" y="35"/>
                    <a:pt x="103" y="34"/>
                    <a:pt x="103" y="34"/>
                  </a:cubicBezTo>
                  <a:cubicBezTo>
                    <a:pt x="103" y="35"/>
                    <a:pt x="103" y="35"/>
                    <a:pt x="103" y="35"/>
                  </a:cubicBezTo>
                  <a:cubicBezTo>
                    <a:pt x="103" y="35"/>
                    <a:pt x="103" y="36"/>
                    <a:pt x="103" y="36"/>
                  </a:cubicBezTo>
                  <a:cubicBezTo>
                    <a:pt x="103" y="36"/>
                    <a:pt x="102" y="36"/>
                    <a:pt x="102" y="37"/>
                  </a:cubicBezTo>
                  <a:cubicBezTo>
                    <a:pt x="101" y="37"/>
                    <a:pt x="100" y="37"/>
                    <a:pt x="100" y="36"/>
                  </a:cubicBezTo>
                  <a:cubicBezTo>
                    <a:pt x="99" y="36"/>
                    <a:pt x="99" y="35"/>
                    <a:pt x="99" y="34"/>
                  </a:cubicBezTo>
                  <a:cubicBezTo>
                    <a:pt x="99" y="34"/>
                    <a:pt x="99" y="33"/>
                    <a:pt x="100" y="33"/>
                  </a:cubicBezTo>
                  <a:cubicBezTo>
                    <a:pt x="101" y="33"/>
                    <a:pt x="101" y="33"/>
                    <a:pt x="102" y="33"/>
                  </a:cubicBezTo>
                  <a:cubicBezTo>
                    <a:pt x="102" y="32"/>
                    <a:pt x="103" y="32"/>
                    <a:pt x="104" y="32"/>
                  </a:cubicBezTo>
                  <a:cubicBezTo>
                    <a:pt x="104" y="33"/>
                    <a:pt x="104" y="33"/>
                    <a:pt x="104" y="33"/>
                  </a:cubicBezTo>
                  <a:cubicBezTo>
                    <a:pt x="104" y="33"/>
                    <a:pt x="104" y="34"/>
                    <a:pt x="105" y="34"/>
                  </a:cubicBezTo>
                  <a:cubicBezTo>
                    <a:pt x="106" y="34"/>
                    <a:pt x="105" y="32"/>
                    <a:pt x="105" y="32"/>
                  </a:cubicBezTo>
                  <a:cubicBezTo>
                    <a:pt x="105" y="31"/>
                    <a:pt x="105" y="30"/>
                    <a:pt x="106" y="30"/>
                  </a:cubicBezTo>
                  <a:cubicBezTo>
                    <a:pt x="106" y="30"/>
                    <a:pt x="108" y="29"/>
                    <a:pt x="108" y="29"/>
                  </a:cubicBezTo>
                  <a:cubicBezTo>
                    <a:pt x="109" y="29"/>
                    <a:pt x="109" y="28"/>
                    <a:pt x="109" y="27"/>
                  </a:cubicBezTo>
                  <a:cubicBezTo>
                    <a:pt x="108" y="27"/>
                    <a:pt x="108" y="28"/>
                    <a:pt x="107" y="28"/>
                  </a:cubicBezTo>
                  <a:cubicBezTo>
                    <a:pt x="107" y="28"/>
                    <a:pt x="105" y="28"/>
                    <a:pt x="105" y="27"/>
                  </a:cubicBezTo>
                  <a:cubicBezTo>
                    <a:pt x="105" y="26"/>
                    <a:pt x="106" y="25"/>
                    <a:pt x="106" y="24"/>
                  </a:cubicBezTo>
                  <a:cubicBezTo>
                    <a:pt x="105" y="24"/>
                    <a:pt x="105" y="24"/>
                    <a:pt x="104" y="24"/>
                  </a:cubicBezTo>
                  <a:cubicBezTo>
                    <a:pt x="104" y="24"/>
                    <a:pt x="103" y="24"/>
                    <a:pt x="103" y="24"/>
                  </a:cubicBezTo>
                  <a:cubicBezTo>
                    <a:pt x="102" y="24"/>
                    <a:pt x="102" y="23"/>
                    <a:pt x="101" y="23"/>
                  </a:cubicBezTo>
                  <a:cubicBezTo>
                    <a:pt x="101" y="23"/>
                    <a:pt x="101" y="22"/>
                    <a:pt x="101" y="22"/>
                  </a:cubicBezTo>
                  <a:cubicBezTo>
                    <a:pt x="101" y="21"/>
                    <a:pt x="101" y="21"/>
                    <a:pt x="101" y="20"/>
                  </a:cubicBezTo>
                  <a:cubicBezTo>
                    <a:pt x="101" y="20"/>
                    <a:pt x="101" y="19"/>
                    <a:pt x="102" y="20"/>
                  </a:cubicBezTo>
                  <a:cubicBezTo>
                    <a:pt x="102" y="20"/>
                    <a:pt x="102" y="21"/>
                    <a:pt x="103" y="21"/>
                  </a:cubicBezTo>
                  <a:cubicBezTo>
                    <a:pt x="103" y="21"/>
                    <a:pt x="105" y="22"/>
                    <a:pt x="105" y="22"/>
                  </a:cubicBezTo>
                  <a:cubicBezTo>
                    <a:pt x="105" y="21"/>
                    <a:pt x="104" y="20"/>
                    <a:pt x="103" y="20"/>
                  </a:cubicBezTo>
                  <a:cubicBezTo>
                    <a:pt x="103" y="20"/>
                    <a:pt x="103" y="20"/>
                    <a:pt x="103" y="20"/>
                  </a:cubicBezTo>
                  <a:cubicBezTo>
                    <a:pt x="103" y="19"/>
                    <a:pt x="102" y="19"/>
                    <a:pt x="102" y="19"/>
                  </a:cubicBezTo>
                  <a:cubicBezTo>
                    <a:pt x="103" y="18"/>
                    <a:pt x="104" y="18"/>
                    <a:pt x="104" y="17"/>
                  </a:cubicBezTo>
                  <a:cubicBezTo>
                    <a:pt x="105" y="16"/>
                    <a:pt x="105" y="16"/>
                    <a:pt x="104" y="16"/>
                  </a:cubicBezTo>
                  <a:cubicBezTo>
                    <a:pt x="103" y="16"/>
                    <a:pt x="103" y="16"/>
                    <a:pt x="102" y="17"/>
                  </a:cubicBezTo>
                  <a:cubicBezTo>
                    <a:pt x="102" y="17"/>
                    <a:pt x="101" y="18"/>
                    <a:pt x="100" y="18"/>
                  </a:cubicBezTo>
                  <a:cubicBezTo>
                    <a:pt x="100" y="18"/>
                    <a:pt x="100" y="17"/>
                    <a:pt x="100" y="17"/>
                  </a:cubicBezTo>
                  <a:cubicBezTo>
                    <a:pt x="100" y="16"/>
                    <a:pt x="101" y="15"/>
                    <a:pt x="101" y="14"/>
                  </a:cubicBezTo>
                  <a:cubicBezTo>
                    <a:pt x="101" y="14"/>
                    <a:pt x="102" y="13"/>
                    <a:pt x="102" y="13"/>
                  </a:cubicBezTo>
                  <a:cubicBezTo>
                    <a:pt x="103" y="12"/>
                    <a:pt x="103" y="12"/>
                    <a:pt x="102" y="12"/>
                  </a:cubicBezTo>
                  <a:cubicBezTo>
                    <a:pt x="101" y="12"/>
                    <a:pt x="100" y="12"/>
                    <a:pt x="99" y="11"/>
                  </a:cubicBezTo>
                  <a:cubicBezTo>
                    <a:pt x="99" y="11"/>
                    <a:pt x="99" y="10"/>
                    <a:pt x="99" y="10"/>
                  </a:cubicBezTo>
                  <a:cubicBezTo>
                    <a:pt x="99" y="10"/>
                    <a:pt x="99" y="9"/>
                    <a:pt x="99" y="9"/>
                  </a:cubicBezTo>
                  <a:cubicBezTo>
                    <a:pt x="99" y="9"/>
                    <a:pt x="99" y="8"/>
                    <a:pt x="99" y="8"/>
                  </a:cubicBezTo>
                  <a:cubicBezTo>
                    <a:pt x="99" y="8"/>
                    <a:pt x="100" y="8"/>
                    <a:pt x="100" y="7"/>
                  </a:cubicBezTo>
                  <a:cubicBezTo>
                    <a:pt x="101" y="7"/>
                    <a:pt x="103" y="6"/>
                    <a:pt x="102" y="4"/>
                  </a:cubicBezTo>
                  <a:cubicBezTo>
                    <a:pt x="102" y="3"/>
                    <a:pt x="102" y="3"/>
                    <a:pt x="101" y="2"/>
                  </a:cubicBezTo>
                  <a:cubicBezTo>
                    <a:pt x="101" y="2"/>
                    <a:pt x="101" y="1"/>
                    <a:pt x="100" y="1"/>
                  </a:cubicBezTo>
                  <a:cubicBezTo>
                    <a:pt x="100" y="1"/>
                    <a:pt x="100" y="2"/>
                    <a:pt x="100" y="2"/>
                  </a:cubicBezTo>
                  <a:cubicBezTo>
                    <a:pt x="100" y="3"/>
                    <a:pt x="100" y="3"/>
                    <a:pt x="100" y="3"/>
                  </a:cubicBezTo>
                  <a:cubicBezTo>
                    <a:pt x="100" y="4"/>
                    <a:pt x="100" y="4"/>
                    <a:pt x="99" y="5"/>
                  </a:cubicBezTo>
                  <a:cubicBezTo>
                    <a:pt x="98" y="5"/>
                    <a:pt x="97" y="4"/>
                    <a:pt x="97" y="3"/>
                  </a:cubicBezTo>
                  <a:cubicBezTo>
                    <a:pt x="97" y="3"/>
                    <a:pt x="98" y="2"/>
                    <a:pt x="98" y="2"/>
                  </a:cubicBezTo>
                  <a:cubicBezTo>
                    <a:pt x="99" y="0"/>
                    <a:pt x="99" y="0"/>
                    <a:pt x="99" y="0"/>
                  </a:cubicBezTo>
                  <a:cubicBezTo>
                    <a:pt x="0" y="0"/>
                    <a:pt x="0" y="0"/>
                    <a:pt x="0" y="0"/>
                  </a:cubicBezTo>
                  <a:cubicBezTo>
                    <a:pt x="0" y="42"/>
                    <a:pt x="0" y="42"/>
                    <a:pt x="0" y="42"/>
                  </a:cubicBezTo>
                  <a:cubicBezTo>
                    <a:pt x="0" y="42"/>
                    <a:pt x="6" y="48"/>
                    <a:pt x="6" y="49"/>
                  </a:cubicBezTo>
                  <a:cubicBezTo>
                    <a:pt x="6" y="49"/>
                    <a:pt x="8" y="53"/>
                    <a:pt x="8" y="54"/>
                  </a:cubicBezTo>
                  <a:cubicBezTo>
                    <a:pt x="8" y="55"/>
                    <a:pt x="8" y="57"/>
                    <a:pt x="8" y="57"/>
                  </a:cubicBezTo>
                  <a:cubicBezTo>
                    <a:pt x="8" y="57"/>
                    <a:pt x="7" y="59"/>
                    <a:pt x="8" y="59"/>
                  </a:cubicBezTo>
                  <a:cubicBezTo>
                    <a:pt x="8" y="60"/>
                    <a:pt x="11" y="61"/>
                    <a:pt x="11" y="62"/>
                  </a:cubicBezTo>
                  <a:cubicBezTo>
                    <a:pt x="11" y="62"/>
                    <a:pt x="11" y="62"/>
                    <a:pt x="11" y="62"/>
                  </a:cubicBezTo>
                  <a:cubicBezTo>
                    <a:pt x="10" y="62"/>
                    <a:pt x="10" y="63"/>
                    <a:pt x="10" y="63"/>
                  </a:cubicBezTo>
                  <a:cubicBezTo>
                    <a:pt x="10" y="63"/>
                    <a:pt x="11" y="64"/>
                    <a:pt x="12" y="64"/>
                  </a:cubicBezTo>
                  <a:cubicBezTo>
                    <a:pt x="12" y="65"/>
                    <a:pt x="12" y="66"/>
                    <a:pt x="12" y="66"/>
                  </a:cubicBezTo>
                  <a:cubicBezTo>
                    <a:pt x="12" y="67"/>
                    <a:pt x="13" y="67"/>
                    <a:pt x="13" y="67"/>
                  </a:cubicBezTo>
                  <a:cubicBezTo>
                    <a:pt x="13" y="68"/>
                    <a:pt x="12" y="69"/>
                    <a:pt x="12" y="69"/>
                  </a:cubicBezTo>
                  <a:cubicBezTo>
                    <a:pt x="12" y="69"/>
                    <a:pt x="12" y="70"/>
                    <a:pt x="12" y="70"/>
                  </a:cubicBezTo>
                  <a:cubicBezTo>
                    <a:pt x="13" y="71"/>
                    <a:pt x="15" y="73"/>
                    <a:pt x="15" y="73"/>
                  </a:cubicBezTo>
                  <a:cubicBezTo>
                    <a:pt x="15" y="74"/>
                    <a:pt x="15" y="74"/>
                    <a:pt x="15" y="75"/>
                  </a:cubicBezTo>
                  <a:cubicBezTo>
                    <a:pt x="15" y="75"/>
                    <a:pt x="16" y="76"/>
                    <a:pt x="16" y="76"/>
                  </a:cubicBezTo>
                  <a:cubicBezTo>
                    <a:pt x="16" y="76"/>
                    <a:pt x="17" y="75"/>
                    <a:pt x="17" y="75"/>
                  </a:cubicBezTo>
                  <a:cubicBezTo>
                    <a:pt x="17" y="75"/>
                    <a:pt x="17" y="76"/>
                    <a:pt x="17" y="76"/>
                  </a:cubicBezTo>
                  <a:cubicBezTo>
                    <a:pt x="17" y="77"/>
                    <a:pt x="16" y="78"/>
                    <a:pt x="16" y="78"/>
                  </a:cubicBezTo>
                  <a:cubicBezTo>
                    <a:pt x="17" y="78"/>
                    <a:pt x="17" y="79"/>
                    <a:pt x="17" y="80"/>
                  </a:cubicBezTo>
                  <a:cubicBezTo>
                    <a:pt x="17" y="80"/>
                    <a:pt x="17" y="81"/>
                    <a:pt x="16" y="81"/>
                  </a:cubicBezTo>
                  <a:cubicBezTo>
                    <a:pt x="16" y="82"/>
                    <a:pt x="16" y="82"/>
                    <a:pt x="16" y="82"/>
                  </a:cubicBezTo>
                  <a:cubicBezTo>
                    <a:pt x="16" y="83"/>
                    <a:pt x="17" y="84"/>
                    <a:pt x="17" y="85"/>
                  </a:cubicBezTo>
                  <a:cubicBezTo>
                    <a:pt x="17" y="85"/>
                    <a:pt x="17" y="86"/>
                    <a:pt x="17" y="87"/>
                  </a:cubicBezTo>
                  <a:cubicBezTo>
                    <a:pt x="17" y="87"/>
                    <a:pt x="16" y="89"/>
                    <a:pt x="16" y="90"/>
                  </a:cubicBezTo>
                  <a:cubicBezTo>
                    <a:pt x="16" y="90"/>
                    <a:pt x="15" y="93"/>
                    <a:pt x="15" y="94"/>
                  </a:cubicBezTo>
                  <a:cubicBezTo>
                    <a:pt x="14" y="95"/>
                    <a:pt x="13" y="98"/>
                    <a:pt x="12" y="98"/>
                  </a:cubicBezTo>
                  <a:cubicBezTo>
                    <a:pt x="12" y="99"/>
                    <a:pt x="10" y="99"/>
                    <a:pt x="10" y="100"/>
                  </a:cubicBezTo>
                  <a:cubicBezTo>
                    <a:pt x="10" y="100"/>
                    <a:pt x="11" y="101"/>
                    <a:pt x="11" y="102"/>
                  </a:cubicBezTo>
                  <a:cubicBezTo>
                    <a:pt x="11" y="102"/>
                    <a:pt x="11" y="105"/>
                    <a:pt x="11" y="105"/>
                  </a:cubicBezTo>
                  <a:cubicBezTo>
                    <a:pt x="11" y="106"/>
                    <a:pt x="10" y="107"/>
                    <a:pt x="10" y="107"/>
                  </a:cubicBezTo>
                  <a:cubicBezTo>
                    <a:pt x="10" y="108"/>
                    <a:pt x="9" y="108"/>
                    <a:pt x="9" y="109"/>
                  </a:cubicBezTo>
                  <a:cubicBezTo>
                    <a:pt x="10" y="110"/>
                    <a:pt x="11" y="111"/>
                    <a:pt x="11" y="111"/>
                  </a:cubicBezTo>
                  <a:cubicBezTo>
                    <a:pt x="11" y="112"/>
                    <a:pt x="11" y="114"/>
                    <a:pt x="11" y="115"/>
                  </a:cubicBezTo>
                  <a:cubicBezTo>
                    <a:pt x="11" y="115"/>
                    <a:pt x="11" y="119"/>
                    <a:pt x="11" y="120"/>
                  </a:cubicBezTo>
                  <a:cubicBezTo>
                    <a:pt x="11" y="120"/>
                    <a:pt x="9" y="122"/>
                    <a:pt x="8" y="124"/>
                  </a:cubicBezTo>
                  <a:cubicBezTo>
                    <a:pt x="8" y="124"/>
                    <a:pt x="8" y="124"/>
                    <a:pt x="9" y="124"/>
                  </a:cubicBezTo>
                  <a:cubicBezTo>
                    <a:pt x="9" y="124"/>
                    <a:pt x="9" y="125"/>
                    <a:pt x="9" y="126"/>
                  </a:cubicBezTo>
                  <a:cubicBezTo>
                    <a:pt x="9" y="126"/>
                    <a:pt x="8" y="127"/>
                    <a:pt x="8" y="128"/>
                  </a:cubicBezTo>
                  <a:cubicBezTo>
                    <a:pt x="8" y="128"/>
                    <a:pt x="9" y="129"/>
                    <a:pt x="8" y="129"/>
                  </a:cubicBezTo>
                  <a:cubicBezTo>
                    <a:pt x="8" y="129"/>
                    <a:pt x="7" y="130"/>
                    <a:pt x="7" y="130"/>
                  </a:cubicBezTo>
                  <a:cubicBezTo>
                    <a:pt x="6" y="130"/>
                    <a:pt x="5" y="130"/>
                    <a:pt x="5" y="131"/>
                  </a:cubicBezTo>
                  <a:cubicBezTo>
                    <a:pt x="5" y="132"/>
                    <a:pt x="5" y="132"/>
                    <a:pt x="6" y="133"/>
                  </a:cubicBezTo>
                  <a:cubicBezTo>
                    <a:pt x="6" y="133"/>
                    <a:pt x="6" y="134"/>
                    <a:pt x="7" y="134"/>
                  </a:cubicBezTo>
                  <a:cubicBezTo>
                    <a:pt x="7" y="134"/>
                    <a:pt x="8" y="134"/>
                    <a:pt x="8" y="134"/>
                  </a:cubicBezTo>
                  <a:cubicBezTo>
                    <a:pt x="9" y="134"/>
                    <a:pt x="9" y="134"/>
                    <a:pt x="10" y="133"/>
                  </a:cubicBezTo>
                  <a:cubicBezTo>
                    <a:pt x="11" y="133"/>
                    <a:pt x="13" y="133"/>
                    <a:pt x="14" y="133"/>
                  </a:cubicBezTo>
                  <a:cubicBezTo>
                    <a:pt x="15" y="132"/>
                    <a:pt x="16" y="132"/>
                    <a:pt x="17" y="132"/>
                  </a:cubicBezTo>
                  <a:cubicBezTo>
                    <a:pt x="19" y="131"/>
                    <a:pt x="20" y="132"/>
                    <a:pt x="21" y="132"/>
                  </a:cubicBezTo>
                  <a:cubicBezTo>
                    <a:pt x="23" y="132"/>
                    <a:pt x="24" y="131"/>
                    <a:pt x="26" y="132"/>
                  </a:cubicBezTo>
                  <a:cubicBezTo>
                    <a:pt x="27" y="132"/>
                    <a:pt x="28" y="132"/>
                    <a:pt x="29" y="132"/>
                  </a:cubicBezTo>
                  <a:cubicBezTo>
                    <a:pt x="30" y="132"/>
                    <a:pt x="31" y="132"/>
                    <a:pt x="33" y="133"/>
                  </a:cubicBezTo>
                  <a:cubicBezTo>
                    <a:pt x="34" y="133"/>
                    <a:pt x="36" y="133"/>
                    <a:pt x="37" y="134"/>
                  </a:cubicBezTo>
                  <a:cubicBezTo>
                    <a:pt x="38" y="134"/>
                    <a:pt x="40" y="135"/>
                    <a:pt x="41" y="136"/>
                  </a:cubicBezTo>
                  <a:cubicBezTo>
                    <a:pt x="43" y="136"/>
                    <a:pt x="44" y="137"/>
                    <a:pt x="45" y="138"/>
                  </a:cubicBezTo>
                  <a:cubicBezTo>
                    <a:pt x="47" y="138"/>
                    <a:pt x="48" y="139"/>
                    <a:pt x="50" y="139"/>
                  </a:cubicBezTo>
                  <a:cubicBezTo>
                    <a:pt x="51" y="139"/>
                    <a:pt x="51" y="140"/>
                    <a:pt x="52" y="140"/>
                  </a:cubicBezTo>
                  <a:cubicBezTo>
                    <a:pt x="53" y="140"/>
                    <a:pt x="54" y="140"/>
                    <a:pt x="55" y="140"/>
                  </a:cubicBezTo>
                  <a:cubicBezTo>
                    <a:pt x="56" y="140"/>
                    <a:pt x="57" y="141"/>
                    <a:pt x="59" y="141"/>
                  </a:cubicBezTo>
                  <a:cubicBezTo>
                    <a:pt x="60" y="141"/>
                    <a:pt x="61" y="141"/>
                    <a:pt x="62" y="141"/>
                  </a:cubicBezTo>
                  <a:cubicBezTo>
                    <a:pt x="62" y="140"/>
                    <a:pt x="63" y="141"/>
                    <a:pt x="64" y="140"/>
                  </a:cubicBezTo>
                  <a:cubicBezTo>
                    <a:pt x="64" y="141"/>
                    <a:pt x="65" y="140"/>
                    <a:pt x="65" y="140"/>
                  </a:cubicBezTo>
                  <a:cubicBezTo>
                    <a:pt x="65" y="140"/>
                    <a:pt x="66" y="139"/>
                    <a:pt x="66" y="139"/>
                  </a:cubicBezTo>
                  <a:cubicBezTo>
                    <a:pt x="66" y="139"/>
                    <a:pt x="67" y="139"/>
                    <a:pt x="67" y="139"/>
                  </a:cubicBezTo>
                  <a:cubicBezTo>
                    <a:pt x="68" y="139"/>
                    <a:pt x="68" y="139"/>
                    <a:pt x="68" y="139"/>
                  </a:cubicBezTo>
                  <a:cubicBezTo>
                    <a:pt x="68" y="138"/>
                    <a:pt x="67" y="138"/>
                    <a:pt x="67" y="138"/>
                  </a:cubicBezTo>
                  <a:cubicBezTo>
                    <a:pt x="67" y="138"/>
                    <a:pt x="67" y="138"/>
                    <a:pt x="67" y="137"/>
                  </a:cubicBezTo>
                  <a:cubicBezTo>
                    <a:pt x="67" y="137"/>
                    <a:pt x="67" y="137"/>
                    <a:pt x="66" y="137"/>
                  </a:cubicBezTo>
                  <a:cubicBezTo>
                    <a:pt x="66" y="136"/>
                    <a:pt x="65" y="136"/>
                    <a:pt x="65" y="135"/>
                  </a:cubicBezTo>
                  <a:cubicBezTo>
                    <a:pt x="65" y="135"/>
                    <a:pt x="65" y="135"/>
                    <a:pt x="64" y="134"/>
                  </a:cubicBezTo>
                  <a:cubicBezTo>
                    <a:pt x="64" y="134"/>
                    <a:pt x="64" y="134"/>
                    <a:pt x="64" y="134"/>
                  </a:cubicBezTo>
                  <a:cubicBezTo>
                    <a:pt x="63" y="133"/>
                    <a:pt x="64" y="133"/>
                    <a:pt x="64" y="132"/>
                  </a:cubicBezTo>
                  <a:cubicBezTo>
                    <a:pt x="65" y="132"/>
                    <a:pt x="65" y="131"/>
                    <a:pt x="65" y="130"/>
                  </a:cubicBezTo>
                  <a:cubicBezTo>
                    <a:pt x="65" y="130"/>
                    <a:pt x="65" y="129"/>
                    <a:pt x="65" y="129"/>
                  </a:cubicBezTo>
                  <a:cubicBezTo>
                    <a:pt x="66" y="129"/>
                    <a:pt x="66" y="129"/>
                    <a:pt x="66" y="129"/>
                  </a:cubicBezTo>
                  <a:cubicBezTo>
                    <a:pt x="67" y="130"/>
                    <a:pt x="66" y="132"/>
                    <a:pt x="67" y="132"/>
                  </a:cubicBezTo>
                  <a:cubicBezTo>
                    <a:pt x="67" y="133"/>
                    <a:pt x="69" y="132"/>
                    <a:pt x="69" y="132"/>
                  </a:cubicBezTo>
                  <a:cubicBezTo>
                    <a:pt x="69" y="132"/>
                    <a:pt x="69" y="132"/>
                    <a:pt x="70" y="131"/>
                  </a:cubicBezTo>
                  <a:cubicBezTo>
                    <a:pt x="70" y="131"/>
                    <a:pt x="70" y="131"/>
                    <a:pt x="70" y="131"/>
                  </a:cubicBezTo>
                  <a:cubicBezTo>
                    <a:pt x="71" y="131"/>
                    <a:pt x="71" y="129"/>
                    <a:pt x="71" y="128"/>
                  </a:cubicBezTo>
                  <a:cubicBezTo>
                    <a:pt x="71" y="127"/>
                    <a:pt x="70" y="125"/>
                    <a:pt x="71" y="125"/>
                  </a:cubicBezTo>
                  <a:cubicBezTo>
                    <a:pt x="72" y="125"/>
                    <a:pt x="72" y="126"/>
                    <a:pt x="72" y="126"/>
                  </a:cubicBezTo>
                  <a:cubicBezTo>
                    <a:pt x="72" y="126"/>
                    <a:pt x="72" y="127"/>
                    <a:pt x="72" y="127"/>
                  </a:cubicBezTo>
                  <a:cubicBezTo>
                    <a:pt x="72" y="127"/>
                    <a:pt x="72" y="128"/>
                    <a:pt x="72" y="128"/>
                  </a:cubicBezTo>
                  <a:cubicBezTo>
                    <a:pt x="73" y="129"/>
                    <a:pt x="73" y="129"/>
                    <a:pt x="73" y="128"/>
                  </a:cubicBezTo>
                  <a:cubicBezTo>
                    <a:pt x="73" y="128"/>
                    <a:pt x="74" y="128"/>
                    <a:pt x="75" y="128"/>
                  </a:cubicBezTo>
                  <a:cubicBezTo>
                    <a:pt x="75" y="127"/>
                    <a:pt x="76" y="127"/>
                    <a:pt x="76" y="127"/>
                  </a:cubicBezTo>
                  <a:cubicBezTo>
                    <a:pt x="76" y="127"/>
                    <a:pt x="77" y="127"/>
                    <a:pt x="77" y="127"/>
                  </a:cubicBezTo>
                  <a:cubicBezTo>
                    <a:pt x="77" y="127"/>
                    <a:pt x="77" y="128"/>
                    <a:pt x="77" y="129"/>
                  </a:cubicBezTo>
                  <a:cubicBezTo>
                    <a:pt x="78" y="130"/>
                    <a:pt x="77" y="131"/>
                    <a:pt x="76" y="131"/>
                  </a:cubicBezTo>
                  <a:cubicBezTo>
                    <a:pt x="76" y="132"/>
                    <a:pt x="75" y="133"/>
                    <a:pt x="75" y="134"/>
                  </a:cubicBezTo>
                  <a:cubicBezTo>
                    <a:pt x="75" y="134"/>
                    <a:pt x="76" y="134"/>
                    <a:pt x="76" y="133"/>
                  </a:cubicBezTo>
                  <a:cubicBezTo>
                    <a:pt x="77" y="133"/>
                    <a:pt x="77" y="133"/>
                    <a:pt x="77" y="133"/>
                  </a:cubicBezTo>
                  <a:cubicBezTo>
                    <a:pt x="78" y="133"/>
                    <a:pt x="79" y="133"/>
                    <a:pt x="79" y="133"/>
                  </a:cubicBezTo>
                  <a:cubicBezTo>
                    <a:pt x="80" y="133"/>
                    <a:pt x="82" y="133"/>
                    <a:pt x="83" y="133"/>
                  </a:cubicBezTo>
                  <a:cubicBezTo>
                    <a:pt x="83" y="133"/>
                    <a:pt x="84" y="133"/>
                    <a:pt x="84" y="134"/>
                  </a:cubicBezTo>
                  <a:cubicBezTo>
                    <a:pt x="84" y="134"/>
                    <a:pt x="83" y="134"/>
                    <a:pt x="83" y="134"/>
                  </a:cubicBezTo>
                  <a:cubicBezTo>
                    <a:pt x="83" y="135"/>
                    <a:pt x="83" y="136"/>
                    <a:pt x="84" y="137"/>
                  </a:cubicBezTo>
                  <a:cubicBezTo>
                    <a:pt x="84" y="137"/>
                    <a:pt x="85" y="137"/>
                    <a:pt x="85" y="137"/>
                  </a:cubicBezTo>
                  <a:cubicBezTo>
                    <a:pt x="86" y="137"/>
                    <a:pt x="86" y="138"/>
                    <a:pt x="86" y="138"/>
                  </a:cubicBezTo>
                  <a:cubicBezTo>
                    <a:pt x="86" y="139"/>
                    <a:pt x="86" y="139"/>
                    <a:pt x="86" y="140"/>
                  </a:cubicBezTo>
                  <a:cubicBezTo>
                    <a:pt x="87" y="140"/>
                    <a:pt x="87" y="141"/>
                    <a:pt x="87" y="141"/>
                  </a:cubicBezTo>
                  <a:cubicBezTo>
                    <a:pt x="87" y="141"/>
                    <a:pt x="87" y="142"/>
                    <a:pt x="87" y="142"/>
                  </a:cubicBezTo>
                  <a:cubicBezTo>
                    <a:pt x="87" y="143"/>
                    <a:pt x="88" y="143"/>
                    <a:pt x="88" y="143"/>
                  </a:cubicBezTo>
                  <a:cubicBezTo>
                    <a:pt x="89" y="144"/>
                    <a:pt x="89" y="144"/>
                    <a:pt x="90" y="144"/>
                  </a:cubicBezTo>
                  <a:cubicBezTo>
                    <a:pt x="91" y="144"/>
                    <a:pt x="91" y="143"/>
                    <a:pt x="92" y="142"/>
                  </a:cubicBezTo>
                  <a:cubicBezTo>
                    <a:pt x="92" y="142"/>
                    <a:pt x="93" y="142"/>
                    <a:pt x="94" y="142"/>
                  </a:cubicBezTo>
                  <a:cubicBezTo>
                    <a:pt x="94" y="143"/>
                    <a:pt x="95" y="143"/>
                    <a:pt x="95" y="143"/>
                  </a:cubicBezTo>
                  <a:cubicBezTo>
                    <a:pt x="95" y="142"/>
                    <a:pt x="95" y="141"/>
                    <a:pt x="95" y="141"/>
                  </a:cubicBezTo>
                  <a:cubicBezTo>
                    <a:pt x="96" y="141"/>
                    <a:pt x="97" y="140"/>
                    <a:pt x="98" y="140"/>
                  </a:cubicBezTo>
                  <a:cubicBezTo>
                    <a:pt x="99" y="139"/>
                    <a:pt x="100" y="139"/>
                    <a:pt x="100" y="140"/>
                  </a:cubicBezTo>
                  <a:cubicBezTo>
                    <a:pt x="101" y="140"/>
                    <a:pt x="102" y="141"/>
                    <a:pt x="102" y="141"/>
                  </a:cubicBezTo>
                  <a:cubicBezTo>
                    <a:pt x="102" y="141"/>
                    <a:pt x="101" y="141"/>
                    <a:pt x="101" y="142"/>
                  </a:cubicBezTo>
                  <a:cubicBezTo>
                    <a:pt x="100" y="142"/>
                    <a:pt x="100" y="142"/>
                    <a:pt x="100" y="142"/>
                  </a:cubicBezTo>
                  <a:cubicBezTo>
                    <a:pt x="99" y="142"/>
                    <a:pt x="99" y="142"/>
                    <a:pt x="99" y="142"/>
                  </a:cubicBezTo>
                  <a:cubicBezTo>
                    <a:pt x="98" y="143"/>
                    <a:pt x="98" y="143"/>
                    <a:pt x="97" y="143"/>
                  </a:cubicBezTo>
                  <a:cubicBezTo>
                    <a:pt x="97" y="143"/>
                    <a:pt x="95" y="143"/>
                    <a:pt x="96" y="144"/>
                  </a:cubicBezTo>
                  <a:cubicBezTo>
                    <a:pt x="97" y="144"/>
                    <a:pt x="97" y="145"/>
                    <a:pt x="97" y="146"/>
                  </a:cubicBezTo>
                  <a:cubicBezTo>
                    <a:pt x="98" y="147"/>
                    <a:pt x="98" y="147"/>
                    <a:pt x="98" y="148"/>
                  </a:cubicBezTo>
                  <a:cubicBezTo>
                    <a:pt x="98" y="148"/>
                    <a:pt x="99" y="148"/>
                    <a:pt x="99" y="149"/>
                  </a:cubicBezTo>
                  <a:cubicBezTo>
                    <a:pt x="100" y="149"/>
                    <a:pt x="101" y="150"/>
                    <a:pt x="100" y="150"/>
                  </a:cubicBezTo>
                  <a:cubicBezTo>
                    <a:pt x="99" y="150"/>
                    <a:pt x="98" y="150"/>
                    <a:pt x="98" y="150"/>
                  </a:cubicBezTo>
                  <a:cubicBezTo>
                    <a:pt x="97" y="150"/>
                    <a:pt x="96" y="149"/>
                    <a:pt x="95" y="150"/>
                  </a:cubicBezTo>
                  <a:cubicBezTo>
                    <a:pt x="95" y="150"/>
                    <a:pt x="95" y="150"/>
                    <a:pt x="94" y="151"/>
                  </a:cubicBezTo>
                  <a:cubicBezTo>
                    <a:pt x="94" y="151"/>
                    <a:pt x="94" y="151"/>
                    <a:pt x="94" y="151"/>
                  </a:cubicBezTo>
                  <a:cubicBezTo>
                    <a:pt x="93" y="151"/>
                    <a:pt x="95" y="152"/>
                    <a:pt x="95" y="152"/>
                  </a:cubicBezTo>
                  <a:cubicBezTo>
                    <a:pt x="95" y="152"/>
                    <a:pt x="95" y="153"/>
                    <a:pt x="96" y="153"/>
                  </a:cubicBezTo>
                  <a:cubicBezTo>
                    <a:pt x="96" y="153"/>
                    <a:pt x="96" y="153"/>
                    <a:pt x="97" y="153"/>
                  </a:cubicBezTo>
                  <a:cubicBezTo>
                    <a:pt x="97" y="153"/>
                    <a:pt x="98" y="153"/>
                    <a:pt x="99" y="153"/>
                  </a:cubicBezTo>
                  <a:cubicBezTo>
                    <a:pt x="100" y="154"/>
                    <a:pt x="100" y="154"/>
                    <a:pt x="101" y="154"/>
                  </a:cubicBezTo>
                  <a:cubicBezTo>
                    <a:pt x="101" y="154"/>
                    <a:pt x="102" y="154"/>
                    <a:pt x="102" y="155"/>
                  </a:cubicBezTo>
                  <a:cubicBezTo>
                    <a:pt x="102" y="155"/>
                    <a:pt x="103" y="155"/>
                    <a:pt x="103" y="155"/>
                  </a:cubicBezTo>
                  <a:cubicBezTo>
                    <a:pt x="104" y="155"/>
                    <a:pt x="105" y="155"/>
                    <a:pt x="104" y="155"/>
                  </a:cubicBezTo>
                  <a:cubicBezTo>
                    <a:pt x="104" y="154"/>
                    <a:pt x="104" y="154"/>
                    <a:pt x="104" y="154"/>
                  </a:cubicBezTo>
                  <a:cubicBezTo>
                    <a:pt x="103" y="154"/>
                    <a:pt x="103" y="154"/>
                    <a:pt x="103" y="153"/>
                  </a:cubicBezTo>
                  <a:cubicBezTo>
                    <a:pt x="103" y="153"/>
                    <a:pt x="103" y="153"/>
                    <a:pt x="103" y="152"/>
                  </a:cubicBezTo>
                  <a:cubicBezTo>
                    <a:pt x="103" y="152"/>
                    <a:pt x="104" y="151"/>
                    <a:pt x="104" y="151"/>
                  </a:cubicBezTo>
                  <a:cubicBezTo>
                    <a:pt x="105" y="151"/>
                    <a:pt x="105" y="150"/>
                    <a:pt x="106" y="149"/>
                  </a:cubicBezTo>
                  <a:cubicBezTo>
                    <a:pt x="106" y="149"/>
                    <a:pt x="107" y="149"/>
                    <a:pt x="107" y="149"/>
                  </a:cubicBezTo>
                  <a:cubicBezTo>
                    <a:pt x="108" y="149"/>
                    <a:pt x="108" y="150"/>
                    <a:pt x="108" y="150"/>
                  </a:cubicBezTo>
                  <a:cubicBezTo>
                    <a:pt x="108" y="151"/>
                    <a:pt x="109" y="151"/>
                    <a:pt x="109" y="152"/>
                  </a:cubicBezTo>
                  <a:cubicBezTo>
                    <a:pt x="110" y="152"/>
                    <a:pt x="111" y="152"/>
                    <a:pt x="111" y="152"/>
                  </a:cubicBezTo>
                  <a:cubicBezTo>
                    <a:pt x="111" y="153"/>
                    <a:pt x="111" y="153"/>
                    <a:pt x="111" y="154"/>
                  </a:cubicBezTo>
                  <a:cubicBezTo>
                    <a:pt x="110" y="154"/>
                    <a:pt x="110" y="154"/>
                    <a:pt x="109" y="154"/>
                  </a:cubicBezTo>
                  <a:cubicBezTo>
                    <a:pt x="109" y="154"/>
                    <a:pt x="107" y="155"/>
                    <a:pt x="108" y="156"/>
                  </a:cubicBezTo>
                  <a:cubicBezTo>
                    <a:pt x="108" y="156"/>
                    <a:pt x="108" y="156"/>
                    <a:pt x="108" y="157"/>
                  </a:cubicBezTo>
                  <a:cubicBezTo>
                    <a:pt x="109" y="157"/>
                    <a:pt x="109" y="157"/>
                    <a:pt x="109" y="157"/>
                  </a:cubicBezTo>
                  <a:cubicBezTo>
                    <a:pt x="110" y="158"/>
                    <a:pt x="110" y="157"/>
                    <a:pt x="111" y="157"/>
                  </a:cubicBezTo>
                  <a:cubicBezTo>
                    <a:pt x="111" y="157"/>
                    <a:pt x="112" y="157"/>
                    <a:pt x="113" y="156"/>
                  </a:cubicBezTo>
                  <a:cubicBezTo>
                    <a:pt x="113" y="156"/>
                    <a:pt x="114" y="156"/>
                    <a:pt x="114" y="156"/>
                  </a:cubicBezTo>
                  <a:cubicBezTo>
                    <a:pt x="115" y="155"/>
                    <a:pt x="115" y="154"/>
                    <a:pt x="116" y="153"/>
                  </a:cubicBezTo>
                  <a:cubicBezTo>
                    <a:pt x="116" y="153"/>
                    <a:pt x="116" y="152"/>
                    <a:pt x="117" y="152"/>
                  </a:cubicBezTo>
                  <a:cubicBezTo>
                    <a:pt x="117" y="152"/>
                    <a:pt x="118" y="153"/>
                    <a:pt x="118" y="153"/>
                  </a:cubicBezTo>
                  <a:cubicBezTo>
                    <a:pt x="118" y="154"/>
                    <a:pt x="119" y="154"/>
                    <a:pt x="119" y="153"/>
                  </a:cubicBezTo>
                  <a:cubicBezTo>
                    <a:pt x="119" y="153"/>
                    <a:pt x="119" y="153"/>
                    <a:pt x="119" y="152"/>
                  </a:cubicBezTo>
                  <a:cubicBezTo>
                    <a:pt x="119" y="152"/>
                    <a:pt x="119" y="151"/>
                    <a:pt x="119" y="151"/>
                  </a:cubicBezTo>
                  <a:cubicBezTo>
                    <a:pt x="119" y="150"/>
                    <a:pt x="119" y="150"/>
                    <a:pt x="120" y="150"/>
                  </a:cubicBezTo>
                  <a:cubicBezTo>
                    <a:pt x="120" y="150"/>
                    <a:pt x="122" y="150"/>
                    <a:pt x="121" y="149"/>
                  </a:cubicBezTo>
                  <a:cubicBezTo>
                    <a:pt x="121" y="149"/>
                    <a:pt x="121" y="149"/>
                    <a:pt x="121" y="149"/>
                  </a:cubicBezTo>
                  <a:cubicBezTo>
                    <a:pt x="121" y="148"/>
                    <a:pt x="122" y="148"/>
                    <a:pt x="122" y="149"/>
                  </a:cubicBezTo>
                  <a:cubicBezTo>
                    <a:pt x="123" y="149"/>
                    <a:pt x="123" y="149"/>
                    <a:pt x="123" y="149"/>
                  </a:cubicBezTo>
                  <a:cubicBezTo>
                    <a:pt x="124" y="150"/>
                    <a:pt x="124" y="150"/>
                    <a:pt x="125" y="150"/>
                  </a:cubicBezTo>
                  <a:cubicBezTo>
                    <a:pt x="126" y="150"/>
                    <a:pt x="127" y="150"/>
                    <a:pt x="128" y="151"/>
                  </a:cubicBezTo>
                  <a:cubicBezTo>
                    <a:pt x="129" y="151"/>
                    <a:pt x="129" y="152"/>
                    <a:pt x="130" y="152"/>
                  </a:cubicBezTo>
                  <a:cubicBezTo>
                    <a:pt x="131" y="153"/>
                    <a:pt x="131" y="153"/>
                    <a:pt x="131" y="154"/>
                  </a:cubicBezTo>
                  <a:cubicBezTo>
                    <a:pt x="131" y="154"/>
                    <a:pt x="131" y="155"/>
                    <a:pt x="131" y="155"/>
                  </a:cubicBezTo>
                  <a:cubicBezTo>
                    <a:pt x="132" y="155"/>
                    <a:pt x="132" y="155"/>
                    <a:pt x="132" y="156"/>
                  </a:cubicBezTo>
                  <a:cubicBezTo>
                    <a:pt x="132" y="156"/>
                    <a:pt x="131" y="158"/>
                    <a:pt x="132" y="158"/>
                  </a:cubicBezTo>
                  <a:cubicBezTo>
                    <a:pt x="132" y="159"/>
                    <a:pt x="133" y="158"/>
                    <a:pt x="134" y="158"/>
                  </a:cubicBezTo>
                  <a:cubicBezTo>
                    <a:pt x="134" y="157"/>
                    <a:pt x="135" y="157"/>
                    <a:pt x="136" y="156"/>
                  </a:cubicBezTo>
                  <a:cubicBezTo>
                    <a:pt x="136" y="155"/>
                    <a:pt x="136" y="154"/>
                    <a:pt x="136" y="153"/>
                  </a:cubicBezTo>
                  <a:cubicBezTo>
                    <a:pt x="136" y="152"/>
                    <a:pt x="136" y="151"/>
                    <a:pt x="136" y="150"/>
                  </a:cubicBezTo>
                  <a:cubicBezTo>
                    <a:pt x="136" y="149"/>
                    <a:pt x="136" y="148"/>
                    <a:pt x="136" y="147"/>
                  </a:cubicBezTo>
                  <a:cubicBezTo>
                    <a:pt x="137" y="146"/>
                    <a:pt x="137" y="145"/>
                    <a:pt x="136" y="144"/>
                  </a:cubicBezTo>
                  <a:cubicBezTo>
                    <a:pt x="136" y="144"/>
                    <a:pt x="134" y="144"/>
                    <a:pt x="134" y="144"/>
                  </a:cubicBezTo>
                  <a:cubicBezTo>
                    <a:pt x="133" y="143"/>
                    <a:pt x="133" y="143"/>
                    <a:pt x="133" y="143"/>
                  </a:cubicBezTo>
                  <a:cubicBezTo>
                    <a:pt x="132" y="143"/>
                    <a:pt x="132" y="142"/>
                    <a:pt x="132" y="142"/>
                  </a:cubicBezTo>
                  <a:cubicBezTo>
                    <a:pt x="132" y="141"/>
                    <a:pt x="133" y="141"/>
                    <a:pt x="133" y="141"/>
                  </a:cubicBezTo>
                  <a:cubicBezTo>
                    <a:pt x="134" y="140"/>
                    <a:pt x="134" y="139"/>
                    <a:pt x="134" y="139"/>
                  </a:cubicBezTo>
                  <a:cubicBezTo>
                    <a:pt x="134" y="138"/>
                    <a:pt x="134" y="138"/>
                    <a:pt x="134" y="138"/>
                  </a:cubicBezTo>
                  <a:cubicBezTo>
                    <a:pt x="134" y="138"/>
                    <a:pt x="133" y="138"/>
                    <a:pt x="133" y="137"/>
                  </a:cubicBezTo>
                  <a:cubicBezTo>
                    <a:pt x="133" y="137"/>
                    <a:pt x="133" y="137"/>
                    <a:pt x="132" y="136"/>
                  </a:cubicBezTo>
                  <a:cubicBezTo>
                    <a:pt x="132" y="136"/>
                    <a:pt x="132" y="135"/>
                    <a:pt x="131" y="136"/>
                  </a:cubicBezTo>
                  <a:cubicBezTo>
                    <a:pt x="131" y="136"/>
                    <a:pt x="131" y="136"/>
                    <a:pt x="130" y="136"/>
                  </a:cubicBezTo>
                  <a:cubicBezTo>
                    <a:pt x="129" y="137"/>
                    <a:pt x="129" y="136"/>
                    <a:pt x="129" y="136"/>
                  </a:cubicBezTo>
                  <a:cubicBezTo>
                    <a:pt x="129" y="136"/>
                    <a:pt x="129" y="136"/>
                    <a:pt x="128" y="135"/>
                  </a:cubicBezTo>
                  <a:cubicBezTo>
                    <a:pt x="128" y="135"/>
                    <a:pt x="128" y="135"/>
                    <a:pt x="128" y="135"/>
                  </a:cubicBezTo>
                  <a:cubicBezTo>
                    <a:pt x="128" y="134"/>
                    <a:pt x="127" y="133"/>
                    <a:pt x="128" y="133"/>
                  </a:cubicBezTo>
                  <a:cubicBezTo>
                    <a:pt x="128" y="132"/>
                    <a:pt x="129" y="132"/>
                    <a:pt x="129" y="132"/>
                  </a:cubicBezTo>
                  <a:cubicBezTo>
                    <a:pt x="130" y="132"/>
                    <a:pt x="131" y="132"/>
                    <a:pt x="131" y="131"/>
                  </a:cubicBezTo>
                  <a:cubicBezTo>
                    <a:pt x="132" y="131"/>
                    <a:pt x="132" y="131"/>
                    <a:pt x="132" y="131"/>
                  </a:cubicBezTo>
                  <a:cubicBezTo>
                    <a:pt x="133" y="131"/>
                    <a:pt x="133" y="130"/>
                    <a:pt x="133" y="130"/>
                  </a:cubicBezTo>
                  <a:cubicBezTo>
                    <a:pt x="134" y="130"/>
                    <a:pt x="133" y="131"/>
                    <a:pt x="133" y="132"/>
                  </a:cubicBezTo>
                  <a:cubicBezTo>
                    <a:pt x="133" y="132"/>
                    <a:pt x="133" y="133"/>
                    <a:pt x="133" y="134"/>
                  </a:cubicBezTo>
                  <a:cubicBezTo>
                    <a:pt x="133" y="134"/>
                    <a:pt x="132" y="134"/>
                    <a:pt x="133" y="135"/>
                  </a:cubicBezTo>
                  <a:cubicBezTo>
                    <a:pt x="133" y="135"/>
                    <a:pt x="133" y="135"/>
                    <a:pt x="134" y="136"/>
                  </a:cubicBezTo>
                  <a:cubicBezTo>
                    <a:pt x="135" y="136"/>
                    <a:pt x="135" y="136"/>
                    <a:pt x="135" y="137"/>
                  </a:cubicBezTo>
                  <a:cubicBezTo>
                    <a:pt x="136" y="138"/>
                    <a:pt x="135" y="139"/>
                    <a:pt x="135" y="139"/>
                  </a:cubicBezTo>
                  <a:cubicBezTo>
                    <a:pt x="136" y="141"/>
                    <a:pt x="137" y="142"/>
                    <a:pt x="139" y="143"/>
                  </a:cubicBezTo>
                  <a:cubicBezTo>
                    <a:pt x="139" y="144"/>
                    <a:pt x="141" y="144"/>
                    <a:pt x="142" y="144"/>
                  </a:cubicBezTo>
                  <a:cubicBezTo>
                    <a:pt x="143" y="144"/>
                    <a:pt x="144" y="144"/>
                    <a:pt x="144" y="144"/>
                  </a:cubicBezTo>
                  <a:cubicBezTo>
                    <a:pt x="145" y="144"/>
                    <a:pt x="145" y="144"/>
                    <a:pt x="145" y="144"/>
                  </a:cubicBezTo>
                  <a:cubicBezTo>
                    <a:pt x="145" y="145"/>
                    <a:pt x="145" y="146"/>
                    <a:pt x="146" y="146"/>
                  </a:cubicBezTo>
                  <a:cubicBezTo>
                    <a:pt x="146" y="146"/>
                    <a:pt x="147" y="146"/>
                    <a:pt x="147" y="146"/>
                  </a:cubicBezTo>
                  <a:cubicBezTo>
                    <a:pt x="148" y="147"/>
                    <a:pt x="148" y="147"/>
                    <a:pt x="148" y="147"/>
                  </a:cubicBezTo>
                  <a:cubicBezTo>
                    <a:pt x="149" y="147"/>
                    <a:pt x="150" y="147"/>
                    <a:pt x="150" y="147"/>
                  </a:cubicBezTo>
                  <a:cubicBezTo>
                    <a:pt x="151" y="147"/>
                    <a:pt x="152" y="147"/>
                    <a:pt x="153" y="147"/>
                  </a:cubicBezTo>
                  <a:cubicBezTo>
                    <a:pt x="154" y="147"/>
                    <a:pt x="154" y="147"/>
                    <a:pt x="154" y="148"/>
                  </a:cubicBezTo>
                  <a:cubicBezTo>
                    <a:pt x="155" y="148"/>
                    <a:pt x="155" y="149"/>
                    <a:pt x="156" y="149"/>
                  </a:cubicBezTo>
                  <a:cubicBezTo>
                    <a:pt x="156" y="149"/>
                    <a:pt x="156" y="149"/>
                    <a:pt x="157" y="150"/>
                  </a:cubicBezTo>
                  <a:cubicBezTo>
                    <a:pt x="157" y="150"/>
                    <a:pt x="158" y="149"/>
                    <a:pt x="158" y="149"/>
                  </a:cubicBezTo>
                  <a:cubicBezTo>
                    <a:pt x="158" y="149"/>
                    <a:pt x="158" y="148"/>
                    <a:pt x="159" y="149"/>
                  </a:cubicBezTo>
                  <a:cubicBezTo>
                    <a:pt x="159" y="149"/>
                    <a:pt x="159" y="149"/>
                    <a:pt x="159" y="149"/>
                  </a:cubicBezTo>
                  <a:cubicBezTo>
                    <a:pt x="159" y="149"/>
                    <a:pt x="160" y="149"/>
                    <a:pt x="160" y="149"/>
                  </a:cubicBezTo>
                  <a:cubicBezTo>
                    <a:pt x="160" y="150"/>
                    <a:pt x="161" y="150"/>
                    <a:pt x="162" y="151"/>
                  </a:cubicBezTo>
                  <a:cubicBezTo>
                    <a:pt x="162" y="151"/>
                    <a:pt x="163" y="151"/>
                    <a:pt x="163" y="151"/>
                  </a:cubicBezTo>
                  <a:cubicBezTo>
                    <a:pt x="163" y="151"/>
                    <a:pt x="163" y="151"/>
                    <a:pt x="163" y="151"/>
                  </a:cubicBezTo>
                  <a:cubicBezTo>
                    <a:pt x="164" y="151"/>
                    <a:pt x="164" y="150"/>
                    <a:pt x="164" y="150"/>
                  </a:cubicBezTo>
                  <a:cubicBezTo>
                    <a:pt x="165" y="150"/>
                    <a:pt x="165" y="150"/>
                    <a:pt x="165" y="150"/>
                  </a:cubicBezTo>
                  <a:cubicBezTo>
                    <a:pt x="165" y="149"/>
                    <a:pt x="164" y="149"/>
                    <a:pt x="163" y="149"/>
                  </a:cubicBezTo>
                  <a:cubicBezTo>
                    <a:pt x="163" y="149"/>
                    <a:pt x="162" y="149"/>
                    <a:pt x="162" y="149"/>
                  </a:cubicBezTo>
                  <a:cubicBezTo>
                    <a:pt x="161" y="149"/>
                    <a:pt x="161" y="148"/>
                    <a:pt x="160" y="148"/>
                  </a:cubicBezTo>
                  <a:cubicBezTo>
                    <a:pt x="160" y="147"/>
                    <a:pt x="160" y="147"/>
                    <a:pt x="159" y="147"/>
                  </a:cubicBezTo>
                  <a:cubicBezTo>
                    <a:pt x="158" y="147"/>
                    <a:pt x="158" y="147"/>
                    <a:pt x="158" y="147"/>
                  </a:cubicBezTo>
                  <a:cubicBezTo>
                    <a:pt x="157" y="148"/>
                    <a:pt x="157" y="148"/>
                    <a:pt x="156" y="148"/>
                  </a:cubicBezTo>
                  <a:cubicBezTo>
                    <a:pt x="156" y="148"/>
                    <a:pt x="155" y="148"/>
                    <a:pt x="155" y="148"/>
                  </a:cubicBezTo>
                  <a:cubicBezTo>
                    <a:pt x="154" y="147"/>
                    <a:pt x="154" y="147"/>
                    <a:pt x="155" y="146"/>
                  </a:cubicBezTo>
                  <a:cubicBezTo>
                    <a:pt x="155" y="146"/>
                    <a:pt x="155" y="145"/>
                    <a:pt x="154" y="144"/>
                  </a:cubicBezTo>
                  <a:cubicBezTo>
                    <a:pt x="154" y="143"/>
                    <a:pt x="154" y="144"/>
                    <a:pt x="153" y="143"/>
                  </a:cubicBezTo>
                  <a:cubicBezTo>
                    <a:pt x="153" y="143"/>
                    <a:pt x="153" y="142"/>
                    <a:pt x="152" y="142"/>
                  </a:cubicBezTo>
                  <a:cubicBezTo>
                    <a:pt x="152" y="141"/>
                    <a:pt x="152" y="142"/>
                    <a:pt x="151" y="141"/>
                  </a:cubicBezTo>
                  <a:cubicBezTo>
                    <a:pt x="151" y="141"/>
                    <a:pt x="150" y="141"/>
                    <a:pt x="150" y="141"/>
                  </a:cubicBezTo>
                  <a:cubicBezTo>
                    <a:pt x="150" y="140"/>
                    <a:pt x="149" y="140"/>
                    <a:pt x="149" y="139"/>
                  </a:cubicBezTo>
                  <a:cubicBezTo>
                    <a:pt x="149" y="139"/>
                    <a:pt x="149" y="138"/>
                    <a:pt x="149" y="138"/>
                  </a:cubicBezTo>
                  <a:cubicBezTo>
                    <a:pt x="148" y="138"/>
                    <a:pt x="148" y="138"/>
                    <a:pt x="148" y="138"/>
                  </a:cubicBezTo>
                  <a:cubicBezTo>
                    <a:pt x="147" y="138"/>
                    <a:pt x="147" y="138"/>
                    <a:pt x="147" y="137"/>
                  </a:cubicBezTo>
                  <a:cubicBezTo>
                    <a:pt x="147" y="137"/>
                    <a:pt x="146" y="137"/>
                    <a:pt x="146" y="137"/>
                  </a:cubicBezTo>
                  <a:cubicBezTo>
                    <a:pt x="146" y="136"/>
                    <a:pt x="146" y="136"/>
                    <a:pt x="146" y="136"/>
                  </a:cubicBezTo>
                  <a:cubicBezTo>
                    <a:pt x="147" y="136"/>
                    <a:pt x="147" y="136"/>
                    <a:pt x="147" y="135"/>
                  </a:cubicBezTo>
                  <a:cubicBezTo>
                    <a:pt x="147" y="135"/>
                    <a:pt x="147" y="135"/>
                    <a:pt x="147" y="135"/>
                  </a:cubicBezTo>
                  <a:cubicBezTo>
                    <a:pt x="148" y="135"/>
                    <a:pt x="148" y="135"/>
                    <a:pt x="148" y="136"/>
                  </a:cubicBezTo>
                  <a:cubicBezTo>
                    <a:pt x="148" y="136"/>
                    <a:pt x="148" y="137"/>
                    <a:pt x="149" y="137"/>
                  </a:cubicBezTo>
                  <a:cubicBezTo>
                    <a:pt x="149" y="137"/>
                    <a:pt x="150" y="138"/>
                    <a:pt x="150" y="138"/>
                  </a:cubicBezTo>
                  <a:cubicBezTo>
                    <a:pt x="151" y="138"/>
                    <a:pt x="151" y="137"/>
                    <a:pt x="152" y="137"/>
                  </a:cubicBezTo>
                  <a:cubicBezTo>
                    <a:pt x="152" y="137"/>
                    <a:pt x="153" y="137"/>
                    <a:pt x="153" y="136"/>
                  </a:cubicBezTo>
                  <a:cubicBezTo>
                    <a:pt x="153" y="136"/>
                    <a:pt x="153" y="136"/>
                    <a:pt x="154" y="136"/>
                  </a:cubicBezTo>
                  <a:cubicBezTo>
                    <a:pt x="154" y="136"/>
                    <a:pt x="155" y="136"/>
                    <a:pt x="154" y="136"/>
                  </a:cubicBezTo>
                  <a:cubicBezTo>
                    <a:pt x="154" y="135"/>
                    <a:pt x="153" y="136"/>
                    <a:pt x="153" y="135"/>
                  </a:cubicBezTo>
                  <a:cubicBezTo>
                    <a:pt x="153" y="135"/>
                    <a:pt x="153" y="135"/>
                    <a:pt x="153" y="135"/>
                  </a:cubicBezTo>
                  <a:cubicBezTo>
                    <a:pt x="152" y="135"/>
                    <a:pt x="152" y="134"/>
                    <a:pt x="152" y="134"/>
                  </a:cubicBezTo>
                  <a:cubicBezTo>
                    <a:pt x="152" y="134"/>
                    <a:pt x="153" y="134"/>
                    <a:pt x="153" y="134"/>
                  </a:cubicBezTo>
                  <a:cubicBezTo>
                    <a:pt x="153" y="133"/>
                    <a:pt x="153" y="133"/>
                    <a:pt x="153" y="133"/>
                  </a:cubicBezTo>
                  <a:cubicBezTo>
                    <a:pt x="154" y="132"/>
                    <a:pt x="154" y="132"/>
                    <a:pt x="154" y="132"/>
                  </a:cubicBezTo>
                  <a:cubicBezTo>
                    <a:pt x="153" y="131"/>
                    <a:pt x="153" y="131"/>
                    <a:pt x="153" y="131"/>
                  </a:cubicBezTo>
                  <a:cubicBezTo>
                    <a:pt x="153" y="131"/>
                    <a:pt x="153" y="130"/>
                    <a:pt x="153" y="130"/>
                  </a:cubicBezTo>
                  <a:cubicBezTo>
                    <a:pt x="153" y="130"/>
                    <a:pt x="154" y="130"/>
                    <a:pt x="154" y="131"/>
                  </a:cubicBezTo>
                  <a:cubicBezTo>
                    <a:pt x="154" y="131"/>
                    <a:pt x="155" y="131"/>
                    <a:pt x="155" y="132"/>
                  </a:cubicBezTo>
                  <a:cubicBezTo>
                    <a:pt x="155" y="133"/>
                    <a:pt x="156" y="133"/>
                    <a:pt x="157" y="134"/>
                  </a:cubicBezTo>
                  <a:cubicBezTo>
                    <a:pt x="157" y="134"/>
                    <a:pt x="158" y="135"/>
                    <a:pt x="159" y="135"/>
                  </a:cubicBezTo>
                  <a:cubicBezTo>
                    <a:pt x="159" y="135"/>
                    <a:pt x="159" y="134"/>
                    <a:pt x="159" y="133"/>
                  </a:cubicBezTo>
                  <a:cubicBezTo>
                    <a:pt x="159" y="133"/>
                    <a:pt x="159" y="132"/>
                    <a:pt x="159" y="132"/>
                  </a:cubicBezTo>
                  <a:cubicBezTo>
                    <a:pt x="159" y="131"/>
                    <a:pt x="160" y="130"/>
                    <a:pt x="160" y="129"/>
                  </a:cubicBezTo>
                  <a:cubicBezTo>
                    <a:pt x="160" y="129"/>
                    <a:pt x="160" y="128"/>
                    <a:pt x="160" y="127"/>
                  </a:cubicBezTo>
                  <a:cubicBezTo>
                    <a:pt x="160" y="127"/>
                    <a:pt x="161" y="127"/>
                    <a:pt x="161" y="126"/>
                  </a:cubicBezTo>
                  <a:cubicBezTo>
                    <a:pt x="161" y="126"/>
                    <a:pt x="161" y="125"/>
                    <a:pt x="161" y="125"/>
                  </a:cubicBezTo>
                  <a:cubicBezTo>
                    <a:pt x="161" y="124"/>
                    <a:pt x="160" y="124"/>
                    <a:pt x="159" y="124"/>
                  </a:cubicBezTo>
                  <a:cubicBezTo>
                    <a:pt x="159" y="124"/>
                    <a:pt x="159" y="124"/>
                    <a:pt x="159" y="123"/>
                  </a:cubicBezTo>
                  <a:cubicBezTo>
                    <a:pt x="159" y="123"/>
                    <a:pt x="159" y="123"/>
                    <a:pt x="158" y="123"/>
                  </a:cubicBezTo>
                  <a:cubicBezTo>
                    <a:pt x="158" y="122"/>
                    <a:pt x="159" y="121"/>
                    <a:pt x="159" y="120"/>
                  </a:cubicBezTo>
                  <a:cubicBezTo>
                    <a:pt x="158" y="121"/>
                    <a:pt x="157" y="121"/>
                    <a:pt x="156" y="122"/>
                  </a:cubicBezTo>
                  <a:cubicBezTo>
                    <a:pt x="156" y="122"/>
                    <a:pt x="155" y="122"/>
                    <a:pt x="155" y="123"/>
                  </a:cubicBezTo>
                  <a:cubicBezTo>
                    <a:pt x="155" y="123"/>
                    <a:pt x="155" y="124"/>
                    <a:pt x="155" y="124"/>
                  </a:cubicBezTo>
                  <a:cubicBezTo>
                    <a:pt x="156" y="125"/>
                    <a:pt x="157" y="125"/>
                    <a:pt x="156" y="126"/>
                  </a:cubicBezTo>
                  <a:cubicBezTo>
                    <a:pt x="155" y="127"/>
                    <a:pt x="155" y="127"/>
                    <a:pt x="155" y="128"/>
                  </a:cubicBezTo>
                  <a:cubicBezTo>
                    <a:pt x="155" y="128"/>
                    <a:pt x="155" y="128"/>
                    <a:pt x="154" y="128"/>
                  </a:cubicBezTo>
                  <a:cubicBezTo>
                    <a:pt x="153" y="129"/>
                    <a:pt x="153" y="128"/>
                    <a:pt x="152" y="128"/>
                  </a:cubicBezTo>
                  <a:cubicBezTo>
                    <a:pt x="151" y="127"/>
                    <a:pt x="150" y="128"/>
                    <a:pt x="149" y="127"/>
                  </a:cubicBezTo>
                  <a:cubicBezTo>
                    <a:pt x="148" y="126"/>
                    <a:pt x="147" y="126"/>
                    <a:pt x="146" y="126"/>
                  </a:cubicBezTo>
                  <a:cubicBezTo>
                    <a:pt x="146" y="125"/>
                    <a:pt x="145" y="125"/>
                    <a:pt x="145" y="125"/>
                  </a:cubicBezTo>
                  <a:cubicBezTo>
                    <a:pt x="145" y="124"/>
                    <a:pt x="144" y="124"/>
                    <a:pt x="144" y="124"/>
                  </a:cubicBezTo>
                  <a:cubicBezTo>
                    <a:pt x="144" y="123"/>
                    <a:pt x="145" y="122"/>
                    <a:pt x="145" y="122"/>
                  </a:cubicBezTo>
                  <a:cubicBezTo>
                    <a:pt x="145" y="122"/>
                    <a:pt x="145" y="121"/>
                    <a:pt x="146" y="121"/>
                  </a:cubicBezTo>
                  <a:cubicBezTo>
                    <a:pt x="146" y="121"/>
                    <a:pt x="146" y="121"/>
                    <a:pt x="147" y="120"/>
                  </a:cubicBezTo>
                  <a:cubicBezTo>
                    <a:pt x="147" y="120"/>
                    <a:pt x="147" y="120"/>
                    <a:pt x="148" y="120"/>
                  </a:cubicBezTo>
                  <a:cubicBezTo>
                    <a:pt x="148" y="119"/>
                    <a:pt x="149" y="119"/>
                    <a:pt x="149" y="119"/>
                  </a:cubicBezTo>
                  <a:cubicBezTo>
                    <a:pt x="150" y="118"/>
                    <a:pt x="150" y="118"/>
                    <a:pt x="149" y="117"/>
                  </a:cubicBezTo>
                  <a:cubicBezTo>
                    <a:pt x="149" y="117"/>
                    <a:pt x="149" y="116"/>
                    <a:pt x="148" y="116"/>
                  </a:cubicBezTo>
                  <a:cubicBezTo>
                    <a:pt x="148" y="116"/>
                    <a:pt x="147" y="117"/>
                    <a:pt x="147" y="117"/>
                  </a:cubicBezTo>
                  <a:cubicBezTo>
                    <a:pt x="146" y="117"/>
                    <a:pt x="145" y="118"/>
                    <a:pt x="145" y="118"/>
                  </a:cubicBezTo>
                  <a:cubicBezTo>
                    <a:pt x="144" y="118"/>
                    <a:pt x="144" y="118"/>
                    <a:pt x="144" y="118"/>
                  </a:cubicBezTo>
                  <a:cubicBezTo>
                    <a:pt x="144" y="118"/>
                    <a:pt x="144" y="118"/>
                    <a:pt x="143" y="118"/>
                  </a:cubicBezTo>
                  <a:cubicBezTo>
                    <a:pt x="143" y="118"/>
                    <a:pt x="142" y="119"/>
                    <a:pt x="142" y="119"/>
                  </a:cubicBezTo>
                  <a:cubicBezTo>
                    <a:pt x="141" y="119"/>
                    <a:pt x="141" y="120"/>
                    <a:pt x="140" y="120"/>
                  </a:cubicBezTo>
                  <a:cubicBezTo>
                    <a:pt x="139" y="120"/>
                    <a:pt x="139" y="120"/>
                    <a:pt x="138" y="121"/>
                  </a:cubicBezTo>
                  <a:cubicBezTo>
                    <a:pt x="137" y="121"/>
                    <a:pt x="137" y="121"/>
                    <a:pt x="136" y="121"/>
                  </a:cubicBezTo>
                  <a:cubicBezTo>
                    <a:pt x="135" y="121"/>
                    <a:pt x="133" y="121"/>
                    <a:pt x="132" y="121"/>
                  </a:cubicBezTo>
                  <a:cubicBezTo>
                    <a:pt x="131" y="121"/>
                    <a:pt x="130" y="121"/>
                    <a:pt x="129" y="121"/>
                  </a:cubicBezTo>
                  <a:cubicBezTo>
                    <a:pt x="129" y="121"/>
                    <a:pt x="129" y="121"/>
                    <a:pt x="129" y="121"/>
                  </a:cubicBezTo>
                  <a:cubicBezTo>
                    <a:pt x="128" y="120"/>
                    <a:pt x="128" y="120"/>
                    <a:pt x="128" y="120"/>
                  </a:cubicBezTo>
                  <a:cubicBezTo>
                    <a:pt x="127" y="120"/>
                    <a:pt x="127" y="120"/>
                    <a:pt x="126" y="119"/>
                  </a:cubicBezTo>
                  <a:cubicBezTo>
                    <a:pt x="126" y="119"/>
                    <a:pt x="126" y="119"/>
                    <a:pt x="126" y="119"/>
                  </a:cubicBezTo>
                  <a:cubicBezTo>
                    <a:pt x="125" y="118"/>
                    <a:pt x="125" y="118"/>
                    <a:pt x="125" y="118"/>
                  </a:cubicBezTo>
                  <a:cubicBezTo>
                    <a:pt x="124" y="118"/>
                    <a:pt x="125" y="117"/>
                    <a:pt x="125" y="116"/>
                  </a:cubicBezTo>
                  <a:cubicBezTo>
                    <a:pt x="125" y="115"/>
                    <a:pt x="125" y="115"/>
                    <a:pt x="126" y="114"/>
                  </a:cubicBezTo>
                  <a:cubicBezTo>
                    <a:pt x="127" y="113"/>
                    <a:pt x="128" y="112"/>
                    <a:pt x="128" y="112"/>
                  </a:cubicBezTo>
                  <a:cubicBezTo>
                    <a:pt x="128" y="111"/>
                    <a:pt x="126" y="111"/>
                    <a:pt x="126" y="111"/>
                  </a:cubicBezTo>
                  <a:cubicBezTo>
                    <a:pt x="125" y="111"/>
                    <a:pt x="125" y="112"/>
                    <a:pt x="125" y="113"/>
                  </a:cubicBezTo>
                  <a:cubicBezTo>
                    <a:pt x="125" y="113"/>
                    <a:pt x="124" y="113"/>
                    <a:pt x="124" y="114"/>
                  </a:cubicBezTo>
                  <a:cubicBezTo>
                    <a:pt x="124" y="114"/>
                    <a:pt x="124" y="114"/>
                    <a:pt x="124" y="115"/>
                  </a:cubicBezTo>
                  <a:cubicBezTo>
                    <a:pt x="123" y="116"/>
                    <a:pt x="120" y="116"/>
                    <a:pt x="120" y="115"/>
                  </a:cubicBezTo>
                  <a:cubicBezTo>
                    <a:pt x="119" y="115"/>
                    <a:pt x="120" y="114"/>
                    <a:pt x="120" y="114"/>
                  </a:cubicBezTo>
                  <a:cubicBezTo>
                    <a:pt x="120" y="113"/>
                    <a:pt x="120" y="112"/>
                    <a:pt x="120" y="112"/>
                  </a:cubicBezTo>
                  <a:cubicBezTo>
                    <a:pt x="121" y="111"/>
                    <a:pt x="121" y="110"/>
                    <a:pt x="122" y="110"/>
                  </a:cubicBezTo>
                  <a:cubicBezTo>
                    <a:pt x="122" y="110"/>
                    <a:pt x="123" y="109"/>
                    <a:pt x="124" y="109"/>
                  </a:cubicBezTo>
                  <a:cubicBezTo>
                    <a:pt x="124" y="109"/>
                    <a:pt x="124" y="110"/>
                    <a:pt x="125" y="110"/>
                  </a:cubicBezTo>
                  <a:cubicBezTo>
                    <a:pt x="125" y="110"/>
                    <a:pt x="125" y="110"/>
                    <a:pt x="126" y="110"/>
                  </a:cubicBezTo>
                  <a:cubicBezTo>
                    <a:pt x="127" y="110"/>
                    <a:pt x="127" y="111"/>
                    <a:pt x="128" y="110"/>
                  </a:cubicBezTo>
                  <a:cubicBezTo>
                    <a:pt x="130" y="110"/>
                    <a:pt x="130" y="109"/>
                    <a:pt x="131" y="108"/>
                  </a:cubicBezTo>
                  <a:cubicBezTo>
                    <a:pt x="132" y="108"/>
                    <a:pt x="132" y="108"/>
                    <a:pt x="133" y="108"/>
                  </a:cubicBezTo>
                  <a:cubicBezTo>
                    <a:pt x="134" y="108"/>
                    <a:pt x="135" y="108"/>
                    <a:pt x="136" y="108"/>
                  </a:cubicBezTo>
                  <a:cubicBezTo>
                    <a:pt x="136" y="108"/>
                    <a:pt x="136" y="108"/>
                    <a:pt x="137" y="108"/>
                  </a:cubicBezTo>
                  <a:cubicBezTo>
                    <a:pt x="137" y="109"/>
                    <a:pt x="137" y="109"/>
                    <a:pt x="137" y="109"/>
                  </a:cubicBezTo>
                  <a:cubicBezTo>
                    <a:pt x="138" y="110"/>
                    <a:pt x="138" y="110"/>
                    <a:pt x="139" y="110"/>
                  </a:cubicBezTo>
                  <a:cubicBezTo>
                    <a:pt x="139" y="110"/>
                    <a:pt x="139" y="111"/>
                    <a:pt x="139" y="111"/>
                  </a:cubicBezTo>
                  <a:cubicBezTo>
                    <a:pt x="140" y="111"/>
                    <a:pt x="139" y="112"/>
                    <a:pt x="140" y="112"/>
                  </a:cubicBezTo>
                  <a:cubicBezTo>
                    <a:pt x="141" y="112"/>
                    <a:pt x="142" y="112"/>
                    <a:pt x="143" y="113"/>
                  </a:cubicBezTo>
                  <a:cubicBezTo>
                    <a:pt x="143" y="114"/>
                    <a:pt x="144" y="114"/>
                    <a:pt x="145" y="114"/>
                  </a:cubicBezTo>
                  <a:cubicBezTo>
                    <a:pt x="146" y="114"/>
                    <a:pt x="147" y="115"/>
                    <a:pt x="148" y="115"/>
                  </a:cubicBezTo>
                  <a:cubicBezTo>
                    <a:pt x="148" y="115"/>
                    <a:pt x="148" y="115"/>
                    <a:pt x="149" y="115"/>
                  </a:cubicBezTo>
                  <a:cubicBezTo>
                    <a:pt x="149" y="115"/>
                    <a:pt x="149" y="116"/>
                    <a:pt x="149" y="116"/>
                  </a:cubicBezTo>
                  <a:cubicBezTo>
                    <a:pt x="150" y="116"/>
                    <a:pt x="151" y="116"/>
                    <a:pt x="151" y="116"/>
                  </a:cubicBezTo>
                  <a:cubicBezTo>
                    <a:pt x="152" y="115"/>
                    <a:pt x="152" y="115"/>
                    <a:pt x="152" y="114"/>
                  </a:cubicBezTo>
                  <a:cubicBezTo>
                    <a:pt x="153" y="114"/>
                    <a:pt x="153" y="114"/>
                    <a:pt x="153" y="115"/>
                  </a:cubicBezTo>
                  <a:cubicBezTo>
                    <a:pt x="154" y="115"/>
                    <a:pt x="154" y="115"/>
                    <a:pt x="154" y="115"/>
                  </a:cubicBezTo>
                  <a:cubicBezTo>
                    <a:pt x="155" y="116"/>
                    <a:pt x="156" y="116"/>
                    <a:pt x="157" y="115"/>
                  </a:cubicBezTo>
                  <a:cubicBezTo>
                    <a:pt x="155" y="115"/>
                    <a:pt x="155" y="115"/>
                    <a:pt x="155" y="115"/>
                  </a:cubicBezTo>
                  <a:cubicBezTo>
                    <a:pt x="155" y="115"/>
                    <a:pt x="153" y="113"/>
                    <a:pt x="152" y="113"/>
                  </a:cubicBezTo>
                  <a:close/>
                  <a:moveTo>
                    <a:pt x="70" y="140"/>
                  </a:moveTo>
                  <a:cubicBezTo>
                    <a:pt x="70" y="140"/>
                    <a:pt x="70" y="140"/>
                    <a:pt x="71" y="140"/>
                  </a:cubicBezTo>
                  <a:cubicBezTo>
                    <a:pt x="71" y="140"/>
                    <a:pt x="72" y="141"/>
                    <a:pt x="72" y="141"/>
                  </a:cubicBezTo>
                  <a:cubicBezTo>
                    <a:pt x="72" y="141"/>
                    <a:pt x="73" y="142"/>
                    <a:pt x="73" y="142"/>
                  </a:cubicBezTo>
                  <a:cubicBezTo>
                    <a:pt x="74" y="142"/>
                    <a:pt x="74" y="142"/>
                    <a:pt x="75" y="143"/>
                  </a:cubicBezTo>
                  <a:cubicBezTo>
                    <a:pt x="75" y="143"/>
                    <a:pt x="75" y="143"/>
                    <a:pt x="76" y="143"/>
                  </a:cubicBezTo>
                  <a:cubicBezTo>
                    <a:pt x="76" y="143"/>
                    <a:pt x="76" y="143"/>
                    <a:pt x="76" y="144"/>
                  </a:cubicBezTo>
                  <a:cubicBezTo>
                    <a:pt x="77" y="144"/>
                    <a:pt x="77" y="143"/>
                    <a:pt x="77" y="143"/>
                  </a:cubicBezTo>
                  <a:cubicBezTo>
                    <a:pt x="77" y="143"/>
                    <a:pt x="78" y="142"/>
                    <a:pt x="78" y="142"/>
                  </a:cubicBezTo>
                  <a:cubicBezTo>
                    <a:pt x="79" y="141"/>
                    <a:pt x="79" y="141"/>
                    <a:pt x="79" y="141"/>
                  </a:cubicBezTo>
                  <a:cubicBezTo>
                    <a:pt x="80" y="140"/>
                    <a:pt x="81" y="139"/>
                    <a:pt x="80" y="139"/>
                  </a:cubicBezTo>
                  <a:cubicBezTo>
                    <a:pt x="79" y="139"/>
                    <a:pt x="79" y="139"/>
                    <a:pt x="78" y="139"/>
                  </a:cubicBezTo>
                  <a:cubicBezTo>
                    <a:pt x="78" y="139"/>
                    <a:pt x="78" y="139"/>
                    <a:pt x="77" y="139"/>
                  </a:cubicBezTo>
                  <a:cubicBezTo>
                    <a:pt x="77" y="138"/>
                    <a:pt x="77" y="138"/>
                    <a:pt x="76" y="138"/>
                  </a:cubicBezTo>
                  <a:cubicBezTo>
                    <a:pt x="76" y="138"/>
                    <a:pt x="76" y="138"/>
                    <a:pt x="75" y="138"/>
                  </a:cubicBezTo>
                  <a:cubicBezTo>
                    <a:pt x="75" y="138"/>
                    <a:pt x="75" y="137"/>
                    <a:pt x="75" y="137"/>
                  </a:cubicBezTo>
                  <a:cubicBezTo>
                    <a:pt x="75" y="137"/>
                    <a:pt x="74" y="137"/>
                    <a:pt x="74" y="137"/>
                  </a:cubicBezTo>
                  <a:cubicBezTo>
                    <a:pt x="73" y="138"/>
                    <a:pt x="73" y="138"/>
                    <a:pt x="73" y="138"/>
                  </a:cubicBezTo>
                  <a:cubicBezTo>
                    <a:pt x="73" y="138"/>
                    <a:pt x="72" y="138"/>
                    <a:pt x="72" y="138"/>
                  </a:cubicBezTo>
                  <a:cubicBezTo>
                    <a:pt x="72" y="139"/>
                    <a:pt x="71" y="139"/>
                    <a:pt x="71" y="139"/>
                  </a:cubicBezTo>
                  <a:cubicBezTo>
                    <a:pt x="70" y="139"/>
                    <a:pt x="70" y="139"/>
                    <a:pt x="70" y="139"/>
                  </a:cubicBezTo>
                  <a:cubicBezTo>
                    <a:pt x="69" y="140"/>
                    <a:pt x="69" y="140"/>
                    <a:pt x="70" y="140"/>
                  </a:cubicBezTo>
                  <a:close/>
                </a:path>
              </a:pathLst>
            </a:custGeom>
            <a:solidFill>
              <a:srgbClr val="FFFF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8" name="Freeform 41">
              <a:extLst>
                <a:ext uri="{FF2B5EF4-FFF2-40B4-BE49-F238E27FC236}">
                  <a16:creationId xmlns:a16="http://schemas.microsoft.com/office/drawing/2014/main" id="{E3DD3AC0-5BF2-FDE2-7EA4-8EE25F7ADECF}"/>
                </a:ext>
              </a:extLst>
            </p:cNvPr>
            <p:cNvSpPr>
              <a:spLocks/>
            </p:cNvSpPr>
            <p:nvPr/>
          </p:nvSpPr>
          <p:spPr bwMode="auto">
            <a:xfrm>
              <a:off x="7347506" y="2845022"/>
              <a:ext cx="1019410" cy="459313"/>
            </a:xfrm>
            <a:custGeom>
              <a:avLst/>
              <a:gdLst>
                <a:gd name="T0" fmla="*/ 249 w 257"/>
                <a:gd name="T1" fmla="*/ 67 h 116"/>
                <a:gd name="T2" fmla="*/ 243 w 257"/>
                <a:gd name="T3" fmla="*/ 59 h 116"/>
                <a:gd name="T4" fmla="*/ 240 w 257"/>
                <a:gd name="T5" fmla="*/ 51 h 116"/>
                <a:gd name="T6" fmla="*/ 234 w 257"/>
                <a:gd name="T7" fmla="*/ 45 h 116"/>
                <a:gd name="T8" fmla="*/ 236 w 257"/>
                <a:gd name="T9" fmla="*/ 39 h 116"/>
                <a:gd name="T10" fmla="*/ 235 w 257"/>
                <a:gd name="T11" fmla="*/ 30 h 116"/>
                <a:gd name="T12" fmla="*/ 228 w 257"/>
                <a:gd name="T13" fmla="*/ 25 h 116"/>
                <a:gd name="T14" fmla="*/ 226 w 257"/>
                <a:gd name="T15" fmla="*/ 18 h 116"/>
                <a:gd name="T16" fmla="*/ 218 w 257"/>
                <a:gd name="T17" fmla="*/ 21 h 116"/>
                <a:gd name="T18" fmla="*/ 213 w 257"/>
                <a:gd name="T19" fmla="*/ 23 h 116"/>
                <a:gd name="T20" fmla="*/ 206 w 257"/>
                <a:gd name="T21" fmla="*/ 20 h 116"/>
                <a:gd name="T22" fmla="*/ 201 w 257"/>
                <a:gd name="T23" fmla="*/ 20 h 116"/>
                <a:gd name="T24" fmla="*/ 192 w 257"/>
                <a:gd name="T25" fmla="*/ 17 h 116"/>
                <a:gd name="T26" fmla="*/ 180 w 257"/>
                <a:gd name="T27" fmla="*/ 14 h 116"/>
                <a:gd name="T28" fmla="*/ 177 w 257"/>
                <a:gd name="T29" fmla="*/ 6 h 116"/>
                <a:gd name="T30" fmla="*/ 172 w 257"/>
                <a:gd name="T31" fmla="*/ 1 h 116"/>
                <a:gd name="T32" fmla="*/ 166 w 257"/>
                <a:gd name="T33" fmla="*/ 3 h 116"/>
                <a:gd name="T34" fmla="*/ 160 w 257"/>
                <a:gd name="T35" fmla="*/ 0 h 116"/>
                <a:gd name="T36" fmla="*/ 157 w 257"/>
                <a:gd name="T37" fmla="*/ 5 h 116"/>
                <a:gd name="T38" fmla="*/ 159 w 257"/>
                <a:gd name="T39" fmla="*/ 11 h 116"/>
                <a:gd name="T40" fmla="*/ 155 w 257"/>
                <a:gd name="T41" fmla="*/ 16 h 116"/>
                <a:gd name="T42" fmla="*/ 143 w 257"/>
                <a:gd name="T43" fmla="*/ 18 h 116"/>
                <a:gd name="T44" fmla="*/ 138 w 257"/>
                <a:gd name="T45" fmla="*/ 26 h 116"/>
                <a:gd name="T46" fmla="*/ 129 w 257"/>
                <a:gd name="T47" fmla="*/ 37 h 116"/>
                <a:gd name="T48" fmla="*/ 121 w 257"/>
                <a:gd name="T49" fmla="*/ 47 h 116"/>
                <a:gd name="T50" fmla="*/ 115 w 257"/>
                <a:gd name="T51" fmla="*/ 51 h 116"/>
                <a:gd name="T52" fmla="*/ 108 w 257"/>
                <a:gd name="T53" fmla="*/ 43 h 116"/>
                <a:gd name="T54" fmla="*/ 105 w 257"/>
                <a:gd name="T55" fmla="*/ 46 h 116"/>
                <a:gd name="T56" fmla="*/ 100 w 257"/>
                <a:gd name="T57" fmla="*/ 51 h 116"/>
                <a:gd name="T58" fmla="*/ 96 w 257"/>
                <a:gd name="T59" fmla="*/ 57 h 116"/>
                <a:gd name="T60" fmla="*/ 91 w 257"/>
                <a:gd name="T61" fmla="*/ 52 h 116"/>
                <a:gd name="T62" fmla="*/ 82 w 257"/>
                <a:gd name="T63" fmla="*/ 55 h 116"/>
                <a:gd name="T64" fmla="*/ 79 w 257"/>
                <a:gd name="T65" fmla="*/ 58 h 116"/>
                <a:gd name="T66" fmla="*/ 68 w 257"/>
                <a:gd name="T67" fmla="*/ 53 h 116"/>
                <a:gd name="T68" fmla="*/ 62 w 257"/>
                <a:gd name="T69" fmla="*/ 54 h 116"/>
                <a:gd name="T70" fmla="*/ 59 w 257"/>
                <a:gd name="T71" fmla="*/ 55 h 116"/>
                <a:gd name="T72" fmla="*/ 52 w 257"/>
                <a:gd name="T73" fmla="*/ 54 h 116"/>
                <a:gd name="T74" fmla="*/ 51 w 257"/>
                <a:gd name="T75" fmla="*/ 60 h 116"/>
                <a:gd name="T76" fmla="*/ 45 w 257"/>
                <a:gd name="T77" fmla="*/ 69 h 116"/>
                <a:gd name="T78" fmla="*/ 41 w 257"/>
                <a:gd name="T79" fmla="*/ 74 h 116"/>
                <a:gd name="T80" fmla="*/ 33 w 257"/>
                <a:gd name="T81" fmla="*/ 77 h 116"/>
                <a:gd name="T82" fmla="*/ 31 w 257"/>
                <a:gd name="T83" fmla="*/ 92 h 116"/>
                <a:gd name="T84" fmla="*/ 13 w 257"/>
                <a:gd name="T85" fmla="*/ 86 h 116"/>
                <a:gd name="T86" fmla="*/ 12 w 257"/>
                <a:gd name="T87" fmla="*/ 97 h 116"/>
                <a:gd name="T88" fmla="*/ 8 w 257"/>
                <a:gd name="T89" fmla="*/ 105 h 116"/>
                <a:gd name="T90" fmla="*/ 5 w 257"/>
                <a:gd name="T91" fmla="*/ 111 h 116"/>
                <a:gd name="T92" fmla="*/ 47 w 257"/>
                <a:gd name="T93" fmla="*/ 116 h 116"/>
                <a:gd name="T94" fmla="*/ 55 w 257"/>
                <a:gd name="T95" fmla="*/ 110 h 116"/>
                <a:gd name="T96" fmla="*/ 184 w 257"/>
                <a:gd name="T97" fmla="*/ 111 h 116"/>
                <a:gd name="T98" fmla="*/ 213 w 257"/>
                <a:gd name="T99" fmla="*/ 107 h 116"/>
                <a:gd name="T100" fmla="*/ 223 w 257"/>
                <a:gd name="T101" fmla="*/ 100 h 116"/>
                <a:gd name="T102" fmla="*/ 230 w 257"/>
                <a:gd name="T103" fmla="*/ 93 h 116"/>
                <a:gd name="T104" fmla="*/ 240 w 257"/>
                <a:gd name="T105" fmla="*/ 84 h 116"/>
                <a:gd name="T106" fmla="*/ 255 w 257"/>
                <a:gd name="T107" fmla="*/ 7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7" h="116">
                  <a:moveTo>
                    <a:pt x="255" y="71"/>
                  </a:moveTo>
                  <a:cubicBezTo>
                    <a:pt x="252" y="70"/>
                    <a:pt x="252" y="70"/>
                    <a:pt x="252" y="70"/>
                  </a:cubicBezTo>
                  <a:cubicBezTo>
                    <a:pt x="251" y="67"/>
                    <a:pt x="251" y="67"/>
                    <a:pt x="251" y="67"/>
                  </a:cubicBezTo>
                  <a:cubicBezTo>
                    <a:pt x="249" y="67"/>
                    <a:pt x="249" y="67"/>
                    <a:pt x="249" y="67"/>
                  </a:cubicBezTo>
                  <a:cubicBezTo>
                    <a:pt x="249" y="67"/>
                    <a:pt x="245" y="64"/>
                    <a:pt x="245" y="64"/>
                  </a:cubicBezTo>
                  <a:cubicBezTo>
                    <a:pt x="245" y="64"/>
                    <a:pt x="245" y="63"/>
                    <a:pt x="245" y="62"/>
                  </a:cubicBezTo>
                  <a:cubicBezTo>
                    <a:pt x="245" y="62"/>
                    <a:pt x="246" y="61"/>
                    <a:pt x="246" y="61"/>
                  </a:cubicBezTo>
                  <a:cubicBezTo>
                    <a:pt x="243" y="59"/>
                    <a:pt x="243" y="59"/>
                    <a:pt x="243" y="59"/>
                  </a:cubicBezTo>
                  <a:cubicBezTo>
                    <a:pt x="243" y="59"/>
                    <a:pt x="242" y="55"/>
                    <a:pt x="242" y="55"/>
                  </a:cubicBezTo>
                  <a:cubicBezTo>
                    <a:pt x="242" y="55"/>
                    <a:pt x="239" y="54"/>
                    <a:pt x="239" y="54"/>
                  </a:cubicBezTo>
                  <a:cubicBezTo>
                    <a:pt x="240" y="52"/>
                    <a:pt x="240" y="52"/>
                    <a:pt x="240" y="52"/>
                  </a:cubicBezTo>
                  <a:cubicBezTo>
                    <a:pt x="240" y="52"/>
                    <a:pt x="240" y="51"/>
                    <a:pt x="240" y="51"/>
                  </a:cubicBezTo>
                  <a:cubicBezTo>
                    <a:pt x="240" y="51"/>
                    <a:pt x="238" y="50"/>
                    <a:pt x="238" y="50"/>
                  </a:cubicBezTo>
                  <a:cubicBezTo>
                    <a:pt x="238" y="50"/>
                    <a:pt x="238" y="48"/>
                    <a:pt x="237" y="48"/>
                  </a:cubicBezTo>
                  <a:cubicBezTo>
                    <a:pt x="237" y="48"/>
                    <a:pt x="236" y="45"/>
                    <a:pt x="236" y="45"/>
                  </a:cubicBezTo>
                  <a:cubicBezTo>
                    <a:pt x="236" y="45"/>
                    <a:pt x="234" y="45"/>
                    <a:pt x="234" y="45"/>
                  </a:cubicBezTo>
                  <a:cubicBezTo>
                    <a:pt x="234" y="44"/>
                    <a:pt x="235" y="43"/>
                    <a:pt x="235" y="43"/>
                  </a:cubicBezTo>
                  <a:cubicBezTo>
                    <a:pt x="236" y="42"/>
                    <a:pt x="236" y="42"/>
                    <a:pt x="236" y="42"/>
                  </a:cubicBezTo>
                  <a:cubicBezTo>
                    <a:pt x="235" y="40"/>
                    <a:pt x="235" y="40"/>
                    <a:pt x="235" y="40"/>
                  </a:cubicBezTo>
                  <a:cubicBezTo>
                    <a:pt x="235" y="40"/>
                    <a:pt x="236" y="39"/>
                    <a:pt x="236" y="39"/>
                  </a:cubicBezTo>
                  <a:cubicBezTo>
                    <a:pt x="236" y="39"/>
                    <a:pt x="236" y="36"/>
                    <a:pt x="236" y="36"/>
                  </a:cubicBezTo>
                  <a:cubicBezTo>
                    <a:pt x="236" y="35"/>
                    <a:pt x="236" y="33"/>
                    <a:pt x="236" y="33"/>
                  </a:cubicBezTo>
                  <a:cubicBezTo>
                    <a:pt x="235" y="30"/>
                    <a:pt x="235" y="30"/>
                    <a:pt x="235" y="30"/>
                  </a:cubicBezTo>
                  <a:cubicBezTo>
                    <a:pt x="235" y="30"/>
                    <a:pt x="235" y="30"/>
                    <a:pt x="235" y="30"/>
                  </a:cubicBezTo>
                  <a:cubicBezTo>
                    <a:pt x="235" y="29"/>
                    <a:pt x="235" y="28"/>
                    <a:pt x="234" y="28"/>
                  </a:cubicBezTo>
                  <a:cubicBezTo>
                    <a:pt x="233" y="27"/>
                    <a:pt x="232" y="26"/>
                    <a:pt x="231" y="26"/>
                  </a:cubicBezTo>
                  <a:cubicBezTo>
                    <a:pt x="231" y="26"/>
                    <a:pt x="230" y="26"/>
                    <a:pt x="230" y="25"/>
                  </a:cubicBezTo>
                  <a:cubicBezTo>
                    <a:pt x="229" y="25"/>
                    <a:pt x="229" y="25"/>
                    <a:pt x="228" y="25"/>
                  </a:cubicBezTo>
                  <a:cubicBezTo>
                    <a:pt x="227" y="24"/>
                    <a:pt x="227" y="23"/>
                    <a:pt x="226" y="23"/>
                  </a:cubicBezTo>
                  <a:cubicBezTo>
                    <a:pt x="226" y="22"/>
                    <a:pt x="226" y="21"/>
                    <a:pt x="226" y="20"/>
                  </a:cubicBezTo>
                  <a:cubicBezTo>
                    <a:pt x="226" y="19"/>
                    <a:pt x="226" y="19"/>
                    <a:pt x="226" y="19"/>
                  </a:cubicBezTo>
                  <a:cubicBezTo>
                    <a:pt x="226" y="18"/>
                    <a:pt x="226" y="18"/>
                    <a:pt x="226" y="18"/>
                  </a:cubicBezTo>
                  <a:cubicBezTo>
                    <a:pt x="225" y="17"/>
                    <a:pt x="224" y="17"/>
                    <a:pt x="224" y="17"/>
                  </a:cubicBezTo>
                  <a:cubicBezTo>
                    <a:pt x="223" y="18"/>
                    <a:pt x="222" y="18"/>
                    <a:pt x="221" y="18"/>
                  </a:cubicBezTo>
                  <a:cubicBezTo>
                    <a:pt x="221" y="18"/>
                    <a:pt x="220" y="19"/>
                    <a:pt x="220" y="20"/>
                  </a:cubicBezTo>
                  <a:cubicBezTo>
                    <a:pt x="219" y="20"/>
                    <a:pt x="219" y="21"/>
                    <a:pt x="218" y="21"/>
                  </a:cubicBezTo>
                  <a:cubicBezTo>
                    <a:pt x="218" y="22"/>
                    <a:pt x="217" y="22"/>
                    <a:pt x="217" y="22"/>
                  </a:cubicBezTo>
                  <a:cubicBezTo>
                    <a:pt x="216" y="23"/>
                    <a:pt x="216" y="23"/>
                    <a:pt x="215" y="23"/>
                  </a:cubicBezTo>
                  <a:cubicBezTo>
                    <a:pt x="215" y="23"/>
                    <a:pt x="214" y="23"/>
                    <a:pt x="214" y="23"/>
                  </a:cubicBezTo>
                  <a:cubicBezTo>
                    <a:pt x="213" y="23"/>
                    <a:pt x="213" y="23"/>
                    <a:pt x="213" y="23"/>
                  </a:cubicBezTo>
                  <a:cubicBezTo>
                    <a:pt x="212" y="23"/>
                    <a:pt x="211" y="24"/>
                    <a:pt x="211" y="24"/>
                  </a:cubicBezTo>
                  <a:cubicBezTo>
                    <a:pt x="211" y="24"/>
                    <a:pt x="210" y="23"/>
                    <a:pt x="210" y="23"/>
                  </a:cubicBezTo>
                  <a:cubicBezTo>
                    <a:pt x="209" y="22"/>
                    <a:pt x="208" y="21"/>
                    <a:pt x="207" y="21"/>
                  </a:cubicBezTo>
                  <a:cubicBezTo>
                    <a:pt x="207" y="21"/>
                    <a:pt x="206" y="20"/>
                    <a:pt x="206" y="20"/>
                  </a:cubicBezTo>
                  <a:cubicBezTo>
                    <a:pt x="206" y="20"/>
                    <a:pt x="205" y="20"/>
                    <a:pt x="205" y="20"/>
                  </a:cubicBezTo>
                  <a:cubicBezTo>
                    <a:pt x="205" y="19"/>
                    <a:pt x="205" y="19"/>
                    <a:pt x="204" y="19"/>
                  </a:cubicBezTo>
                  <a:cubicBezTo>
                    <a:pt x="204" y="19"/>
                    <a:pt x="203" y="20"/>
                    <a:pt x="202" y="20"/>
                  </a:cubicBezTo>
                  <a:cubicBezTo>
                    <a:pt x="202" y="20"/>
                    <a:pt x="201" y="20"/>
                    <a:pt x="201" y="20"/>
                  </a:cubicBezTo>
                  <a:cubicBezTo>
                    <a:pt x="200" y="21"/>
                    <a:pt x="200" y="21"/>
                    <a:pt x="199" y="22"/>
                  </a:cubicBezTo>
                  <a:cubicBezTo>
                    <a:pt x="199" y="22"/>
                    <a:pt x="197" y="23"/>
                    <a:pt x="196" y="22"/>
                  </a:cubicBezTo>
                  <a:cubicBezTo>
                    <a:pt x="195" y="21"/>
                    <a:pt x="195" y="20"/>
                    <a:pt x="194" y="19"/>
                  </a:cubicBezTo>
                  <a:cubicBezTo>
                    <a:pt x="193" y="18"/>
                    <a:pt x="193" y="18"/>
                    <a:pt x="192" y="17"/>
                  </a:cubicBezTo>
                  <a:cubicBezTo>
                    <a:pt x="192" y="17"/>
                    <a:pt x="191" y="16"/>
                    <a:pt x="190" y="16"/>
                  </a:cubicBezTo>
                  <a:cubicBezTo>
                    <a:pt x="189" y="15"/>
                    <a:pt x="187" y="16"/>
                    <a:pt x="186" y="16"/>
                  </a:cubicBezTo>
                  <a:cubicBezTo>
                    <a:pt x="185" y="16"/>
                    <a:pt x="184" y="16"/>
                    <a:pt x="182" y="16"/>
                  </a:cubicBezTo>
                  <a:cubicBezTo>
                    <a:pt x="181" y="16"/>
                    <a:pt x="181" y="15"/>
                    <a:pt x="180" y="14"/>
                  </a:cubicBezTo>
                  <a:cubicBezTo>
                    <a:pt x="180" y="13"/>
                    <a:pt x="179" y="12"/>
                    <a:pt x="179" y="11"/>
                  </a:cubicBezTo>
                  <a:cubicBezTo>
                    <a:pt x="178" y="10"/>
                    <a:pt x="178" y="9"/>
                    <a:pt x="178" y="8"/>
                  </a:cubicBezTo>
                  <a:cubicBezTo>
                    <a:pt x="178" y="8"/>
                    <a:pt x="177" y="8"/>
                    <a:pt x="177" y="7"/>
                  </a:cubicBezTo>
                  <a:cubicBezTo>
                    <a:pt x="177" y="7"/>
                    <a:pt x="177" y="7"/>
                    <a:pt x="177" y="6"/>
                  </a:cubicBezTo>
                  <a:cubicBezTo>
                    <a:pt x="177" y="6"/>
                    <a:pt x="176" y="5"/>
                    <a:pt x="176" y="5"/>
                  </a:cubicBezTo>
                  <a:cubicBezTo>
                    <a:pt x="176" y="5"/>
                    <a:pt x="175" y="4"/>
                    <a:pt x="175" y="4"/>
                  </a:cubicBezTo>
                  <a:cubicBezTo>
                    <a:pt x="174" y="4"/>
                    <a:pt x="173" y="3"/>
                    <a:pt x="173" y="2"/>
                  </a:cubicBezTo>
                  <a:cubicBezTo>
                    <a:pt x="172" y="2"/>
                    <a:pt x="172" y="2"/>
                    <a:pt x="172" y="1"/>
                  </a:cubicBezTo>
                  <a:cubicBezTo>
                    <a:pt x="172" y="1"/>
                    <a:pt x="171" y="1"/>
                    <a:pt x="170" y="1"/>
                  </a:cubicBezTo>
                  <a:cubicBezTo>
                    <a:pt x="170" y="1"/>
                    <a:pt x="169" y="2"/>
                    <a:pt x="168" y="2"/>
                  </a:cubicBezTo>
                  <a:cubicBezTo>
                    <a:pt x="168" y="2"/>
                    <a:pt x="167" y="2"/>
                    <a:pt x="167" y="3"/>
                  </a:cubicBezTo>
                  <a:cubicBezTo>
                    <a:pt x="167" y="3"/>
                    <a:pt x="166" y="3"/>
                    <a:pt x="166" y="3"/>
                  </a:cubicBezTo>
                  <a:cubicBezTo>
                    <a:pt x="165" y="3"/>
                    <a:pt x="164" y="2"/>
                    <a:pt x="164" y="2"/>
                  </a:cubicBezTo>
                  <a:cubicBezTo>
                    <a:pt x="163" y="2"/>
                    <a:pt x="163" y="1"/>
                    <a:pt x="163" y="1"/>
                  </a:cubicBezTo>
                  <a:cubicBezTo>
                    <a:pt x="162" y="0"/>
                    <a:pt x="162" y="0"/>
                    <a:pt x="161" y="0"/>
                  </a:cubicBezTo>
                  <a:cubicBezTo>
                    <a:pt x="161" y="0"/>
                    <a:pt x="160" y="0"/>
                    <a:pt x="160" y="0"/>
                  </a:cubicBezTo>
                  <a:cubicBezTo>
                    <a:pt x="160" y="0"/>
                    <a:pt x="159" y="1"/>
                    <a:pt x="159" y="1"/>
                  </a:cubicBezTo>
                  <a:cubicBezTo>
                    <a:pt x="159" y="1"/>
                    <a:pt x="159" y="1"/>
                    <a:pt x="159" y="1"/>
                  </a:cubicBezTo>
                  <a:cubicBezTo>
                    <a:pt x="158" y="3"/>
                    <a:pt x="158" y="3"/>
                    <a:pt x="158" y="3"/>
                  </a:cubicBezTo>
                  <a:cubicBezTo>
                    <a:pt x="158" y="3"/>
                    <a:pt x="157" y="4"/>
                    <a:pt x="157" y="5"/>
                  </a:cubicBezTo>
                  <a:cubicBezTo>
                    <a:pt x="157" y="6"/>
                    <a:pt x="158" y="6"/>
                    <a:pt x="158" y="7"/>
                  </a:cubicBezTo>
                  <a:cubicBezTo>
                    <a:pt x="158" y="7"/>
                    <a:pt x="159" y="8"/>
                    <a:pt x="158" y="9"/>
                  </a:cubicBezTo>
                  <a:cubicBezTo>
                    <a:pt x="158" y="10"/>
                    <a:pt x="158" y="10"/>
                    <a:pt x="158" y="11"/>
                  </a:cubicBezTo>
                  <a:cubicBezTo>
                    <a:pt x="158" y="11"/>
                    <a:pt x="158" y="11"/>
                    <a:pt x="159" y="11"/>
                  </a:cubicBezTo>
                  <a:cubicBezTo>
                    <a:pt x="160" y="11"/>
                    <a:pt x="160" y="12"/>
                    <a:pt x="160" y="13"/>
                  </a:cubicBezTo>
                  <a:cubicBezTo>
                    <a:pt x="160" y="13"/>
                    <a:pt x="159" y="14"/>
                    <a:pt x="159" y="14"/>
                  </a:cubicBezTo>
                  <a:cubicBezTo>
                    <a:pt x="159" y="14"/>
                    <a:pt x="160" y="16"/>
                    <a:pt x="159" y="16"/>
                  </a:cubicBezTo>
                  <a:cubicBezTo>
                    <a:pt x="158" y="17"/>
                    <a:pt x="157" y="16"/>
                    <a:pt x="155" y="16"/>
                  </a:cubicBezTo>
                  <a:cubicBezTo>
                    <a:pt x="153" y="16"/>
                    <a:pt x="153" y="16"/>
                    <a:pt x="152" y="17"/>
                  </a:cubicBezTo>
                  <a:cubicBezTo>
                    <a:pt x="151" y="17"/>
                    <a:pt x="150" y="19"/>
                    <a:pt x="149" y="19"/>
                  </a:cubicBezTo>
                  <a:cubicBezTo>
                    <a:pt x="147" y="20"/>
                    <a:pt x="147" y="20"/>
                    <a:pt x="146" y="20"/>
                  </a:cubicBezTo>
                  <a:cubicBezTo>
                    <a:pt x="145" y="20"/>
                    <a:pt x="144" y="18"/>
                    <a:pt x="143" y="18"/>
                  </a:cubicBezTo>
                  <a:cubicBezTo>
                    <a:pt x="143" y="18"/>
                    <a:pt x="142" y="18"/>
                    <a:pt x="141" y="18"/>
                  </a:cubicBezTo>
                  <a:cubicBezTo>
                    <a:pt x="140" y="18"/>
                    <a:pt x="139" y="18"/>
                    <a:pt x="138" y="19"/>
                  </a:cubicBezTo>
                  <a:cubicBezTo>
                    <a:pt x="137" y="19"/>
                    <a:pt x="137" y="22"/>
                    <a:pt x="137" y="23"/>
                  </a:cubicBezTo>
                  <a:cubicBezTo>
                    <a:pt x="137" y="24"/>
                    <a:pt x="138" y="25"/>
                    <a:pt x="138" y="26"/>
                  </a:cubicBezTo>
                  <a:cubicBezTo>
                    <a:pt x="138" y="27"/>
                    <a:pt x="137" y="29"/>
                    <a:pt x="137" y="29"/>
                  </a:cubicBezTo>
                  <a:cubicBezTo>
                    <a:pt x="137" y="29"/>
                    <a:pt x="132" y="31"/>
                    <a:pt x="132" y="32"/>
                  </a:cubicBezTo>
                  <a:cubicBezTo>
                    <a:pt x="131" y="33"/>
                    <a:pt x="131" y="34"/>
                    <a:pt x="131" y="35"/>
                  </a:cubicBezTo>
                  <a:cubicBezTo>
                    <a:pt x="131" y="36"/>
                    <a:pt x="130" y="36"/>
                    <a:pt x="129" y="37"/>
                  </a:cubicBezTo>
                  <a:cubicBezTo>
                    <a:pt x="128" y="38"/>
                    <a:pt x="128" y="38"/>
                    <a:pt x="127" y="38"/>
                  </a:cubicBezTo>
                  <a:cubicBezTo>
                    <a:pt x="126" y="38"/>
                    <a:pt x="125" y="39"/>
                    <a:pt x="124" y="39"/>
                  </a:cubicBezTo>
                  <a:cubicBezTo>
                    <a:pt x="123" y="40"/>
                    <a:pt x="123" y="41"/>
                    <a:pt x="122" y="42"/>
                  </a:cubicBezTo>
                  <a:cubicBezTo>
                    <a:pt x="122" y="43"/>
                    <a:pt x="121" y="46"/>
                    <a:pt x="121" y="47"/>
                  </a:cubicBezTo>
                  <a:cubicBezTo>
                    <a:pt x="121" y="48"/>
                    <a:pt x="121" y="49"/>
                    <a:pt x="121" y="49"/>
                  </a:cubicBezTo>
                  <a:cubicBezTo>
                    <a:pt x="121" y="50"/>
                    <a:pt x="119" y="50"/>
                    <a:pt x="119" y="50"/>
                  </a:cubicBezTo>
                  <a:cubicBezTo>
                    <a:pt x="118" y="50"/>
                    <a:pt x="117" y="52"/>
                    <a:pt x="117" y="52"/>
                  </a:cubicBezTo>
                  <a:cubicBezTo>
                    <a:pt x="117" y="52"/>
                    <a:pt x="116" y="51"/>
                    <a:pt x="115" y="51"/>
                  </a:cubicBezTo>
                  <a:cubicBezTo>
                    <a:pt x="115" y="50"/>
                    <a:pt x="114" y="50"/>
                    <a:pt x="113" y="49"/>
                  </a:cubicBezTo>
                  <a:cubicBezTo>
                    <a:pt x="112" y="49"/>
                    <a:pt x="111" y="49"/>
                    <a:pt x="110" y="48"/>
                  </a:cubicBezTo>
                  <a:cubicBezTo>
                    <a:pt x="109" y="48"/>
                    <a:pt x="109" y="46"/>
                    <a:pt x="109" y="45"/>
                  </a:cubicBezTo>
                  <a:cubicBezTo>
                    <a:pt x="108" y="44"/>
                    <a:pt x="108" y="44"/>
                    <a:pt x="108" y="43"/>
                  </a:cubicBezTo>
                  <a:cubicBezTo>
                    <a:pt x="108" y="43"/>
                    <a:pt x="106" y="42"/>
                    <a:pt x="106" y="42"/>
                  </a:cubicBezTo>
                  <a:cubicBezTo>
                    <a:pt x="106" y="42"/>
                    <a:pt x="106" y="42"/>
                    <a:pt x="106" y="43"/>
                  </a:cubicBezTo>
                  <a:cubicBezTo>
                    <a:pt x="105" y="44"/>
                    <a:pt x="107" y="44"/>
                    <a:pt x="107" y="45"/>
                  </a:cubicBezTo>
                  <a:cubicBezTo>
                    <a:pt x="107" y="45"/>
                    <a:pt x="105" y="46"/>
                    <a:pt x="105" y="46"/>
                  </a:cubicBezTo>
                  <a:cubicBezTo>
                    <a:pt x="104" y="46"/>
                    <a:pt x="102" y="45"/>
                    <a:pt x="102" y="46"/>
                  </a:cubicBezTo>
                  <a:cubicBezTo>
                    <a:pt x="102" y="46"/>
                    <a:pt x="103" y="47"/>
                    <a:pt x="103" y="48"/>
                  </a:cubicBezTo>
                  <a:cubicBezTo>
                    <a:pt x="103" y="48"/>
                    <a:pt x="101" y="48"/>
                    <a:pt x="101" y="49"/>
                  </a:cubicBezTo>
                  <a:cubicBezTo>
                    <a:pt x="100" y="49"/>
                    <a:pt x="100" y="50"/>
                    <a:pt x="100" y="51"/>
                  </a:cubicBezTo>
                  <a:cubicBezTo>
                    <a:pt x="101" y="52"/>
                    <a:pt x="101" y="54"/>
                    <a:pt x="101" y="54"/>
                  </a:cubicBezTo>
                  <a:cubicBezTo>
                    <a:pt x="100" y="54"/>
                    <a:pt x="99" y="54"/>
                    <a:pt x="98" y="54"/>
                  </a:cubicBezTo>
                  <a:cubicBezTo>
                    <a:pt x="98" y="54"/>
                    <a:pt x="98" y="56"/>
                    <a:pt x="98" y="57"/>
                  </a:cubicBezTo>
                  <a:cubicBezTo>
                    <a:pt x="97" y="58"/>
                    <a:pt x="96" y="57"/>
                    <a:pt x="96" y="57"/>
                  </a:cubicBezTo>
                  <a:cubicBezTo>
                    <a:pt x="96" y="57"/>
                    <a:pt x="96" y="55"/>
                    <a:pt x="96" y="55"/>
                  </a:cubicBezTo>
                  <a:cubicBezTo>
                    <a:pt x="96" y="54"/>
                    <a:pt x="95" y="55"/>
                    <a:pt x="95" y="55"/>
                  </a:cubicBezTo>
                  <a:cubicBezTo>
                    <a:pt x="94" y="55"/>
                    <a:pt x="93" y="55"/>
                    <a:pt x="93" y="54"/>
                  </a:cubicBezTo>
                  <a:cubicBezTo>
                    <a:pt x="92" y="54"/>
                    <a:pt x="91" y="53"/>
                    <a:pt x="91" y="52"/>
                  </a:cubicBezTo>
                  <a:cubicBezTo>
                    <a:pt x="91" y="52"/>
                    <a:pt x="90" y="51"/>
                    <a:pt x="90" y="51"/>
                  </a:cubicBezTo>
                  <a:cubicBezTo>
                    <a:pt x="90" y="51"/>
                    <a:pt x="88" y="52"/>
                    <a:pt x="88" y="53"/>
                  </a:cubicBezTo>
                  <a:cubicBezTo>
                    <a:pt x="87" y="53"/>
                    <a:pt x="85" y="54"/>
                    <a:pt x="84" y="54"/>
                  </a:cubicBezTo>
                  <a:cubicBezTo>
                    <a:pt x="83" y="55"/>
                    <a:pt x="82" y="55"/>
                    <a:pt x="82" y="55"/>
                  </a:cubicBezTo>
                  <a:cubicBezTo>
                    <a:pt x="82" y="56"/>
                    <a:pt x="82" y="57"/>
                    <a:pt x="81" y="58"/>
                  </a:cubicBezTo>
                  <a:cubicBezTo>
                    <a:pt x="81" y="58"/>
                    <a:pt x="81" y="59"/>
                    <a:pt x="80" y="60"/>
                  </a:cubicBezTo>
                  <a:cubicBezTo>
                    <a:pt x="80" y="60"/>
                    <a:pt x="79" y="60"/>
                    <a:pt x="79" y="60"/>
                  </a:cubicBezTo>
                  <a:cubicBezTo>
                    <a:pt x="79" y="60"/>
                    <a:pt x="79" y="59"/>
                    <a:pt x="79" y="58"/>
                  </a:cubicBezTo>
                  <a:cubicBezTo>
                    <a:pt x="78" y="58"/>
                    <a:pt x="78" y="57"/>
                    <a:pt x="78" y="57"/>
                  </a:cubicBezTo>
                  <a:cubicBezTo>
                    <a:pt x="78" y="57"/>
                    <a:pt x="77" y="57"/>
                    <a:pt x="76" y="57"/>
                  </a:cubicBezTo>
                  <a:cubicBezTo>
                    <a:pt x="76" y="57"/>
                    <a:pt x="70" y="53"/>
                    <a:pt x="70" y="53"/>
                  </a:cubicBezTo>
                  <a:cubicBezTo>
                    <a:pt x="70" y="53"/>
                    <a:pt x="69" y="53"/>
                    <a:pt x="68" y="53"/>
                  </a:cubicBezTo>
                  <a:cubicBezTo>
                    <a:pt x="67" y="54"/>
                    <a:pt x="67" y="54"/>
                    <a:pt x="66" y="54"/>
                  </a:cubicBezTo>
                  <a:cubicBezTo>
                    <a:pt x="66" y="54"/>
                    <a:pt x="65" y="53"/>
                    <a:pt x="64" y="52"/>
                  </a:cubicBezTo>
                  <a:cubicBezTo>
                    <a:pt x="64" y="52"/>
                    <a:pt x="64" y="52"/>
                    <a:pt x="63" y="52"/>
                  </a:cubicBezTo>
                  <a:cubicBezTo>
                    <a:pt x="62" y="53"/>
                    <a:pt x="62" y="54"/>
                    <a:pt x="62" y="54"/>
                  </a:cubicBezTo>
                  <a:cubicBezTo>
                    <a:pt x="63" y="55"/>
                    <a:pt x="63" y="57"/>
                    <a:pt x="63" y="57"/>
                  </a:cubicBezTo>
                  <a:cubicBezTo>
                    <a:pt x="63" y="58"/>
                    <a:pt x="63" y="58"/>
                    <a:pt x="61" y="58"/>
                  </a:cubicBezTo>
                  <a:cubicBezTo>
                    <a:pt x="60" y="58"/>
                    <a:pt x="60" y="57"/>
                    <a:pt x="60" y="57"/>
                  </a:cubicBezTo>
                  <a:cubicBezTo>
                    <a:pt x="60" y="56"/>
                    <a:pt x="60" y="55"/>
                    <a:pt x="59" y="55"/>
                  </a:cubicBezTo>
                  <a:cubicBezTo>
                    <a:pt x="59" y="55"/>
                    <a:pt x="58" y="55"/>
                    <a:pt x="58" y="56"/>
                  </a:cubicBezTo>
                  <a:cubicBezTo>
                    <a:pt x="57" y="56"/>
                    <a:pt x="55" y="56"/>
                    <a:pt x="55" y="56"/>
                  </a:cubicBezTo>
                  <a:cubicBezTo>
                    <a:pt x="55" y="56"/>
                    <a:pt x="54" y="55"/>
                    <a:pt x="54" y="54"/>
                  </a:cubicBezTo>
                  <a:cubicBezTo>
                    <a:pt x="53" y="54"/>
                    <a:pt x="52" y="54"/>
                    <a:pt x="52" y="54"/>
                  </a:cubicBezTo>
                  <a:cubicBezTo>
                    <a:pt x="52" y="54"/>
                    <a:pt x="52" y="56"/>
                    <a:pt x="51" y="56"/>
                  </a:cubicBezTo>
                  <a:cubicBezTo>
                    <a:pt x="51" y="57"/>
                    <a:pt x="52" y="58"/>
                    <a:pt x="52" y="58"/>
                  </a:cubicBezTo>
                  <a:cubicBezTo>
                    <a:pt x="52" y="58"/>
                    <a:pt x="53" y="59"/>
                    <a:pt x="53" y="59"/>
                  </a:cubicBezTo>
                  <a:cubicBezTo>
                    <a:pt x="53" y="59"/>
                    <a:pt x="51" y="61"/>
                    <a:pt x="51" y="60"/>
                  </a:cubicBezTo>
                  <a:cubicBezTo>
                    <a:pt x="50" y="60"/>
                    <a:pt x="49" y="60"/>
                    <a:pt x="49" y="60"/>
                  </a:cubicBezTo>
                  <a:cubicBezTo>
                    <a:pt x="49" y="60"/>
                    <a:pt x="45" y="64"/>
                    <a:pt x="45" y="64"/>
                  </a:cubicBezTo>
                  <a:cubicBezTo>
                    <a:pt x="45" y="65"/>
                    <a:pt x="44" y="66"/>
                    <a:pt x="44" y="66"/>
                  </a:cubicBezTo>
                  <a:cubicBezTo>
                    <a:pt x="44" y="66"/>
                    <a:pt x="45" y="69"/>
                    <a:pt x="45" y="69"/>
                  </a:cubicBezTo>
                  <a:cubicBezTo>
                    <a:pt x="45" y="69"/>
                    <a:pt x="47" y="71"/>
                    <a:pt x="47" y="71"/>
                  </a:cubicBezTo>
                  <a:cubicBezTo>
                    <a:pt x="47" y="73"/>
                    <a:pt x="47" y="73"/>
                    <a:pt x="47" y="73"/>
                  </a:cubicBezTo>
                  <a:cubicBezTo>
                    <a:pt x="47" y="73"/>
                    <a:pt x="46" y="74"/>
                    <a:pt x="46" y="74"/>
                  </a:cubicBezTo>
                  <a:cubicBezTo>
                    <a:pt x="45" y="74"/>
                    <a:pt x="42" y="74"/>
                    <a:pt x="41" y="74"/>
                  </a:cubicBezTo>
                  <a:cubicBezTo>
                    <a:pt x="41" y="74"/>
                    <a:pt x="39" y="75"/>
                    <a:pt x="39" y="75"/>
                  </a:cubicBezTo>
                  <a:cubicBezTo>
                    <a:pt x="38" y="76"/>
                    <a:pt x="37" y="76"/>
                    <a:pt x="37" y="76"/>
                  </a:cubicBezTo>
                  <a:cubicBezTo>
                    <a:pt x="37" y="77"/>
                    <a:pt x="34" y="76"/>
                    <a:pt x="34" y="76"/>
                  </a:cubicBezTo>
                  <a:cubicBezTo>
                    <a:pt x="34" y="76"/>
                    <a:pt x="33" y="77"/>
                    <a:pt x="33" y="77"/>
                  </a:cubicBezTo>
                  <a:cubicBezTo>
                    <a:pt x="32" y="78"/>
                    <a:pt x="32" y="82"/>
                    <a:pt x="32" y="82"/>
                  </a:cubicBezTo>
                  <a:cubicBezTo>
                    <a:pt x="32" y="82"/>
                    <a:pt x="34" y="87"/>
                    <a:pt x="34" y="87"/>
                  </a:cubicBezTo>
                  <a:cubicBezTo>
                    <a:pt x="34" y="91"/>
                    <a:pt x="34" y="91"/>
                    <a:pt x="34" y="91"/>
                  </a:cubicBezTo>
                  <a:cubicBezTo>
                    <a:pt x="31" y="92"/>
                    <a:pt x="31" y="92"/>
                    <a:pt x="31" y="92"/>
                  </a:cubicBezTo>
                  <a:cubicBezTo>
                    <a:pt x="31" y="92"/>
                    <a:pt x="27" y="89"/>
                    <a:pt x="27" y="89"/>
                  </a:cubicBezTo>
                  <a:cubicBezTo>
                    <a:pt x="27" y="89"/>
                    <a:pt x="20" y="85"/>
                    <a:pt x="20" y="85"/>
                  </a:cubicBezTo>
                  <a:cubicBezTo>
                    <a:pt x="20" y="85"/>
                    <a:pt x="15" y="84"/>
                    <a:pt x="15" y="84"/>
                  </a:cubicBezTo>
                  <a:cubicBezTo>
                    <a:pt x="13" y="86"/>
                    <a:pt x="13" y="86"/>
                    <a:pt x="13" y="86"/>
                  </a:cubicBezTo>
                  <a:cubicBezTo>
                    <a:pt x="13" y="86"/>
                    <a:pt x="10" y="90"/>
                    <a:pt x="10" y="90"/>
                  </a:cubicBezTo>
                  <a:cubicBezTo>
                    <a:pt x="10" y="90"/>
                    <a:pt x="9" y="93"/>
                    <a:pt x="9" y="93"/>
                  </a:cubicBezTo>
                  <a:cubicBezTo>
                    <a:pt x="9" y="93"/>
                    <a:pt x="10" y="95"/>
                    <a:pt x="10" y="95"/>
                  </a:cubicBezTo>
                  <a:cubicBezTo>
                    <a:pt x="12" y="97"/>
                    <a:pt x="12" y="97"/>
                    <a:pt x="12" y="97"/>
                  </a:cubicBezTo>
                  <a:cubicBezTo>
                    <a:pt x="12" y="97"/>
                    <a:pt x="10" y="99"/>
                    <a:pt x="10" y="99"/>
                  </a:cubicBezTo>
                  <a:cubicBezTo>
                    <a:pt x="10" y="99"/>
                    <a:pt x="8" y="102"/>
                    <a:pt x="8" y="102"/>
                  </a:cubicBezTo>
                  <a:cubicBezTo>
                    <a:pt x="8" y="102"/>
                    <a:pt x="11" y="104"/>
                    <a:pt x="11" y="104"/>
                  </a:cubicBezTo>
                  <a:cubicBezTo>
                    <a:pt x="11" y="104"/>
                    <a:pt x="8" y="105"/>
                    <a:pt x="8" y="105"/>
                  </a:cubicBezTo>
                  <a:cubicBezTo>
                    <a:pt x="8" y="105"/>
                    <a:pt x="9" y="109"/>
                    <a:pt x="9" y="109"/>
                  </a:cubicBezTo>
                  <a:cubicBezTo>
                    <a:pt x="9" y="109"/>
                    <a:pt x="7" y="113"/>
                    <a:pt x="7" y="113"/>
                  </a:cubicBezTo>
                  <a:cubicBezTo>
                    <a:pt x="7" y="113"/>
                    <a:pt x="6" y="112"/>
                    <a:pt x="6" y="112"/>
                  </a:cubicBezTo>
                  <a:cubicBezTo>
                    <a:pt x="6" y="112"/>
                    <a:pt x="5" y="111"/>
                    <a:pt x="5" y="111"/>
                  </a:cubicBezTo>
                  <a:cubicBezTo>
                    <a:pt x="5" y="111"/>
                    <a:pt x="3" y="110"/>
                    <a:pt x="3" y="110"/>
                  </a:cubicBezTo>
                  <a:cubicBezTo>
                    <a:pt x="3" y="110"/>
                    <a:pt x="1" y="112"/>
                    <a:pt x="1" y="112"/>
                  </a:cubicBezTo>
                  <a:cubicBezTo>
                    <a:pt x="0" y="116"/>
                    <a:pt x="0" y="116"/>
                    <a:pt x="0" y="116"/>
                  </a:cubicBezTo>
                  <a:cubicBezTo>
                    <a:pt x="47" y="116"/>
                    <a:pt x="47" y="116"/>
                    <a:pt x="47" y="116"/>
                  </a:cubicBezTo>
                  <a:cubicBezTo>
                    <a:pt x="48" y="111"/>
                    <a:pt x="48" y="111"/>
                    <a:pt x="48" y="111"/>
                  </a:cubicBezTo>
                  <a:cubicBezTo>
                    <a:pt x="47" y="108"/>
                    <a:pt x="47" y="108"/>
                    <a:pt x="47" y="108"/>
                  </a:cubicBezTo>
                  <a:cubicBezTo>
                    <a:pt x="54" y="108"/>
                    <a:pt x="54" y="108"/>
                    <a:pt x="54" y="108"/>
                  </a:cubicBezTo>
                  <a:cubicBezTo>
                    <a:pt x="55" y="110"/>
                    <a:pt x="55" y="110"/>
                    <a:pt x="55" y="110"/>
                  </a:cubicBezTo>
                  <a:cubicBezTo>
                    <a:pt x="74" y="110"/>
                    <a:pt x="74" y="110"/>
                    <a:pt x="74" y="110"/>
                  </a:cubicBezTo>
                  <a:cubicBezTo>
                    <a:pt x="97" y="109"/>
                    <a:pt x="97" y="109"/>
                    <a:pt x="97" y="109"/>
                  </a:cubicBezTo>
                  <a:cubicBezTo>
                    <a:pt x="142" y="111"/>
                    <a:pt x="142" y="111"/>
                    <a:pt x="142" y="111"/>
                  </a:cubicBezTo>
                  <a:cubicBezTo>
                    <a:pt x="184" y="111"/>
                    <a:pt x="184" y="111"/>
                    <a:pt x="184" y="111"/>
                  </a:cubicBezTo>
                  <a:cubicBezTo>
                    <a:pt x="199" y="111"/>
                    <a:pt x="199" y="111"/>
                    <a:pt x="199" y="111"/>
                  </a:cubicBezTo>
                  <a:cubicBezTo>
                    <a:pt x="205" y="108"/>
                    <a:pt x="205" y="108"/>
                    <a:pt x="205" y="108"/>
                  </a:cubicBezTo>
                  <a:cubicBezTo>
                    <a:pt x="205" y="108"/>
                    <a:pt x="208" y="108"/>
                    <a:pt x="208" y="108"/>
                  </a:cubicBezTo>
                  <a:cubicBezTo>
                    <a:pt x="208" y="108"/>
                    <a:pt x="212" y="107"/>
                    <a:pt x="213" y="107"/>
                  </a:cubicBezTo>
                  <a:cubicBezTo>
                    <a:pt x="213" y="106"/>
                    <a:pt x="216" y="106"/>
                    <a:pt x="217" y="105"/>
                  </a:cubicBezTo>
                  <a:cubicBezTo>
                    <a:pt x="217" y="105"/>
                    <a:pt x="218" y="104"/>
                    <a:pt x="218" y="104"/>
                  </a:cubicBezTo>
                  <a:cubicBezTo>
                    <a:pt x="218" y="103"/>
                    <a:pt x="219" y="101"/>
                    <a:pt x="219" y="101"/>
                  </a:cubicBezTo>
                  <a:cubicBezTo>
                    <a:pt x="220" y="101"/>
                    <a:pt x="222" y="100"/>
                    <a:pt x="223" y="100"/>
                  </a:cubicBezTo>
                  <a:cubicBezTo>
                    <a:pt x="224" y="100"/>
                    <a:pt x="224" y="100"/>
                    <a:pt x="225" y="100"/>
                  </a:cubicBezTo>
                  <a:cubicBezTo>
                    <a:pt x="225" y="99"/>
                    <a:pt x="226" y="98"/>
                    <a:pt x="227" y="98"/>
                  </a:cubicBezTo>
                  <a:cubicBezTo>
                    <a:pt x="227" y="97"/>
                    <a:pt x="226" y="95"/>
                    <a:pt x="227" y="95"/>
                  </a:cubicBezTo>
                  <a:cubicBezTo>
                    <a:pt x="228" y="94"/>
                    <a:pt x="230" y="93"/>
                    <a:pt x="230" y="93"/>
                  </a:cubicBezTo>
                  <a:cubicBezTo>
                    <a:pt x="231" y="92"/>
                    <a:pt x="231" y="93"/>
                    <a:pt x="231" y="92"/>
                  </a:cubicBezTo>
                  <a:cubicBezTo>
                    <a:pt x="232" y="91"/>
                    <a:pt x="232" y="90"/>
                    <a:pt x="232" y="89"/>
                  </a:cubicBezTo>
                  <a:cubicBezTo>
                    <a:pt x="232" y="89"/>
                    <a:pt x="234" y="88"/>
                    <a:pt x="235" y="87"/>
                  </a:cubicBezTo>
                  <a:cubicBezTo>
                    <a:pt x="236" y="86"/>
                    <a:pt x="239" y="84"/>
                    <a:pt x="240" y="84"/>
                  </a:cubicBezTo>
                  <a:cubicBezTo>
                    <a:pt x="242" y="83"/>
                    <a:pt x="244" y="83"/>
                    <a:pt x="245" y="82"/>
                  </a:cubicBezTo>
                  <a:cubicBezTo>
                    <a:pt x="246" y="82"/>
                    <a:pt x="247" y="80"/>
                    <a:pt x="248" y="79"/>
                  </a:cubicBezTo>
                  <a:cubicBezTo>
                    <a:pt x="249" y="79"/>
                    <a:pt x="257" y="71"/>
                    <a:pt x="257" y="71"/>
                  </a:cubicBezTo>
                  <a:lnTo>
                    <a:pt x="255" y="71"/>
                  </a:ln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9" name="Freeform 42">
              <a:extLst>
                <a:ext uri="{FF2B5EF4-FFF2-40B4-BE49-F238E27FC236}">
                  <a16:creationId xmlns:a16="http://schemas.microsoft.com/office/drawing/2014/main" id="{57BAFA27-9695-66CF-1C11-27E387F39ED3}"/>
                </a:ext>
              </a:extLst>
            </p:cNvPr>
            <p:cNvSpPr>
              <a:spLocks/>
            </p:cNvSpPr>
            <p:nvPr/>
          </p:nvSpPr>
          <p:spPr bwMode="auto">
            <a:xfrm>
              <a:off x="5620954" y="2689715"/>
              <a:ext cx="1022715" cy="527053"/>
            </a:xfrm>
            <a:custGeom>
              <a:avLst/>
              <a:gdLst>
                <a:gd name="T0" fmla="*/ 258 w 258"/>
                <a:gd name="T1" fmla="*/ 40 h 133"/>
                <a:gd name="T2" fmla="*/ 257 w 258"/>
                <a:gd name="T3" fmla="*/ 38 h 133"/>
                <a:gd name="T4" fmla="*/ 255 w 258"/>
                <a:gd name="T5" fmla="*/ 38 h 133"/>
                <a:gd name="T6" fmla="*/ 251 w 258"/>
                <a:gd name="T7" fmla="*/ 37 h 133"/>
                <a:gd name="T8" fmla="*/ 249 w 258"/>
                <a:gd name="T9" fmla="*/ 34 h 133"/>
                <a:gd name="T10" fmla="*/ 247 w 258"/>
                <a:gd name="T11" fmla="*/ 30 h 133"/>
                <a:gd name="T12" fmla="*/ 247 w 258"/>
                <a:gd name="T13" fmla="*/ 28 h 133"/>
                <a:gd name="T14" fmla="*/ 246 w 258"/>
                <a:gd name="T15" fmla="*/ 28 h 133"/>
                <a:gd name="T16" fmla="*/ 245 w 258"/>
                <a:gd name="T17" fmla="*/ 28 h 133"/>
                <a:gd name="T18" fmla="*/ 243 w 258"/>
                <a:gd name="T19" fmla="*/ 26 h 133"/>
                <a:gd name="T20" fmla="*/ 242 w 258"/>
                <a:gd name="T21" fmla="*/ 24 h 133"/>
                <a:gd name="T22" fmla="*/ 241 w 258"/>
                <a:gd name="T23" fmla="*/ 19 h 133"/>
                <a:gd name="T24" fmla="*/ 242 w 258"/>
                <a:gd name="T25" fmla="*/ 19 h 133"/>
                <a:gd name="T26" fmla="*/ 242 w 258"/>
                <a:gd name="T27" fmla="*/ 18 h 133"/>
                <a:gd name="T28" fmla="*/ 243 w 258"/>
                <a:gd name="T29" fmla="*/ 16 h 133"/>
                <a:gd name="T30" fmla="*/ 243 w 258"/>
                <a:gd name="T31" fmla="*/ 15 h 133"/>
                <a:gd name="T32" fmla="*/ 245 w 258"/>
                <a:gd name="T33" fmla="*/ 15 h 133"/>
                <a:gd name="T34" fmla="*/ 245 w 258"/>
                <a:gd name="T35" fmla="*/ 13 h 133"/>
                <a:gd name="T36" fmla="*/ 247 w 258"/>
                <a:gd name="T37" fmla="*/ 13 h 133"/>
                <a:gd name="T38" fmla="*/ 246 w 258"/>
                <a:gd name="T39" fmla="*/ 11 h 133"/>
                <a:gd name="T40" fmla="*/ 247 w 258"/>
                <a:gd name="T41" fmla="*/ 11 h 133"/>
                <a:gd name="T42" fmla="*/ 248 w 258"/>
                <a:gd name="T43" fmla="*/ 10 h 133"/>
                <a:gd name="T44" fmla="*/ 248 w 258"/>
                <a:gd name="T45" fmla="*/ 8 h 133"/>
                <a:gd name="T46" fmla="*/ 246 w 258"/>
                <a:gd name="T47" fmla="*/ 8 h 133"/>
                <a:gd name="T48" fmla="*/ 245 w 258"/>
                <a:gd name="T49" fmla="*/ 6 h 133"/>
                <a:gd name="T50" fmla="*/ 244 w 258"/>
                <a:gd name="T51" fmla="*/ 5 h 133"/>
                <a:gd name="T52" fmla="*/ 243 w 258"/>
                <a:gd name="T53" fmla="*/ 6 h 133"/>
                <a:gd name="T54" fmla="*/ 242 w 258"/>
                <a:gd name="T55" fmla="*/ 7 h 133"/>
                <a:gd name="T56" fmla="*/ 240 w 258"/>
                <a:gd name="T57" fmla="*/ 7 h 133"/>
                <a:gd name="T58" fmla="*/ 238 w 258"/>
                <a:gd name="T59" fmla="*/ 5 h 133"/>
                <a:gd name="T60" fmla="*/ 236 w 258"/>
                <a:gd name="T61" fmla="*/ 3 h 133"/>
                <a:gd name="T62" fmla="*/ 234 w 258"/>
                <a:gd name="T63" fmla="*/ 1 h 133"/>
                <a:gd name="T64" fmla="*/ 232 w 258"/>
                <a:gd name="T65" fmla="*/ 0 h 133"/>
                <a:gd name="T66" fmla="*/ 0 w 258"/>
                <a:gd name="T67" fmla="*/ 0 h 133"/>
                <a:gd name="T68" fmla="*/ 0 w 258"/>
                <a:gd name="T69" fmla="*/ 133 h 133"/>
                <a:gd name="T70" fmla="*/ 257 w 258"/>
                <a:gd name="T71" fmla="*/ 133 h 133"/>
                <a:gd name="T72" fmla="*/ 258 w 258"/>
                <a:gd name="T73" fmla="*/ 4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8" h="133">
                  <a:moveTo>
                    <a:pt x="258" y="40"/>
                  </a:moveTo>
                  <a:cubicBezTo>
                    <a:pt x="257" y="38"/>
                    <a:pt x="257" y="38"/>
                    <a:pt x="257" y="38"/>
                  </a:cubicBezTo>
                  <a:cubicBezTo>
                    <a:pt x="257" y="38"/>
                    <a:pt x="256" y="38"/>
                    <a:pt x="255" y="38"/>
                  </a:cubicBezTo>
                  <a:cubicBezTo>
                    <a:pt x="254" y="38"/>
                    <a:pt x="253" y="37"/>
                    <a:pt x="251" y="37"/>
                  </a:cubicBezTo>
                  <a:cubicBezTo>
                    <a:pt x="250" y="36"/>
                    <a:pt x="250" y="35"/>
                    <a:pt x="249" y="34"/>
                  </a:cubicBezTo>
                  <a:cubicBezTo>
                    <a:pt x="248" y="33"/>
                    <a:pt x="246" y="32"/>
                    <a:pt x="247" y="30"/>
                  </a:cubicBezTo>
                  <a:cubicBezTo>
                    <a:pt x="247" y="29"/>
                    <a:pt x="247" y="29"/>
                    <a:pt x="247" y="28"/>
                  </a:cubicBezTo>
                  <a:cubicBezTo>
                    <a:pt x="247" y="28"/>
                    <a:pt x="246" y="28"/>
                    <a:pt x="246" y="28"/>
                  </a:cubicBezTo>
                  <a:cubicBezTo>
                    <a:pt x="245" y="28"/>
                    <a:pt x="245" y="28"/>
                    <a:pt x="245" y="28"/>
                  </a:cubicBezTo>
                  <a:cubicBezTo>
                    <a:pt x="244" y="27"/>
                    <a:pt x="244" y="26"/>
                    <a:pt x="243" y="26"/>
                  </a:cubicBezTo>
                  <a:cubicBezTo>
                    <a:pt x="243" y="25"/>
                    <a:pt x="242" y="24"/>
                    <a:pt x="242" y="24"/>
                  </a:cubicBezTo>
                  <a:cubicBezTo>
                    <a:pt x="241" y="23"/>
                    <a:pt x="239" y="20"/>
                    <a:pt x="241" y="19"/>
                  </a:cubicBezTo>
                  <a:cubicBezTo>
                    <a:pt x="241" y="19"/>
                    <a:pt x="242" y="19"/>
                    <a:pt x="242" y="19"/>
                  </a:cubicBezTo>
                  <a:cubicBezTo>
                    <a:pt x="242" y="19"/>
                    <a:pt x="242" y="18"/>
                    <a:pt x="242" y="18"/>
                  </a:cubicBezTo>
                  <a:cubicBezTo>
                    <a:pt x="242" y="17"/>
                    <a:pt x="242" y="17"/>
                    <a:pt x="243" y="16"/>
                  </a:cubicBezTo>
                  <a:cubicBezTo>
                    <a:pt x="243" y="16"/>
                    <a:pt x="243" y="16"/>
                    <a:pt x="243" y="15"/>
                  </a:cubicBezTo>
                  <a:cubicBezTo>
                    <a:pt x="244" y="15"/>
                    <a:pt x="244" y="15"/>
                    <a:pt x="245" y="15"/>
                  </a:cubicBezTo>
                  <a:cubicBezTo>
                    <a:pt x="245" y="14"/>
                    <a:pt x="245" y="13"/>
                    <a:pt x="245" y="13"/>
                  </a:cubicBezTo>
                  <a:cubicBezTo>
                    <a:pt x="246" y="13"/>
                    <a:pt x="247" y="13"/>
                    <a:pt x="247" y="13"/>
                  </a:cubicBezTo>
                  <a:cubicBezTo>
                    <a:pt x="247" y="12"/>
                    <a:pt x="245" y="12"/>
                    <a:pt x="246" y="11"/>
                  </a:cubicBezTo>
                  <a:cubicBezTo>
                    <a:pt x="247" y="10"/>
                    <a:pt x="247" y="11"/>
                    <a:pt x="247" y="11"/>
                  </a:cubicBezTo>
                  <a:cubicBezTo>
                    <a:pt x="248" y="11"/>
                    <a:pt x="248" y="10"/>
                    <a:pt x="248" y="10"/>
                  </a:cubicBezTo>
                  <a:cubicBezTo>
                    <a:pt x="248" y="9"/>
                    <a:pt x="248" y="9"/>
                    <a:pt x="248" y="8"/>
                  </a:cubicBezTo>
                  <a:cubicBezTo>
                    <a:pt x="247" y="8"/>
                    <a:pt x="247" y="8"/>
                    <a:pt x="246" y="8"/>
                  </a:cubicBezTo>
                  <a:cubicBezTo>
                    <a:pt x="246" y="7"/>
                    <a:pt x="246" y="6"/>
                    <a:pt x="245" y="6"/>
                  </a:cubicBezTo>
                  <a:cubicBezTo>
                    <a:pt x="245" y="5"/>
                    <a:pt x="245" y="5"/>
                    <a:pt x="244" y="5"/>
                  </a:cubicBezTo>
                  <a:cubicBezTo>
                    <a:pt x="244" y="5"/>
                    <a:pt x="243" y="5"/>
                    <a:pt x="243" y="6"/>
                  </a:cubicBezTo>
                  <a:cubicBezTo>
                    <a:pt x="243" y="6"/>
                    <a:pt x="243" y="7"/>
                    <a:pt x="242" y="7"/>
                  </a:cubicBezTo>
                  <a:cubicBezTo>
                    <a:pt x="242" y="7"/>
                    <a:pt x="241" y="7"/>
                    <a:pt x="240" y="7"/>
                  </a:cubicBezTo>
                  <a:cubicBezTo>
                    <a:pt x="239" y="6"/>
                    <a:pt x="238" y="5"/>
                    <a:pt x="238" y="5"/>
                  </a:cubicBezTo>
                  <a:cubicBezTo>
                    <a:pt x="237" y="4"/>
                    <a:pt x="236" y="4"/>
                    <a:pt x="236" y="3"/>
                  </a:cubicBezTo>
                  <a:cubicBezTo>
                    <a:pt x="235" y="2"/>
                    <a:pt x="235" y="2"/>
                    <a:pt x="234" y="1"/>
                  </a:cubicBezTo>
                  <a:cubicBezTo>
                    <a:pt x="233" y="1"/>
                    <a:pt x="233" y="1"/>
                    <a:pt x="232" y="0"/>
                  </a:cubicBezTo>
                  <a:cubicBezTo>
                    <a:pt x="0" y="0"/>
                    <a:pt x="0" y="0"/>
                    <a:pt x="0" y="0"/>
                  </a:cubicBezTo>
                  <a:cubicBezTo>
                    <a:pt x="0" y="133"/>
                    <a:pt x="0" y="133"/>
                    <a:pt x="0" y="133"/>
                  </a:cubicBezTo>
                  <a:cubicBezTo>
                    <a:pt x="257" y="133"/>
                    <a:pt x="257" y="133"/>
                    <a:pt x="257" y="133"/>
                  </a:cubicBezTo>
                  <a:lnTo>
                    <a:pt x="258" y="40"/>
                  </a:lnTo>
                  <a:close/>
                </a:path>
              </a:pathLst>
            </a:custGeom>
            <a:solidFill>
              <a:schemeClr val="bg1">
                <a:lumMod val="85000"/>
              </a:schemeClr>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0" name="Freeform 43">
              <a:extLst>
                <a:ext uri="{FF2B5EF4-FFF2-40B4-BE49-F238E27FC236}">
                  <a16:creationId xmlns:a16="http://schemas.microsoft.com/office/drawing/2014/main" id="{B2EDD235-FF5D-04D0-7F51-79FBCA9D7775}"/>
                </a:ext>
              </a:extLst>
            </p:cNvPr>
            <p:cNvSpPr>
              <a:spLocks/>
            </p:cNvSpPr>
            <p:nvPr/>
          </p:nvSpPr>
          <p:spPr bwMode="auto">
            <a:xfrm>
              <a:off x="6361141" y="2047007"/>
              <a:ext cx="887234" cy="579924"/>
            </a:xfrm>
            <a:custGeom>
              <a:avLst/>
              <a:gdLst>
                <a:gd name="T0" fmla="*/ 173 w 224"/>
                <a:gd name="T1" fmla="*/ 138 h 146"/>
                <a:gd name="T2" fmla="*/ 176 w 224"/>
                <a:gd name="T3" fmla="*/ 142 h 146"/>
                <a:gd name="T4" fmla="*/ 180 w 224"/>
                <a:gd name="T5" fmla="*/ 145 h 146"/>
                <a:gd name="T6" fmla="*/ 182 w 224"/>
                <a:gd name="T7" fmla="*/ 142 h 146"/>
                <a:gd name="T8" fmla="*/ 182 w 224"/>
                <a:gd name="T9" fmla="*/ 135 h 146"/>
                <a:gd name="T10" fmla="*/ 189 w 224"/>
                <a:gd name="T11" fmla="*/ 133 h 146"/>
                <a:gd name="T12" fmla="*/ 192 w 224"/>
                <a:gd name="T13" fmla="*/ 125 h 146"/>
                <a:gd name="T14" fmla="*/ 195 w 224"/>
                <a:gd name="T15" fmla="*/ 111 h 146"/>
                <a:gd name="T16" fmla="*/ 192 w 224"/>
                <a:gd name="T17" fmla="*/ 100 h 146"/>
                <a:gd name="T18" fmla="*/ 197 w 224"/>
                <a:gd name="T19" fmla="*/ 98 h 146"/>
                <a:gd name="T20" fmla="*/ 206 w 224"/>
                <a:gd name="T21" fmla="*/ 95 h 146"/>
                <a:gd name="T22" fmla="*/ 215 w 224"/>
                <a:gd name="T23" fmla="*/ 91 h 146"/>
                <a:gd name="T24" fmla="*/ 221 w 224"/>
                <a:gd name="T25" fmla="*/ 81 h 146"/>
                <a:gd name="T26" fmla="*/ 223 w 224"/>
                <a:gd name="T27" fmla="*/ 66 h 146"/>
                <a:gd name="T28" fmla="*/ 213 w 224"/>
                <a:gd name="T29" fmla="*/ 54 h 146"/>
                <a:gd name="T30" fmla="*/ 207 w 224"/>
                <a:gd name="T31" fmla="*/ 47 h 146"/>
                <a:gd name="T32" fmla="*/ 203 w 224"/>
                <a:gd name="T33" fmla="*/ 41 h 146"/>
                <a:gd name="T34" fmla="*/ 196 w 224"/>
                <a:gd name="T35" fmla="*/ 39 h 146"/>
                <a:gd name="T36" fmla="*/ 191 w 224"/>
                <a:gd name="T37" fmla="*/ 30 h 146"/>
                <a:gd name="T38" fmla="*/ 189 w 224"/>
                <a:gd name="T39" fmla="*/ 24 h 146"/>
                <a:gd name="T40" fmla="*/ 190 w 224"/>
                <a:gd name="T41" fmla="*/ 15 h 146"/>
                <a:gd name="T42" fmla="*/ 187 w 224"/>
                <a:gd name="T43" fmla="*/ 7 h 146"/>
                <a:gd name="T44" fmla="*/ 187 w 224"/>
                <a:gd name="T45" fmla="*/ 0 h 146"/>
                <a:gd name="T46" fmla="*/ 1 w 224"/>
                <a:gd name="T47" fmla="*/ 3 h 146"/>
                <a:gd name="T48" fmla="*/ 2 w 224"/>
                <a:gd name="T49" fmla="*/ 10 h 146"/>
                <a:gd name="T50" fmla="*/ 6 w 224"/>
                <a:gd name="T51" fmla="*/ 14 h 146"/>
                <a:gd name="T52" fmla="*/ 5 w 224"/>
                <a:gd name="T53" fmla="*/ 22 h 146"/>
                <a:gd name="T54" fmla="*/ 3 w 224"/>
                <a:gd name="T55" fmla="*/ 28 h 146"/>
                <a:gd name="T56" fmla="*/ 0 w 224"/>
                <a:gd name="T57" fmla="*/ 37 h 146"/>
                <a:gd name="T58" fmla="*/ 6 w 224"/>
                <a:gd name="T59" fmla="*/ 46 h 146"/>
                <a:gd name="T60" fmla="*/ 8 w 224"/>
                <a:gd name="T61" fmla="*/ 52 h 146"/>
                <a:gd name="T62" fmla="*/ 11 w 224"/>
                <a:gd name="T63" fmla="*/ 59 h 146"/>
                <a:gd name="T64" fmla="*/ 12 w 224"/>
                <a:gd name="T65" fmla="*/ 65 h 146"/>
                <a:gd name="T66" fmla="*/ 14 w 224"/>
                <a:gd name="T67" fmla="*/ 71 h 146"/>
                <a:gd name="T68" fmla="*/ 17 w 224"/>
                <a:gd name="T69" fmla="*/ 73 h 146"/>
                <a:gd name="T70" fmla="*/ 19 w 224"/>
                <a:gd name="T71" fmla="*/ 82 h 146"/>
                <a:gd name="T72" fmla="*/ 18 w 224"/>
                <a:gd name="T73" fmla="*/ 87 h 146"/>
                <a:gd name="T74" fmla="*/ 20 w 224"/>
                <a:gd name="T75" fmla="*/ 94 h 146"/>
                <a:gd name="T76" fmla="*/ 24 w 224"/>
                <a:gd name="T77" fmla="*/ 96 h 146"/>
                <a:gd name="T78" fmla="*/ 25 w 224"/>
                <a:gd name="T79" fmla="*/ 105 h 146"/>
                <a:gd name="T80" fmla="*/ 26 w 224"/>
                <a:gd name="T81" fmla="*/ 113 h 146"/>
                <a:gd name="T82" fmla="*/ 28 w 224"/>
                <a:gd name="T83" fmla="*/ 127 h 146"/>
                <a:gd name="T84" fmla="*/ 29 w 224"/>
                <a:gd name="T85" fmla="*/ 133 h 146"/>
                <a:gd name="T86" fmla="*/ 169 w 224"/>
                <a:gd name="T87" fmla="*/ 13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4" h="146">
                  <a:moveTo>
                    <a:pt x="169" y="135"/>
                  </a:moveTo>
                  <a:cubicBezTo>
                    <a:pt x="169" y="135"/>
                    <a:pt x="170" y="137"/>
                    <a:pt x="171" y="137"/>
                  </a:cubicBezTo>
                  <a:cubicBezTo>
                    <a:pt x="171" y="137"/>
                    <a:pt x="173" y="138"/>
                    <a:pt x="173" y="138"/>
                  </a:cubicBezTo>
                  <a:cubicBezTo>
                    <a:pt x="173" y="138"/>
                    <a:pt x="174" y="139"/>
                    <a:pt x="174" y="139"/>
                  </a:cubicBezTo>
                  <a:cubicBezTo>
                    <a:pt x="174" y="139"/>
                    <a:pt x="174" y="141"/>
                    <a:pt x="175" y="141"/>
                  </a:cubicBezTo>
                  <a:cubicBezTo>
                    <a:pt x="175" y="141"/>
                    <a:pt x="176" y="142"/>
                    <a:pt x="176" y="142"/>
                  </a:cubicBezTo>
                  <a:cubicBezTo>
                    <a:pt x="176" y="142"/>
                    <a:pt x="176" y="143"/>
                    <a:pt x="176" y="143"/>
                  </a:cubicBezTo>
                  <a:cubicBezTo>
                    <a:pt x="177" y="144"/>
                    <a:pt x="177" y="144"/>
                    <a:pt x="178" y="144"/>
                  </a:cubicBezTo>
                  <a:cubicBezTo>
                    <a:pt x="178" y="144"/>
                    <a:pt x="180" y="145"/>
                    <a:pt x="180" y="145"/>
                  </a:cubicBezTo>
                  <a:cubicBezTo>
                    <a:pt x="180" y="146"/>
                    <a:pt x="180" y="146"/>
                    <a:pt x="180" y="146"/>
                  </a:cubicBezTo>
                  <a:cubicBezTo>
                    <a:pt x="180" y="146"/>
                    <a:pt x="181" y="145"/>
                    <a:pt x="181" y="145"/>
                  </a:cubicBezTo>
                  <a:cubicBezTo>
                    <a:pt x="182" y="144"/>
                    <a:pt x="182" y="142"/>
                    <a:pt x="182" y="142"/>
                  </a:cubicBezTo>
                  <a:cubicBezTo>
                    <a:pt x="182" y="141"/>
                    <a:pt x="181" y="140"/>
                    <a:pt x="181" y="139"/>
                  </a:cubicBezTo>
                  <a:cubicBezTo>
                    <a:pt x="181" y="139"/>
                    <a:pt x="181" y="138"/>
                    <a:pt x="181" y="137"/>
                  </a:cubicBezTo>
                  <a:cubicBezTo>
                    <a:pt x="181" y="136"/>
                    <a:pt x="182" y="136"/>
                    <a:pt x="182" y="135"/>
                  </a:cubicBezTo>
                  <a:cubicBezTo>
                    <a:pt x="183" y="135"/>
                    <a:pt x="183" y="134"/>
                    <a:pt x="184" y="134"/>
                  </a:cubicBezTo>
                  <a:cubicBezTo>
                    <a:pt x="185" y="134"/>
                    <a:pt x="186" y="134"/>
                    <a:pt x="187" y="134"/>
                  </a:cubicBezTo>
                  <a:cubicBezTo>
                    <a:pt x="188" y="134"/>
                    <a:pt x="189" y="134"/>
                    <a:pt x="189" y="133"/>
                  </a:cubicBezTo>
                  <a:cubicBezTo>
                    <a:pt x="190" y="132"/>
                    <a:pt x="190" y="132"/>
                    <a:pt x="191" y="131"/>
                  </a:cubicBezTo>
                  <a:cubicBezTo>
                    <a:pt x="191" y="130"/>
                    <a:pt x="191" y="128"/>
                    <a:pt x="191" y="128"/>
                  </a:cubicBezTo>
                  <a:cubicBezTo>
                    <a:pt x="191" y="127"/>
                    <a:pt x="191" y="126"/>
                    <a:pt x="192" y="125"/>
                  </a:cubicBezTo>
                  <a:cubicBezTo>
                    <a:pt x="192" y="124"/>
                    <a:pt x="194" y="123"/>
                    <a:pt x="195" y="122"/>
                  </a:cubicBezTo>
                  <a:cubicBezTo>
                    <a:pt x="196" y="121"/>
                    <a:pt x="196" y="118"/>
                    <a:pt x="196" y="117"/>
                  </a:cubicBezTo>
                  <a:cubicBezTo>
                    <a:pt x="196" y="116"/>
                    <a:pt x="196" y="112"/>
                    <a:pt x="195" y="111"/>
                  </a:cubicBezTo>
                  <a:cubicBezTo>
                    <a:pt x="194" y="109"/>
                    <a:pt x="192" y="107"/>
                    <a:pt x="191" y="107"/>
                  </a:cubicBezTo>
                  <a:cubicBezTo>
                    <a:pt x="191" y="106"/>
                    <a:pt x="191" y="105"/>
                    <a:pt x="191" y="104"/>
                  </a:cubicBezTo>
                  <a:cubicBezTo>
                    <a:pt x="191" y="103"/>
                    <a:pt x="192" y="101"/>
                    <a:pt x="192" y="100"/>
                  </a:cubicBezTo>
                  <a:cubicBezTo>
                    <a:pt x="192" y="100"/>
                    <a:pt x="193" y="98"/>
                    <a:pt x="193" y="98"/>
                  </a:cubicBezTo>
                  <a:cubicBezTo>
                    <a:pt x="194" y="98"/>
                    <a:pt x="194" y="97"/>
                    <a:pt x="195" y="97"/>
                  </a:cubicBezTo>
                  <a:cubicBezTo>
                    <a:pt x="196" y="97"/>
                    <a:pt x="196" y="98"/>
                    <a:pt x="197" y="98"/>
                  </a:cubicBezTo>
                  <a:cubicBezTo>
                    <a:pt x="198" y="97"/>
                    <a:pt x="198" y="97"/>
                    <a:pt x="199" y="96"/>
                  </a:cubicBezTo>
                  <a:cubicBezTo>
                    <a:pt x="200" y="96"/>
                    <a:pt x="201" y="96"/>
                    <a:pt x="201" y="96"/>
                  </a:cubicBezTo>
                  <a:cubicBezTo>
                    <a:pt x="202" y="96"/>
                    <a:pt x="206" y="96"/>
                    <a:pt x="206" y="95"/>
                  </a:cubicBezTo>
                  <a:cubicBezTo>
                    <a:pt x="207" y="94"/>
                    <a:pt x="207" y="94"/>
                    <a:pt x="208" y="93"/>
                  </a:cubicBezTo>
                  <a:cubicBezTo>
                    <a:pt x="210" y="93"/>
                    <a:pt x="211" y="94"/>
                    <a:pt x="212" y="93"/>
                  </a:cubicBezTo>
                  <a:cubicBezTo>
                    <a:pt x="213" y="93"/>
                    <a:pt x="214" y="92"/>
                    <a:pt x="215" y="91"/>
                  </a:cubicBezTo>
                  <a:cubicBezTo>
                    <a:pt x="216" y="91"/>
                    <a:pt x="216" y="91"/>
                    <a:pt x="217" y="89"/>
                  </a:cubicBezTo>
                  <a:cubicBezTo>
                    <a:pt x="218" y="88"/>
                    <a:pt x="218" y="86"/>
                    <a:pt x="218" y="85"/>
                  </a:cubicBezTo>
                  <a:cubicBezTo>
                    <a:pt x="218" y="83"/>
                    <a:pt x="219" y="82"/>
                    <a:pt x="221" y="81"/>
                  </a:cubicBezTo>
                  <a:cubicBezTo>
                    <a:pt x="222" y="80"/>
                    <a:pt x="223" y="79"/>
                    <a:pt x="223" y="78"/>
                  </a:cubicBezTo>
                  <a:cubicBezTo>
                    <a:pt x="224" y="76"/>
                    <a:pt x="224" y="73"/>
                    <a:pt x="224" y="71"/>
                  </a:cubicBezTo>
                  <a:cubicBezTo>
                    <a:pt x="224" y="70"/>
                    <a:pt x="224" y="67"/>
                    <a:pt x="223" y="66"/>
                  </a:cubicBezTo>
                  <a:cubicBezTo>
                    <a:pt x="222" y="65"/>
                    <a:pt x="218" y="62"/>
                    <a:pt x="216" y="61"/>
                  </a:cubicBezTo>
                  <a:cubicBezTo>
                    <a:pt x="215" y="60"/>
                    <a:pt x="214" y="59"/>
                    <a:pt x="214" y="57"/>
                  </a:cubicBezTo>
                  <a:cubicBezTo>
                    <a:pt x="214" y="56"/>
                    <a:pt x="214" y="55"/>
                    <a:pt x="213" y="54"/>
                  </a:cubicBezTo>
                  <a:cubicBezTo>
                    <a:pt x="212" y="53"/>
                    <a:pt x="211" y="52"/>
                    <a:pt x="210" y="51"/>
                  </a:cubicBezTo>
                  <a:cubicBezTo>
                    <a:pt x="208" y="50"/>
                    <a:pt x="207" y="50"/>
                    <a:pt x="207" y="49"/>
                  </a:cubicBezTo>
                  <a:cubicBezTo>
                    <a:pt x="207" y="49"/>
                    <a:pt x="207" y="47"/>
                    <a:pt x="207" y="47"/>
                  </a:cubicBezTo>
                  <a:cubicBezTo>
                    <a:pt x="206" y="46"/>
                    <a:pt x="206" y="45"/>
                    <a:pt x="206" y="44"/>
                  </a:cubicBezTo>
                  <a:cubicBezTo>
                    <a:pt x="205" y="44"/>
                    <a:pt x="205" y="43"/>
                    <a:pt x="205" y="42"/>
                  </a:cubicBezTo>
                  <a:cubicBezTo>
                    <a:pt x="204" y="42"/>
                    <a:pt x="204" y="41"/>
                    <a:pt x="203" y="41"/>
                  </a:cubicBezTo>
                  <a:cubicBezTo>
                    <a:pt x="202" y="40"/>
                    <a:pt x="201" y="40"/>
                    <a:pt x="200" y="40"/>
                  </a:cubicBezTo>
                  <a:cubicBezTo>
                    <a:pt x="199" y="40"/>
                    <a:pt x="199" y="40"/>
                    <a:pt x="198" y="39"/>
                  </a:cubicBezTo>
                  <a:cubicBezTo>
                    <a:pt x="198" y="39"/>
                    <a:pt x="197" y="39"/>
                    <a:pt x="196" y="39"/>
                  </a:cubicBezTo>
                  <a:cubicBezTo>
                    <a:pt x="195" y="39"/>
                    <a:pt x="195" y="38"/>
                    <a:pt x="194" y="38"/>
                  </a:cubicBezTo>
                  <a:cubicBezTo>
                    <a:pt x="192" y="36"/>
                    <a:pt x="192" y="34"/>
                    <a:pt x="192" y="32"/>
                  </a:cubicBezTo>
                  <a:cubicBezTo>
                    <a:pt x="192" y="31"/>
                    <a:pt x="192" y="30"/>
                    <a:pt x="191" y="30"/>
                  </a:cubicBezTo>
                  <a:cubicBezTo>
                    <a:pt x="191" y="29"/>
                    <a:pt x="190" y="28"/>
                    <a:pt x="190" y="28"/>
                  </a:cubicBezTo>
                  <a:cubicBezTo>
                    <a:pt x="190" y="27"/>
                    <a:pt x="189" y="27"/>
                    <a:pt x="189" y="26"/>
                  </a:cubicBezTo>
                  <a:cubicBezTo>
                    <a:pt x="189" y="25"/>
                    <a:pt x="189" y="25"/>
                    <a:pt x="189" y="24"/>
                  </a:cubicBezTo>
                  <a:cubicBezTo>
                    <a:pt x="188" y="23"/>
                    <a:pt x="189" y="21"/>
                    <a:pt x="189" y="20"/>
                  </a:cubicBezTo>
                  <a:cubicBezTo>
                    <a:pt x="189" y="19"/>
                    <a:pt x="188" y="18"/>
                    <a:pt x="189" y="17"/>
                  </a:cubicBezTo>
                  <a:cubicBezTo>
                    <a:pt x="189" y="16"/>
                    <a:pt x="190" y="15"/>
                    <a:pt x="190" y="15"/>
                  </a:cubicBezTo>
                  <a:cubicBezTo>
                    <a:pt x="191" y="14"/>
                    <a:pt x="192" y="13"/>
                    <a:pt x="192" y="13"/>
                  </a:cubicBezTo>
                  <a:cubicBezTo>
                    <a:pt x="193" y="10"/>
                    <a:pt x="190" y="9"/>
                    <a:pt x="188" y="8"/>
                  </a:cubicBezTo>
                  <a:cubicBezTo>
                    <a:pt x="188" y="8"/>
                    <a:pt x="187" y="7"/>
                    <a:pt x="187" y="7"/>
                  </a:cubicBezTo>
                  <a:cubicBezTo>
                    <a:pt x="187" y="6"/>
                    <a:pt x="187" y="6"/>
                    <a:pt x="187" y="5"/>
                  </a:cubicBezTo>
                  <a:cubicBezTo>
                    <a:pt x="187" y="4"/>
                    <a:pt x="187" y="4"/>
                    <a:pt x="187" y="3"/>
                  </a:cubicBezTo>
                  <a:cubicBezTo>
                    <a:pt x="187" y="0"/>
                    <a:pt x="187" y="0"/>
                    <a:pt x="187" y="0"/>
                  </a:cubicBezTo>
                  <a:cubicBezTo>
                    <a:pt x="6" y="1"/>
                    <a:pt x="6" y="1"/>
                    <a:pt x="6" y="1"/>
                  </a:cubicBezTo>
                  <a:cubicBezTo>
                    <a:pt x="1" y="1"/>
                    <a:pt x="1" y="1"/>
                    <a:pt x="1" y="1"/>
                  </a:cubicBezTo>
                  <a:cubicBezTo>
                    <a:pt x="1" y="1"/>
                    <a:pt x="1" y="2"/>
                    <a:pt x="1" y="3"/>
                  </a:cubicBezTo>
                  <a:cubicBezTo>
                    <a:pt x="2" y="3"/>
                    <a:pt x="4" y="5"/>
                    <a:pt x="4" y="5"/>
                  </a:cubicBezTo>
                  <a:cubicBezTo>
                    <a:pt x="4" y="6"/>
                    <a:pt x="4" y="9"/>
                    <a:pt x="4" y="9"/>
                  </a:cubicBezTo>
                  <a:cubicBezTo>
                    <a:pt x="2" y="10"/>
                    <a:pt x="2" y="10"/>
                    <a:pt x="2" y="10"/>
                  </a:cubicBezTo>
                  <a:cubicBezTo>
                    <a:pt x="2" y="11"/>
                    <a:pt x="2" y="11"/>
                    <a:pt x="2" y="11"/>
                  </a:cubicBezTo>
                  <a:cubicBezTo>
                    <a:pt x="2" y="13"/>
                    <a:pt x="2" y="13"/>
                    <a:pt x="2" y="13"/>
                  </a:cubicBezTo>
                  <a:cubicBezTo>
                    <a:pt x="2" y="13"/>
                    <a:pt x="6" y="14"/>
                    <a:pt x="6" y="14"/>
                  </a:cubicBezTo>
                  <a:cubicBezTo>
                    <a:pt x="6" y="14"/>
                    <a:pt x="7" y="18"/>
                    <a:pt x="7" y="19"/>
                  </a:cubicBezTo>
                  <a:cubicBezTo>
                    <a:pt x="7" y="19"/>
                    <a:pt x="7" y="20"/>
                    <a:pt x="7" y="21"/>
                  </a:cubicBezTo>
                  <a:cubicBezTo>
                    <a:pt x="7" y="21"/>
                    <a:pt x="6" y="21"/>
                    <a:pt x="5" y="22"/>
                  </a:cubicBezTo>
                  <a:cubicBezTo>
                    <a:pt x="5" y="22"/>
                    <a:pt x="4" y="22"/>
                    <a:pt x="4" y="23"/>
                  </a:cubicBezTo>
                  <a:cubicBezTo>
                    <a:pt x="4" y="23"/>
                    <a:pt x="5" y="26"/>
                    <a:pt x="5" y="27"/>
                  </a:cubicBezTo>
                  <a:cubicBezTo>
                    <a:pt x="5" y="27"/>
                    <a:pt x="3" y="28"/>
                    <a:pt x="3" y="28"/>
                  </a:cubicBezTo>
                  <a:cubicBezTo>
                    <a:pt x="3" y="29"/>
                    <a:pt x="3" y="32"/>
                    <a:pt x="3" y="32"/>
                  </a:cubicBezTo>
                  <a:cubicBezTo>
                    <a:pt x="3" y="32"/>
                    <a:pt x="0" y="35"/>
                    <a:pt x="0" y="35"/>
                  </a:cubicBezTo>
                  <a:cubicBezTo>
                    <a:pt x="0" y="35"/>
                    <a:pt x="0" y="37"/>
                    <a:pt x="0" y="37"/>
                  </a:cubicBezTo>
                  <a:cubicBezTo>
                    <a:pt x="0" y="38"/>
                    <a:pt x="4" y="41"/>
                    <a:pt x="4" y="41"/>
                  </a:cubicBezTo>
                  <a:cubicBezTo>
                    <a:pt x="4" y="42"/>
                    <a:pt x="4" y="42"/>
                    <a:pt x="4" y="43"/>
                  </a:cubicBezTo>
                  <a:cubicBezTo>
                    <a:pt x="4" y="43"/>
                    <a:pt x="6" y="46"/>
                    <a:pt x="6" y="46"/>
                  </a:cubicBezTo>
                  <a:cubicBezTo>
                    <a:pt x="6" y="46"/>
                    <a:pt x="5" y="48"/>
                    <a:pt x="5" y="48"/>
                  </a:cubicBezTo>
                  <a:cubicBezTo>
                    <a:pt x="9" y="49"/>
                    <a:pt x="9" y="49"/>
                    <a:pt x="9" y="49"/>
                  </a:cubicBezTo>
                  <a:cubicBezTo>
                    <a:pt x="9" y="49"/>
                    <a:pt x="8" y="52"/>
                    <a:pt x="8" y="52"/>
                  </a:cubicBezTo>
                  <a:cubicBezTo>
                    <a:pt x="8" y="53"/>
                    <a:pt x="8" y="54"/>
                    <a:pt x="8" y="55"/>
                  </a:cubicBezTo>
                  <a:cubicBezTo>
                    <a:pt x="8" y="55"/>
                    <a:pt x="9" y="57"/>
                    <a:pt x="9" y="57"/>
                  </a:cubicBezTo>
                  <a:cubicBezTo>
                    <a:pt x="10" y="58"/>
                    <a:pt x="11" y="59"/>
                    <a:pt x="11" y="59"/>
                  </a:cubicBezTo>
                  <a:cubicBezTo>
                    <a:pt x="11" y="59"/>
                    <a:pt x="10" y="61"/>
                    <a:pt x="10" y="61"/>
                  </a:cubicBezTo>
                  <a:cubicBezTo>
                    <a:pt x="10" y="62"/>
                    <a:pt x="10" y="63"/>
                    <a:pt x="10" y="63"/>
                  </a:cubicBezTo>
                  <a:cubicBezTo>
                    <a:pt x="10" y="63"/>
                    <a:pt x="12" y="65"/>
                    <a:pt x="12" y="65"/>
                  </a:cubicBezTo>
                  <a:cubicBezTo>
                    <a:pt x="12" y="69"/>
                    <a:pt x="12" y="69"/>
                    <a:pt x="12" y="69"/>
                  </a:cubicBezTo>
                  <a:cubicBezTo>
                    <a:pt x="12" y="69"/>
                    <a:pt x="14" y="69"/>
                    <a:pt x="14" y="69"/>
                  </a:cubicBezTo>
                  <a:cubicBezTo>
                    <a:pt x="14" y="69"/>
                    <a:pt x="14" y="71"/>
                    <a:pt x="14" y="71"/>
                  </a:cubicBezTo>
                  <a:cubicBezTo>
                    <a:pt x="14" y="72"/>
                    <a:pt x="15" y="71"/>
                    <a:pt x="15" y="71"/>
                  </a:cubicBezTo>
                  <a:cubicBezTo>
                    <a:pt x="16" y="71"/>
                    <a:pt x="16" y="72"/>
                    <a:pt x="16" y="72"/>
                  </a:cubicBezTo>
                  <a:cubicBezTo>
                    <a:pt x="16" y="72"/>
                    <a:pt x="17" y="72"/>
                    <a:pt x="17" y="73"/>
                  </a:cubicBezTo>
                  <a:cubicBezTo>
                    <a:pt x="18" y="73"/>
                    <a:pt x="16" y="76"/>
                    <a:pt x="16" y="76"/>
                  </a:cubicBezTo>
                  <a:cubicBezTo>
                    <a:pt x="16" y="76"/>
                    <a:pt x="19" y="79"/>
                    <a:pt x="20" y="80"/>
                  </a:cubicBezTo>
                  <a:cubicBezTo>
                    <a:pt x="20" y="80"/>
                    <a:pt x="19" y="82"/>
                    <a:pt x="19" y="82"/>
                  </a:cubicBezTo>
                  <a:cubicBezTo>
                    <a:pt x="19" y="82"/>
                    <a:pt x="19" y="84"/>
                    <a:pt x="19" y="85"/>
                  </a:cubicBezTo>
                  <a:cubicBezTo>
                    <a:pt x="19" y="85"/>
                    <a:pt x="18" y="85"/>
                    <a:pt x="18" y="85"/>
                  </a:cubicBezTo>
                  <a:cubicBezTo>
                    <a:pt x="18" y="85"/>
                    <a:pt x="18" y="87"/>
                    <a:pt x="18" y="87"/>
                  </a:cubicBezTo>
                  <a:cubicBezTo>
                    <a:pt x="18" y="87"/>
                    <a:pt x="18" y="89"/>
                    <a:pt x="18" y="89"/>
                  </a:cubicBezTo>
                  <a:cubicBezTo>
                    <a:pt x="18" y="89"/>
                    <a:pt x="19" y="91"/>
                    <a:pt x="19" y="92"/>
                  </a:cubicBezTo>
                  <a:cubicBezTo>
                    <a:pt x="19" y="92"/>
                    <a:pt x="20" y="94"/>
                    <a:pt x="20" y="94"/>
                  </a:cubicBezTo>
                  <a:cubicBezTo>
                    <a:pt x="20" y="94"/>
                    <a:pt x="21" y="92"/>
                    <a:pt x="22" y="92"/>
                  </a:cubicBezTo>
                  <a:cubicBezTo>
                    <a:pt x="22" y="92"/>
                    <a:pt x="21" y="95"/>
                    <a:pt x="21" y="95"/>
                  </a:cubicBezTo>
                  <a:cubicBezTo>
                    <a:pt x="21" y="95"/>
                    <a:pt x="24" y="96"/>
                    <a:pt x="24" y="96"/>
                  </a:cubicBezTo>
                  <a:cubicBezTo>
                    <a:pt x="25" y="97"/>
                    <a:pt x="25" y="98"/>
                    <a:pt x="25" y="99"/>
                  </a:cubicBezTo>
                  <a:cubicBezTo>
                    <a:pt x="25" y="99"/>
                    <a:pt x="26" y="102"/>
                    <a:pt x="26" y="103"/>
                  </a:cubicBezTo>
                  <a:cubicBezTo>
                    <a:pt x="26" y="104"/>
                    <a:pt x="25" y="104"/>
                    <a:pt x="25" y="105"/>
                  </a:cubicBezTo>
                  <a:cubicBezTo>
                    <a:pt x="24" y="105"/>
                    <a:pt x="24" y="106"/>
                    <a:pt x="24" y="107"/>
                  </a:cubicBezTo>
                  <a:cubicBezTo>
                    <a:pt x="24" y="108"/>
                    <a:pt x="25" y="109"/>
                    <a:pt x="26" y="109"/>
                  </a:cubicBezTo>
                  <a:cubicBezTo>
                    <a:pt x="26" y="110"/>
                    <a:pt x="26" y="112"/>
                    <a:pt x="26" y="113"/>
                  </a:cubicBezTo>
                  <a:cubicBezTo>
                    <a:pt x="26" y="114"/>
                    <a:pt x="27" y="116"/>
                    <a:pt x="27" y="117"/>
                  </a:cubicBezTo>
                  <a:cubicBezTo>
                    <a:pt x="28" y="118"/>
                    <a:pt x="28" y="121"/>
                    <a:pt x="28" y="122"/>
                  </a:cubicBezTo>
                  <a:cubicBezTo>
                    <a:pt x="28" y="123"/>
                    <a:pt x="28" y="126"/>
                    <a:pt x="28" y="127"/>
                  </a:cubicBezTo>
                  <a:cubicBezTo>
                    <a:pt x="27" y="129"/>
                    <a:pt x="27" y="129"/>
                    <a:pt x="26" y="129"/>
                  </a:cubicBezTo>
                  <a:cubicBezTo>
                    <a:pt x="25" y="130"/>
                    <a:pt x="26" y="131"/>
                    <a:pt x="27" y="131"/>
                  </a:cubicBezTo>
                  <a:cubicBezTo>
                    <a:pt x="27" y="132"/>
                    <a:pt x="29" y="132"/>
                    <a:pt x="29" y="133"/>
                  </a:cubicBezTo>
                  <a:cubicBezTo>
                    <a:pt x="30" y="133"/>
                    <a:pt x="30" y="136"/>
                    <a:pt x="30" y="136"/>
                  </a:cubicBezTo>
                  <a:cubicBezTo>
                    <a:pt x="70" y="136"/>
                    <a:pt x="70" y="136"/>
                    <a:pt x="70" y="136"/>
                  </a:cubicBezTo>
                  <a:lnTo>
                    <a:pt x="169" y="135"/>
                  </a:lnTo>
                  <a:close/>
                </a:path>
              </a:pathLst>
            </a:custGeom>
            <a:solidFill>
              <a:srgbClr val="FF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1" name="Freeform 44">
              <a:extLst>
                <a:ext uri="{FF2B5EF4-FFF2-40B4-BE49-F238E27FC236}">
                  <a16:creationId xmlns:a16="http://schemas.microsoft.com/office/drawing/2014/main" id="{2C262361-AE9B-C5DE-3E96-D56313F62C21}"/>
                </a:ext>
              </a:extLst>
            </p:cNvPr>
            <p:cNvSpPr>
              <a:spLocks/>
            </p:cNvSpPr>
            <p:nvPr/>
          </p:nvSpPr>
          <p:spPr bwMode="auto">
            <a:xfrm>
              <a:off x="7530901" y="2372491"/>
              <a:ext cx="451052" cy="713753"/>
            </a:xfrm>
            <a:custGeom>
              <a:avLst/>
              <a:gdLst>
                <a:gd name="T0" fmla="*/ 5 w 114"/>
                <a:gd name="T1" fmla="*/ 175 h 180"/>
                <a:gd name="T2" fmla="*/ 9 w 114"/>
                <a:gd name="T3" fmla="*/ 175 h 180"/>
                <a:gd name="T4" fmla="*/ 14 w 114"/>
                <a:gd name="T5" fmla="*/ 176 h 180"/>
                <a:gd name="T6" fmla="*/ 16 w 114"/>
                <a:gd name="T7" fmla="*/ 173 h 180"/>
                <a:gd name="T8" fmla="*/ 20 w 114"/>
                <a:gd name="T9" fmla="*/ 173 h 180"/>
                <a:gd name="T10" fmla="*/ 30 w 114"/>
                <a:gd name="T11" fmla="*/ 176 h 180"/>
                <a:gd name="T12" fmla="*/ 33 w 114"/>
                <a:gd name="T13" fmla="*/ 179 h 180"/>
                <a:gd name="T14" fmla="*/ 36 w 114"/>
                <a:gd name="T15" fmla="*/ 174 h 180"/>
                <a:gd name="T16" fmla="*/ 44 w 114"/>
                <a:gd name="T17" fmla="*/ 170 h 180"/>
                <a:gd name="T18" fmla="*/ 49 w 114"/>
                <a:gd name="T19" fmla="*/ 174 h 180"/>
                <a:gd name="T20" fmla="*/ 52 w 114"/>
                <a:gd name="T21" fmla="*/ 176 h 180"/>
                <a:gd name="T22" fmla="*/ 54 w 114"/>
                <a:gd name="T23" fmla="*/ 170 h 180"/>
                <a:gd name="T24" fmla="*/ 56 w 114"/>
                <a:gd name="T25" fmla="*/ 165 h 180"/>
                <a:gd name="T26" fmla="*/ 60 w 114"/>
                <a:gd name="T27" fmla="*/ 162 h 180"/>
                <a:gd name="T28" fmla="*/ 63 w 114"/>
                <a:gd name="T29" fmla="*/ 164 h 180"/>
                <a:gd name="T30" fmla="*/ 69 w 114"/>
                <a:gd name="T31" fmla="*/ 170 h 180"/>
                <a:gd name="T32" fmla="*/ 75 w 114"/>
                <a:gd name="T33" fmla="*/ 168 h 180"/>
                <a:gd name="T34" fmla="*/ 78 w 114"/>
                <a:gd name="T35" fmla="*/ 158 h 180"/>
                <a:gd name="T36" fmla="*/ 85 w 114"/>
                <a:gd name="T37" fmla="*/ 154 h 180"/>
                <a:gd name="T38" fmla="*/ 92 w 114"/>
                <a:gd name="T39" fmla="*/ 145 h 180"/>
                <a:gd name="T40" fmla="*/ 95 w 114"/>
                <a:gd name="T41" fmla="*/ 137 h 180"/>
                <a:gd name="T42" fmla="*/ 103 w 114"/>
                <a:gd name="T43" fmla="*/ 138 h 180"/>
                <a:gd name="T44" fmla="*/ 113 w 114"/>
                <a:gd name="T45" fmla="*/ 135 h 180"/>
                <a:gd name="T46" fmla="*/ 113 w 114"/>
                <a:gd name="T47" fmla="*/ 130 h 180"/>
                <a:gd name="T48" fmla="*/ 112 w 114"/>
                <a:gd name="T49" fmla="*/ 126 h 180"/>
                <a:gd name="T50" fmla="*/ 113 w 114"/>
                <a:gd name="T51" fmla="*/ 120 h 180"/>
                <a:gd name="T52" fmla="*/ 45 w 114"/>
                <a:gd name="T53" fmla="*/ 0 h 180"/>
                <a:gd name="T54" fmla="*/ 41 w 114"/>
                <a:gd name="T55" fmla="*/ 2 h 180"/>
                <a:gd name="T56" fmla="*/ 33 w 114"/>
                <a:gd name="T57" fmla="*/ 6 h 180"/>
                <a:gd name="T58" fmla="*/ 30 w 114"/>
                <a:gd name="T59" fmla="*/ 7 h 180"/>
                <a:gd name="T60" fmla="*/ 27 w 114"/>
                <a:gd name="T61" fmla="*/ 7 h 180"/>
                <a:gd name="T62" fmla="*/ 22 w 114"/>
                <a:gd name="T63" fmla="*/ 4 h 180"/>
                <a:gd name="T64" fmla="*/ 19 w 114"/>
                <a:gd name="T65" fmla="*/ 0 h 180"/>
                <a:gd name="T66" fmla="*/ 17 w 114"/>
                <a:gd name="T67" fmla="*/ 113 h 180"/>
                <a:gd name="T68" fmla="*/ 16 w 114"/>
                <a:gd name="T69" fmla="*/ 119 h 180"/>
                <a:gd name="T70" fmla="*/ 18 w 114"/>
                <a:gd name="T71" fmla="*/ 123 h 180"/>
                <a:gd name="T72" fmla="*/ 20 w 114"/>
                <a:gd name="T73" fmla="*/ 128 h 180"/>
                <a:gd name="T74" fmla="*/ 19 w 114"/>
                <a:gd name="T75" fmla="*/ 133 h 180"/>
                <a:gd name="T76" fmla="*/ 17 w 114"/>
                <a:gd name="T77" fmla="*/ 141 h 180"/>
                <a:gd name="T78" fmla="*/ 15 w 114"/>
                <a:gd name="T79" fmla="*/ 145 h 180"/>
                <a:gd name="T80" fmla="*/ 14 w 114"/>
                <a:gd name="T81" fmla="*/ 148 h 180"/>
                <a:gd name="T82" fmla="*/ 9 w 114"/>
                <a:gd name="T83" fmla="*/ 154 h 180"/>
                <a:gd name="T84" fmla="*/ 6 w 114"/>
                <a:gd name="T85" fmla="*/ 157 h 180"/>
                <a:gd name="T86" fmla="*/ 4 w 114"/>
                <a:gd name="T87" fmla="*/ 158 h 180"/>
                <a:gd name="T88" fmla="*/ 6 w 114"/>
                <a:gd name="T89" fmla="*/ 162 h 180"/>
                <a:gd name="T90" fmla="*/ 5 w 114"/>
                <a:gd name="T91" fmla="*/ 166 h 180"/>
                <a:gd name="T92" fmla="*/ 3 w 114"/>
                <a:gd name="T93" fmla="*/ 168 h 180"/>
                <a:gd name="T94" fmla="*/ 1 w 114"/>
                <a:gd name="T95" fmla="*/ 173 h 180"/>
                <a:gd name="T96" fmla="*/ 2 w 114"/>
                <a:gd name="T97" fmla="*/ 177 h 180"/>
                <a:gd name="T98" fmla="*/ 5 w 114"/>
                <a:gd name="T99" fmla="*/ 17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4" h="180">
                  <a:moveTo>
                    <a:pt x="7" y="178"/>
                  </a:moveTo>
                  <a:cubicBezTo>
                    <a:pt x="7" y="178"/>
                    <a:pt x="6" y="177"/>
                    <a:pt x="6" y="177"/>
                  </a:cubicBezTo>
                  <a:cubicBezTo>
                    <a:pt x="6" y="177"/>
                    <a:pt x="5" y="176"/>
                    <a:pt x="5" y="175"/>
                  </a:cubicBezTo>
                  <a:cubicBezTo>
                    <a:pt x="6" y="175"/>
                    <a:pt x="6" y="173"/>
                    <a:pt x="6" y="173"/>
                  </a:cubicBezTo>
                  <a:cubicBezTo>
                    <a:pt x="6" y="173"/>
                    <a:pt x="7" y="173"/>
                    <a:pt x="8" y="173"/>
                  </a:cubicBezTo>
                  <a:cubicBezTo>
                    <a:pt x="8" y="174"/>
                    <a:pt x="9" y="175"/>
                    <a:pt x="9" y="175"/>
                  </a:cubicBezTo>
                  <a:cubicBezTo>
                    <a:pt x="9" y="175"/>
                    <a:pt x="11" y="175"/>
                    <a:pt x="12" y="175"/>
                  </a:cubicBezTo>
                  <a:cubicBezTo>
                    <a:pt x="12" y="174"/>
                    <a:pt x="13" y="174"/>
                    <a:pt x="13" y="174"/>
                  </a:cubicBezTo>
                  <a:cubicBezTo>
                    <a:pt x="14" y="174"/>
                    <a:pt x="14" y="175"/>
                    <a:pt x="14" y="176"/>
                  </a:cubicBezTo>
                  <a:cubicBezTo>
                    <a:pt x="14" y="176"/>
                    <a:pt x="14" y="177"/>
                    <a:pt x="15" y="177"/>
                  </a:cubicBezTo>
                  <a:cubicBezTo>
                    <a:pt x="17" y="177"/>
                    <a:pt x="17" y="177"/>
                    <a:pt x="17" y="176"/>
                  </a:cubicBezTo>
                  <a:cubicBezTo>
                    <a:pt x="17" y="176"/>
                    <a:pt x="17" y="174"/>
                    <a:pt x="16" y="173"/>
                  </a:cubicBezTo>
                  <a:cubicBezTo>
                    <a:pt x="16" y="173"/>
                    <a:pt x="16" y="172"/>
                    <a:pt x="17" y="171"/>
                  </a:cubicBezTo>
                  <a:cubicBezTo>
                    <a:pt x="18" y="171"/>
                    <a:pt x="18" y="171"/>
                    <a:pt x="18" y="171"/>
                  </a:cubicBezTo>
                  <a:cubicBezTo>
                    <a:pt x="19" y="172"/>
                    <a:pt x="20" y="173"/>
                    <a:pt x="20" y="173"/>
                  </a:cubicBezTo>
                  <a:cubicBezTo>
                    <a:pt x="21" y="173"/>
                    <a:pt x="21" y="173"/>
                    <a:pt x="22" y="172"/>
                  </a:cubicBezTo>
                  <a:cubicBezTo>
                    <a:pt x="23" y="172"/>
                    <a:pt x="24" y="172"/>
                    <a:pt x="24" y="172"/>
                  </a:cubicBezTo>
                  <a:cubicBezTo>
                    <a:pt x="24" y="172"/>
                    <a:pt x="30" y="176"/>
                    <a:pt x="30" y="176"/>
                  </a:cubicBezTo>
                  <a:cubicBezTo>
                    <a:pt x="31" y="176"/>
                    <a:pt x="32" y="176"/>
                    <a:pt x="32" y="176"/>
                  </a:cubicBezTo>
                  <a:cubicBezTo>
                    <a:pt x="32" y="176"/>
                    <a:pt x="32" y="177"/>
                    <a:pt x="33" y="177"/>
                  </a:cubicBezTo>
                  <a:cubicBezTo>
                    <a:pt x="33" y="178"/>
                    <a:pt x="33" y="179"/>
                    <a:pt x="33" y="179"/>
                  </a:cubicBezTo>
                  <a:cubicBezTo>
                    <a:pt x="33" y="179"/>
                    <a:pt x="34" y="179"/>
                    <a:pt x="34" y="179"/>
                  </a:cubicBezTo>
                  <a:cubicBezTo>
                    <a:pt x="35" y="178"/>
                    <a:pt x="35" y="177"/>
                    <a:pt x="35" y="177"/>
                  </a:cubicBezTo>
                  <a:cubicBezTo>
                    <a:pt x="36" y="176"/>
                    <a:pt x="36" y="175"/>
                    <a:pt x="36" y="174"/>
                  </a:cubicBezTo>
                  <a:cubicBezTo>
                    <a:pt x="36" y="174"/>
                    <a:pt x="37" y="174"/>
                    <a:pt x="38" y="173"/>
                  </a:cubicBezTo>
                  <a:cubicBezTo>
                    <a:pt x="39" y="173"/>
                    <a:pt x="41" y="172"/>
                    <a:pt x="42" y="172"/>
                  </a:cubicBezTo>
                  <a:cubicBezTo>
                    <a:pt x="42" y="171"/>
                    <a:pt x="44" y="170"/>
                    <a:pt x="44" y="170"/>
                  </a:cubicBezTo>
                  <a:cubicBezTo>
                    <a:pt x="44" y="170"/>
                    <a:pt x="45" y="171"/>
                    <a:pt x="45" y="171"/>
                  </a:cubicBezTo>
                  <a:cubicBezTo>
                    <a:pt x="45" y="172"/>
                    <a:pt x="46" y="173"/>
                    <a:pt x="47" y="173"/>
                  </a:cubicBezTo>
                  <a:cubicBezTo>
                    <a:pt x="47" y="174"/>
                    <a:pt x="48" y="174"/>
                    <a:pt x="49" y="174"/>
                  </a:cubicBezTo>
                  <a:cubicBezTo>
                    <a:pt x="49" y="174"/>
                    <a:pt x="50" y="173"/>
                    <a:pt x="50" y="174"/>
                  </a:cubicBezTo>
                  <a:cubicBezTo>
                    <a:pt x="50" y="174"/>
                    <a:pt x="50" y="176"/>
                    <a:pt x="50" y="176"/>
                  </a:cubicBezTo>
                  <a:cubicBezTo>
                    <a:pt x="50" y="176"/>
                    <a:pt x="51" y="177"/>
                    <a:pt x="52" y="176"/>
                  </a:cubicBezTo>
                  <a:cubicBezTo>
                    <a:pt x="52" y="175"/>
                    <a:pt x="52" y="173"/>
                    <a:pt x="52" y="173"/>
                  </a:cubicBezTo>
                  <a:cubicBezTo>
                    <a:pt x="53" y="173"/>
                    <a:pt x="54" y="173"/>
                    <a:pt x="55" y="173"/>
                  </a:cubicBezTo>
                  <a:cubicBezTo>
                    <a:pt x="55" y="173"/>
                    <a:pt x="55" y="171"/>
                    <a:pt x="54" y="170"/>
                  </a:cubicBezTo>
                  <a:cubicBezTo>
                    <a:pt x="54" y="169"/>
                    <a:pt x="54" y="168"/>
                    <a:pt x="55" y="168"/>
                  </a:cubicBezTo>
                  <a:cubicBezTo>
                    <a:pt x="55" y="167"/>
                    <a:pt x="57" y="167"/>
                    <a:pt x="57" y="167"/>
                  </a:cubicBezTo>
                  <a:cubicBezTo>
                    <a:pt x="57" y="166"/>
                    <a:pt x="56" y="165"/>
                    <a:pt x="56" y="165"/>
                  </a:cubicBezTo>
                  <a:cubicBezTo>
                    <a:pt x="56" y="164"/>
                    <a:pt x="58" y="165"/>
                    <a:pt x="59" y="165"/>
                  </a:cubicBezTo>
                  <a:cubicBezTo>
                    <a:pt x="59" y="165"/>
                    <a:pt x="61" y="164"/>
                    <a:pt x="61" y="164"/>
                  </a:cubicBezTo>
                  <a:cubicBezTo>
                    <a:pt x="61" y="163"/>
                    <a:pt x="59" y="163"/>
                    <a:pt x="60" y="162"/>
                  </a:cubicBezTo>
                  <a:cubicBezTo>
                    <a:pt x="60" y="161"/>
                    <a:pt x="60" y="161"/>
                    <a:pt x="60" y="161"/>
                  </a:cubicBezTo>
                  <a:cubicBezTo>
                    <a:pt x="60" y="161"/>
                    <a:pt x="62" y="162"/>
                    <a:pt x="62" y="162"/>
                  </a:cubicBezTo>
                  <a:cubicBezTo>
                    <a:pt x="62" y="163"/>
                    <a:pt x="62" y="163"/>
                    <a:pt x="63" y="164"/>
                  </a:cubicBezTo>
                  <a:cubicBezTo>
                    <a:pt x="63" y="165"/>
                    <a:pt x="63" y="167"/>
                    <a:pt x="64" y="167"/>
                  </a:cubicBezTo>
                  <a:cubicBezTo>
                    <a:pt x="65" y="168"/>
                    <a:pt x="66" y="168"/>
                    <a:pt x="67" y="168"/>
                  </a:cubicBezTo>
                  <a:cubicBezTo>
                    <a:pt x="68" y="169"/>
                    <a:pt x="69" y="169"/>
                    <a:pt x="69" y="170"/>
                  </a:cubicBezTo>
                  <a:cubicBezTo>
                    <a:pt x="70" y="170"/>
                    <a:pt x="71" y="171"/>
                    <a:pt x="71" y="171"/>
                  </a:cubicBezTo>
                  <a:cubicBezTo>
                    <a:pt x="71" y="171"/>
                    <a:pt x="72" y="169"/>
                    <a:pt x="73" y="169"/>
                  </a:cubicBezTo>
                  <a:cubicBezTo>
                    <a:pt x="73" y="169"/>
                    <a:pt x="75" y="169"/>
                    <a:pt x="75" y="168"/>
                  </a:cubicBezTo>
                  <a:cubicBezTo>
                    <a:pt x="75" y="168"/>
                    <a:pt x="75" y="167"/>
                    <a:pt x="75" y="166"/>
                  </a:cubicBezTo>
                  <a:cubicBezTo>
                    <a:pt x="75" y="165"/>
                    <a:pt x="76" y="162"/>
                    <a:pt x="76" y="161"/>
                  </a:cubicBezTo>
                  <a:cubicBezTo>
                    <a:pt x="77" y="160"/>
                    <a:pt x="77" y="159"/>
                    <a:pt x="78" y="158"/>
                  </a:cubicBezTo>
                  <a:cubicBezTo>
                    <a:pt x="79" y="158"/>
                    <a:pt x="80" y="157"/>
                    <a:pt x="81" y="157"/>
                  </a:cubicBezTo>
                  <a:cubicBezTo>
                    <a:pt x="82" y="157"/>
                    <a:pt x="82" y="157"/>
                    <a:pt x="83" y="156"/>
                  </a:cubicBezTo>
                  <a:cubicBezTo>
                    <a:pt x="84" y="155"/>
                    <a:pt x="85" y="155"/>
                    <a:pt x="85" y="154"/>
                  </a:cubicBezTo>
                  <a:cubicBezTo>
                    <a:pt x="85" y="153"/>
                    <a:pt x="85" y="152"/>
                    <a:pt x="86" y="151"/>
                  </a:cubicBezTo>
                  <a:cubicBezTo>
                    <a:pt x="86" y="150"/>
                    <a:pt x="91" y="148"/>
                    <a:pt x="91" y="148"/>
                  </a:cubicBezTo>
                  <a:cubicBezTo>
                    <a:pt x="91" y="148"/>
                    <a:pt x="92" y="146"/>
                    <a:pt x="92" y="145"/>
                  </a:cubicBezTo>
                  <a:cubicBezTo>
                    <a:pt x="92" y="144"/>
                    <a:pt x="91" y="143"/>
                    <a:pt x="91" y="142"/>
                  </a:cubicBezTo>
                  <a:cubicBezTo>
                    <a:pt x="91" y="141"/>
                    <a:pt x="91" y="138"/>
                    <a:pt x="92" y="138"/>
                  </a:cubicBezTo>
                  <a:cubicBezTo>
                    <a:pt x="93" y="137"/>
                    <a:pt x="94" y="137"/>
                    <a:pt x="95" y="137"/>
                  </a:cubicBezTo>
                  <a:cubicBezTo>
                    <a:pt x="96" y="137"/>
                    <a:pt x="97" y="137"/>
                    <a:pt x="97" y="137"/>
                  </a:cubicBezTo>
                  <a:cubicBezTo>
                    <a:pt x="98" y="137"/>
                    <a:pt x="99" y="139"/>
                    <a:pt x="100" y="139"/>
                  </a:cubicBezTo>
                  <a:cubicBezTo>
                    <a:pt x="101" y="139"/>
                    <a:pt x="101" y="139"/>
                    <a:pt x="103" y="138"/>
                  </a:cubicBezTo>
                  <a:cubicBezTo>
                    <a:pt x="104" y="138"/>
                    <a:pt x="105" y="136"/>
                    <a:pt x="106" y="136"/>
                  </a:cubicBezTo>
                  <a:cubicBezTo>
                    <a:pt x="107" y="135"/>
                    <a:pt x="107" y="135"/>
                    <a:pt x="109" y="135"/>
                  </a:cubicBezTo>
                  <a:cubicBezTo>
                    <a:pt x="111" y="135"/>
                    <a:pt x="112" y="136"/>
                    <a:pt x="113" y="135"/>
                  </a:cubicBezTo>
                  <a:cubicBezTo>
                    <a:pt x="114" y="135"/>
                    <a:pt x="113" y="133"/>
                    <a:pt x="113" y="133"/>
                  </a:cubicBezTo>
                  <a:cubicBezTo>
                    <a:pt x="113" y="133"/>
                    <a:pt x="114" y="132"/>
                    <a:pt x="114" y="132"/>
                  </a:cubicBezTo>
                  <a:cubicBezTo>
                    <a:pt x="114" y="131"/>
                    <a:pt x="114" y="130"/>
                    <a:pt x="113" y="130"/>
                  </a:cubicBezTo>
                  <a:cubicBezTo>
                    <a:pt x="112" y="130"/>
                    <a:pt x="112" y="130"/>
                    <a:pt x="112" y="130"/>
                  </a:cubicBezTo>
                  <a:cubicBezTo>
                    <a:pt x="112" y="129"/>
                    <a:pt x="112" y="129"/>
                    <a:pt x="112" y="128"/>
                  </a:cubicBezTo>
                  <a:cubicBezTo>
                    <a:pt x="113" y="127"/>
                    <a:pt x="112" y="126"/>
                    <a:pt x="112" y="126"/>
                  </a:cubicBezTo>
                  <a:cubicBezTo>
                    <a:pt x="112" y="125"/>
                    <a:pt x="111" y="125"/>
                    <a:pt x="111" y="124"/>
                  </a:cubicBezTo>
                  <a:cubicBezTo>
                    <a:pt x="111" y="123"/>
                    <a:pt x="112" y="122"/>
                    <a:pt x="112" y="122"/>
                  </a:cubicBezTo>
                  <a:cubicBezTo>
                    <a:pt x="113" y="120"/>
                    <a:pt x="113" y="120"/>
                    <a:pt x="113" y="120"/>
                  </a:cubicBezTo>
                  <a:cubicBezTo>
                    <a:pt x="114" y="0"/>
                    <a:pt x="114" y="0"/>
                    <a:pt x="114" y="0"/>
                  </a:cubicBezTo>
                  <a:cubicBezTo>
                    <a:pt x="45" y="0"/>
                    <a:pt x="45" y="0"/>
                    <a:pt x="45" y="0"/>
                  </a:cubicBezTo>
                  <a:cubicBezTo>
                    <a:pt x="45" y="0"/>
                    <a:pt x="45" y="0"/>
                    <a:pt x="45" y="0"/>
                  </a:cubicBezTo>
                  <a:cubicBezTo>
                    <a:pt x="44" y="1"/>
                    <a:pt x="44" y="1"/>
                    <a:pt x="44" y="1"/>
                  </a:cubicBezTo>
                  <a:cubicBezTo>
                    <a:pt x="43" y="1"/>
                    <a:pt x="43" y="1"/>
                    <a:pt x="42" y="1"/>
                  </a:cubicBezTo>
                  <a:cubicBezTo>
                    <a:pt x="42" y="1"/>
                    <a:pt x="41" y="2"/>
                    <a:pt x="41" y="2"/>
                  </a:cubicBezTo>
                  <a:cubicBezTo>
                    <a:pt x="41" y="2"/>
                    <a:pt x="41" y="2"/>
                    <a:pt x="40" y="2"/>
                  </a:cubicBezTo>
                  <a:cubicBezTo>
                    <a:pt x="39" y="3"/>
                    <a:pt x="38" y="3"/>
                    <a:pt x="37" y="4"/>
                  </a:cubicBezTo>
                  <a:cubicBezTo>
                    <a:pt x="36" y="5"/>
                    <a:pt x="35" y="5"/>
                    <a:pt x="33" y="6"/>
                  </a:cubicBezTo>
                  <a:cubicBezTo>
                    <a:pt x="33" y="6"/>
                    <a:pt x="33" y="6"/>
                    <a:pt x="32" y="6"/>
                  </a:cubicBezTo>
                  <a:cubicBezTo>
                    <a:pt x="32" y="6"/>
                    <a:pt x="32" y="6"/>
                    <a:pt x="31" y="6"/>
                  </a:cubicBezTo>
                  <a:cubicBezTo>
                    <a:pt x="31" y="7"/>
                    <a:pt x="30" y="7"/>
                    <a:pt x="30" y="7"/>
                  </a:cubicBezTo>
                  <a:cubicBezTo>
                    <a:pt x="29" y="7"/>
                    <a:pt x="29" y="7"/>
                    <a:pt x="29" y="7"/>
                  </a:cubicBezTo>
                  <a:cubicBezTo>
                    <a:pt x="28" y="7"/>
                    <a:pt x="28" y="7"/>
                    <a:pt x="28" y="7"/>
                  </a:cubicBezTo>
                  <a:cubicBezTo>
                    <a:pt x="28" y="7"/>
                    <a:pt x="28" y="7"/>
                    <a:pt x="27" y="7"/>
                  </a:cubicBezTo>
                  <a:cubicBezTo>
                    <a:pt x="27" y="6"/>
                    <a:pt x="26" y="6"/>
                    <a:pt x="25" y="6"/>
                  </a:cubicBezTo>
                  <a:cubicBezTo>
                    <a:pt x="24" y="6"/>
                    <a:pt x="24" y="6"/>
                    <a:pt x="23" y="5"/>
                  </a:cubicBezTo>
                  <a:cubicBezTo>
                    <a:pt x="23" y="5"/>
                    <a:pt x="22" y="4"/>
                    <a:pt x="22" y="4"/>
                  </a:cubicBezTo>
                  <a:cubicBezTo>
                    <a:pt x="21" y="3"/>
                    <a:pt x="21" y="3"/>
                    <a:pt x="21" y="2"/>
                  </a:cubicBezTo>
                  <a:cubicBezTo>
                    <a:pt x="20" y="2"/>
                    <a:pt x="20" y="1"/>
                    <a:pt x="20" y="1"/>
                  </a:cubicBezTo>
                  <a:cubicBezTo>
                    <a:pt x="20" y="1"/>
                    <a:pt x="19" y="1"/>
                    <a:pt x="19" y="0"/>
                  </a:cubicBezTo>
                  <a:cubicBezTo>
                    <a:pt x="20" y="110"/>
                    <a:pt x="20" y="110"/>
                    <a:pt x="20" y="110"/>
                  </a:cubicBezTo>
                  <a:cubicBezTo>
                    <a:pt x="16" y="111"/>
                    <a:pt x="16" y="111"/>
                    <a:pt x="16" y="111"/>
                  </a:cubicBezTo>
                  <a:cubicBezTo>
                    <a:pt x="16" y="111"/>
                    <a:pt x="17" y="113"/>
                    <a:pt x="17" y="113"/>
                  </a:cubicBezTo>
                  <a:cubicBezTo>
                    <a:pt x="17" y="114"/>
                    <a:pt x="18" y="114"/>
                    <a:pt x="18" y="114"/>
                  </a:cubicBezTo>
                  <a:cubicBezTo>
                    <a:pt x="17" y="117"/>
                    <a:pt x="17" y="117"/>
                    <a:pt x="17" y="117"/>
                  </a:cubicBezTo>
                  <a:cubicBezTo>
                    <a:pt x="17" y="117"/>
                    <a:pt x="16" y="118"/>
                    <a:pt x="16" y="119"/>
                  </a:cubicBezTo>
                  <a:cubicBezTo>
                    <a:pt x="16" y="119"/>
                    <a:pt x="16" y="120"/>
                    <a:pt x="16" y="120"/>
                  </a:cubicBezTo>
                  <a:cubicBezTo>
                    <a:pt x="16" y="120"/>
                    <a:pt x="16" y="121"/>
                    <a:pt x="16" y="121"/>
                  </a:cubicBezTo>
                  <a:cubicBezTo>
                    <a:pt x="18" y="123"/>
                    <a:pt x="18" y="123"/>
                    <a:pt x="18" y="123"/>
                  </a:cubicBezTo>
                  <a:cubicBezTo>
                    <a:pt x="18" y="126"/>
                    <a:pt x="18" y="126"/>
                    <a:pt x="18" y="126"/>
                  </a:cubicBezTo>
                  <a:cubicBezTo>
                    <a:pt x="20" y="127"/>
                    <a:pt x="20" y="127"/>
                    <a:pt x="20" y="127"/>
                  </a:cubicBezTo>
                  <a:cubicBezTo>
                    <a:pt x="20" y="128"/>
                    <a:pt x="20" y="128"/>
                    <a:pt x="20" y="128"/>
                  </a:cubicBezTo>
                  <a:cubicBezTo>
                    <a:pt x="20" y="128"/>
                    <a:pt x="19" y="130"/>
                    <a:pt x="19" y="130"/>
                  </a:cubicBezTo>
                  <a:cubicBezTo>
                    <a:pt x="19" y="130"/>
                    <a:pt x="18" y="132"/>
                    <a:pt x="18" y="132"/>
                  </a:cubicBezTo>
                  <a:cubicBezTo>
                    <a:pt x="18" y="132"/>
                    <a:pt x="19" y="133"/>
                    <a:pt x="19" y="133"/>
                  </a:cubicBezTo>
                  <a:cubicBezTo>
                    <a:pt x="21" y="137"/>
                    <a:pt x="21" y="137"/>
                    <a:pt x="21" y="137"/>
                  </a:cubicBezTo>
                  <a:cubicBezTo>
                    <a:pt x="19" y="140"/>
                    <a:pt x="19" y="140"/>
                    <a:pt x="19" y="140"/>
                  </a:cubicBezTo>
                  <a:cubicBezTo>
                    <a:pt x="17" y="141"/>
                    <a:pt x="17" y="141"/>
                    <a:pt x="17" y="141"/>
                  </a:cubicBezTo>
                  <a:cubicBezTo>
                    <a:pt x="17" y="142"/>
                    <a:pt x="17" y="142"/>
                    <a:pt x="17" y="142"/>
                  </a:cubicBezTo>
                  <a:cubicBezTo>
                    <a:pt x="17" y="144"/>
                    <a:pt x="17" y="144"/>
                    <a:pt x="17" y="144"/>
                  </a:cubicBezTo>
                  <a:cubicBezTo>
                    <a:pt x="15" y="145"/>
                    <a:pt x="15" y="145"/>
                    <a:pt x="15" y="145"/>
                  </a:cubicBezTo>
                  <a:cubicBezTo>
                    <a:pt x="15" y="145"/>
                    <a:pt x="15" y="146"/>
                    <a:pt x="15" y="146"/>
                  </a:cubicBezTo>
                  <a:cubicBezTo>
                    <a:pt x="15" y="146"/>
                    <a:pt x="15" y="147"/>
                    <a:pt x="15" y="147"/>
                  </a:cubicBezTo>
                  <a:cubicBezTo>
                    <a:pt x="14" y="148"/>
                    <a:pt x="14" y="148"/>
                    <a:pt x="14" y="148"/>
                  </a:cubicBezTo>
                  <a:cubicBezTo>
                    <a:pt x="12" y="149"/>
                    <a:pt x="12" y="149"/>
                    <a:pt x="12" y="149"/>
                  </a:cubicBezTo>
                  <a:cubicBezTo>
                    <a:pt x="12" y="151"/>
                    <a:pt x="12" y="151"/>
                    <a:pt x="12" y="151"/>
                  </a:cubicBezTo>
                  <a:cubicBezTo>
                    <a:pt x="9" y="154"/>
                    <a:pt x="9" y="154"/>
                    <a:pt x="9" y="154"/>
                  </a:cubicBezTo>
                  <a:cubicBezTo>
                    <a:pt x="9" y="157"/>
                    <a:pt x="9" y="157"/>
                    <a:pt x="9" y="157"/>
                  </a:cubicBezTo>
                  <a:cubicBezTo>
                    <a:pt x="8" y="156"/>
                    <a:pt x="8" y="156"/>
                    <a:pt x="8" y="156"/>
                  </a:cubicBezTo>
                  <a:cubicBezTo>
                    <a:pt x="6" y="157"/>
                    <a:pt x="6" y="157"/>
                    <a:pt x="6" y="157"/>
                  </a:cubicBezTo>
                  <a:cubicBezTo>
                    <a:pt x="5" y="156"/>
                    <a:pt x="5" y="156"/>
                    <a:pt x="5" y="156"/>
                  </a:cubicBezTo>
                  <a:cubicBezTo>
                    <a:pt x="5" y="159"/>
                    <a:pt x="5" y="159"/>
                    <a:pt x="5" y="159"/>
                  </a:cubicBezTo>
                  <a:cubicBezTo>
                    <a:pt x="4" y="158"/>
                    <a:pt x="4" y="158"/>
                    <a:pt x="4" y="158"/>
                  </a:cubicBezTo>
                  <a:cubicBezTo>
                    <a:pt x="4" y="158"/>
                    <a:pt x="4" y="159"/>
                    <a:pt x="4" y="159"/>
                  </a:cubicBezTo>
                  <a:cubicBezTo>
                    <a:pt x="4" y="160"/>
                    <a:pt x="4" y="161"/>
                    <a:pt x="4" y="161"/>
                  </a:cubicBezTo>
                  <a:cubicBezTo>
                    <a:pt x="6" y="162"/>
                    <a:pt x="6" y="162"/>
                    <a:pt x="6" y="162"/>
                  </a:cubicBezTo>
                  <a:cubicBezTo>
                    <a:pt x="6" y="162"/>
                    <a:pt x="5" y="164"/>
                    <a:pt x="5" y="164"/>
                  </a:cubicBezTo>
                  <a:cubicBezTo>
                    <a:pt x="5" y="164"/>
                    <a:pt x="3" y="165"/>
                    <a:pt x="3" y="165"/>
                  </a:cubicBezTo>
                  <a:cubicBezTo>
                    <a:pt x="3" y="165"/>
                    <a:pt x="5" y="166"/>
                    <a:pt x="5" y="166"/>
                  </a:cubicBezTo>
                  <a:cubicBezTo>
                    <a:pt x="5" y="166"/>
                    <a:pt x="4" y="167"/>
                    <a:pt x="4" y="167"/>
                  </a:cubicBezTo>
                  <a:cubicBezTo>
                    <a:pt x="2" y="167"/>
                    <a:pt x="2" y="167"/>
                    <a:pt x="2" y="167"/>
                  </a:cubicBezTo>
                  <a:cubicBezTo>
                    <a:pt x="3" y="168"/>
                    <a:pt x="3" y="168"/>
                    <a:pt x="3" y="168"/>
                  </a:cubicBezTo>
                  <a:cubicBezTo>
                    <a:pt x="3" y="171"/>
                    <a:pt x="3" y="171"/>
                    <a:pt x="3" y="171"/>
                  </a:cubicBezTo>
                  <a:cubicBezTo>
                    <a:pt x="2" y="174"/>
                    <a:pt x="2" y="174"/>
                    <a:pt x="2" y="174"/>
                  </a:cubicBezTo>
                  <a:cubicBezTo>
                    <a:pt x="2" y="174"/>
                    <a:pt x="1" y="173"/>
                    <a:pt x="1" y="173"/>
                  </a:cubicBezTo>
                  <a:cubicBezTo>
                    <a:pt x="1" y="172"/>
                    <a:pt x="0" y="174"/>
                    <a:pt x="0" y="174"/>
                  </a:cubicBezTo>
                  <a:cubicBezTo>
                    <a:pt x="0" y="174"/>
                    <a:pt x="1" y="175"/>
                    <a:pt x="2" y="176"/>
                  </a:cubicBezTo>
                  <a:cubicBezTo>
                    <a:pt x="2" y="176"/>
                    <a:pt x="2" y="177"/>
                    <a:pt x="2" y="177"/>
                  </a:cubicBezTo>
                  <a:cubicBezTo>
                    <a:pt x="0" y="178"/>
                    <a:pt x="0" y="178"/>
                    <a:pt x="0" y="178"/>
                  </a:cubicBezTo>
                  <a:cubicBezTo>
                    <a:pt x="3" y="179"/>
                    <a:pt x="3" y="179"/>
                    <a:pt x="3" y="179"/>
                  </a:cubicBezTo>
                  <a:cubicBezTo>
                    <a:pt x="3" y="179"/>
                    <a:pt x="4" y="179"/>
                    <a:pt x="5" y="179"/>
                  </a:cubicBezTo>
                  <a:cubicBezTo>
                    <a:pt x="5" y="180"/>
                    <a:pt x="7" y="178"/>
                    <a:pt x="7" y="178"/>
                  </a:cubicBez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42" name="Freeform 45">
              <a:extLst>
                <a:ext uri="{FF2B5EF4-FFF2-40B4-BE49-F238E27FC236}">
                  <a16:creationId xmlns:a16="http://schemas.microsoft.com/office/drawing/2014/main" id="{2D7A9B39-7ACF-3B87-1DD7-57F2C327B0C1}"/>
                </a:ext>
              </a:extLst>
            </p:cNvPr>
            <p:cNvSpPr>
              <a:spLocks/>
            </p:cNvSpPr>
            <p:nvPr/>
          </p:nvSpPr>
          <p:spPr bwMode="auto">
            <a:xfrm>
              <a:off x="7063327" y="2233706"/>
              <a:ext cx="550184" cy="988019"/>
            </a:xfrm>
            <a:custGeom>
              <a:avLst/>
              <a:gdLst>
                <a:gd name="T0" fmla="*/ 138 w 139"/>
                <a:gd name="T1" fmla="*/ 163 h 249"/>
                <a:gd name="T2" fmla="*/ 134 w 139"/>
                <a:gd name="T3" fmla="*/ 156 h 249"/>
                <a:gd name="T4" fmla="*/ 136 w 139"/>
                <a:gd name="T5" fmla="*/ 149 h 249"/>
                <a:gd name="T6" fmla="*/ 137 w 139"/>
                <a:gd name="T7" fmla="*/ 35 h 249"/>
                <a:gd name="T8" fmla="*/ 134 w 139"/>
                <a:gd name="T9" fmla="*/ 27 h 249"/>
                <a:gd name="T10" fmla="*/ 133 w 139"/>
                <a:gd name="T11" fmla="*/ 22 h 249"/>
                <a:gd name="T12" fmla="*/ 129 w 139"/>
                <a:gd name="T13" fmla="*/ 16 h 249"/>
                <a:gd name="T14" fmla="*/ 128 w 139"/>
                <a:gd name="T15" fmla="*/ 5 h 249"/>
                <a:gd name="T16" fmla="*/ 30 w 139"/>
                <a:gd name="T17" fmla="*/ 0 h 249"/>
                <a:gd name="T18" fmla="*/ 37 w 139"/>
                <a:gd name="T19" fmla="*/ 10 h 249"/>
                <a:gd name="T20" fmla="*/ 46 w 139"/>
                <a:gd name="T21" fmla="*/ 31 h 249"/>
                <a:gd name="T22" fmla="*/ 38 w 139"/>
                <a:gd name="T23" fmla="*/ 44 h 249"/>
                <a:gd name="T24" fmla="*/ 24 w 139"/>
                <a:gd name="T25" fmla="*/ 49 h 249"/>
                <a:gd name="T26" fmla="*/ 16 w 139"/>
                <a:gd name="T27" fmla="*/ 51 h 249"/>
                <a:gd name="T28" fmla="*/ 18 w 139"/>
                <a:gd name="T29" fmla="*/ 64 h 249"/>
                <a:gd name="T30" fmla="*/ 14 w 139"/>
                <a:gd name="T31" fmla="*/ 81 h 249"/>
                <a:gd name="T32" fmla="*/ 7 w 139"/>
                <a:gd name="T33" fmla="*/ 87 h 249"/>
                <a:gd name="T34" fmla="*/ 5 w 139"/>
                <a:gd name="T35" fmla="*/ 95 h 249"/>
                <a:gd name="T36" fmla="*/ 0 w 139"/>
                <a:gd name="T37" fmla="*/ 104 h 249"/>
                <a:gd name="T38" fmla="*/ 2 w 139"/>
                <a:gd name="T39" fmla="*/ 116 h 249"/>
                <a:gd name="T40" fmla="*/ 5 w 139"/>
                <a:gd name="T41" fmla="*/ 125 h 249"/>
                <a:gd name="T42" fmla="*/ 12 w 139"/>
                <a:gd name="T43" fmla="*/ 136 h 249"/>
                <a:gd name="T44" fmla="*/ 27 w 139"/>
                <a:gd name="T45" fmla="*/ 149 h 249"/>
                <a:gd name="T46" fmla="*/ 29 w 139"/>
                <a:gd name="T47" fmla="*/ 161 h 249"/>
                <a:gd name="T48" fmla="*/ 37 w 139"/>
                <a:gd name="T49" fmla="*/ 162 h 249"/>
                <a:gd name="T50" fmla="*/ 45 w 139"/>
                <a:gd name="T51" fmla="*/ 173 h 249"/>
                <a:gd name="T52" fmla="*/ 42 w 139"/>
                <a:gd name="T53" fmla="*/ 185 h 249"/>
                <a:gd name="T54" fmla="*/ 51 w 139"/>
                <a:gd name="T55" fmla="*/ 205 h 249"/>
                <a:gd name="T56" fmla="*/ 55 w 139"/>
                <a:gd name="T57" fmla="*/ 210 h 249"/>
                <a:gd name="T58" fmla="*/ 63 w 139"/>
                <a:gd name="T59" fmla="*/ 216 h 249"/>
                <a:gd name="T60" fmla="*/ 70 w 139"/>
                <a:gd name="T61" fmla="*/ 223 h 249"/>
                <a:gd name="T62" fmla="*/ 71 w 139"/>
                <a:gd name="T63" fmla="*/ 229 h 249"/>
                <a:gd name="T64" fmla="*/ 69 w 139"/>
                <a:gd name="T65" fmla="*/ 235 h 249"/>
                <a:gd name="T66" fmla="*/ 73 w 139"/>
                <a:gd name="T67" fmla="*/ 243 h 249"/>
                <a:gd name="T68" fmla="*/ 77 w 139"/>
                <a:gd name="T69" fmla="*/ 248 h 249"/>
                <a:gd name="T70" fmla="*/ 78 w 139"/>
                <a:gd name="T71" fmla="*/ 245 h 249"/>
                <a:gd name="T72" fmla="*/ 82 w 139"/>
                <a:gd name="T73" fmla="*/ 249 h 249"/>
                <a:gd name="T74" fmla="*/ 87 w 139"/>
                <a:gd name="T75" fmla="*/ 238 h 249"/>
                <a:gd name="T76" fmla="*/ 106 w 139"/>
                <a:gd name="T77" fmla="*/ 245 h 249"/>
                <a:gd name="T78" fmla="*/ 106 w 139"/>
                <a:gd name="T79" fmla="*/ 230 h 249"/>
                <a:gd name="T80" fmla="*/ 118 w 139"/>
                <a:gd name="T81" fmla="*/ 228 h 249"/>
                <a:gd name="T82" fmla="*/ 116 w 139"/>
                <a:gd name="T83" fmla="*/ 220 h 249"/>
                <a:gd name="T84" fmla="*/ 120 w 139"/>
                <a:gd name="T85" fmla="*/ 212 h 249"/>
                <a:gd name="T86" fmla="*/ 120 w 139"/>
                <a:gd name="T87" fmla="*/ 209 h 249"/>
                <a:gd name="T88" fmla="*/ 122 w 139"/>
                <a:gd name="T89" fmla="*/ 202 h 249"/>
                <a:gd name="T90" fmla="*/ 124 w 139"/>
                <a:gd name="T91" fmla="*/ 197 h 249"/>
                <a:gd name="T92" fmla="*/ 123 w 139"/>
                <a:gd name="T93" fmla="*/ 194 h 249"/>
                <a:gd name="T94" fmla="*/ 127 w 139"/>
                <a:gd name="T95" fmla="*/ 192 h 249"/>
                <a:gd name="T96" fmla="*/ 132 w 139"/>
                <a:gd name="T97" fmla="*/ 183 h 249"/>
                <a:gd name="T98" fmla="*/ 135 w 139"/>
                <a:gd name="T99" fmla="*/ 179 h 249"/>
                <a:gd name="T100" fmla="*/ 139 w 139"/>
                <a:gd name="T101" fmla="*/ 172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9" h="249">
                  <a:moveTo>
                    <a:pt x="137" y="168"/>
                  </a:moveTo>
                  <a:cubicBezTo>
                    <a:pt x="137" y="168"/>
                    <a:pt x="136" y="167"/>
                    <a:pt x="136" y="167"/>
                  </a:cubicBezTo>
                  <a:cubicBezTo>
                    <a:pt x="136" y="167"/>
                    <a:pt x="137" y="165"/>
                    <a:pt x="137" y="165"/>
                  </a:cubicBezTo>
                  <a:cubicBezTo>
                    <a:pt x="137" y="165"/>
                    <a:pt x="138" y="163"/>
                    <a:pt x="138" y="163"/>
                  </a:cubicBezTo>
                  <a:cubicBezTo>
                    <a:pt x="138" y="162"/>
                    <a:pt x="138" y="162"/>
                    <a:pt x="138" y="162"/>
                  </a:cubicBezTo>
                  <a:cubicBezTo>
                    <a:pt x="136" y="161"/>
                    <a:pt x="136" y="161"/>
                    <a:pt x="136" y="161"/>
                  </a:cubicBezTo>
                  <a:cubicBezTo>
                    <a:pt x="136" y="158"/>
                    <a:pt x="136" y="158"/>
                    <a:pt x="136" y="158"/>
                  </a:cubicBezTo>
                  <a:cubicBezTo>
                    <a:pt x="134" y="156"/>
                    <a:pt x="134" y="156"/>
                    <a:pt x="134" y="156"/>
                  </a:cubicBezTo>
                  <a:cubicBezTo>
                    <a:pt x="134" y="156"/>
                    <a:pt x="134" y="155"/>
                    <a:pt x="134" y="155"/>
                  </a:cubicBezTo>
                  <a:cubicBezTo>
                    <a:pt x="134" y="155"/>
                    <a:pt x="134" y="154"/>
                    <a:pt x="134" y="154"/>
                  </a:cubicBezTo>
                  <a:cubicBezTo>
                    <a:pt x="134" y="153"/>
                    <a:pt x="135" y="152"/>
                    <a:pt x="135" y="152"/>
                  </a:cubicBezTo>
                  <a:cubicBezTo>
                    <a:pt x="136" y="149"/>
                    <a:pt x="136" y="149"/>
                    <a:pt x="136" y="149"/>
                  </a:cubicBezTo>
                  <a:cubicBezTo>
                    <a:pt x="136" y="149"/>
                    <a:pt x="135" y="149"/>
                    <a:pt x="135" y="148"/>
                  </a:cubicBezTo>
                  <a:cubicBezTo>
                    <a:pt x="135" y="148"/>
                    <a:pt x="134" y="146"/>
                    <a:pt x="134" y="146"/>
                  </a:cubicBezTo>
                  <a:cubicBezTo>
                    <a:pt x="138" y="145"/>
                    <a:pt x="138" y="145"/>
                    <a:pt x="138" y="145"/>
                  </a:cubicBezTo>
                  <a:cubicBezTo>
                    <a:pt x="137" y="35"/>
                    <a:pt x="137" y="35"/>
                    <a:pt x="137" y="35"/>
                  </a:cubicBezTo>
                  <a:cubicBezTo>
                    <a:pt x="137" y="35"/>
                    <a:pt x="137" y="35"/>
                    <a:pt x="137" y="34"/>
                  </a:cubicBezTo>
                  <a:cubicBezTo>
                    <a:pt x="136" y="33"/>
                    <a:pt x="136" y="32"/>
                    <a:pt x="135" y="31"/>
                  </a:cubicBezTo>
                  <a:cubicBezTo>
                    <a:pt x="135" y="30"/>
                    <a:pt x="135" y="29"/>
                    <a:pt x="134" y="28"/>
                  </a:cubicBezTo>
                  <a:cubicBezTo>
                    <a:pt x="134" y="28"/>
                    <a:pt x="134" y="27"/>
                    <a:pt x="134" y="27"/>
                  </a:cubicBezTo>
                  <a:cubicBezTo>
                    <a:pt x="134" y="26"/>
                    <a:pt x="134" y="26"/>
                    <a:pt x="134" y="25"/>
                  </a:cubicBezTo>
                  <a:cubicBezTo>
                    <a:pt x="134" y="25"/>
                    <a:pt x="134" y="25"/>
                    <a:pt x="134" y="24"/>
                  </a:cubicBezTo>
                  <a:cubicBezTo>
                    <a:pt x="133" y="24"/>
                    <a:pt x="134" y="23"/>
                    <a:pt x="133" y="23"/>
                  </a:cubicBezTo>
                  <a:cubicBezTo>
                    <a:pt x="133" y="23"/>
                    <a:pt x="133" y="22"/>
                    <a:pt x="133" y="22"/>
                  </a:cubicBezTo>
                  <a:cubicBezTo>
                    <a:pt x="133" y="21"/>
                    <a:pt x="133" y="21"/>
                    <a:pt x="132" y="21"/>
                  </a:cubicBezTo>
                  <a:cubicBezTo>
                    <a:pt x="132" y="21"/>
                    <a:pt x="132" y="20"/>
                    <a:pt x="132" y="20"/>
                  </a:cubicBezTo>
                  <a:cubicBezTo>
                    <a:pt x="131" y="20"/>
                    <a:pt x="131" y="19"/>
                    <a:pt x="131" y="19"/>
                  </a:cubicBezTo>
                  <a:cubicBezTo>
                    <a:pt x="130" y="18"/>
                    <a:pt x="130" y="17"/>
                    <a:pt x="129" y="16"/>
                  </a:cubicBezTo>
                  <a:cubicBezTo>
                    <a:pt x="129" y="16"/>
                    <a:pt x="128" y="15"/>
                    <a:pt x="128" y="14"/>
                  </a:cubicBezTo>
                  <a:cubicBezTo>
                    <a:pt x="128" y="13"/>
                    <a:pt x="127" y="12"/>
                    <a:pt x="128" y="10"/>
                  </a:cubicBezTo>
                  <a:cubicBezTo>
                    <a:pt x="128" y="9"/>
                    <a:pt x="128" y="8"/>
                    <a:pt x="128" y="7"/>
                  </a:cubicBezTo>
                  <a:cubicBezTo>
                    <a:pt x="128" y="6"/>
                    <a:pt x="128" y="6"/>
                    <a:pt x="128" y="5"/>
                  </a:cubicBezTo>
                  <a:cubicBezTo>
                    <a:pt x="128" y="5"/>
                    <a:pt x="128" y="4"/>
                    <a:pt x="128" y="4"/>
                  </a:cubicBezTo>
                  <a:cubicBezTo>
                    <a:pt x="128" y="3"/>
                    <a:pt x="129" y="2"/>
                    <a:pt x="128" y="1"/>
                  </a:cubicBezTo>
                  <a:cubicBezTo>
                    <a:pt x="128" y="1"/>
                    <a:pt x="128" y="1"/>
                    <a:pt x="128" y="0"/>
                  </a:cubicBezTo>
                  <a:cubicBezTo>
                    <a:pt x="30" y="0"/>
                    <a:pt x="30" y="0"/>
                    <a:pt x="30" y="0"/>
                  </a:cubicBezTo>
                  <a:cubicBezTo>
                    <a:pt x="30" y="0"/>
                    <a:pt x="30" y="2"/>
                    <a:pt x="30" y="2"/>
                  </a:cubicBezTo>
                  <a:cubicBezTo>
                    <a:pt x="30" y="3"/>
                    <a:pt x="31" y="3"/>
                    <a:pt x="33" y="4"/>
                  </a:cubicBezTo>
                  <a:cubicBezTo>
                    <a:pt x="34" y="5"/>
                    <a:pt x="35" y="6"/>
                    <a:pt x="36" y="7"/>
                  </a:cubicBezTo>
                  <a:cubicBezTo>
                    <a:pt x="37" y="8"/>
                    <a:pt x="37" y="9"/>
                    <a:pt x="37" y="10"/>
                  </a:cubicBezTo>
                  <a:cubicBezTo>
                    <a:pt x="37" y="12"/>
                    <a:pt x="38" y="13"/>
                    <a:pt x="39" y="14"/>
                  </a:cubicBezTo>
                  <a:cubicBezTo>
                    <a:pt x="41" y="15"/>
                    <a:pt x="45" y="18"/>
                    <a:pt x="46" y="19"/>
                  </a:cubicBezTo>
                  <a:cubicBezTo>
                    <a:pt x="47" y="20"/>
                    <a:pt x="47" y="23"/>
                    <a:pt x="47" y="24"/>
                  </a:cubicBezTo>
                  <a:cubicBezTo>
                    <a:pt x="47" y="26"/>
                    <a:pt x="47" y="29"/>
                    <a:pt x="46" y="31"/>
                  </a:cubicBezTo>
                  <a:cubicBezTo>
                    <a:pt x="46" y="32"/>
                    <a:pt x="45" y="33"/>
                    <a:pt x="44" y="34"/>
                  </a:cubicBezTo>
                  <a:cubicBezTo>
                    <a:pt x="42" y="35"/>
                    <a:pt x="41" y="36"/>
                    <a:pt x="41" y="38"/>
                  </a:cubicBezTo>
                  <a:cubicBezTo>
                    <a:pt x="41" y="39"/>
                    <a:pt x="41" y="41"/>
                    <a:pt x="40" y="42"/>
                  </a:cubicBezTo>
                  <a:cubicBezTo>
                    <a:pt x="39" y="44"/>
                    <a:pt x="39" y="44"/>
                    <a:pt x="38" y="44"/>
                  </a:cubicBezTo>
                  <a:cubicBezTo>
                    <a:pt x="37" y="45"/>
                    <a:pt x="36" y="46"/>
                    <a:pt x="35" y="46"/>
                  </a:cubicBezTo>
                  <a:cubicBezTo>
                    <a:pt x="34" y="47"/>
                    <a:pt x="33" y="46"/>
                    <a:pt x="31" y="46"/>
                  </a:cubicBezTo>
                  <a:cubicBezTo>
                    <a:pt x="30" y="47"/>
                    <a:pt x="30" y="47"/>
                    <a:pt x="29" y="48"/>
                  </a:cubicBezTo>
                  <a:cubicBezTo>
                    <a:pt x="29" y="49"/>
                    <a:pt x="25" y="49"/>
                    <a:pt x="24" y="49"/>
                  </a:cubicBezTo>
                  <a:cubicBezTo>
                    <a:pt x="24" y="49"/>
                    <a:pt x="23" y="49"/>
                    <a:pt x="22" y="49"/>
                  </a:cubicBezTo>
                  <a:cubicBezTo>
                    <a:pt x="21" y="50"/>
                    <a:pt x="21" y="50"/>
                    <a:pt x="20" y="51"/>
                  </a:cubicBezTo>
                  <a:cubicBezTo>
                    <a:pt x="19" y="51"/>
                    <a:pt x="19" y="50"/>
                    <a:pt x="18" y="50"/>
                  </a:cubicBezTo>
                  <a:cubicBezTo>
                    <a:pt x="17" y="50"/>
                    <a:pt x="17" y="51"/>
                    <a:pt x="16" y="51"/>
                  </a:cubicBezTo>
                  <a:cubicBezTo>
                    <a:pt x="16" y="51"/>
                    <a:pt x="15" y="53"/>
                    <a:pt x="15" y="53"/>
                  </a:cubicBezTo>
                  <a:cubicBezTo>
                    <a:pt x="15" y="54"/>
                    <a:pt x="14" y="56"/>
                    <a:pt x="14" y="57"/>
                  </a:cubicBezTo>
                  <a:cubicBezTo>
                    <a:pt x="14" y="58"/>
                    <a:pt x="14" y="59"/>
                    <a:pt x="14" y="60"/>
                  </a:cubicBezTo>
                  <a:cubicBezTo>
                    <a:pt x="15" y="60"/>
                    <a:pt x="17" y="62"/>
                    <a:pt x="18" y="64"/>
                  </a:cubicBezTo>
                  <a:cubicBezTo>
                    <a:pt x="19" y="65"/>
                    <a:pt x="19" y="69"/>
                    <a:pt x="19" y="70"/>
                  </a:cubicBezTo>
                  <a:cubicBezTo>
                    <a:pt x="19" y="71"/>
                    <a:pt x="19" y="74"/>
                    <a:pt x="18" y="75"/>
                  </a:cubicBezTo>
                  <a:cubicBezTo>
                    <a:pt x="17" y="76"/>
                    <a:pt x="15" y="77"/>
                    <a:pt x="15" y="78"/>
                  </a:cubicBezTo>
                  <a:cubicBezTo>
                    <a:pt x="14" y="79"/>
                    <a:pt x="14" y="80"/>
                    <a:pt x="14" y="81"/>
                  </a:cubicBezTo>
                  <a:cubicBezTo>
                    <a:pt x="14" y="81"/>
                    <a:pt x="14" y="83"/>
                    <a:pt x="14" y="84"/>
                  </a:cubicBezTo>
                  <a:cubicBezTo>
                    <a:pt x="13" y="85"/>
                    <a:pt x="13" y="85"/>
                    <a:pt x="12" y="86"/>
                  </a:cubicBezTo>
                  <a:cubicBezTo>
                    <a:pt x="12" y="87"/>
                    <a:pt x="11" y="87"/>
                    <a:pt x="10" y="87"/>
                  </a:cubicBezTo>
                  <a:cubicBezTo>
                    <a:pt x="9" y="87"/>
                    <a:pt x="8" y="87"/>
                    <a:pt x="7" y="87"/>
                  </a:cubicBezTo>
                  <a:cubicBezTo>
                    <a:pt x="6" y="87"/>
                    <a:pt x="6" y="88"/>
                    <a:pt x="5" y="88"/>
                  </a:cubicBezTo>
                  <a:cubicBezTo>
                    <a:pt x="5" y="89"/>
                    <a:pt x="4" y="89"/>
                    <a:pt x="4" y="90"/>
                  </a:cubicBezTo>
                  <a:cubicBezTo>
                    <a:pt x="4" y="91"/>
                    <a:pt x="4" y="92"/>
                    <a:pt x="4" y="92"/>
                  </a:cubicBezTo>
                  <a:cubicBezTo>
                    <a:pt x="4" y="93"/>
                    <a:pt x="5" y="94"/>
                    <a:pt x="5" y="95"/>
                  </a:cubicBezTo>
                  <a:cubicBezTo>
                    <a:pt x="5" y="95"/>
                    <a:pt x="5" y="97"/>
                    <a:pt x="4" y="98"/>
                  </a:cubicBezTo>
                  <a:cubicBezTo>
                    <a:pt x="4" y="98"/>
                    <a:pt x="3" y="99"/>
                    <a:pt x="3" y="99"/>
                  </a:cubicBezTo>
                  <a:cubicBezTo>
                    <a:pt x="3" y="99"/>
                    <a:pt x="1" y="102"/>
                    <a:pt x="1" y="102"/>
                  </a:cubicBezTo>
                  <a:cubicBezTo>
                    <a:pt x="1" y="102"/>
                    <a:pt x="0" y="104"/>
                    <a:pt x="0" y="104"/>
                  </a:cubicBezTo>
                  <a:cubicBezTo>
                    <a:pt x="0" y="104"/>
                    <a:pt x="0" y="108"/>
                    <a:pt x="0" y="108"/>
                  </a:cubicBezTo>
                  <a:cubicBezTo>
                    <a:pt x="0" y="108"/>
                    <a:pt x="1" y="113"/>
                    <a:pt x="1" y="113"/>
                  </a:cubicBezTo>
                  <a:cubicBezTo>
                    <a:pt x="1" y="113"/>
                    <a:pt x="1" y="114"/>
                    <a:pt x="1" y="114"/>
                  </a:cubicBezTo>
                  <a:cubicBezTo>
                    <a:pt x="1" y="114"/>
                    <a:pt x="2" y="116"/>
                    <a:pt x="2" y="116"/>
                  </a:cubicBezTo>
                  <a:cubicBezTo>
                    <a:pt x="3" y="119"/>
                    <a:pt x="3" y="119"/>
                    <a:pt x="3" y="119"/>
                  </a:cubicBezTo>
                  <a:cubicBezTo>
                    <a:pt x="3" y="119"/>
                    <a:pt x="3" y="121"/>
                    <a:pt x="3" y="121"/>
                  </a:cubicBezTo>
                  <a:cubicBezTo>
                    <a:pt x="3" y="121"/>
                    <a:pt x="3" y="123"/>
                    <a:pt x="3" y="123"/>
                  </a:cubicBezTo>
                  <a:cubicBezTo>
                    <a:pt x="5" y="125"/>
                    <a:pt x="5" y="125"/>
                    <a:pt x="5" y="125"/>
                  </a:cubicBezTo>
                  <a:cubicBezTo>
                    <a:pt x="5" y="127"/>
                    <a:pt x="5" y="127"/>
                    <a:pt x="5" y="127"/>
                  </a:cubicBezTo>
                  <a:cubicBezTo>
                    <a:pt x="7" y="130"/>
                    <a:pt x="7" y="130"/>
                    <a:pt x="7" y="130"/>
                  </a:cubicBezTo>
                  <a:cubicBezTo>
                    <a:pt x="12" y="134"/>
                    <a:pt x="12" y="134"/>
                    <a:pt x="12" y="134"/>
                  </a:cubicBezTo>
                  <a:cubicBezTo>
                    <a:pt x="12" y="134"/>
                    <a:pt x="12" y="136"/>
                    <a:pt x="12" y="136"/>
                  </a:cubicBezTo>
                  <a:cubicBezTo>
                    <a:pt x="12" y="136"/>
                    <a:pt x="14" y="136"/>
                    <a:pt x="14" y="136"/>
                  </a:cubicBezTo>
                  <a:cubicBezTo>
                    <a:pt x="14" y="136"/>
                    <a:pt x="17" y="141"/>
                    <a:pt x="17" y="141"/>
                  </a:cubicBezTo>
                  <a:cubicBezTo>
                    <a:pt x="19" y="142"/>
                    <a:pt x="19" y="142"/>
                    <a:pt x="19" y="142"/>
                  </a:cubicBezTo>
                  <a:cubicBezTo>
                    <a:pt x="27" y="149"/>
                    <a:pt x="27" y="149"/>
                    <a:pt x="27" y="149"/>
                  </a:cubicBezTo>
                  <a:cubicBezTo>
                    <a:pt x="29" y="156"/>
                    <a:pt x="29" y="156"/>
                    <a:pt x="29" y="156"/>
                  </a:cubicBezTo>
                  <a:cubicBezTo>
                    <a:pt x="28" y="158"/>
                    <a:pt x="28" y="158"/>
                    <a:pt x="28" y="158"/>
                  </a:cubicBezTo>
                  <a:cubicBezTo>
                    <a:pt x="28" y="158"/>
                    <a:pt x="28" y="159"/>
                    <a:pt x="28" y="159"/>
                  </a:cubicBezTo>
                  <a:cubicBezTo>
                    <a:pt x="28" y="160"/>
                    <a:pt x="29" y="161"/>
                    <a:pt x="29" y="161"/>
                  </a:cubicBezTo>
                  <a:cubicBezTo>
                    <a:pt x="29" y="161"/>
                    <a:pt x="30" y="166"/>
                    <a:pt x="30" y="166"/>
                  </a:cubicBezTo>
                  <a:cubicBezTo>
                    <a:pt x="30" y="166"/>
                    <a:pt x="32" y="166"/>
                    <a:pt x="32" y="166"/>
                  </a:cubicBezTo>
                  <a:cubicBezTo>
                    <a:pt x="32" y="166"/>
                    <a:pt x="34" y="166"/>
                    <a:pt x="34" y="166"/>
                  </a:cubicBezTo>
                  <a:cubicBezTo>
                    <a:pt x="34" y="165"/>
                    <a:pt x="37" y="162"/>
                    <a:pt x="37" y="162"/>
                  </a:cubicBezTo>
                  <a:cubicBezTo>
                    <a:pt x="43" y="163"/>
                    <a:pt x="43" y="163"/>
                    <a:pt x="43" y="163"/>
                  </a:cubicBezTo>
                  <a:cubicBezTo>
                    <a:pt x="48" y="167"/>
                    <a:pt x="48" y="167"/>
                    <a:pt x="48" y="167"/>
                  </a:cubicBezTo>
                  <a:cubicBezTo>
                    <a:pt x="48" y="167"/>
                    <a:pt x="47" y="170"/>
                    <a:pt x="47" y="171"/>
                  </a:cubicBezTo>
                  <a:cubicBezTo>
                    <a:pt x="47" y="171"/>
                    <a:pt x="45" y="173"/>
                    <a:pt x="45" y="173"/>
                  </a:cubicBezTo>
                  <a:cubicBezTo>
                    <a:pt x="45" y="174"/>
                    <a:pt x="45" y="177"/>
                    <a:pt x="45" y="177"/>
                  </a:cubicBezTo>
                  <a:cubicBezTo>
                    <a:pt x="45" y="177"/>
                    <a:pt x="44" y="181"/>
                    <a:pt x="44" y="181"/>
                  </a:cubicBezTo>
                  <a:cubicBezTo>
                    <a:pt x="44" y="181"/>
                    <a:pt x="43" y="183"/>
                    <a:pt x="43" y="183"/>
                  </a:cubicBezTo>
                  <a:cubicBezTo>
                    <a:pt x="43" y="183"/>
                    <a:pt x="42" y="185"/>
                    <a:pt x="42" y="185"/>
                  </a:cubicBezTo>
                  <a:cubicBezTo>
                    <a:pt x="42" y="185"/>
                    <a:pt x="40" y="188"/>
                    <a:pt x="40" y="189"/>
                  </a:cubicBezTo>
                  <a:cubicBezTo>
                    <a:pt x="40" y="189"/>
                    <a:pt x="40" y="191"/>
                    <a:pt x="40" y="191"/>
                  </a:cubicBezTo>
                  <a:cubicBezTo>
                    <a:pt x="40" y="191"/>
                    <a:pt x="40" y="196"/>
                    <a:pt x="40" y="196"/>
                  </a:cubicBezTo>
                  <a:cubicBezTo>
                    <a:pt x="51" y="205"/>
                    <a:pt x="51" y="205"/>
                    <a:pt x="51" y="205"/>
                  </a:cubicBezTo>
                  <a:cubicBezTo>
                    <a:pt x="55" y="207"/>
                    <a:pt x="55" y="207"/>
                    <a:pt x="55" y="207"/>
                  </a:cubicBezTo>
                  <a:cubicBezTo>
                    <a:pt x="53" y="207"/>
                    <a:pt x="53" y="207"/>
                    <a:pt x="53" y="207"/>
                  </a:cubicBezTo>
                  <a:cubicBezTo>
                    <a:pt x="53" y="207"/>
                    <a:pt x="53" y="209"/>
                    <a:pt x="53" y="209"/>
                  </a:cubicBezTo>
                  <a:cubicBezTo>
                    <a:pt x="53" y="210"/>
                    <a:pt x="55" y="210"/>
                    <a:pt x="55" y="210"/>
                  </a:cubicBezTo>
                  <a:cubicBezTo>
                    <a:pt x="55" y="210"/>
                    <a:pt x="57" y="210"/>
                    <a:pt x="57" y="209"/>
                  </a:cubicBezTo>
                  <a:cubicBezTo>
                    <a:pt x="57" y="209"/>
                    <a:pt x="58" y="209"/>
                    <a:pt x="58" y="209"/>
                  </a:cubicBezTo>
                  <a:cubicBezTo>
                    <a:pt x="64" y="213"/>
                    <a:pt x="64" y="213"/>
                    <a:pt x="64" y="213"/>
                  </a:cubicBezTo>
                  <a:cubicBezTo>
                    <a:pt x="64" y="213"/>
                    <a:pt x="63" y="215"/>
                    <a:pt x="63" y="216"/>
                  </a:cubicBezTo>
                  <a:cubicBezTo>
                    <a:pt x="63" y="216"/>
                    <a:pt x="65" y="216"/>
                    <a:pt x="66" y="216"/>
                  </a:cubicBezTo>
                  <a:cubicBezTo>
                    <a:pt x="66" y="216"/>
                    <a:pt x="69" y="218"/>
                    <a:pt x="69" y="219"/>
                  </a:cubicBezTo>
                  <a:cubicBezTo>
                    <a:pt x="69" y="219"/>
                    <a:pt x="70" y="220"/>
                    <a:pt x="70" y="221"/>
                  </a:cubicBezTo>
                  <a:cubicBezTo>
                    <a:pt x="70" y="221"/>
                    <a:pt x="70" y="223"/>
                    <a:pt x="70" y="223"/>
                  </a:cubicBezTo>
                  <a:cubicBezTo>
                    <a:pt x="69" y="223"/>
                    <a:pt x="69" y="223"/>
                    <a:pt x="69" y="223"/>
                  </a:cubicBezTo>
                  <a:cubicBezTo>
                    <a:pt x="69" y="223"/>
                    <a:pt x="69" y="224"/>
                    <a:pt x="69" y="224"/>
                  </a:cubicBezTo>
                  <a:cubicBezTo>
                    <a:pt x="69" y="224"/>
                    <a:pt x="69" y="226"/>
                    <a:pt x="69" y="226"/>
                  </a:cubicBezTo>
                  <a:cubicBezTo>
                    <a:pt x="70" y="226"/>
                    <a:pt x="71" y="229"/>
                    <a:pt x="71" y="229"/>
                  </a:cubicBezTo>
                  <a:cubicBezTo>
                    <a:pt x="71" y="229"/>
                    <a:pt x="72" y="231"/>
                    <a:pt x="72" y="231"/>
                  </a:cubicBezTo>
                  <a:cubicBezTo>
                    <a:pt x="72" y="232"/>
                    <a:pt x="71" y="233"/>
                    <a:pt x="71" y="233"/>
                  </a:cubicBezTo>
                  <a:cubicBezTo>
                    <a:pt x="71" y="233"/>
                    <a:pt x="70" y="234"/>
                    <a:pt x="70" y="234"/>
                  </a:cubicBezTo>
                  <a:cubicBezTo>
                    <a:pt x="69" y="235"/>
                    <a:pt x="69" y="235"/>
                    <a:pt x="69" y="235"/>
                  </a:cubicBezTo>
                  <a:cubicBezTo>
                    <a:pt x="69" y="235"/>
                    <a:pt x="69" y="236"/>
                    <a:pt x="69" y="236"/>
                  </a:cubicBezTo>
                  <a:cubicBezTo>
                    <a:pt x="69" y="237"/>
                    <a:pt x="71" y="237"/>
                    <a:pt x="71" y="237"/>
                  </a:cubicBezTo>
                  <a:cubicBezTo>
                    <a:pt x="71" y="237"/>
                    <a:pt x="71" y="239"/>
                    <a:pt x="71" y="239"/>
                  </a:cubicBezTo>
                  <a:cubicBezTo>
                    <a:pt x="73" y="243"/>
                    <a:pt x="73" y="243"/>
                    <a:pt x="73" y="243"/>
                  </a:cubicBezTo>
                  <a:cubicBezTo>
                    <a:pt x="73" y="243"/>
                    <a:pt x="73" y="244"/>
                    <a:pt x="73" y="245"/>
                  </a:cubicBezTo>
                  <a:cubicBezTo>
                    <a:pt x="73" y="245"/>
                    <a:pt x="74" y="247"/>
                    <a:pt x="74" y="247"/>
                  </a:cubicBezTo>
                  <a:cubicBezTo>
                    <a:pt x="74" y="247"/>
                    <a:pt x="76" y="248"/>
                    <a:pt x="76" y="248"/>
                  </a:cubicBezTo>
                  <a:cubicBezTo>
                    <a:pt x="76" y="248"/>
                    <a:pt x="77" y="248"/>
                    <a:pt x="77" y="248"/>
                  </a:cubicBezTo>
                  <a:cubicBezTo>
                    <a:pt x="77" y="248"/>
                    <a:pt x="78" y="247"/>
                    <a:pt x="78" y="247"/>
                  </a:cubicBezTo>
                  <a:cubicBezTo>
                    <a:pt x="78" y="247"/>
                    <a:pt x="77" y="246"/>
                    <a:pt x="77" y="246"/>
                  </a:cubicBezTo>
                  <a:cubicBezTo>
                    <a:pt x="77" y="246"/>
                    <a:pt x="76" y="245"/>
                    <a:pt x="76" y="245"/>
                  </a:cubicBezTo>
                  <a:cubicBezTo>
                    <a:pt x="78" y="245"/>
                    <a:pt x="78" y="245"/>
                    <a:pt x="78" y="245"/>
                  </a:cubicBezTo>
                  <a:cubicBezTo>
                    <a:pt x="78" y="245"/>
                    <a:pt x="79" y="247"/>
                    <a:pt x="79" y="248"/>
                  </a:cubicBezTo>
                  <a:cubicBezTo>
                    <a:pt x="79" y="248"/>
                    <a:pt x="80" y="249"/>
                    <a:pt x="80" y="249"/>
                  </a:cubicBezTo>
                  <a:cubicBezTo>
                    <a:pt x="82" y="249"/>
                    <a:pt x="82" y="249"/>
                    <a:pt x="82" y="249"/>
                  </a:cubicBezTo>
                  <a:cubicBezTo>
                    <a:pt x="82" y="249"/>
                    <a:pt x="82" y="249"/>
                    <a:pt x="82" y="249"/>
                  </a:cubicBezTo>
                  <a:cubicBezTo>
                    <a:pt x="82" y="249"/>
                    <a:pt x="81" y="247"/>
                    <a:pt x="81" y="247"/>
                  </a:cubicBezTo>
                  <a:cubicBezTo>
                    <a:pt x="81" y="247"/>
                    <a:pt x="82" y="244"/>
                    <a:pt x="82" y="244"/>
                  </a:cubicBezTo>
                  <a:cubicBezTo>
                    <a:pt x="82" y="244"/>
                    <a:pt x="85" y="240"/>
                    <a:pt x="85" y="240"/>
                  </a:cubicBezTo>
                  <a:cubicBezTo>
                    <a:pt x="87" y="238"/>
                    <a:pt x="87" y="238"/>
                    <a:pt x="87" y="238"/>
                  </a:cubicBezTo>
                  <a:cubicBezTo>
                    <a:pt x="87" y="238"/>
                    <a:pt x="92" y="239"/>
                    <a:pt x="92" y="239"/>
                  </a:cubicBezTo>
                  <a:cubicBezTo>
                    <a:pt x="92" y="239"/>
                    <a:pt x="99" y="243"/>
                    <a:pt x="99" y="243"/>
                  </a:cubicBezTo>
                  <a:cubicBezTo>
                    <a:pt x="99" y="243"/>
                    <a:pt x="103" y="246"/>
                    <a:pt x="103" y="246"/>
                  </a:cubicBezTo>
                  <a:cubicBezTo>
                    <a:pt x="106" y="245"/>
                    <a:pt x="106" y="245"/>
                    <a:pt x="106" y="245"/>
                  </a:cubicBezTo>
                  <a:cubicBezTo>
                    <a:pt x="106" y="241"/>
                    <a:pt x="106" y="241"/>
                    <a:pt x="106" y="241"/>
                  </a:cubicBezTo>
                  <a:cubicBezTo>
                    <a:pt x="106" y="241"/>
                    <a:pt x="104" y="236"/>
                    <a:pt x="104" y="236"/>
                  </a:cubicBezTo>
                  <a:cubicBezTo>
                    <a:pt x="104" y="236"/>
                    <a:pt x="104" y="232"/>
                    <a:pt x="105" y="231"/>
                  </a:cubicBezTo>
                  <a:cubicBezTo>
                    <a:pt x="105" y="231"/>
                    <a:pt x="106" y="230"/>
                    <a:pt x="106" y="230"/>
                  </a:cubicBezTo>
                  <a:cubicBezTo>
                    <a:pt x="106" y="230"/>
                    <a:pt x="109" y="231"/>
                    <a:pt x="109" y="230"/>
                  </a:cubicBezTo>
                  <a:cubicBezTo>
                    <a:pt x="109" y="230"/>
                    <a:pt x="110" y="230"/>
                    <a:pt x="111" y="229"/>
                  </a:cubicBezTo>
                  <a:cubicBezTo>
                    <a:pt x="111" y="229"/>
                    <a:pt x="113" y="228"/>
                    <a:pt x="113" y="228"/>
                  </a:cubicBezTo>
                  <a:cubicBezTo>
                    <a:pt x="114" y="228"/>
                    <a:pt x="117" y="228"/>
                    <a:pt x="118" y="228"/>
                  </a:cubicBezTo>
                  <a:cubicBezTo>
                    <a:pt x="118" y="228"/>
                    <a:pt x="119" y="227"/>
                    <a:pt x="119" y="227"/>
                  </a:cubicBezTo>
                  <a:cubicBezTo>
                    <a:pt x="119" y="225"/>
                    <a:pt x="119" y="225"/>
                    <a:pt x="119" y="225"/>
                  </a:cubicBezTo>
                  <a:cubicBezTo>
                    <a:pt x="119" y="225"/>
                    <a:pt x="117" y="223"/>
                    <a:pt x="117" y="223"/>
                  </a:cubicBezTo>
                  <a:cubicBezTo>
                    <a:pt x="117" y="223"/>
                    <a:pt x="116" y="220"/>
                    <a:pt x="116" y="220"/>
                  </a:cubicBezTo>
                  <a:cubicBezTo>
                    <a:pt x="116" y="220"/>
                    <a:pt x="117" y="219"/>
                    <a:pt x="117" y="218"/>
                  </a:cubicBezTo>
                  <a:cubicBezTo>
                    <a:pt x="117" y="218"/>
                    <a:pt x="121" y="214"/>
                    <a:pt x="121" y="214"/>
                  </a:cubicBezTo>
                  <a:cubicBezTo>
                    <a:pt x="118" y="213"/>
                    <a:pt x="118" y="213"/>
                    <a:pt x="118" y="213"/>
                  </a:cubicBezTo>
                  <a:cubicBezTo>
                    <a:pt x="120" y="212"/>
                    <a:pt x="120" y="212"/>
                    <a:pt x="120" y="212"/>
                  </a:cubicBezTo>
                  <a:cubicBezTo>
                    <a:pt x="120" y="212"/>
                    <a:pt x="120" y="211"/>
                    <a:pt x="120" y="211"/>
                  </a:cubicBezTo>
                  <a:cubicBezTo>
                    <a:pt x="119" y="210"/>
                    <a:pt x="118" y="209"/>
                    <a:pt x="118" y="209"/>
                  </a:cubicBezTo>
                  <a:cubicBezTo>
                    <a:pt x="118" y="209"/>
                    <a:pt x="119" y="207"/>
                    <a:pt x="119" y="208"/>
                  </a:cubicBezTo>
                  <a:cubicBezTo>
                    <a:pt x="119" y="208"/>
                    <a:pt x="120" y="209"/>
                    <a:pt x="120" y="209"/>
                  </a:cubicBezTo>
                  <a:cubicBezTo>
                    <a:pt x="121" y="206"/>
                    <a:pt x="121" y="206"/>
                    <a:pt x="121" y="206"/>
                  </a:cubicBezTo>
                  <a:cubicBezTo>
                    <a:pt x="121" y="203"/>
                    <a:pt x="121" y="203"/>
                    <a:pt x="121" y="203"/>
                  </a:cubicBezTo>
                  <a:cubicBezTo>
                    <a:pt x="120" y="202"/>
                    <a:pt x="120" y="202"/>
                    <a:pt x="120" y="202"/>
                  </a:cubicBezTo>
                  <a:cubicBezTo>
                    <a:pt x="122" y="202"/>
                    <a:pt x="122" y="202"/>
                    <a:pt x="122" y="202"/>
                  </a:cubicBezTo>
                  <a:cubicBezTo>
                    <a:pt x="122" y="202"/>
                    <a:pt x="123" y="201"/>
                    <a:pt x="123" y="201"/>
                  </a:cubicBezTo>
                  <a:cubicBezTo>
                    <a:pt x="123" y="201"/>
                    <a:pt x="121" y="200"/>
                    <a:pt x="121" y="200"/>
                  </a:cubicBezTo>
                  <a:cubicBezTo>
                    <a:pt x="121" y="200"/>
                    <a:pt x="123" y="199"/>
                    <a:pt x="123" y="199"/>
                  </a:cubicBezTo>
                  <a:cubicBezTo>
                    <a:pt x="123" y="199"/>
                    <a:pt x="124" y="197"/>
                    <a:pt x="124" y="197"/>
                  </a:cubicBezTo>
                  <a:cubicBezTo>
                    <a:pt x="122" y="196"/>
                    <a:pt x="122" y="196"/>
                    <a:pt x="122" y="196"/>
                  </a:cubicBezTo>
                  <a:cubicBezTo>
                    <a:pt x="122" y="196"/>
                    <a:pt x="122" y="195"/>
                    <a:pt x="122" y="194"/>
                  </a:cubicBezTo>
                  <a:cubicBezTo>
                    <a:pt x="122" y="194"/>
                    <a:pt x="122" y="193"/>
                    <a:pt x="122" y="193"/>
                  </a:cubicBezTo>
                  <a:cubicBezTo>
                    <a:pt x="123" y="194"/>
                    <a:pt x="123" y="194"/>
                    <a:pt x="123" y="194"/>
                  </a:cubicBezTo>
                  <a:cubicBezTo>
                    <a:pt x="123" y="191"/>
                    <a:pt x="123" y="191"/>
                    <a:pt x="123" y="191"/>
                  </a:cubicBezTo>
                  <a:cubicBezTo>
                    <a:pt x="124" y="192"/>
                    <a:pt x="124" y="192"/>
                    <a:pt x="124" y="192"/>
                  </a:cubicBezTo>
                  <a:cubicBezTo>
                    <a:pt x="126" y="191"/>
                    <a:pt x="126" y="191"/>
                    <a:pt x="126" y="191"/>
                  </a:cubicBezTo>
                  <a:cubicBezTo>
                    <a:pt x="127" y="192"/>
                    <a:pt x="127" y="192"/>
                    <a:pt x="127" y="192"/>
                  </a:cubicBezTo>
                  <a:cubicBezTo>
                    <a:pt x="127" y="189"/>
                    <a:pt x="127" y="189"/>
                    <a:pt x="127" y="189"/>
                  </a:cubicBezTo>
                  <a:cubicBezTo>
                    <a:pt x="130" y="186"/>
                    <a:pt x="130" y="186"/>
                    <a:pt x="130" y="186"/>
                  </a:cubicBezTo>
                  <a:cubicBezTo>
                    <a:pt x="130" y="184"/>
                    <a:pt x="130" y="184"/>
                    <a:pt x="130" y="184"/>
                  </a:cubicBezTo>
                  <a:cubicBezTo>
                    <a:pt x="132" y="183"/>
                    <a:pt x="132" y="183"/>
                    <a:pt x="132" y="183"/>
                  </a:cubicBezTo>
                  <a:cubicBezTo>
                    <a:pt x="133" y="182"/>
                    <a:pt x="133" y="182"/>
                    <a:pt x="133" y="182"/>
                  </a:cubicBezTo>
                  <a:cubicBezTo>
                    <a:pt x="133" y="182"/>
                    <a:pt x="133" y="181"/>
                    <a:pt x="133" y="181"/>
                  </a:cubicBezTo>
                  <a:cubicBezTo>
                    <a:pt x="133" y="181"/>
                    <a:pt x="133" y="180"/>
                    <a:pt x="133" y="180"/>
                  </a:cubicBezTo>
                  <a:cubicBezTo>
                    <a:pt x="135" y="179"/>
                    <a:pt x="135" y="179"/>
                    <a:pt x="135" y="179"/>
                  </a:cubicBezTo>
                  <a:cubicBezTo>
                    <a:pt x="135" y="177"/>
                    <a:pt x="135" y="177"/>
                    <a:pt x="135" y="177"/>
                  </a:cubicBezTo>
                  <a:cubicBezTo>
                    <a:pt x="135" y="176"/>
                    <a:pt x="135" y="176"/>
                    <a:pt x="135" y="176"/>
                  </a:cubicBezTo>
                  <a:cubicBezTo>
                    <a:pt x="137" y="175"/>
                    <a:pt x="137" y="175"/>
                    <a:pt x="137" y="175"/>
                  </a:cubicBezTo>
                  <a:cubicBezTo>
                    <a:pt x="139" y="172"/>
                    <a:pt x="139" y="172"/>
                    <a:pt x="139" y="172"/>
                  </a:cubicBezTo>
                  <a:lnTo>
                    <a:pt x="137" y="168"/>
                  </a:lnTo>
                  <a:close/>
                </a:path>
              </a:pathLst>
            </a:custGeom>
            <a:solidFill>
              <a:srgbClr val="C0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3" name="Freeform 46">
              <a:extLst>
                <a:ext uri="{FF2B5EF4-FFF2-40B4-BE49-F238E27FC236}">
                  <a16:creationId xmlns:a16="http://schemas.microsoft.com/office/drawing/2014/main" id="{9FD78C09-93F1-1F93-8222-308A78BE5158}"/>
                </a:ext>
              </a:extLst>
            </p:cNvPr>
            <p:cNvSpPr>
              <a:spLocks/>
            </p:cNvSpPr>
            <p:nvPr/>
          </p:nvSpPr>
          <p:spPr bwMode="auto">
            <a:xfrm>
              <a:off x="3542482" y="956552"/>
              <a:ext cx="847581" cy="1372982"/>
            </a:xfrm>
            <a:custGeom>
              <a:avLst/>
              <a:gdLst>
                <a:gd name="T0" fmla="*/ 200 w 214"/>
                <a:gd name="T1" fmla="*/ 217 h 346"/>
                <a:gd name="T2" fmla="*/ 199 w 214"/>
                <a:gd name="T3" fmla="*/ 224 h 346"/>
                <a:gd name="T4" fmla="*/ 193 w 214"/>
                <a:gd name="T5" fmla="*/ 225 h 346"/>
                <a:gd name="T6" fmla="*/ 186 w 214"/>
                <a:gd name="T7" fmla="*/ 225 h 346"/>
                <a:gd name="T8" fmla="*/ 171 w 214"/>
                <a:gd name="T9" fmla="*/ 224 h 346"/>
                <a:gd name="T10" fmla="*/ 168 w 214"/>
                <a:gd name="T11" fmla="*/ 230 h 346"/>
                <a:gd name="T12" fmla="*/ 156 w 214"/>
                <a:gd name="T13" fmla="*/ 228 h 346"/>
                <a:gd name="T14" fmla="*/ 151 w 214"/>
                <a:gd name="T15" fmla="*/ 233 h 346"/>
                <a:gd name="T16" fmla="*/ 147 w 214"/>
                <a:gd name="T17" fmla="*/ 227 h 346"/>
                <a:gd name="T18" fmla="*/ 145 w 214"/>
                <a:gd name="T19" fmla="*/ 222 h 346"/>
                <a:gd name="T20" fmla="*/ 142 w 214"/>
                <a:gd name="T21" fmla="*/ 214 h 346"/>
                <a:gd name="T22" fmla="*/ 135 w 214"/>
                <a:gd name="T23" fmla="*/ 213 h 346"/>
                <a:gd name="T24" fmla="*/ 130 w 214"/>
                <a:gd name="T25" fmla="*/ 208 h 346"/>
                <a:gd name="T26" fmla="*/ 132 w 214"/>
                <a:gd name="T27" fmla="*/ 201 h 346"/>
                <a:gd name="T28" fmla="*/ 129 w 214"/>
                <a:gd name="T29" fmla="*/ 197 h 346"/>
                <a:gd name="T30" fmla="*/ 124 w 214"/>
                <a:gd name="T31" fmla="*/ 191 h 346"/>
                <a:gd name="T32" fmla="*/ 122 w 214"/>
                <a:gd name="T33" fmla="*/ 184 h 346"/>
                <a:gd name="T34" fmla="*/ 120 w 214"/>
                <a:gd name="T35" fmla="*/ 178 h 346"/>
                <a:gd name="T36" fmla="*/ 118 w 214"/>
                <a:gd name="T37" fmla="*/ 174 h 346"/>
                <a:gd name="T38" fmla="*/ 112 w 214"/>
                <a:gd name="T39" fmla="*/ 169 h 346"/>
                <a:gd name="T40" fmla="*/ 106 w 214"/>
                <a:gd name="T41" fmla="*/ 176 h 346"/>
                <a:gd name="T42" fmla="*/ 101 w 214"/>
                <a:gd name="T43" fmla="*/ 180 h 346"/>
                <a:gd name="T44" fmla="*/ 94 w 214"/>
                <a:gd name="T45" fmla="*/ 176 h 346"/>
                <a:gd name="T46" fmla="*/ 95 w 214"/>
                <a:gd name="T47" fmla="*/ 169 h 346"/>
                <a:gd name="T48" fmla="*/ 96 w 214"/>
                <a:gd name="T49" fmla="*/ 161 h 346"/>
                <a:gd name="T50" fmla="*/ 99 w 214"/>
                <a:gd name="T51" fmla="*/ 158 h 346"/>
                <a:gd name="T52" fmla="*/ 96 w 214"/>
                <a:gd name="T53" fmla="*/ 151 h 346"/>
                <a:gd name="T54" fmla="*/ 96 w 214"/>
                <a:gd name="T55" fmla="*/ 146 h 346"/>
                <a:gd name="T56" fmla="*/ 97 w 214"/>
                <a:gd name="T57" fmla="*/ 140 h 346"/>
                <a:gd name="T58" fmla="*/ 99 w 214"/>
                <a:gd name="T59" fmla="*/ 130 h 346"/>
                <a:gd name="T60" fmla="*/ 101 w 214"/>
                <a:gd name="T61" fmla="*/ 125 h 346"/>
                <a:gd name="T62" fmla="*/ 97 w 214"/>
                <a:gd name="T63" fmla="*/ 122 h 346"/>
                <a:gd name="T64" fmla="*/ 92 w 214"/>
                <a:gd name="T65" fmla="*/ 122 h 346"/>
                <a:gd name="T66" fmla="*/ 88 w 214"/>
                <a:gd name="T67" fmla="*/ 117 h 346"/>
                <a:gd name="T68" fmla="*/ 85 w 214"/>
                <a:gd name="T69" fmla="*/ 115 h 346"/>
                <a:gd name="T70" fmla="*/ 80 w 214"/>
                <a:gd name="T71" fmla="*/ 112 h 346"/>
                <a:gd name="T72" fmla="*/ 76 w 214"/>
                <a:gd name="T73" fmla="*/ 105 h 346"/>
                <a:gd name="T74" fmla="*/ 68 w 214"/>
                <a:gd name="T75" fmla="*/ 94 h 346"/>
                <a:gd name="T76" fmla="*/ 62 w 214"/>
                <a:gd name="T77" fmla="*/ 90 h 346"/>
                <a:gd name="T78" fmla="*/ 55 w 214"/>
                <a:gd name="T79" fmla="*/ 84 h 346"/>
                <a:gd name="T80" fmla="*/ 54 w 214"/>
                <a:gd name="T81" fmla="*/ 81 h 346"/>
                <a:gd name="T82" fmla="*/ 55 w 214"/>
                <a:gd name="T83" fmla="*/ 78 h 346"/>
                <a:gd name="T84" fmla="*/ 54 w 214"/>
                <a:gd name="T85" fmla="*/ 74 h 346"/>
                <a:gd name="T86" fmla="*/ 42 w 214"/>
                <a:gd name="T87" fmla="*/ 54 h 346"/>
                <a:gd name="T88" fmla="*/ 8 w 214"/>
                <a:gd name="T89" fmla="*/ 133 h 346"/>
                <a:gd name="T90" fmla="*/ 9 w 214"/>
                <a:gd name="T91" fmla="*/ 139 h 346"/>
                <a:gd name="T92" fmla="*/ 11 w 214"/>
                <a:gd name="T93" fmla="*/ 145 h 346"/>
                <a:gd name="T94" fmla="*/ 12 w 214"/>
                <a:gd name="T95" fmla="*/ 154 h 346"/>
                <a:gd name="T96" fmla="*/ 25 w 214"/>
                <a:gd name="T97" fmla="*/ 166 h 346"/>
                <a:gd name="T98" fmla="*/ 27 w 214"/>
                <a:gd name="T99" fmla="*/ 174 h 346"/>
                <a:gd name="T100" fmla="*/ 20 w 214"/>
                <a:gd name="T101" fmla="*/ 189 h 346"/>
                <a:gd name="T102" fmla="*/ 14 w 214"/>
                <a:gd name="T103" fmla="*/ 203 h 346"/>
                <a:gd name="T104" fmla="*/ 14 w 214"/>
                <a:gd name="T105" fmla="*/ 207 h 346"/>
                <a:gd name="T106" fmla="*/ 10 w 214"/>
                <a:gd name="T107" fmla="*/ 215 h 346"/>
                <a:gd name="T108" fmla="*/ 5 w 214"/>
                <a:gd name="T109" fmla="*/ 221 h 346"/>
                <a:gd name="T110" fmla="*/ 1 w 214"/>
                <a:gd name="T111" fmla="*/ 232 h 346"/>
                <a:gd name="T112" fmla="*/ 2 w 214"/>
                <a:gd name="T113" fmla="*/ 236 h 346"/>
                <a:gd name="T114" fmla="*/ 7 w 214"/>
                <a:gd name="T115" fmla="*/ 240 h 346"/>
                <a:gd name="T116" fmla="*/ 10 w 214"/>
                <a:gd name="T117" fmla="*/ 242 h 346"/>
                <a:gd name="T118" fmla="*/ 11 w 214"/>
                <a:gd name="T119" fmla="*/ 252 h 346"/>
                <a:gd name="T120" fmla="*/ 8 w 214"/>
                <a:gd name="T121" fmla="*/ 346 h 346"/>
                <a:gd name="T122" fmla="*/ 212 w 214"/>
                <a:gd name="T123" fmla="*/ 2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 h="346">
                  <a:moveTo>
                    <a:pt x="203" y="215"/>
                  </a:moveTo>
                  <a:cubicBezTo>
                    <a:pt x="203" y="214"/>
                    <a:pt x="202" y="216"/>
                    <a:pt x="202" y="217"/>
                  </a:cubicBezTo>
                  <a:cubicBezTo>
                    <a:pt x="201" y="217"/>
                    <a:pt x="201" y="217"/>
                    <a:pt x="200" y="217"/>
                  </a:cubicBezTo>
                  <a:cubicBezTo>
                    <a:pt x="199" y="218"/>
                    <a:pt x="199" y="218"/>
                    <a:pt x="199" y="219"/>
                  </a:cubicBezTo>
                  <a:cubicBezTo>
                    <a:pt x="199" y="220"/>
                    <a:pt x="199" y="221"/>
                    <a:pt x="198" y="222"/>
                  </a:cubicBezTo>
                  <a:cubicBezTo>
                    <a:pt x="198" y="222"/>
                    <a:pt x="199" y="223"/>
                    <a:pt x="199" y="224"/>
                  </a:cubicBezTo>
                  <a:cubicBezTo>
                    <a:pt x="199" y="225"/>
                    <a:pt x="200" y="225"/>
                    <a:pt x="199" y="225"/>
                  </a:cubicBezTo>
                  <a:cubicBezTo>
                    <a:pt x="199" y="225"/>
                    <a:pt x="197" y="225"/>
                    <a:pt x="197" y="225"/>
                  </a:cubicBezTo>
                  <a:cubicBezTo>
                    <a:pt x="196" y="225"/>
                    <a:pt x="194" y="224"/>
                    <a:pt x="193" y="225"/>
                  </a:cubicBezTo>
                  <a:cubicBezTo>
                    <a:pt x="191" y="225"/>
                    <a:pt x="190" y="226"/>
                    <a:pt x="189" y="226"/>
                  </a:cubicBezTo>
                  <a:cubicBezTo>
                    <a:pt x="188" y="227"/>
                    <a:pt x="187" y="227"/>
                    <a:pt x="187" y="227"/>
                  </a:cubicBezTo>
                  <a:cubicBezTo>
                    <a:pt x="187" y="227"/>
                    <a:pt x="186" y="225"/>
                    <a:pt x="186" y="225"/>
                  </a:cubicBezTo>
                  <a:cubicBezTo>
                    <a:pt x="186" y="225"/>
                    <a:pt x="184" y="225"/>
                    <a:pt x="183" y="225"/>
                  </a:cubicBezTo>
                  <a:cubicBezTo>
                    <a:pt x="183" y="225"/>
                    <a:pt x="179" y="226"/>
                    <a:pt x="179" y="226"/>
                  </a:cubicBezTo>
                  <a:cubicBezTo>
                    <a:pt x="178" y="226"/>
                    <a:pt x="172" y="224"/>
                    <a:pt x="171" y="224"/>
                  </a:cubicBezTo>
                  <a:cubicBezTo>
                    <a:pt x="171" y="224"/>
                    <a:pt x="170" y="224"/>
                    <a:pt x="170" y="224"/>
                  </a:cubicBezTo>
                  <a:cubicBezTo>
                    <a:pt x="169" y="224"/>
                    <a:pt x="169" y="227"/>
                    <a:pt x="169" y="228"/>
                  </a:cubicBezTo>
                  <a:cubicBezTo>
                    <a:pt x="168" y="229"/>
                    <a:pt x="168" y="230"/>
                    <a:pt x="168" y="230"/>
                  </a:cubicBezTo>
                  <a:cubicBezTo>
                    <a:pt x="168" y="230"/>
                    <a:pt x="166" y="230"/>
                    <a:pt x="165" y="229"/>
                  </a:cubicBezTo>
                  <a:cubicBezTo>
                    <a:pt x="163" y="229"/>
                    <a:pt x="161" y="229"/>
                    <a:pt x="159" y="228"/>
                  </a:cubicBezTo>
                  <a:cubicBezTo>
                    <a:pt x="157" y="227"/>
                    <a:pt x="157" y="228"/>
                    <a:pt x="156" y="228"/>
                  </a:cubicBezTo>
                  <a:cubicBezTo>
                    <a:pt x="155" y="229"/>
                    <a:pt x="154" y="229"/>
                    <a:pt x="153" y="230"/>
                  </a:cubicBezTo>
                  <a:cubicBezTo>
                    <a:pt x="153" y="231"/>
                    <a:pt x="153" y="233"/>
                    <a:pt x="153" y="234"/>
                  </a:cubicBezTo>
                  <a:cubicBezTo>
                    <a:pt x="153" y="234"/>
                    <a:pt x="152" y="234"/>
                    <a:pt x="151" y="233"/>
                  </a:cubicBezTo>
                  <a:cubicBezTo>
                    <a:pt x="150" y="232"/>
                    <a:pt x="149" y="232"/>
                    <a:pt x="148" y="231"/>
                  </a:cubicBezTo>
                  <a:cubicBezTo>
                    <a:pt x="148" y="230"/>
                    <a:pt x="147" y="230"/>
                    <a:pt x="147" y="229"/>
                  </a:cubicBezTo>
                  <a:cubicBezTo>
                    <a:pt x="146" y="228"/>
                    <a:pt x="147" y="228"/>
                    <a:pt x="147" y="227"/>
                  </a:cubicBezTo>
                  <a:cubicBezTo>
                    <a:pt x="147" y="226"/>
                    <a:pt x="146" y="226"/>
                    <a:pt x="146" y="225"/>
                  </a:cubicBezTo>
                  <a:cubicBezTo>
                    <a:pt x="146" y="224"/>
                    <a:pt x="144" y="223"/>
                    <a:pt x="144" y="223"/>
                  </a:cubicBezTo>
                  <a:cubicBezTo>
                    <a:pt x="144" y="223"/>
                    <a:pt x="145" y="222"/>
                    <a:pt x="145" y="222"/>
                  </a:cubicBezTo>
                  <a:cubicBezTo>
                    <a:pt x="145" y="221"/>
                    <a:pt x="145" y="221"/>
                    <a:pt x="145" y="220"/>
                  </a:cubicBezTo>
                  <a:cubicBezTo>
                    <a:pt x="144" y="219"/>
                    <a:pt x="144" y="218"/>
                    <a:pt x="144" y="217"/>
                  </a:cubicBezTo>
                  <a:cubicBezTo>
                    <a:pt x="143" y="216"/>
                    <a:pt x="142" y="215"/>
                    <a:pt x="142" y="214"/>
                  </a:cubicBezTo>
                  <a:cubicBezTo>
                    <a:pt x="141" y="214"/>
                    <a:pt x="140" y="213"/>
                    <a:pt x="139" y="212"/>
                  </a:cubicBezTo>
                  <a:cubicBezTo>
                    <a:pt x="138" y="212"/>
                    <a:pt x="138" y="212"/>
                    <a:pt x="137" y="212"/>
                  </a:cubicBezTo>
                  <a:cubicBezTo>
                    <a:pt x="136" y="213"/>
                    <a:pt x="135" y="213"/>
                    <a:pt x="135" y="213"/>
                  </a:cubicBezTo>
                  <a:cubicBezTo>
                    <a:pt x="135" y="213"/>
                    <a:pt x="134" y="212"/>
                    <a:pt x="134" y="212"/>
                  </a:cubicBezTo>
                  <a:cubicBezTo>
                    <a:pt x="134" y="211"/>
                    <a:pt x="133" y="211"/>
                    <a:pt x="133" y="210"/>
                  </a:cubicBezTo>
                  <a:cubicBezTo>
                    <a:pt x="132" y="210"/>
                    <a:pt x="131" y="208"/>
                    <a:pt x="130" y="208"/>
                  </a:cubicBezTo>
                  <a:cubicBezTo>
                    <a:pt x="130" y="207"/>
                    <a:pt x="130" y="206"/>
                    <a:pt x="130" y="206"/>
                  </a:cubicBezTo>
                  <a:cubicBezTo>
                    <a:pt x="130" y="205"/>
                    <a:pt x="132" y="205"/>
                    <a:pt x="132" y="205"/>
                  </a:cubicBezTo>
                  <a:cubicBezTo>
                    <a:pt x="132" y="205"/>
                    <a:pt x="132" y="202"/>
                    <a:pt x="132" y="201"/>
                  </a:cubicBezTo>
                  <a:cubicBezTo>
                    <a:pt x="132" y="200"/>
                    <a:pt x="131" y="200"/>
                    <a:pt x="131" y="200"/>
                  </a:cubicBezTo>
                  <a:cubicBezTo>
                    <a:pt x="131" y="199"/>
                    <a:pt x="130" y="199"/>
                    <a:pt x="130" y="199"/>
                  </a:cubicBezTo>
                  <a:cubicBezTo>
                    <a:pt x="130" y="199"/>
                    <a:pt x="129" y="198"/>
                    <a:pt x="129" y="197"/>
                  </a:cubicBezTo>
                  <a:cubicBezTo>
                    <a:pt x="129" y="197"/>
                    <a:pt x="128" y="197"/>
                    <a:pt x="127" y="196"/>
                  </a:cubicBezTo>
                  <a:cubicBezTo>
                    <a:pt x="127" y="196"/>
                    <a:pt x="126" y="195"/>
                    <a:pt x="126" y="194"/>
                  </a:cubicBezTo>
                  <a:cubicBezTo>
                    <a:pt x="125" y="194"/>
                    <a:pt x="125" y="192"/>
                    <a:pt x="124" y="191"/>
                  </a:cubicBezTo>
                  <a:cubicBezTo>
                    <a:pt x="123" y="190"/>
                    <a:pt x="123" y="189"/>
                    <a:pt x="123" y="188"/>
                  </a:cubicBezTo>
                  <a:cubicBezTo>
                    <a:pt x="122" y="187"/>
                    <a:pt x="122" y="186"/>
                    <a:pt x="122" y="185"/>
                  </a:cubicBezTo>
                  <a:cubicBezTo>
                    <a:pt x="122" y="184"/>
                    <a:pt x="122" y="184"/>
                    <a:pt x="122" y="184"/>
                  </a:cubicBezTo>
                  <a:cubicBezTo>
                    <a:pt x="121" y="184"/>
                    <a:pt x="121" y="183"/>
                    <a:pt x="120" y="182"/>
                  </a:cubicBezTo>
                  <a:cubicBezTo>
                    <a:pt x="120" y="182"/>
                    <a:pt x="120" y="181"/>
                    <a:pt x="120" y="180"/>
                  </a:cubicBezTo>
                  <a:cubicBezTo>
                    <a:pt x="121" y="180"/>
                    <a:pt x="120" y="179"/>
                    <a:pt x="120" y="178"/>
                  </a:cubicBezTo>
                  <a:cubicBezTo>
                    <a:pt x="120" y="178"/>
                    <a:pt x="120" y="178"/>
                    <a:pt x="119" y="177"/>
                  </a:cubicBezTo>
                  <a:cubicBezTo>
                    <a:pt x="118" y="177"/>
                    <a:pt x="118" y="176"/>
                    <a:pt x="118" y="176"/>
                  </a:cubicBezTo>
                  <a:cubicBezTo>
                    <a:pt x="119" y="176"/>
                    <a:pt x="119" y="174"/>
                    <a:pt x="118" y="174"/>
                  </a:cubicBezTo>
                  <a:cubicBezTo>
                    <a:pt x="118" y="173"/>
                    <a:pt x="118" y="173"/>
                    <a:pt x="117" y="173"/>
                  </a:cubicBezTo>
                  <a:cubicBezTo>
                    <a:pt x="116" y="173"/>
                    <a:pt x="115" y="172"/>
                    <a:pt x="115" y="171"/>
                  </a:cubicBezTo>
                  <a:cubicBezTo>
                    <a:pt x="115" y="171"/>
                    <a:pt x="114" y="169"/>
                    <a:pt x="112" y="169"/>
                  </a:cubicBezTo>
                  <a:cubicBezTo>
                    <a:pt x="111" y="169"/>
                    <a:pt x="112" y="170"/>
                    <a:pt x="112" y="171"/>
                  </a:cubicBezTo>
                  <a:cubicBezTo>
                    <a:pt x="112" y="172"/>
                    <a:pt x="111" y="173"/>
                    <a:pt x="110" y="173"/>
                  </a:cubicBezTo>
                  <a:cubicBezTo>
                    <a:pt x="110" y="174"/>
                    <a:pt x="107" y="176"/>
                    <a:pt x="106" y="176"/>
                  </a:cubicBezTo>
                  <a:cubicBezTo>
                    <a:pt x="105" y="176"/>
                    <a:pt x="104" y="176"/>
                    <a:pt x="104" y="177"/>
                  </a:cubicBezTo>
                  <a:cubicBezTo>
                    <a:pt x="104" y="177"/>
                    <a:pt x="104" y="179"/>
                    <a:pt x="103" y="179"/>
                  </a:cubicBezTo>
                  <a:cubicBezTo>
                    <a:pt x="102" y="179"/>
                    <a:pt x="101" y="180"/>
                    <a:pt x="101" y="180"/>
                  </a:cubicBezTo>
                  <a:cubicBezTo>
                    <a:pt x="100" y="180"/>
                    <a:pt x="99" y="179"/>
                    <a:pt x="98" y="179"/>
                  </a:cubicBezTo>
                  <a:cubicBezTo>
                    <a:pt x="97" y="178"/>
                    <a:pt x="97" y="177"/>
                    <a:pt x="97" y="176"/>
                  </a:cubicBezTo>
                  <a:cubicBezTo>
                    <a:pt x="96" y="176"/>
                    <a:pt x="95" y="176"/>
                    <a:pt x="94" y="176"/>
                  </a:cubicBezTo>
                  <a:cubicBezTo>
                    <a:pt x="93" y="176"/>
                    <a:pt x="93" y="175"/>
                    <a:pt x="93" y="174"/>
                  </a:cubicBezTo>
                  <a:cubicBezTo>
                    <a:pt x="93" y="173"/>
                    <a:pt x="94" y="172"/>
                    <a:pt x="94" y="172"/>
                  </a:cubicBezTo>
                  <a:cubicBezTo>
                    <a:pt x="95" y="171"/>
                    <a:pt x="95" y="169"/>
                    <a:pt x="95" y="169"/>
                  </a:cubicBezTo>
                  <a:cubicBezTo>
                    <a:pt x="95" y="168"/>
                    <a:pt x="93" y="166"/>
                    <a:pt x="93" y="165"/>
                  </a:cubicBezTo>
                  <a:cubicBezTo>
                    <a:pt x="93" y="164"/>
                    <a:pt x="94" y="164"/>
                    <a:pt x="94" y="163"/>
                  </a:cubicBezTo>
                  <a:cubicBezTo>
                    <a:pt x="95" y="162"/>
                    <a:pt x="95" y="162"/>
                    <a:pt x="96" y="161"/>
                  </a:cubicBezTo>
                  <a:cubicBezTo>
                    <a:pt x="96" y="161"/>
                    <a:pt x="97" y="161"/>
                    <a:pt x="98" y="161"/>
                  </a:cubicBezTo>
                  <a:cubicBezTo>
                    <a:pt x="99" y="161"/>
                    <a:pt x="99" y="161"/>
                    <a:pt x="99" y="160"/>
                  </a:cubicBezTo>
                  <a:cubicBezTo>
                    <a:pt x="99" y="159"/>
                    <a:pt x="99" y="159"/>
                    <a:pt x="99" y="158"/>
                  </a:cubicBezTo>
                  <a:cubicBezTo>
                    <a:pt x="98" y="156"/>
                    <a:pt x="98" y="155"/>
                    <a:pt x="98" y="155"/>
                  </a:cubicBezTo>
                  <a:cubicBezTo>
                    <a:pt x="97" y="154"/>
                    <a:pt x="96" y="154"/>
                    <a:pt x="96" y="153"/>
                  </a:cubicBezTo>
                  <a:cubicBezTo>
                    <a:pt x="96" y="153"/>
                    <a:pt x="96" y="151"/>
                    <a:pt x="96" y="151"/>
                  </a:cubicBezTo>
                  <a:cubicBezTo>
                    <a:pt x="96" y="151"/>
                    <a:pt x="96" y="150"/>
                    <a:pt x="96" y="149"/>
                  </a:cubicBezTo>
                  <a:cubicBezTo>
                    <a:pt x="96" y="149"/>
                    <a:pt x="95" y="148"/>
                    <a:pt x="95" y="147"/>
                  </a:cubicBezTo>
                  <a:cubicBezTo>
                    <a:pt x="95" y="147"/>
                    <a:pt x="95" y="146"/>
                    <a:pt x="96" y="146"/>
                  </a:cubicBezTo>
                  <a:cubicBezTo>
                    <a:pt x="97" y="146"/>
                    <a:pt x="97" y="145"/>
                    <a:pt x="97" y="145"/>
                  </a:cubicBezTo>
                  <a:cubicBezTo>
                    <a:pt x="97" y="144"/>
                    <a:pt x="97" y="143"/>
                    <a:pt x="96" y="143"/>
                  </a:cubicBezTo>
                  <a:cubicBezTo>
                    <a:pt x="96" y="142"/>
                    <a:pt x="96" y="141"/>
                    <a:pt x="97" y="140"/>
                  </a:cubicBezTo>
                  <a:cubicBezTo>
                    <a:pt x="97" y="140"/>
                    <a:pt x="98" y="138"/>
                    <a:pt x="98" y="138"/>
                  </a:cubicBezTo>
                  <a:cubicBezTo>
                    <a:pt x="98" y="137"/>
                    <a:pt x="99" y="135"/>
                    <a:pt x="99" y="134"/>
                  </a:cubicBezTo>
                  <a:cubicBezTo>
                    <a:pt x="99" y="133"/>
                    <a:pt x="99" y="131"/>
                    <a:pt x="99" y="130"/>
                  </a:cubicBezTo>
                  <a:cubicBezTo>
                    <a:pt x="99" y="130"/>
                    <a:pt x="99" y="129"/>
                    <a:pt x="99" y="129"/>
                  </a:cubicBezTo>
                  <a:cubicBezTo>
                    <a:pt x="99" y="129"/>
                    <a:pt x="100" y="128"/>
                    <a:pt x="100" y="128"/>
                  </a:cubicBezTo>
                  <a:cubicBezTo>
                    <a:pt x="101" y="128"/>
                    <a:pt x="101" y="125"/>
                    <a:pt x="101" y="125"/>
                  </a:cubicBezTo>
                  <a:cubicBezTo>
                    <a:pt x="101" y="125"/>
                    <a:pt x="101" y="122"/>
                    <a:pt x="101" y="122"/>
                  </a:cubicBezTo>
                  <a:cubicBezTo>
                    <a:pt x="101" y="121"/>
                    <a:pt x="100" y="121"/>
                    <a:pt x="100" y="121"/>
                  </a:cubicBezTo>
                  <a:cubicBezTo>
                    <a:pt x="100" y="121"/>
                    <a:pt x="98" y="122"/>
                    <a:pt x="97" y="122"/>
                  </a:cubicBezTo>
                  <a:cubicBezTo>
                    <a:pt x="97" y="123"/>
                    <a:pt x="96" y="122"/>
                    <a:pt x="96" y="122"/>
                  </a:cubicBezTo>
                  <a:cubicBezTo>
                    <a:pt x="95" y="122"/>
                    <a:pt x="94" y="122"/>
                    <a:pt x="94" y="122"/>
                  </a:cubicBezTo>
                  <a:cubicBezTo>
                    <a:pt x="94" y="122"/>
                    <a:pt x="92" y="122"/>
                    <a:pt x="92" y="122"/>
                  </a:cubicBezTo>
                  <a:cubicBezTo>
                    <a:pt x="92" y="122"/>
                    <a:pt x="91" y="121"/>
                    <a:pt x="91" y="120"/>
                  </a:cubicBezTo>
                  <a:cubicBezTo>
                    <a:pt x="90" y="119"/>
                    <a:pt x="90" y="118"/>
                    <a:pt x="90" y="118"/>
                  </a:cubicBezTo>
                  <a:cubicBezTo>
                    <a:pt x="90" y="117"/>
                    <a:pt x="89" y="117"/>
                    <a:pt x="88" y="117"/>
                  </a:cubicBezTo>
                  <a:cubicBezTo>
                    <a:pt x="88" y="117"/>
                    <a:pt x="87" y="119"/>
                    <a:pt x="86" y="119"/>
                  </a:cubicBezTo>
                  <a:cubicBezTo>
                    <a:pt x="86" y="119"/>
                    <a:pt x="86" y="118"/>
                    <a:pt x="86" y="117"/>
                  </a:cubicBezTo>
                  <a:cubicBezTo>
                    <a:pt x="86" y="116"/>
                    <a:pt x="86" y="116"/>
                    <a:pt x="85" y="115"/>
                  </a:cubicBezTo>
                  <a:cubicBezTo>
                    <a:pt x="85" y="115"/>
                    <a:pt x="84" y="114"/>
                    <a:pt x="83" y="113"/>
                  </a:cubicBezTo>
                  <a:cubicBezTo>
                    <a:pt x="83" y="113"/>
                    <a:pt x="82" y="114"/>
                    <a:pt x="82" y="114"/>
                  </a:cubicBezTo>
                  <a:cubicBezTo>
                    <a:pt x="81" y="114"/>
                    <a:pt x="80" y="112"/>
                    <a:pt x="80" y="112"/>
                  </a:cubicBezTo>
                  <a:cubicBezTo>
                    <a:pt x="80" y="111"/>
                    <a:pt x="80" y="109"/>
                    <a:pt x="80" y="108"/>
                  </a:cubicBezTo>
                  <a:cubicBezTo>
                    <a:pt x="80" y="107"/>
                    <a:pt x="79" y="106"/>
                    <a:pt x="78" y="106"/>
                  </a:cubicBezTo>
                  <a:cubicBezTo>
                    <a:pt x="77" y="105"/>
                    <a:pt x="76" y="105"/>
                    <a:pt x="76" y="105"/>
                  </a:cubicBezTo>
                  <a:cubicBezTo>
                    <a:pt x="75" y="104"/>
                    <a:pt x="74" y="101"/>
                    <a:pt x="74" y="101"/>
                  </a:cubicBezTo>
                  <a:cubicBezTo>
                    <a:pt x="74" y="100"/>
                    <a:pt x="73" y="99"/>
                    <a:pt x="72" y="98"/>
                  </a:cubicBezTo>
                  <a:cubicBezTo>
                    <a:pt x="72" y="98"/>
                    <a:pt x="68" y="95"/>
                    <a:pt x="68" y="94"/>
                  </a:cubicBezTo>
                  <a:cubicBezTo>
                    <a:pt x="67" y="94"/>
                    <a:pt x="67" y="92"/>
                    <a:pt x="67" y="91"/>
                  </a:cubicBezTo>
                  <a:cubicBezTo>
                    <a:pt x="67" y="91"/>
                    <a:pt x="66" y="91"/>
                    <a:pt x="65" y="90"/>
                  </a:cubicBezTo>
                  <a:cubicBezTo>
                    <a:pt x="65" y="90"/>
                    <a:pt x="63" y="90"/>
                    <a:pt x="62" y="90"/>
                  </a:cubicBezTo>
                  <a:cubicBezTo>
                    <a:pt x="61" y="89"/>
                    <a:pt x="61" y="89"/>
                    <a:pt x="60" y="89"/>
                  </a:cubicBezTo>
                  <a:cubicBezTo>
                    <a:pt x="59" y="88"/>
                    <a:pt x="58" y="86"/>
                    <a:pt x="57" y="85"/>
                  </a:cubicBezTo>
                  <a:cubicBezTo>
                    <a:pt x="57" y="84"/>
                    <a:pt x="56" y="84"/>
                    <a:pt x="55" y="84"/>
                  </a:cubicBezTo>
                  <a:cubicBezTo>
                    <a:pt x="55" y="83"/>
                    <a:pt x="53" y="83"/>
                    <a:pt x="53" y="83"/>
                  </a:cubicBezTo>
                  <a:cubicBezTo>
                    <a:pt x="52" y="82"/>
                    <a:pt x="52" y="82"/>
                    <a:pt x="52" y="82"/>
                  </a:cubicBezTo>
                  <a:cubicBezTo>
                    <a:pt x="52" y="82"/>
                    <a:pt x="54" y="81"/>
                    <a:pt x="54" y="81"/>
                  </a:cubicBezTo>
                  <a:cubicBezTo>
                    <a:pt x="55" y="81"/>
                    <a:pt x="56" y="80"/>
                    <a:pt x="56" y="80"/>
                  </a:cubicBezTo>
                  <a:cubicBezTo>
                    <a:pt x="56" y="80"/>
                    <a:pt x="56" y="80"/>
                    <a:pt x="56" y="79"/>
                  </a:cubicBezTo>
                  <a:cubicBezTo>
                    <a:pt x="56" y="79"/>
                    <a:pt x="55" y="79"/>
                    <a:pt x="55" y="78"/>
                  </a:cubicBezTo>
                  <a:cubicBezTo>
                    <a:pt x="54" y="78"/>
                    <a:pt x="52" y="76"/>
                    <a:pt x="52" y="76"/>
                  </a:cubicBezTo>
                  <a:cubicBezTo>
                    <a:pt x="52" y="75"/>
                    <a:pt x="52" y="75"/>
                    <a:pt x="52" y="75"/>
                  </a:cubicBezTo>
                  <a:cubicBezTo>
                    <a:pt x="54" y="74"/>
                    <a:pt x="54" y="74"/>
                    <a:pt x="54" y="74"/>
                  </a:cubicBezTo>
                  <a:cubicBezTo>
                    <a:pt x="54" y="74"/>
                    <a:pt x="54" y="71"/>
                    <a:pt x="54" y="71"/>
                  </a:cubicBezTo>
                  <a:cubicBezTo>
                    <a:pt x="54" y="70"/>
                    <a:pt x="52" y="67"/>
                    <a:pt x="52" y="67"/>
                  </a:cubicBezTo>
                  <a:cubicBezTo>
                    <a:pt x="42" y="54"/>
                    <a:pt x="42" y="54"/>
                    <a:pt x="42" y="54"/>
                  </a:cubicBezTo>
                  <a:cubicBezTo>
                    <a:pt x="42" y="0"/>
                    <a:pt x="42" y="0"/>
                    <a:pt x="42" y="0"/>
                  </a:cubicBezTo>
                  <a:cubicBezTo>
                    <a:pt x="8" y="0"/>
                    <a:pt x="8" y="0"/>
                    <a:pt x="8" y="0"/>
                  </a:cubicBezTo>
                  <a:cubicBezTo>
                    <a:pt x="8" y="133"/>
                    <a:pt x="8" y="133"/>
                    <a:pt x="8" y="133"/>
                  </a:cubicBezTo>
                  <a:cubicBezTo>
                    <a:pt x="8" y="133"/>
                    <a:pt x="7" y="135"/>
                    <a:pt x="7" y="135"/>
                  </a:cubicBezTo>
                  <a:cubicBezTo>
                    <a:pt x="7" y="136"/>
                    <a:pt x="7" y="136"/>
                    <a:pt x="7" y="137"/>
                  </a:cubicBezTo>
                  <a:cubicBezTo>
                    <a:pt x="7" y="137"/>
                    <a:pt x="8" y="138"/>
                    <a:pt x="9" y="139"/>
                  </a:cubicBezTo>
                  <a:cubicBezTo>
                    <a:pt x="10" y="139"/>
                    <a:pt x="10" y="140"/>
                    <a:pt x="10" y="141"/>
                  </a:cubicBezTo>
                  <a:cubicBezTo>
                    <a:pt x="10" y="141"/>
                    <a:pt x="10" y="143"/>
                    <a:pt x="10" y="144"/>
                  </a:cubicBezTo>
                  <a:cubicBezTo>
                    <a:pt x="10" y="145"/>
                    <a:pt x="11" y="145"/>
                    <a:pt x="11" y="145"/>
                  </a:cubicBezTo>
                  <a:cubicBezTo>
                    <a:pt x="12" y="145"/>
                    <a:pt x="11" y="146"/>
                    <a:pt x="11" y="147"/>
                  </a:cubicBezTo>
                  <a:cubicBezTo>
                    <a:pt x="11" y="147"/>
                    <a:pt x="9" y="150"/>
                    <a:pt x="9" y="150"/>
                  </a:cubicBezTo>
                  <a:cubicBezTo>
                    <a:pt x="12" y="154"/>
                    <a:pt x="12" y="154"/>
                    <a:pt x="12" y="154"/>
                  </a:cubicBezTo>
                  <a:cubicBezTo>
                    <a:pt x="17" y="162"/>
                    <a:pt x="17" y="162"/>
                    <a:pt x="17" y="162"/>
                  </a:cubicBezTo>
                  <a:cubicBezTo>
                    <a:pt x="17" y="162"/>
                    <a:pt x="20" y="164"/>
                    <a:pt x="21" y="164"/>
                  </a:cubicBezTo>
                  <a:cubicBezTo>
                    <a:pt x="21" y="164"/>
                    <a:pt x="25" y="166"/>
                    <a:pt x="25" y="166"/>
                  </a:cubicBezTo>
                  <a:cubicBezTo>
                    <a:pt x="25" y="166"/>
                    <a:pt x="25" y="168"/>
                    <a:pt x="25" y="169"/>
                  </a:cubicBezTo>
                  <a:cubicBezTo>
                    <a:pt x="25" y="169"/>
                    <a:pt x="26" y="171"/>
                    <a:pt x="26" y="171"/>
                  </a:cubicBezTo>
                  <a:cubicBezTo>
                    <a:pt x="27" y="174"/>
                    <a:pt x="27" y="174"/>
                    <a:pt x="27" y="174"/>
                  </a:cubicBezTo>
                  <a:cubicBezTo>
                    <a:pt x="27" y="174"/>
                    <a:pt x="26" y="177"/>
                    <a:pt x="25" y="177"/>
                  </a:cubicBezTo>
                  <a:cubicBezTo>
                    <a:pt x="25" y="178"/>
                    <a:pt x="25" y="179"/>
                    <a:pt x="25" y="179"/>
                  </a:cubicBezTo>
                  <a:cubicBezTo>
                    <a:pt x="25" y="179"/>
                    <a:pt x="20" y="189"/>
                    <a:pt x="20" y="189"/>
                  </a:cubicBezTo>
                  <a:cubicBezTo>
                    <a:pt x="20" y="189"/>
                    <a:pt x="18" y="196"/>
                    <a:pt x="18" y="196"/>
                  </a:cubicBezTo>
                  <a:cubicBezTo>
                    <a:pt x="14" y="202"/>
                    <a:pt x="14" y="202"/>
                    <a:pt x="14" y="202"/>
                  </a:cubicBezTo>
                  <a:cubicBezTo>
                    <a:pt x="14" y="203"/>
                    <a:pt x="14" y="203"/>
                    <a:pt x="14" y="203"/>
                  </a:cubicBezTo>
                  <a:cubicBezTo>
                    <a:pt x="15" y="204"/>
                    <a:pt x="15" y="204"/>
                    <a:pt x="15" y="204"/>
                  </a:cubicBezTo>
                  <a:cubicBezTo>
                    <a:pt x="15" y="205"/>
                    <a:pt x="15" y="205"/>
                    <a:pt x="15" y="205"/>
                  </a:cubicBezTo>
                  <a:cubicBezTo>
                    <a:pt x="14" y="206"/>
                    <a:pt x="14" y="206"/>
                    <a:pt x="14" y="207"/>
                  </a:cubicBezTo>
                  <a:cubicBezTo>
                    <a:pt x="14" y="208"/>
                    <a:pt x="14" y="209"/>
                    <a:pt x="13" y="210"/>
                  </a:cubicBezTo>
                  <a:cubicBezTo>
                    <a:pt x="12" y="211"/>
                    <a:pt x="12" y="212"/>
                    <a:pt x="11" y="213"/>
                  </a:cubicBezTo>
                  <a:cubicBezTo>
                    <a:pt x="11" y="214"/>
                    <a:pt x="11" y="214"/>
                    <a:pt x="10" y="215"/>
                  </a:cubicBezTo>
                  <a:cubicBezTo>
                    <a:pt x="9" y="215"/>
                    <a:pt x="8" y="215"/>
                    <a:pt x="8" y="216"/>
                  </a:cubicBezTo>
                  <a:cubicBezTo>
                    <a:pt x="7" y="216"/>
                    <a:pt x="7" y="216"/>
                    <a:pt x="7" y="217"/>
                  </a:cubicBezTo>
                  <a:cubicBezTo>
                    <a:pt x="6" y="218"/>
                    <a:pt x="6" y="220"/>
                    <a:pt x="5" y="221"/>
                  </a:cubicBezTo>
                  <a:cubicBezTo>
                    <a:pt x="5" y="222"/>
                    <a:pt x="5" y="224"/>
                    <a:pt x="4" y="225"/>
                  </a:cubicBezTo>
                  <a:cubicBezTo>
                    <a:pt x="3" y="227"/>
                    <a:pt x="2" y="227"/>
                    <a:pt x="1" y="229"/>
                  </a:cubicBezTo>
                  <a:cubicBezTo>
                    <a:pt x="1" y="230"/>
                    <a:pt x="2" y="231"/>
                    <a:pt x="1" y="232"/>
                  </a:cubicBezTo>
                  <a:cubicBezTo>
                    <a:pt x="1" y="232"/>
                    <a:pt x="0" y="232"/>
                    <a:pt x="0" y="233"/>
                  </a:cubicBezTo>
                  <a:cubicBezTo>
                    <a:pt x="0" y="233"/>
                    <a:pt x="1" y="233"/>
                    <a:pt x="1" y="234"/>
                  </a:cubicBezTo>
                  <a:cubicBezTo>
                    <a:pt x="2" y="234"/>
                    <a:pt x="2" y="235"/>
                    <a:pt x="2" y="236"/>
                  </a:cubicBezTo>
                  <a:cubicBezTo>
                    <a:pt x="2" y="236"/>
                    <a:pt x="2" y="237"/>
                    <a:pt x="2" y="237"/>
                  </a:cubicBezTo>
                  <a:cubicBezTo>
                    <a:pt x="2" y="238"/>
                    <a:pt x="4" y="239"/>
                    <a:pt x="4" y="238"/>
                  </a:cubicBezTo>
                  <a:cubicBezTo>
                    <a:pt x="5" y="238"/>
                    <a:pt x="6" y="239"/>
                    <a:pt x="7" y="240"/>
                  </a:cubicBezTo>
                  <a:cubicBezTo>
                    <a:pt x="8" y="240"/>
                    <a:pt x="8" y="240"/>
                    <a:pt x="8" y="240"/>
                  </a:cubicBezTo>
                  <a:cubicBezTo>
                    <a:pt x="9" y="240"/>
                    <a:pt x="9" y="239"/>
                    <a:pt x="10" y="240"/>
                  </a:cubicBezTo>
                  <a:cubicBezTo>
                    <a:pt x="10" y="240"/>
                    <a:pt x="10" y="242"/>
                    <a:pt x="10" y="242"/>
                  </a:cubicBezTo>
                  <a:cubicBezTo>
                    <a:pt x="10" y="243"/>
                    <a:pt x="11" y="243"/>
                    <a:pt x="12" y="243"/>
                  </a:cubicBezTo>
                  <a:cubicBezTo>
                    <a:pt x="13" y="244"/>
                    <a:pt x="11" y="247"/>
                    <a:pt x="10" y="247"/>
                  </a:cubicBezTo>
                  <a:cubicBezTo>
                    <a:pt x="9" y="249"/>
                    <a:pt x="11" y="250"/>
                    <a:pt x="11" y="252"/>
                  </a:cubicBezTo>
                  <a:cubicBezTo>
                    <a:pt x="11" y="253"/>
                    <a:pt x="10" y="254"/>
                    <a:pt x="10" y="256"/>
                  </a:cubicBezTo>
                  <a:cubicBezTo>
                    <a:pt x="9" y="257"/>
                    <a:pt x="9" y="259"/>
                    <a:pt x="8" y="259"/>
                  </a:cubicBezTo>
                  <a:cubicBezTo>
                    <a:pt x="8" y="346"/>
                    <a:pt x="8" y="346"/>
                    <a:pt x="8" y="346"/>
                  </a:cubicBezTo>
                  <a:cubicBezTo>
                    <a:pt x="214" y="346"/>
                    <a:pt x="214" y="346"/>
                    <a:pt x="214" y="346"/>
                  </a:cubicBezTo>
                  <a:cubicBezTo>
                    <a:pt x="214" y="229"/>
                    <a:pt x="214" y="229"/>
                    <a:pt x="214" y="229"/>
                  </a:cubicBezTo>
                  <a:cubicBezTo>
                    <a:pt x="212" y="228"/>
                    <a:pt x="212" y="228"/>
                    <a:pt x="212" y="228"/>
                  </a:cubicBezTo>
                  <a:cubicBezTo>
                    <a:pt x="212" y="228"/>
                    <a:pt x="204" y="215"/>
                    <a:pt x="203" y="215"/>
                  </a:cubicBezTo>
                  <a:close/>
                </a:path>
              </a:pathLst>
            </a:custGeom>
            <a:solidFill>
              <a:srgbClr val="FFFF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4" name="Freeform 47">
              <a:extLst>
                <a:ext uri="{FF2B5EF4-FFF2-40B4-BE49-F238E27FC236}">
                  <a16:creationId xmlns:a16="http://schemas.microsoft.com/office/drawing/2014/main" id="{5BD20CA9-6036-9DF4-A6BB-CD38D9D3C26C}"/>
                </a:ext>
              </a:extLst>
            </p:cNvPr>
            <p:cNvSpPr>
              <a:spLocks/>
            </p:cNvSpPr>
            <p:nvPr/>
          </p:nvSpPr>
          <p:spPr bwMode="auto">
            <a:xfrm>
              <a:off x="7871255" y="3557123"/>
              <a:ext cx="652621" cy="758362"/>
            </a:xfrm>
            <a:custGeom>
              <a:avLst/>
              <a:gdLst>
                <a:gd name="T0" fmla="*/ 155 w 165"/>
                <a:gd name="T1" fmla="*/ 115 h 191"/>
                <a:gd name="T2" fmla="*/ 152 w 165"/>
                <a:gd name="T3" fmla="*/ 106 h 191"/>
                <a:gd name="T4" fmla="*/ 145 w 165"/>
                <a:gd name="T5" fmla="*/ 95 h 191"/>
                <a:gd name="T6" fmla="*/ 139 w 165"/>
                <a:gd name="T7" fmla="*/ 79 h 191"/>
                <a:gd name="T8" fmla="*/ 130 w 165"/>
                <a:gd name="T9" fmla="*/ 73 h 191"/>
                <a:gd name="T10" fmla="*/ 127 w 165"/>
                <a:gd name="T11" fmla="*/ 69 h 191"/>
                <a:gd name="T12" fmla="*/ 123 w 165"/>
                <a:gd name="T13" fmla="*/ 60 h 191"/>
                <a:gd name="T14" fmla="*/ 105 w 165"/>
                <a:gd name="T15" fmla="*/ 44 h 191"/>
                <a:gd name="T16" fmla="*/ 99 w 165"/>
                <a:gd name="T17" fmla="*/ 30 h 191"/>
                <a:gd name="T18" fmla="*/ 88 w 165"/>
                <a:gd name="T19" fmla="*/ 20 h 191"/>
                <a:gd name="T20" fmla="*/ 79 w 165"/>
                <a:gd name="T21" fmla="*/ 13 h 191"/>
                <a:gd name="T22" fmla="*/ 86 w 165"/>
                <a:gd name="T23" fmla="*/ 2 h 191"/>
                <a:gd name="T24" fmla="*/ 15 w 165"/>
                <a:gd name="T25" fmla="*/ 89 h 191"/>
                <a:gd name="T26" fmla="*/ 18 w 165"/>
                <a:gd name="T27" fmla="*/ 99 h 191"/>
                <a:gd name="T28" fmla="*/ 23 w 165"/>
                <a:gd name="T29" fmla="*/ 112 h 191"/>
                <a:gd name="T30" fmla="*/ 19 w 165"/>
                <a:gd name="T31" fmla="*/ 122 h 191"/>
                <a:gd name="T32" fmla="*/ 18 w 165"/>
                <a:gd name="T33" fmla="*/ 137 h 191"/>
                <a:gd name="T34" fmla="*/ 17 w 165"/>
                <a:gd name="T35" fmla="*/ 156 h 191"/>
                <a:gd name="T36" fmla="*/ 23 w 165"/>
                <a:gd name="T37" fmla="*/ 169 h 191"/>
                <a:gd name="T38" fmla="*/ 116 w 165"/>
                <a:gd name="T39" fmla="*/ 181 h 191"/>
                <a:gd name="T40" fmla="*/ 120 w 165"/>
                <a:gd name="T41" fmla="*/ 190 h 191"/>
                <a:gd name="T42" fmla="*/ 124 w 165"/>
                <a:gd name="T43" fmla="*/ 181 h 191"/>
                <a:gd name="T44" fmla="*/ 125 w 165"/>
                <a:gd name="T45" fmla="*/ 173 h 191"/>
                <a:gd name="T46" fmla="*/ 132 w 165"/>
                <a:gd name="T47" fmla="*/ 174 h 191"/>
                <a:gd name="T48" fmla="*/ 142 w 165"/>
                <a:gd name="T49" fmla="*/ 175 h 191"/>
                <a:gd name="T50" fmla="*/ 141 w 165"/>
                <a:gd name="T51" fmla="*/ 170 h 191"/>
                <a:gd name="T52" fmla="*/ 143 w 165"/>
                <a:gd name="T53" fmla="*/ 169 h 191"/>
                <a:gd name="T54" fmla="*/ 144 w 165"/>
                <a:gd name="T55" fmla="*/ 171 h 191"/>
                <a:gd name="T56" fmla="*/ 145 w 165"/>
                <a:gd name="T57" fmla="*/ 167 h 191"/>
                <a:gd name="T58" fmla="*/ 144 w 165"/>
                <a:gd name="T59" fmla="*/ 166 h 191"/>
                <a:gd name="T60" fmla="*/ 142 w 165"/>
                <a:gd name="T61" fmla="*/ 166 h 191"/>
                <a:gd name="T62" fmla="*/ 141 w 165"/>
                <a:gd name="T63" fmla="*/ 162 h 191"/>
                <a:gd name="T64" fmla="*/ 142 w 165"/>
                <a:gd name="T65" fmla="*/ 160 h 191"/>
                <a:gd name="T66" fmla="*/ 144 w 165"/>
                <a:gd name="T67" fmla="*/ 158 h 191"/>
                <a:gd name="T68" fmla="*/ 146 w 165"/>
                <a:gd name="T69" fmla="*/ 153 h 191"/>
                <a:gd name="T70" fmla="*/ 145 w 165"/>
                <a:gd name="T71" fmla="*/ 156 h 191"/>
                <a:gd name="T72" fmla="*/ 146 w 165"/>
                <a:gd name="T73" fmla="*/ 158 h 191"/>
                <a:gd name="T74" fmla="*/ 148 w 165"/>
                <a:gd name="T75" fmla="*/ 155 h 191"/>
                <a:gd name="T76" fmla="*/ 148 w 165"/>
                <a:gd name="T77" fmla="*/ 152 h 191"/>
                <a:gd name="T78" fmla="*/ 148 w 165"/>
                <a:gd name="T79" fmla="*/ 151 h 191"/>
                <a:gd name="T80" fmla="*/ 150 w 165"/>
                <a:gd name="T81" fmla="*/ 149 h 191"/>
                <a:gd name="T82" fmla="*/ 151 w 165"/>
                <a:gd name="T83" fmla="*/ 146 h 191"/>
                <a:gd name="T84" fmla="*/ 151 w 165"/>
                <a:gd name="T85" fmla="*/ 144 h 191"/>
                <a:gd name="T86" fmla="*/ 148 w 165"/>
                <a:gd name="T87" fmla="*/ 143 h 191"/>
                <a:gd name="T88" fmla="*/ 150 w 165"/>
                <a:gd name="T89" fmla="*/ 142 h 191"/>
                <a:gd name="T90" fmla="*/ 151 w 165"/>
                <a:gd name="T91" fmla="*/ 139 h 191"/>
                <a:gd name="T92" fmla="*/ 148 w 165"/>
                <a:gd name="T93" fmla="*/ 138 h 191"/>
                <a:gd name="T94" fmla="*/ 152 w 165"/>
                <a:gd name="T95" fmla="*/ 136 h 191"/>
                <a:gd name="T96" fmla="*/ 153 w 165"/>
                <a:gd name="T97" fmla="*/ 134 h 191"/>
                <a:gd name="T98" fmla="*/ 157 w 165"/>
                <a:gd name="T99" fmla="*/ 133 h 191"/>
                <a:gd name="T100" fmla="*/ 155 w 165"/>
                <a:gd name="T101" fmla="*/ 130 h 191"/>
                <a:gd name="T102" fmla="*/ 156 w 165"/>
                <a:gd name="T103" fmla="*/ 128 h 191"/>
                <a:gd name="T104" fmla="*/ 161 w 165"/>
                <a:gd name="T105" fmla="*/ 128 h 191"/>
                <a:gd name="T106" fmla="*/ 160 w 165"/>
                <a:gd name="T107" fmla="*/ 125 h 191"/>
                <a:gd name="T108" fmla="*/ 164 w 165"/>
                <a:gd name="T109" fmla="*/ 125 h 191"/>
                <a:gd name="T110" fmla="*/ 161 w 165"/>
                <a:gd name="T111" fmla="*/ 122 h 191"/>
                <a:gd name="T112" fmla="*/ 160 w 165"/>
                <a:gd name="T113" fmla="*/ 12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5" h="191">
                  <a:moveTo>
                    <a:pt x="159" y="120"/>
                  </a:moveTo>
                  <a:cubicBezTo>
                    <a:pt x="159" y="120"/>
                    <a:pt x="157" y="120"/>
                    <a:pt x="157" y="120"/>
                  </a:cubicBezTo>
                  <a:cubicBezTo>
                    <a:pt x="156" y="120"/>
                    <a:pt x="155" y="120"/>
                    <a:pt x="155" y="119"/>
                  </a:cubicBezTo>
                  <a:cubicBezTo>
                    <a:pt x="155" y="119"/>
                    <a:pt x="155" y="116"/>
                    <a:pt x="155" y="115"/>
                  </a:cubicBezTo>
                  <a:cubicBezTo>
                    <a:pt x="155" y="115"/>
                    <a:pt x="155" y="113"/>
                    <a:pt x="155" y="112"/>
                  </a:cubicBezTo>
                  <a:cubicBezTo>
                    <a:pt x="155" y="111"/>
                    <a:pt x="155" y="111"/>
                    <a:pt x="154" y="110"/>
                  </a:cubicBezTo>
                  <a:cubicBezTo>
                    <a:pt x="153" y="109"/>
                    <a:pt x="153" y="108"/>
                    <a:pt x="153" y="108"/>
                  </a:cubicBezTo>
                  <a:cubicBezTo>
                    <a:pt x="152" y="108"/>
                    <a:pt x="152" y="107"/>
                    <a:pt x="152" y="106"/>
                  </a:cubicBezTo>
                  <a:cubicBezTo>
                    <a:pt x="152" y="106"/>
                    <a:pt x="152" y="105"/>
                    <a:pt x="152" y="105"/>
                  </a:cubicBezTo>
                  <a:cubicBezTo>
                    <a:pt x="152" y="105"/>
                    <a:pt x="145" y="99"/>
                    <a:pt x="145" y="99"/>
                  </a:cubicBezTo>
                  <a:cubicBezTo>
                    <a:pt x="145" y="98"/>
                    <a:pt x="145" y="97"/>
                    <a:pt x="145" y="97"/>
                  </a:cubicBezTo>
                  <a:cubicBezTo>
                    <a:pt x="145" y="96"/>
                    <a:pt x="145" y="95"/>
                    <a:pt x="145" y="95"/>
                  </a:cubicBezTo>
                  <a:cubicBezTo>
                    <a:pt x="144" y="95"/>
                    <a:pt x="145" y="91"/>
                    <a:pt x="144" y="90"/>
                  </a:cubicBezTo>
                  <a:cubicBezTo>
                    <a:pt x="144" y="90"/>
                    <a:pt x="143" y="88"/>
                    <a:pt x="142" y="88"/>
                  </a:cubicBezTo>
                  <a:cubicBezTo>
                    <a:pt x="142" y="87"/>
                    <a:pt x="142" y="83"/>
                    <a:pt x="142" y="83"/>
                  </a:cubicBezTo>
                  <a:cubicBezTo>
                    <a:pt x="141" y="82"/>
                    <a:pt x="139" y="80"/>
                    <a:pt x="139" y="79"/>
                  </a:cubicBezTo>
                  <a:cubicBezTo>
                    <a:pt x="138" y="79"/>
                    <a:pt x="134" y="77"/>
                    <a:pt x="134" y="77"/>
                  </a:cubicBezTo>
                  <a:cubicBezTo>
                    <a:pt x="133" y="77"/>
                    <a:pt x="133" y="77"/>
                    <a:pt x="133" y="76"/>
                  </a:cubicBezTo>
                  <a:cubicBezTo>
                    <a:pt x="133" y="76"/>
                    <a:pt x="133" y="74"/>
                    <a:pt x="132" y="74"/>
                  </a:cubicBezTo>
                  <a:cubicBezTo>
                    <a:pt x="132" y="74"/>
                    <a:pt x="131" y="73"/>
                    <a:pt x="130" y="73"/>
                  </a:cubicBezTo>
                  <a:cubicBezTo>
                    <a:pt x="130" y="73"/>
                    <a:pt x="130" y="72"/>
                    <a:pt x="130" y="72"/>
                  </a:cubicBezTo>
                  <a:cubicBezTo>
                    <a:pt x="130" y="72"/>
                    <a:pt x="129" y="71"/>
                    <a:pt x="129" y="71"/>
                  </a:cubicBezTo>
                  <a:cubicBezTo>
                    <a:pt x="129" y="70"/>
                    <a:pt x="130" y="70"/>
                    <a:pt x="129" y="70"/>
                  </a:cubicBezTo>
                  <a:cubicBezTo>
                    <a:pt x="128" y="69"/>
                    <a:pt x="127" y="69"/>
                    <a:pt x="127" y="69"/>
                  </a:cubicBezTo>
                  <a:cubicBezTo>
                    <a:pt x="127" y="69"/>
                    <a:pt x="126" y="67"/>
                    <a:pt x="126" y="67"/>
                  </a:cubicBezTo>
                  <a:cubicBezTo>
                    <a:pt x="126" y="66"/>
                    <a:pt x="127" y="65"/>
                    <a:pt x="127" y="65"/>
                  </a:cubicBezTo>
                  <a:cubicBezTo>
                    <a:pt x="127" y="65"/>
                    <a:pt x="127" y="64"/>
                    <a:pt x="126" y="63"/>
                  </a:cubicBezTo>
                  <a:cubicBezTo>
                    <a:pt x="125" y="63"/>
                    <a:pt x="124" y="61"/>
                    <a:pt x="123" y="60"/>
                  </a:cubicBezTo>
                  <a:cubicBezTo>
                    <a:pt x="122" y="60"/>
                    <a:pt x="118" y="58"/>
                    <a:pt x="118" y="57"/>
                  </a:cubicBezTo>
                  <a:cubicBezTo>
                    <a:pt x="117" y="57"/>
                    <a:pt x="117" y="54"/>
                    <a:pt x="117" y="53"/>
                  </a:cubicBezTo>
                  <a:cubicBezTo>
                    <a:pt x="117" y="53"/>
                    <a:pt x="114" y="49"/>
                    <a:pt x="113" y="48"/>
                  </a:cubicBezTo>
                  <a:cubicBezTo>
                    <a:pt x="112" y="48"/>
                    <a:pt x="106" y="44"/>
                    <a:pt x="105" y="44"/>
                  </a:cubicBezTo>
                  <a:cubicBezTo>
                    <a:pt x="105" y="43"/>
                    <a:pt x="104" y="41"/>
                    <a:pt x="104" y="40"/>
                  </a:cubicBezTo>
                  <a:cubicBezTo>
                    <a:pt x="103" y="39"/>
                    <a:pt x="102" y="37"/>
                    <a:pt x="101" y="36"/>
                  </a:cubicBezTo>
                  <a:cubicBezTo>
                    <a:pt x="101" y="36"/>
                    <a:pt x="99" y="36"/>
                    <a:pt x="99" y="34"/>
                  </a:cubicBezTo>
                  <a:cubicBezTo>
                    <a:pt x="99" y="33"/>
                    <a:pt x="99" y="31"/>
                    <a:pt x="99" y="30"/>
                  </a:cubicBezTo>
                  <a:cubicBezTo>
                    <a:pt x="98" y="30"/>
                    <a:pt x="96" y="27"/>
                    <a:pt x="96" y="27"/>
                  </a:cubicBezTo>
                  <a:cubicBezTo>
                    <a:pt x="96" y="26"/>
                    <a:pt x="95" y="24"/>
                    <a:pt x="95" y="23"/>
                  </a:cubicBezTo>
                  <a:cubicBezTo>
                    <a:pt x="95" y="22"/>
                    <a:pt x="95" y="21"/>
                    <a:pt x="93" y="21"/>
                  </a:cubicBezTo>
                  <a:cubicBezTo>
                    <a:pt x="91" y="21"/>
                    <a:pt x="89" y="21"/>
                    <a:pt x="88" y="20"/>
                  </a:cubicBezTo>
                  <a:cubicBezTo>
                    <a:pt x="87" y="19"/>
                    <a:pt x="86" y="18"/>
                    <a:pt x="85" y="18"/>
                  </a:cubicBezTo>
                  <a:cubicBezTo>
                    <a:pt x="85" y="17"/>
                    <a:pt x="86" y="16"/>
                    <a:pt x="84" y="16"/>
                  </a:cubicBezTo>
                  <a:cubicBezTo>
                    <a:pt x="82" y="16"/>
                    <a:pt x="81" y="15"/>
                    <a:pt x="80" y="15"/>
                  </a:cubicBezTo>
                  <a:cubicBezTo>
                    <a:pt x="80" y="14"/>
                    <a:pt x="79" y="14"/>
                    <a:pt x="79" y="13"/>
                  </a:cubicBezTo>
                  <a:cubicBezTo>
                    <a:pt x="78" y="13"/>
                    <a:pt x="77" y="13"/>
                    <a:pt x="78" y="12"/>
                  </a:cubicBezTo>
                  <a:cubicBezTo>
                    <a:pt x="78" y="11"/>
                    <a:pt x="78" y="8"/>
                    <a:pt x="79" y="8"/>
                  </a:cubicBezTo>
                  <a:cubicBezTo>
                    <a:pt x="80" y="7"/>
                    <a:pt x="81" y="6"/>
                    <a:pt x="81" y="5"/>
                  </a:cubicBezTo>
                  <a:cubicBezTo>
                    <a:pt x="82" y="5"/>
                    <a:pt x="86" y="2"/>
                    <a:pt x="86" y="2"/>
                  </a:cubicBezTo>
                  <a:cubicBezTo>
                    <a:pt x="86" y="0"/>
                    <a:pt x="86" y="0"/>
                    <a:pt x="86" y="0"/>
                  </a:cubicBezTo>
                  <a:cubicBezTo>
                    <a:pt x="44" y="0"/>
                    <a:pt x="44" y="0"/>
                    <a:pt x="44" y="0"/>
                  </a:cubicBezTo>
                  <a:cubicBezTo>
                    <a:pt x="0" y="0"/>
                    <a:pt x="0" y="0"/>
                    <a:pt x="0" y="0"/>
                  </a:cubicBezTo>
                  <a:cubicBezTo>
                    <a:pt x="0" y="0"/>
                    <a:pt x="15" y="88"/>
                    <a:pt x="15" y="89"/>
                  </a:cubicBezTo>
                  <a:cubicBezTo>
                    <a:pt x="15" y="89"/>
                    <a:pt x="16" y="91"/>
                    <a:pt x="16" y="92"/>
                  </a:cubicBezTo>
                  <a:cubicBezTo>
                    <a:pt x="16" y="92"/>
                    <a:pt x="16" y="93"/>
                    <a:pt x="16" y="93"/>
                  </a:cubicBezTo>
                  <a:cubicBezTo>
                    <a:pt x="17" y="94"/>
                    <a:pt x="17" y="95"/>
                    <a:pt x="17" y="96"/>
                  </a:cubicBezTo>
                  <a:cubicBezTo>
                    <a:pt x="17" y="97"/>
                    <a:pt x="18" y="98"/>
                    <a:pt x="18" y="99"/>
                  </a:cubicBezTo>
                  <a:cubicBezTo>
                    <a:pt x="18" y="100"/>
                    <a:pt x="21" y="105"/>
                    <a:pt x="21" y="105"/>
                  </a:cubicBezTo>
                  <a:cubicBezTo>
                    <a:pt x="22" y="105"/>
                    <a:pt x="22" y="107"/>
                    <a:pt x="21" y="108"/>
                  </a:cubicBezTo>
                  <a:cubicBezTo>
                    <a:pt x="21" y="108"/>
                    <a:pt x="21" y="109"/>
                    <a:pt x="21" y="110"/>
                  </a:cubicBezTo>
                  <a:cubicBezTo>
                    <a:pt x="21" y="111"/>
                    <a:pt x="22" y="111"/>
                    <a:pt x="23" y="112"/>
                  </a:cubicBezTo>
                  <a:cubicBezTo>
                    <a:pt x="23" y="112"/>
                    <a:pt x="24" y="113"/>
                    <a:pt x="24" y="113"/>
                  </a:cubicBezTo>
                  <a:cubicBezTo>
                    <a:pt x="24" y="113"/>
                    <a:pt x="22" y="115"/>
                    <a:pt x="22" y="115"/>
                  </a:cubicBezTo>
                  <a:cubicBezTo>
                    <a:pt x="22" y="116"/>
                    <a:pt x="19" y="118"/>
                    <a:pt x="19" y="119"/>
                  </a:cubicBezTo>
                  <a:cubicBezTo>
                    <a:pt x="19" y="120"/>
                    <a:pt x="19" y="121"/>
                    <a:pt x="19" y="122"/>
                  </a:cubicBezTo>
                  <a:cubicBezTo>
                    <a:pt x="19" y="123"/>
                    <a:pt x="18" y="124"/>
                    <a:pt x="18" y="125"/>
                  </a:cubicBezTo>
                  <a:cubicBezTo>
                    <a:pt x="17" y="126"/>
                    <a:pt x="16" y="128"/>
                    <a:pt x="16" y="129"/>
                  </a:cubicBezTo>
                  <a:cubicBezTo>
                    <a:pt x="16" y="129"/>
                    <a:pt x="16" y="132"/>
                    <a:pt x="16" y="133"/>
                  </a:cubicBezTo>
                  <a:cubicBezTo>
                    <a:pt x="16" y="134"/>
                    <a:pt x="17" y="137"/>
                    <a:pt x="18" y="137"/>
                  </a:cubicBezTo>
                  <a:cubicBezTo>
                    <a:pt x="18" y="138"/>
                    <a:pt x="19" y="143"/>
                    <a:pt x="19" y="144"/>
                  </a:cubicBezTo>
                  <a:cubicBezTo>
                    <a:pt x="19" y="144"/>
                    <a:pt x="19" y="148"/>
                    <a:pt x="18" y="149"/>
                  </a:cubicBezTo>
                  <a:cubicBezTo>
                    <a:pt x="18" y="149"/>
                    <a:pt x="17" y="152"/>
                    <a:pt x="17" y="152"/>
                  </a:cubicBezTo>
                  <a:cubicBezTo>
                    <a:pt x="17" y="152"/>
                    <a:pt x="17" y="155"/>
                    <a:pt x="17" y="156"/>
                  </a:cubicBezTo>
                  <a:cubicBezTo>
                    <a:pt x="17" y="156"/>
                    <a:pt x="18" y="157"/>
                    <a:pt x="18" y="158"/>
                  </a:cubicBezTo>
                  <a:cubicBezTo>
                    <a:pt x="19" y="159"/>
                    <a:pt x="20" y="160"/>
                    <a:pt x="20" y="160"/>
                  </a:cubicBezTo>
                  <a:cubicBezTo>
                    <a:pt x="20" y="161"/>
                    <a:pt x="21" y="164"/>
                    <a:pt x="21" y="164"/>
                  </a:cubicBezTo>
                  <a:cubicBezTo>
                    <a:pt x="23" y="169"/>
                    <a:pt x="23" y="169"/>
                    <a:pt x="23" y="169"/>
                  </a:cubicBezTo>
                  <a:cubicBezTo>
                    <a:pt x="23" y="169"/>
                    <a:pt x="23" y="172"/>
                    <a:pt x="23" y="172"/>
                  </a:cubicBezTo>
                  <a:cubicBezTo>
                    <a:pt x="23" y="173"/>
                    <a:pt x="24" y="174"/>
                    <a:pt x="24" y="174"/>
                  </a:cubicBezTo>
                  <a:cubicBezTo>
                    <a:pt x="24" y="175"/>
                    <a:pt x="27" y="176"/>
                    <a:pt x="27" y="176"/>
                  </a:cubicBezTo>
                  <a:cubicBezTo>
                    <a:pt x="27" y="176"/>
                    <a:pt x="116" y="181"/>
                    <a:pt x="116" y="181"/>
                  </a:cubicBezTo>
                  <a:cubicBezTo>
                    <a:pt x="116" y="181"/>
                    <a:pt x="117" y="183"/>
                    <a:pt x="117" y="183"/>
                  </a:cubicBezTo>
                  <a:cubicBezTo>
                    <a:pt x="117" y="184"/>
                    <a:pt x="117" y="186"/>
                    <a:pt x="117" y="186"/>
                  </a:cubicBezTo>
                  <a:cubicBezTo>
                    <a:pt x="117" y="187"/>
                    <a:pt x="117" y="188"/>
                    <a:pt x="118" y="189"/>
                  </a:cubicBezTo>
                  <a:cubicBezTo>
                    <a:pt x="118" y="189"/>
                    <a:pt x="119" y="190"/>
                    <a:pt x="120" y="190"/>
                  </a:cubicBezTo>
                  <a:cubicBezTo>
                    <a:pt x="121" y="190"/>
                    <a:pt x="122" y="191"/>
                    <a:pt x="122" y="190"/>
                  </a:cubicBezTo>
                  <a:cubicBezTo>
                    <a:pt x="122" y="190"/>
                    <a:pt x="123" y="188"/>
                    <a:pt x="124" y="188"/>
                  </a:cubicBezTo>
                  <a:cubicBezTo>
                    <a:pt x="124" y="187"/>
                    <a:pt x="123" y="185"/>
                    <a:pt x="124" y="184"/>
                  </a:cubicBezTo>
                  <a:cubicBezTo>
                    <a:pt x="124" y="184"/>
                    <a:pt x="124" y="182"/>
                    <a:pt x="124" y="181"/>
                  </a:cubicBezTo>
                  <a:cubicBezTo>
                    <a:pt x="124" y="181"/>
                    <a:pt x="123" y="179"/>
                    <a:pt x="123" y="178"/>
                  </a:cubicBezTo>
                  <a:cubicBezTo>
                    <a:pt x="123" y="178"/>
                    <a:pt x="123" y="177"/>
                    <a:pt x="123" y="176"/>
                  </a:cubicBezTo>
                  <a:cubicBezTo>
                    <a:pt x="123" y="175"/>
                    <a:pt x="123" y="174"/>
                    <a:pt x="123" y="173"/>
                  </a:cubicBezTo>
                  <a:cubicBezTo>
                    <a:pt x="123" y="173"/>
                    <a:pt x="124" y="173"/>
                    <a:pt x="125" y="173"/>
                  </a:cubicBezTo>
                  <a:cubicBezTo>
                    <a:pt x="125" y="173"/>
                    <a:pt x="125" y="173"/>
                    <a:pt x="126" y="172"/>
                  </a:cubicBezTo>
                  <a:cubicBezTo>
                    <a:pt x="126" y="172"/>
                    <a:pt x="127" y="171"/>
                    <a:pt x="127" y="171"/>
                  </a:cubicBezTo>
                  <a:cubicBezTo>
                    <a:pt x="127" y="171"/>
                    <a:pt x="129" y="172"/>
                    <a:pt x="129" y="172"/>
                  </a:cubicBezTo>
                  <a:cubicBezTo>
                    <a:pt x="129" y="172"/>
                    <a:pt x="131" y="173"/>
                    <a:pt x="132" y="174"/>
                  </a:cubicBezTo>
                  <a:cubicBezTo>
                    <a:pt x="132" y="174"/>
                    <a:pt x="134" y="174"/>
                    <a:pt x="134" y="174"/>
                  </a:cubicBezTo>
                  <a:cubicBezTo>
                    <a:pt x="135" y="175"/>
                    <a:pt x="138" y="176"/>
                    <a:pt x="138" y="176"/>
                  </a:cubicBezTo>
                  <a:cubicBezTo>
                    <a:pt x="138" y="176"/>
                    <a:pt x="140" y="176"/>
                    <a:pt x="142" y="176"/>
                  </a:cubicBezTo>
                  <a:cubicBezTo>
                    <a:pt x="142" y="175"/>
                    <a:pt x="142" y="175"/>
                    <a:pt x="142" y="175"/>
                  </a:cubicBezTo>
                  <a:cubicBezTo>
                    <a:pt x="142" y="174"/>
                    <a:pt x="142" y="174"/>
                    <a:pt x="142" y="173"/>
                  </a:cubicBezTo>
                  <a:cubicBezTo>
                    <a:pt x="141" y="173"/>
                    <a:pt x="141" y="173"/>
                    <a:pt x="141" y="172"/>
                  </a:cubicBezTo>
                  <a:cubicBezTo>
                    <a:pt x="141" y="172"/>
                    <a:pt x="141" y="172"/>
                    <a:pt x="141" y="171"/>
                  </a:cubicBezTo>
                  <a:cubicBezTo>
                    <a:pt x="141" y="171"/>
                    <a:pt x="141" y="171"/>
                    <a:pt x="141" y="170"/>
                  </a:cubicBezTo>
                  <a:cubicBezTo>
                    <a:pt x="141" y="170"/>
                    <a:pt x="141" y="170"/>
                    <a:pt x="141" y="169"/>
                  </a:cubicBezTo>
                  <a:cubicBezTo>
                    <a:pt x="141" y="169"/>
                    <a:pt x="142" y="168"/>
                    <a:pt x="142" y="168"/>
                  </a:cubicBezTo>
                  <a:cubicBezTo>
                    <a:pt x="142" y="168"/>
                    <a:pt x="143" y="168"/>
                    <a:pt x="143" y="168"/>
                  </a:cubicBezTo>
                  <a:cubicBezTo>
                    <a:pt x="143" y="169"/>
                    <a:pt x="143" y="169"/>
                    <a:pt x="143" y="169"/>
                  </a:cubicBezTo>
                  <a:cubicBezTo>
                    <a:pt x="143" y="169"/>
                    <a:pt x="143" y="170"/>
                    <a:pt x="143" y="170"/>
                  </a:cubicBezTo>
                  <a:cubicBezTo>
                    <a:pt x="143" y="171"/>
                    <a:pt x="143" y="171"/>
                    <a:pt x="143" y="172"/>
                  </a:cubicBezTo>
                  <a:cubicBezTo>
                    <a:pt x="143" y="172"/>
                    <a:pt x="143" y="171"/>
                    <a:pt x="144" y="171"/>
                  </a:cubicBezTo>
                  <a:cubicBezTo>
                    <a:pt x="144" y="171"/>
                    <a:pt x="144" y="171"/>
                    <a:pt x="144" y="171"/>
                  </a:cubicBezTo>
                  <a:cubicBezTo>
                    <a:pt x="144" y="170"/>
                    <a:pt x="144" y="170"/>
                    <a:pt x="145" y="170"/>
                  </a:cubicBezTo>
                  <a:cubicBezTo>
                    <a:pt x="145" y="169"/>
                    <a:pt x="145" y="169"/>
                    <a:pt x="145" y="169"/>
                  </a:cubicBezTo>
                  <a:cubicBezTo>
                    <a:pt x="146" y="169"/>
                    <a:pt x="146" y="168"/>
                    <a:pt x="146" y="168"/>
                  </a:cubicBezTo>
                  <a:cubicBezTo>
                    <a:pt x="146" y="167"/>
                    <a:pt x="146" y="168"/>
                    <a:pt x="145" y="167"/>
                  </a:cubicBezTo>
                  <a:cubicBezTo>
                    <a:pt x="145" y="167"/>
                    <a:pt x="145" y="167"/>
                    <a:pt x="145" y="167"/>
                  </a:cubicBezTo>
                  <a:cubicBezTo>
                    <a:pt x="145" y="167"/>
                    <a:pt x="145" y="166"/>
                    <a:pt x="145" y="166"/>
                  </a:cubicBezTo>
                  <a:cubicBezTo>
                    <a:pt x="145" y="166"/>
                    <a:pt x="144" y="166"/>
                    <a:pt x="144" y="166"/>
                  </a:cubicBezTo>
                  <a:cubicBezTo>
                    <a:pt x="144" y="166"/>
                    <a:pt x="144" y="166"/>
                    <a:pt x="144" y="166"/>
                  </a:cubicBezTo>
                  <a:cubicBezTo>
                    <a:pt x="144" y="167"/>
                    <a:pt x="144" y="167"/>
                    <a:pt x="144" y="167"/>
                  </a:cubicBezTo>
                  <a:cubicBezTo>
                    <a:pt x="144" y="167"/>
                    <a:pt x="144" y="167"/>
                    <a:pt x="143" y="167"/>
                  </a:cubicBezTo>
                  <a:cubicBezTo>
                    <a:pt x="143" y="167"/>
                    <a:pt x="143" y="167"/>
                    <a:pt x="143" y="167"/>
                  </a:cubicBezTo>
                  <a:cubicBezTo>
                    <a:pt x="142" y="167"/>
                    <a:pt x="142" y="167"/>
                    <a:pt x="142" y="166"/>
                  </a:cubicBezTo>
                  <a:cubicBezTo>
                    <a:pt x="142" y="166"/>
                    <a:pt x="141" y="166"/>
                    <a:pt x="141" y="165"/>
                  </a:cubicBezTo>
                  <a:cubicBezTo>
                    <a:pt x="141" y="165"/>
                    <a:pt x="142" y="164"/>
                    <a:pt x="142" y="164"/>
                  </a:cubicBezTo>
                  <a:cubicBezTo>
                    <a:pt x="142" y="164"/>
                    <a:pt x="142" y="163"/>
                    <a:pt x="142" y="163"/>
                  </a:cubicBezTo>
                  <a:cubicBezTo>
                    <a:pt x="142" y="162"/>
                    <a:pt x="141" y="162"/>
                    <a:pt x="141" y="162"/>
                  </a:cubicBezTo>
                  <a:cubicBezTo>
                    <a:pt x="140" y="162"/>
                    <a:pt x="140" y="161"/>
                    <a:pt x="141" y="161"/>
                  </a:cubicBezTo>
                  <a:cubicBezTo>
                    <a:pt x="141" y="161"/>
                    <a:pt x="141" y="161"/>
                    <a:pt x="142" y="161"/>
                  </a:cubicBezTo>
                  <a:cubicBezTo>
                    <a:pt x="142" y="161"/>
                    <a:pt x="142" y="161"/>
                    <a:pt x="143" y="160"/>
                  </a:cubicBezTo>
                  <a:cubicBezTo>
                    <a:pt x="143" y="160"/>
                    <a:pt x="142" y="160"/>
                    <a:pt x="142" y="160"/>
                  </a:cubicBezTo>
                  <a:cubicBezTo>
                    <a:pt x="142" y="160"/>
                    <a:pt x="141" y="160"/>
                    <a:pt x="141" y="159"/>
                  </a:cubicBezTo>
                  <a:cubicBezTo>
                    <a:pt x="141" y="159"/>
                    <a:pt x="142" y="159"/>
                    <a:pt x="142" y="159"/>
                  </a:cubicBezTo>
                  <a:cubicBezTo>
                    <a:pt x="142" y="159"/>
                    <a:pt x="142" y="159"/>
                    <a:pt x="142" y="158"/>
                  </a:cubicBezTo>
                  <a:cubicBezTo>
                    <a:pt x="143" y="158"/>
                    <a:pt x="143" y="158"/>
                    <a:pt x="144" y="158"/>
                  </a:cubicBezTo>
                  <a:cubicBezTo>
                    <a:pt x="144" y="158"/>
                    <a:pt x="144" y="157"/>
                    <a:pt x="144" y="156"/>
                  </a:cubicBezTo>
                  <a:cubicBezTo>
                    <a:pt x="144" y="156"/>
                    <a:pt x="144" y="155"/>
                    <a:pt x="144" y="155"/>
                  </a:cubicBezTo>
                  <a:cubicBezTo>
                    <a:pt x="144" y="155"/>
                    <a:pt x="145" y="154"/>
                    <a:pt x="145" y="154"/>
                  </a:cubicBezTo>
                  <a:cubicBezTo>
                    <a:pt x="145" y="154"/>
                    <a:pt x="146" y="153"/>
                    <a:pt x="146" y="153"/>
                  </a:cubicBezTo>
                  <a:cubicBezTo>
                    <a:pt x="146" y="153"/>
                    <a:pt x="146" y="154"/>
                    <a:pt x="146" y="154"/>
                  </a:cubicBezTo>
                  <a:cubicBezTo>
                    <a:pt x="146" y="154"/>
                    <a:pt x="146" y="154"/>
                    <a:pt x="146" y="155"/>
                  </a:cubicBezTo>
                  <a:cubicBezTo>
                    <a:pt x="146" y="155"/>
                    <a:pt x="146" y="155"/>
                    <a:pt x="146" y="155"/>
                  </a:cubicBezTo>
                  <a:cubicBezTo>
                    <a:pt x="146" y="156"/>
                    <a:pt x="145" y="156"/>
                    <a:pt x="145" y="156"/>
                  </a:cubicBezTo>
                  <a:cubicBezTo>
                    <a:pt x="145" y="156"/>
                    <a:pt x="145" y="157"/>
                    <a:pt x="145" y="157"/>
                  </a:cubicBezTo>
                  <a:cubicBezTo>
                    <a:pt x="146" y="158"/>
                    <a:pt x="146" y="158"/>
                    <a:pt x="146" y="158"/>
                  </a:cubicBezTo>
                  <a:cubicBezTo>
                    <a:pt x="146" y="159"/>
                    <a:pt x="146" y="159"/>
                    <a:pt x="146" y="159"/>
                  </a:cubicBezTo>
                  <a:cubicBezTo>
                    <a:pt x="146" y="159"/>
                    <a:pt x="146" y="159"/>
                    <a:pt x="146" y="158"/>
                  </a:cubicBezTo>
                  <a:cubicBezTo>
                    <a:pt x="146" y="158"/>
                    <a:pt x="146" y="158"/>
                    <a:pt x="147" y="158"/>
                  </a:cubicBezTo>
                  <a:cubicBezTo>
                    <a:pt x="147" y="158"/>
                    <a:pt x="147" y="157"/>
                    <a:pt x="147" y="157"/>
                  </a:cubicBezTo>
                  <a:cubicBezTo>
                    <a:pt x="147" y="157"/>
                    <a:pt x="147" y="156"/>
                    <a:pt x="147" y="156"/>
                  </a:cubicBezTo>
                  <a:cubicBezTo>
                    <a:pt x="147" y="156"/>
                    <a:pt x="148" y="156"/>
                    <a:pt x="148" y="155"/>
                  </a:cubicBezTo>
                  <a:cubicBezTo>
                    <a:pt x="148" y="155"/>
                    <a:pt x="148" y="155"/>
                    <a:pt x="148" y="154"/>
                  </a:cubicBezTo>
                  <a:cubicBezTo>
                    <a:pt x="148" y="154"/>
                    <a:pt x="148" y="154"/>
                    <a:pt x="149" y="153"/>
                  </a:cubicBezTo>
                  <a:cubicBezTo>
                    <a:pt x="149" y="153"/>
                    <a:pt x="149" y="152"/>
                    <a:pt x="149" y="152"/>
                  </a:cubicBezTo>
                  <a:cubicBezTo>
                    <a:pt x="149" y="152"/>
                    <a:pt x="148" y="152"/>
                    <a:pt x="148" y="152"/>
                  </a:cubicBezTo>
                  <a:cubicBezTo>
                    <a:pt x="147" y="152"/>
                    <a:pt x="147" y="152"/>
                    <a:pt x="146" y="152"/>
                  </a:cubicBezTo>
                  <a:cubicBezTo>
                    <a:pt x="146" y="152"/>
                    <a:pt x="146" y="152"/>
                    <a:pt x="146" y="152"/>
                  </a:cubicBezTo>
                  <a:cubicBezTo>
                    <a:pt x="146" y="151"/>
                    <a:pt x="147" y="151"/>
                    <a:pt x="147" y="151"/>
                  </a:cubicBezTo>
                  <a:cubicBezTo>
                    <a:pt x="147" y="151"/>
                    <a:pt x="148" y="151"/>
                    <a:pt x="148" y="151"/>
                  </a:cubicBezTo>
                  <a:cubicBezTo>
                    <a:pt x="148" y="151"/>
                    <a:pt x="148" y="151"/>
                    <a:pt x="148" y="151"/>
                  </a:cubicBezTo>
                  <a:cubicBezTo>
                    <a:pt x="148" y="151"/>
                    <a:pt x="149" y="151"/>
                    <a:pt x="149" y="151"/>
                  </a:cubicBezTo>
                  <a:cubicBezTo>
                    <a:pt x="149" y="151"/>
                    <a:pt x="149" y="151"/>
                    <a:pt x="149" y="150"/>
                  </a:cubicBezTo>
                  <a:cubicBezTo>
                    <a:pt x="149" y="150"/>
                    <a:pt x="149" y="149"/>
                    <a:pt x="150" y="149"/>
                  </a:cubicBezTo>
                  <a:cubicBezTo>
                    <a:pt x="150" y="149"/>
                    <a:pt x="150" y="149"/>
                    <a:pt x="150" y="148"/>
                  </a:cubicBezTo>
                  <a:cubicBezTo>
                    <a:pt x="150" y="148"/>
                    <a:pt x="151" y="148"/>
                    <a:pt x="151" y="147"/>
                  </a:cubicBezTo>
                  <a:cubicBezTo>
                    <a:pt x="151" y="147"/>
                    <a:pt x="151" y="147"/>
                    <a:pt x="151" y="147"/>
                  </a:cubicBezTo>
                  <a:cubicBezTo>
                    <a:pt x="151" y="146"/>
                    <a:pt x="151" y="146"/>
                    <a:pt x="151" y="146"/>
                  </a:cubicBezTo>
                  <a:cubicBezTo>
                    <a:pt x="152" y="145"/>
                    <a:pt x="151" y="145"/>
                    <a:pt x="152" y="144"/>
                  </a:cubicBezTo>
                  <a:cubicBezTo>
                    <a:pt x="152" y="144"/>
                    <a:pt x="153" y="143"/>
                    <a:pt x="152" y="143"/>
                  </a:cubicBezTo>
                  <a:cubicBezTo>
                    <a:pt x="152" y="143"/>
                    <a:pt x="152" y="144"/>
                    <a:pt x="152" y="144"/>
                  </a:cubicBezTo>
                  <a:cubicBezTo>
                    <a:pt x="151" y="144"/>
                    <a:pt x="151" y="144"/>
                    <a:pt x="151" y="144"/>
                  </a:cubicBezTo>
                  <a:cubicBezTo>
                    <a:pt x="150" y="144"/>
                    <a:pt x="150" y="144"/>
                    <a:pt x="150" y="144"/>
                  </a:cubicBezTo>
                  <a:cubicBezTo>
                    <a:pt x="150" y="144"/>
                    <a:pt x="150" y="144"/>
                    <a:pt x="150" y="144"/>
                  </a:cubicBezTo>
                  <a:cubicBezTo>
                    <a:pt x="149" y="144"/>
                    <a:pt x="149" y="144"/>
                    <a:pt x="149" y="144"/>
                  </a:cubicBezTo>
                  <a:cubicBezTo>
                    <a:pt x="149" y="143"/>
                    <a:pt x="149" y="143"/>
                    <a:pt x="148" y="143"/>
                  </a:cubicBezTo>
                  <a:cubicBezTo>
                    <a:pt x="148" y="143"/>
                    <a:pt x="147" y="142"/>
                    <a:pt x="147" y="142"/>
                  </a:cubicBezTo>
                  <a:cubicBezTo>
                    <a:pt x="147" y="142"/>
                    <a:pt x="148" y="142"/>
                    <a:pt x="148" y="142"/>
                  </a:cubicBezTo>
                  <a:cubicBezTo>
                    <a:pt x="149" y="142"/>
                    <a:pt x="149" y="142"/>
                    <a:pt x="149" y="142"/>
                  </a:cubicBezTo>
                  <a:cubicBezTo>
                    <a:pt x="150" y="142"/>
                    <a:pt x="150" y="142"/>
                    <a:pt x="150" y="142"/>
                  </a:cubicBezTo>
                  <a:cubicBezTo>
                    <a:pt x="151" y="142"/>
                    <a:pt x="151" y="142"/>
                    <a:pt x="151" y="141"/>
                  </a:cubicBezTo>
                  <a:cubicBezTo>
                    <a:pt x="151" y="141"/>
                    <a:pt x="151" y="141"/>
                    <a:pt x="151" y="141"/>
                  </a:cubicBezTo>
                  <a:cubicBezTo>
                    <a:pt x="152" y="140"/>
                    <a:pt x="152" y="140"/>
                    <a:pt x="152" y="140"/>
                  </a:cubicBezTo>
                  <a:cubicBezTo>
                    <a:pt x="152" y="139"/>
                    <a:pt x="151" y="139"/>
                    <a:pt x="151" y="139"/>
                  </a:cubicBezTo>
                  <a:cubicBezTo>
                    <a:pt x="150" y="139"/>
                    <a:pt x="149" y="139"/>
                    <a:pt x="149" y="139"/>
                  </a:cubicBezTo>
                  <a:cubicBezTo>
                    <a:pt x="148" y="139"/>
                    <a:pt x="148" y="139"/>
                    <a:pt x="148" y="138"/>
                  </a:cubicBezTo>
                  <a:cubicBezTo>
                    <a:pt x="148" y="138"/>
                    <a:pt x="147" y="138"/>
                    <a:pt x="147" y="138"/>
                  </a:cubicBezTo>
                  <a:cubicBezTo>
                    <a:pt x="147" y="138"/>
                    <a:pt x="147" y="138"/>
                    <a:pt x="148" y="138"/>
                  </a:cubicBezTo>
                  <a:cubicBezTo>
                    <a:pt x="148" y="138"/>
                    <a:pt x="149" y="138"/>
                    <a:pt x="149" y="137"/>
                  </a:cubicBezTo>
                  <a:cubicBezTo>
                    <a:pt x="150" y="137"/>
                    <a:pt x="150" y="137"/>
                    <a:pt x="151" y="137"/>
                  </a:cubicBezTo>
                  <a:cubicBezTo>
                    <a:pt x="151" y="137"/>
                    <a:pt x="152" y="137"/>
                    <a:pt x="152" y="137"/>
                  </a:cubicBezTo>
                  <a:cubicBezTo>
                    <a:pt x="152" y="136"/>
                    <a:pt x="152" y="136"/>
                    <a:pt x="152" y="136"/>
                  </a:cubicBezTo>
                  <a:cubicBezTo>
                    <a:pt x="152" y="136"/>
                    <a:pt x="152" y="136"/>
                    <a:pt x="152" y="135"/>
                  </a:cubicBezTo>
                  <a:cubicBezTo>
                    <a:pt x="152" y="135"/>
                    <a:pt x="151" y="135"/>
                    <a:pt x="151" y="135"/>
                  </a:cubicBezTo>
                  <a:cubicBezTo>
                    <a:pt x="151" y="135"/>
                    <a:pt x="151" y="134"/>
                    <a:pt x="151" y="134"/>
                  </a:cubicBezTo>
                  <a:cubicBezTo>
                    <a:pt x="151" y="134"/>
                    <a:pt x="152" y="134"/>
                    <a:pt x="153" y="134"/>
                  </a:cubicBezTo>
                  <a:cubicBezTo>
                    <a:pt x="153" y="134"/>
                    <a:pt x="154" y="134"/>
                    <a:pt x="154" y="134"/>
                  </a:cubicBezTo>
                  <a:cubicBezTo>
                    <a:pt x="154" y="134"/>
                    <a:pt x="154" y="135"/>
                    <a:pt x="154" y="135"/>
                  </a:cubicBezTo>
                  <a:cubicBezTo>
                    <a:pt x="154" y="136"/>
                    <a:pt x="155" y="135"/>
                    <a:pt x="155" y="135"/>
                  </a:cubicBezTo>
                  <a:cubicBezTo>
                    <a:pt x="156" y="134"/>
                    <a:pt x="156" y="134"/>
                    <a:pt x="157" y="133"/>
                  </a:cubicBezTo>
                  <a:cubicBezTo>
                    <a:pt x="157" y="133"/>
                    <a:pt x="159" y="131"/>
                    <a:pt x="157" y="131"/>
                  </a:cubicBezTo>
                  <a:cubicBezTo>
                    <a:pt x="157" y="131"/>
                    <a:pt x="157" y="131"/>
                    <a:pt x="156" y="131"/>
                  </a:cubicBezTo>
                  <a:cubicBezTo>
                    <a:pt x="156" y="131"/>
                    <a:pt x="156" y="131"/>
                    <a:pt x="156" y="130"/>
                  </a:cubicBezTo>
                  <a:cubicBezTo>
                    <a:pt x="156" y="130"/>
                    <a:pt x="155" y="130"/>
                    <a:pt x="155" y="130"/>
                  </a:cubicBezTo>
                  <a:cubicBezTo>
                    <a:pt x="154" y="130"/>
                    <a:pt x="155" y="130"/>
                    <a:pt x="155" y="129"/>
                  </a:cubicBezTo>
                  <a:cubicBezTo>
                    <a:pt x="155" y="129"/>
                    <a:pt x="155" y="129"/>
                    <a:pt x="155" y="129"/>
                  </a:cubicBezTo>
                  <a:cubicBezTo>
                    <a:pt x="155" y="128"/>
                    <a:pt x="155" y="128"/>
                    <a:pt x="155" y="128"/>
                  </a:cubicBezTo>
                  <a:cubicBezTo>
                    <a:pt x="155" y="127"/>
                    <a:pt x="156" y="127"/>
                    <a:pt x="156" y="128"/>
                  </a:cubicBezTo>
                  <a:cubicBezTo>
                    <a:pt x="156" y="128"/>
                    <a:pt x="157" y="128"/>
                    <a:pt x="157" y="129"/>
                  </a:cubicBezTo>
                  <a:cubicBezTo>
                    <a:pt x="158" y="129"/>
                    <a:pt x="158" y="129"/>
                    <a:pt x="158" y="129"/>
                  </a:cubicBezTo>
                  <a:cubicBezTo>
                    <a:pt x="159" y="129"/>
                    <a:pt x="159" y="129"/>
                    <a:pt x="160" y="129"/>
                  </a:cubicBezTo>
                  <a:cubicBezTo>
                    <a:pt x="160" y="128"/>
                    <a:pt x="160" y="128"/>
                    <a:pt x="161" y="128"/>
                  </a:cubicBezTo>
                  <a:cubicBezTo>
                    <a:pt x="161" y="127"/>
                    <a:pt x="160" y="127"/>
                    <a:pt x="160" y="127"/>
                  </a:cubicBezTo>
                  <a:cubicBezTo>
                    <a:pt x="159" y="126"/>
                    <a:pt x="159" y="126"/>
                    <a:pt x="159" y="126"/>
                  </a:cubicBezTo>
                  <a:cubicBezTo>
                    <a:pt x="159" y="126"/>
                    <a:pt x="158" y="126"/>
                    <a:pt x="159" y="125"/>
                  </a:cubicBezTo>
                  <a:cubicBezTo>
                    <a:pt x="159" y="125"/>
                    <a:pt x="159" y="125"/>
                    <a:pt x="160" y="125"/>
                  </a:cubicBezTo>
                  <a:cubicBezTo>
                    <a:pt x="160" y="126"/>
                    <a:pt x="160" y="126"/>
                    <a:pt x="160" y="126"/>
                  </a:cubicBezTo>
                  <a:cubicBezTo>
                    <a:pt x="161" y="126"/>
                    <a:pt x="161" y="126"/>
                    <a:pt x="162" y="126"/>
                  </a:cubicBezTo>
                  <a:cubicBezTo>
                    <a:pt x="162" y="126"/>
                    <a:pt x="163" y="126"/>
                    <a:pt x="163" y="126"/>
                  </a:cubicBezTo>
                  <a:cubicBezTo>
                    <a:pt x="164" y="125"/>
                    <a:pt x="164" y="125"/>
                    <a:pt x="164" y="125"/>
                  </a:cubicBezTo>
                  <a:cubicBezTo>
                    <a:pt x="165" y="124"/>
                    <a:pt x="164" y="124"/>
                    <a:pt x="164" y="123"/>
                  </a:cubicBezTo>
                  <a:cubicBezTo>
                    <a:pt x="164" y="123"/>
                    <a:pt x="164" y="123"/>
                    <a:pt x="163" y="123"/>
                  </a:cubicBezTo>
                  <a:cubicBezTo>
                    <a:pt x="163" y="123"/>
                    <a:pt x="163" y="123"/>
                    <a:pt x="162" y="123"/>
                  </a:cubicBezTo>
                  <a:cubicBezTo>
                    <a:pt x="162" y="123"/>
                    <a:pt x="161" y="122"/>
                    <a:pt x="161" y="122"/>
                  </a:cubicBezTo>
                  <a:cubicBezTo>
                    <a:pt x="161" y="122"/>
                    <a:pt x="160" y="122"/>
                    <a:pt x="160" y="122"/>
                  </a:cubicBezTo>
                  <a:cubicBezTo>
                    <a:pt x="160" y="122"/>
                    <a:pt x="160" y="122"/>
                    <a:pt x="160" y="122"/>
                  </a:cubicBezTo>
                  <a:cubicBezTo>
                    <a:pt x="159" y="121"/>
                    <a:pt x="160" y="121"/>
                    <a:pt x="160" y="121"/>
                  </a:cubicBezTo>
                  <a:cubicBezTo>
                    <a:pt x="160" y="121"/>
                    <a:pt x="160" y="121"/>
                    <a:pt x="160" y="121"/>
                  </a:cubicBezTo>
                  <a:cubicBezTo>
                    <a:pt x="160" y="121"/>
                    <a:pt x="160" y="120"/>
                    <a:pt x="159" y="120"/>
                  </a:cubicBezTo>
                  <a:close/>
                </a:path>
              </a:pathLst>
            </a:custGeom>
            <a:solidFill>
              <a:srgbClr val="C0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5" name="Freeform 48">
              <a:extLst>
                <a:ext uri="{FF2B5EF4-FFF2-40B4-BE49-F238E27FC236}">
                  <a16:creationId xmlns:a16="http://schemas.microsoft.com/office/drawing/2014/main" id="{7F2D52E4-514A-A67A-37F0-600D19E33B31}"/>
                </a:ext>
              </a:extLst>
            </p:cNvPr>
            <p:cNvSpPr>
              <a:spLocks noEditPoints="1"/>
            </p:cNvSpPr>
            <p:nvPr/>
          </p:nvSpPr>
          <p:spPr bwMode="auto">
            <a:xfrm>
              <a:off x="7593685" y="4208092"/>
              <a:ext cx="1042541" cy="915322"/>
            </a:xfrm>
            <a:custGeom>
              <a:avLst/>
              <a:gdLst>
                <a:gd name="T0" fmla="*/ 251 w 263"/>
                <a:gd name="T1" fmla="*/ 230 h 231"/>
                <a:gd name="T2" fmla="*/ 193 w 263"/>
                <a:gd name="T3" fmla="*/ 12 h 231"/>
                <a:gd name="T4" fmla="*/ 187 w 263"/>
                <a:gd name="T5" fmla="*/ 19 h 231"/>
                <a:gd name="T6" fmla="*/ 0 w 263"/>
                <a:gd name="T7" fmla="*/ 6 h 231"/>
                <a:gd name="T8" fmla="*/ 9 w 263"/>
                <a:gd name="T9" fmla="*/ 22 h 231"/>
                <a:gd name="T10" fmla="*/ 11 w 263"/>
                <a:gd name="T11" fmla="*/ 27 h 231"/>
                <a:gd name="T12" fmla="*/ 18 w 263"/>
                <a:gd name="T13" fmla="*/ 22 h 231"/>
                <a:gd name="T14" fmla="*/ 22 w 263"/>
                <a:gd name="T15" fmla="*/ 21 h 231"/>
                <a:gd name="T16" fmla="*/ 35 w 263"/>
                <a:gd name="T17" fmla="*/ 25 h 231"/>
                <a:gd name="T18" fmla="*/ 46 w 263"/>
                <a:gd name="T19" fmla="*/ 22 h 231"/>
                <a:gd name="T20" fmla="*/ 50 w 263"/>
                <a:gd name="T21" fmla="*/ 26 h 231"/>
                <a:gd name="T22" fmla="*/ 65 w 263"/>
                <a:gd name="T23" fmla="*/ 35 h 231"/>
                <a:gd name="T24" fmla="*/ 69 w 263"/>
                <a:gd name="T25" fmla="*/ 37 h 231"/>
                <a:gd name="T26" fmla="*/ 81 w 263"/>
                <a:gd name="T27" fmla="*/ 53 h 231"/>
                <a:gd name="T28" fmla="*/ 94 w 263"/>
                <a:gd name="T29" fmla="*/ 50 h 231"/>
                <a:gd name="T30" fmla="*/ 104 w 263"/>
                <a:gd name="T31" fmla="*/ 46 h 231"/>
                <a:gd name="T32" fmla="*/ 116 w 263"/>
                <a:gd name="T33" fmla="*/ 38 h 231"/>
                <a:gd name="T34" fmla="*/ 133 w 263"/>
                <a:gd name="T35" fmla="*/ 42 h 231"/>
                <a:gd name="T36" fmla="*/ 150 w 263"/>
                <a:gd name="T37" fmla="*/ 62 h 231"/>
                <a:gd name="T38" fmla="*/ 157 w 263"/>
                <a:gd name="T39" fmla="*/ 68 h 231"/>
                <a:gd name="T40" fmla="*/ 168 w 263"/>
                <a:gd name="T41" fmla="*/ 78 h 231"/>
                <a:gd name="T42" fmla="*/ 171 w 263"/>
                <a:gd name="T43" fmla="*/ 88 h 231"/>
                <a:gd name="T44" fmla="*/ 169 w 263"/>
                <a:gd name="T45" fmla="*/ 110 h 231"/>
                <a:gd name="T46" fmla="*/ 169 w 263"/>
                <a:gd name="T47" fmla="*/ 129 h 231"/>
                <a:gd name="T48" fmla="*/ 171 w 263"/>
                <a:gd name="T49" fmla="*/ 122 h 231"/>
                <a:gd name="T50" fmla="*/ 178 w 263"/>
                <a:gd name="T51" fmla="*/ 126 h 231"/>
                <a:gd name="T52" fmla="*/ 181 w 263"/>
                <a:gd name="T53" fmla="*/ 126 h 231"/>
                <a:gd name="T54" fmla="*/ 175 w 263"/>
                <a:gd name="T55" fmla="*/ 137 h 231"/>
                <a:gd name="T56" fmla="*/ 173 w 263"/>
                <a:gd name="T57" fmla="*/ 142 h 231"/>
                <a:gd name="T58" fmla="*/ 182 w 263"/>
                <a:gd name="T59" fmla="*/ 160 h 231"/>
                <a:gd name="T60" fmla="*/ 189 w 263"/>
                <a:gd name="T61" fmla="*/ 164 h 231"/>
                <a:gd name="T62" fmla="*/ 195 w 263"/>
                <a:gd name="T63" fmla="*/ 159 h 231"/>
                <a:gd name="T64" fmla="*/ 192 w 263"/>
                <a:gd name="T65" fmla="*/ 170 h 231"/>
                <a:gd name="T66" fmla="*/ 192 w 263"/>
                <a:gd name="T67" fmla="*/ 178 h 231"/>
                <a:gd name="T68" fmla="*/ 198 w 263"/>
                <a:gd name="T69" fmla="*/ 181 h 231"/>
                <a:gd name="T70" fmla="*/ 202 w 263"/>
                <a:gd name="T71" fmla="*/ 194 h 231"/>
                <a:gd name="T72" fmla="*/ 213 w 263"/>
                <a:gd name="T73" fmla="*/ 204 h 231"/>
                <a:gd name="T74" fmla="*/ 222 w 263"/>
                <a:gd name="T75" fmla="*/ 217 h 231"/>
                <a:gd name="T76" fmla="*/ 224 w 263"/>
                <a:gd name="T77" fmla="*/ 222 h 231"/>
                <a:gd name="T78" fmla="*/ 234 w 263"/>
                <a:gd name="T79" fmla="*/ 229 h 231"/>
                <a:gd name="T80" fmla="*/ 252 w 263"/>
                <a:gd name="T81" fmla="*/ 222 h 231"/>
                <a:gd name="T82" fmla="*/ 255 w 263"/>
                <a:gd name="T83" fmla="*/ 210 h 231"/>
                <a:gd name="T84" fmla="*/ 259 w 263"/>
                <a:gd name="T85" fmla="*/ 200 h 231"/>
                <a:gd name="T86" fmla="*/ 262 w 263"/>
                <a:gd name="T87" fmla="*/ 179 h 231"/>
                <a:gd name="T88" fmla="*/ 261 w 263"/>
                <a:gd name="T89" fmla="*/ 160 h 231"/>
                <a:gd name="T90" fmla="*/ 256 w 263"/>
                <a:gd name="T91" fmla="*/ 151 h 231"/>
                <a:gd name="T92" fmla="*/ 255 w 263"/>
                <a:gd name="T93" fmla="*/ 147 h 231"/>
                <a:gd name="T94" fmla="*/ 252 w 263"/>
                <a:gd name="T95" fmla="*/ 140 h 231"/>
                <a:gd name="T96" fmla="*/ 250 w 263"/>
                <a:gd name="T97" fmla="*/ 131 h 231"/>
                <a:gd name="T98" fmla="*/ 245 w 263"/>
                <a:gd name="T99" fmla="*/ 120 h 231"/>
                <a:gd name="T100" fmla="*/ 239 w 263"/>
                <a:gd name="T101" fmla="*/ 107 h 231"/>
                <a:gd name="T102" fmla="*/ 242 w 263"/>
                <a:gd name="T103" fmla="*/ 100 h 231"/>
                <a:gd name="T104" fmla="*/ 245 w 263"/>
                <a:gd name="T105" fmla="*/ 101 h 231"/>
                <a:gd name="T106" fmla="*/ 236 w 263"/>
                <a:gd name="T107" fmla="*/ 88 h 231"/>
                <a:gd name="T108" fmla="*/ 231 w 263"/>
                <a:gd name="T109" fmla="*/ 76 h 231"/>
                <a:gd name="T110" fmla="*/ 228 w 263"/>
                <a:gd name="T111" fmla="*/ 69 h 231"/>
                <a:gd name="T112" fmla="*/ 225 w 263"/>
                <a:gd name="T113" fmla="*/ 63 h 231"/>
                <a:gd name="T114" fmla="*/ 219 w 263"/>
                <a:gd name="T115" fmla="*/ 46 h 231"/>
                <a:gd name="T116" fmla="*/ 217 w 263"/>
                <a:gd name="T117" fmla="*/ 34 h 231"/>
                <a:gd name="T118" fmla="*/ 216 w 263"/>
                <a:gd name="T119" fmla="*/ 26 h 231"/>
                <a:gd name="T120" fmla="*/ 214 w 263"/>
                <a:gd name="T121" fmla="*/ 22 h 231"/>
                <a:gd name="T122" fmla="*/ 213 w 263"/>
                <a:gd name="T123" fmla="*/ 17 h 231"/>
                <a:gd name="T124" fmla="*/ 212 w 263"/>
                <a:gd name="T125" fmla="*/ 1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 h="231">
                  <a:moveTo>
                    <a:pt x="249" y="231"/>
                  </a:moveTo>
                  <a:cubicBezTo>
                    <a:pt x="249" y="229"/>
                    <a:pt x="249" y="229"/>
                    <a:pt x="250" y="228"/>
                  </a:cubicBezTo>
                  <a:cubicBezTo>
                    <a:pt x="251" y="227"/>
                    <a:pt x="252" y="226"/>
                    <a:pt x="252" y="225"/>
                  </a:cubicBezTo>
                  <a:cubicBezTo>
                    <a:pt x="252" y="224"/>
                    <a:pt x="253" y="223"/>
                    <a:pt x="254" y="223"/>
                  </a:cubicBezTo>
                  <a:cubicBezTo>
                    <a:pt x="254" y="223"/>
                    <a:pt x="254" y="224"/>
                    <a:pt x="254" y="225"/>
                  </a:cubicBezTo>
                  <a:cubicBezTo>
                    <a:pt x="253" y="225"/>
                    <a:pt x="253" y="226"/>
                    <a:pt x="253" y="227"/>
                  </a:cubicBezTo>
                  <a:cubicBezTo>
                    <a:pt x="252" y="227"/>
                    <a:pt x="252" y="228"/>
                    <a:pt x="252" y="228"/>
                  </a:cubicBezTo>
                  <a:cubicBezTo>
                    <a:pt x="252" y="229"/>
                    <a:pt x="251" y="229"/>
                    <a:pt x="251" y="229"/>
                  </a:cubicBezTo>
                  <a:cubicBezTo>
                    <a:pt x="251" y="230"/>
                    <a:pt x="251" y="230"/>
                    <a:pt x="251" y="230"/>
                  </a:cubicBezTo>
                  <a:cubicBezTo>
                    <a:pt x="250" y="231"/>
                    <a:pt x="250" y="231"/>
                    <a:pt x="249" y="231"/>
                  </a:cubicBezTo>
                  <a:close/>
                  <a:moveTo>
                    <a:pt x="204" y="10"/>
                  </a:moveTo>
                  <a:cubicBezTo>
                    <a:pt x="204" y="10"/>
                    <a:pt x="202" y="10"/>
                    <a:pt x="202" y="10"/>
                  </a:cubicBezTo>
                  <a:cubicBezTo>
                    <a:pt x="201" y="9"/>
                    <a:pt x="199" y="8"/>
                    <a:pt x="199" y="8"/>
                  </a:cubicBezTo>
                  <a:cubicBezTo>
                    <a:pt x="199" y="8"/>
                    <a:pt x="197" y="7"/>
                    <a:pt x="197" y="7"/>
                  </a:cubicBezTo>
                  <a:cubicBezTo>
                    <a:pt x="197" y="7"/>
                    <a:pt x="196" y="8"/>
                    <a:pt x="196" y="8"/>
                  </a:cubicBezTo>
                  <a:cubicBezTo>
                    <a:pt x="195" y="9"/>
                    <a:pt x="195" y="9"/>
                    <a:pt x="195" y="9"/>
                  </a:cubicBezTo>
                  <a:cubicBezTo>
                    <a:pt x="194" y="9"/>
                    <a:pt x="193" y="9"/>
                    <a:pt x="193" y="9"/>
                  </a:cubicBezTo>
                  <a:cubicBezTo>
                    <a:pt x="193" y="10"/>
                    <a:pt x="193" y="11"/>
                    <a:pt x="193" y="12"/>
                  </a:cubicBezTo>
                  <a:cubicBezTo>
                    <a:pt x="193" y="13"/>
                    <a:pt x="193" y="14"/>
                    <a:pt x="193" y="14"/>
                  </a:cubicBezTo>
                  <a:cubicBezTo>
                    <a:pt x="193" y="15"/>
                    <a:pt x="194" y="17"/>
                    <a:pt x="194" y="17"/>
                  </a:cubicBezTo>
                  <a:cubicBezTo>
                    <a:pt x="194" y="18"/>
                    <a:pt x="194" y="20"/>
                    <a:pt x="194" y="20"/>
                  </a:cubicBezTo>
                  <a:cubicBezTo>
                    <a:pt x="193" y="21"/>
                    <a:pt x="194" y="23"/>
                    <a:pt x="194" y="24"/>
                  </a:cubicBezTo>
                  <a:cubicBezTo>
                    <a:pt x="193" y="24"/>
                    <a:pt x="192" y="26"/>
                    <a:pt x="192" y="26"/>
                  </a:cubicBezTo>
                  <a:cubicBezTo>
                    <a:pt x="192" y="27"/>
                    <a:pt x="191" y="26"/>
                    <a:pt x="190" y="26"/>
                  </a:cubicBezTo>
                  <a:cubicBezTo>
                    <a:pt x="189" y="26"/>
                    <a:pt x="188" y="25"/>
                    <a:pt x="188" y="25"/>
                  </a:cubicBezTo>
                  <a:cubicBezTo>
                    <a:pt x="187" y="24"/>
                    <a:pt x="187" y="23"/>
                    <a:pt x="187" y="22"/>
                  </a:cubicBezTo>
                  <a:cubicBezTo>
                    <a:pt x="187" y="22"/>
                    <a:pt x="187" y="20"/>
                    <a:pt x="187" y="19"/>
                  </a:cubicBezTo>
                  <a:cubicBezTo>
                    <a:pt x="187" y="19"/>
                    <a:pt x="186" y="17"/>
                    <a:pt x="186" y="17"/>
                  </a:cubicBezTo>
                  <a:cubicBezTo>
                    <a:pt x="186" y="17"/>
                    <a:pt x="97" y="12"/>
                    <a:pt x="97" y="12"/>
                  </a:cubicBezTo>
                  <a:cubicBezTo>
                    <a:pt x="97" y="12"/>
                    <a:pt x="94" y="11"/>
                    <a:pt x="94" y="10"/>
                  </a:cubicBezTo>
                  <a:cubicBezTo>
                    <a:pt x="94" y="10"/>
                    <a:pt x="93" y="9"/>
                    <a:pt x="93" y="8"/>
                  </a:cubicBezTo>
                  <a:cubicBezTo>
                    <a:pt x="93" y="8"/>
                    <a:pt x="93" y="5"/>
                    <a:pt x="93" y="5"/>
                  </a:cubicBezTo>
                  <a:cubicBezTo>
                    <a:pt x="91" y="0"/>
                    <a:pt x="91" y="0"/>
                    <a:pt x="91" y="0"/>
                  </a:cubicBezTo>
                  <a:cubicBezTo>
                    <a:pt x="2" y="0"/>
                    <a:pt x="2" y="0"/>
                    <a:pt x="2" y="0"/>
                  </a:cubicBezTo>
                  <a:cubicBezTo>
                    <a:pt x="1" y="3"/>
                    <a:pt x="1" y="3"/>
                    <a:pt x="1" y="3"/>
                  </a:cubicBezTo>
                  <a:cubicBezTo>
                    <a:pt x="0" y="6"/>
                    <a:pt x="0" y="6"/>
                    <a:pt x="0" y="6"/>
                  </a:cubicBezTo>
                  <a:cubicBezTo>
                    <a:pt x="0" y="6"/>
                    <a:pt x="2" y="8"/>
                    <a:pt x="2" y="8"/>
                  </a:cubicBezTo>
                  <a:cubicBezTo>
                    <a:pt x="2" y="9"/>
                    <a:pt x="4" y="10"/>
                    <a:pt x="4" y="10"/>
                  </a:cubicBezTo>
                  <a:cubicBezTo>
                    <a:pt x="4" y="11"/>
                    <a:pt x="4" y="12"/>
                    <a:pt x="5" y="12"/>
                  </a:cubicBezTo>
                  <a:cubicBezTo>
                    <a:pt x="5" y="12"/>
                    <a:pt x="8" y="13"/>
                    <a:pt x="8" y="13"/>
                  </a:cubicBezTo>
                  <a:cubicBezTo>
                    <a:pt x="8" y="13"/>
                    <a:pt x="8" y="15"/>
                    <a:pt x="8" y="15"/>
                  </a:cubicBezTo>
                  <a:cubicBezTo>
                    <a:pt x="8" y="15"/>
                    <a:pt x="7" y="17"/>
                    <a:pt x="7" y="17"/>
                  </a:cubicBezTo>
                  <a:cubicBezTo>
                    <a:pt x="7" y="18"/>
                    <a:pt x="7" y="19"/>
                    <a:pt x="7" y="19"/>
                  </a:cubicBezTo>
                  <a:cubicBezTo>
                    <a:pt x="7" y="19"/>
                    <a:pt x="7" y="20"/>
                    <a:pt x="7" y="21"/>
                  </a:cubicBezTo>
                  <a:cubicBezTo>
                    <a:pt x="8" y="21"/>
                    <a:pt x="8" y="22"/>
                    <a:pt x="9" y="22"/>
                  </a:cubicBezTo>
                  <a:cubicBezTo>
                    <a:pt x="9" y="22"/>
                    <a:pt x="10" y="22"/>
                    <a:pt x="10" y="23"/>
                  </a:cubicBezTo>
                  <a:cubicBezTo>
                    <a:pt x="10" y="24"/>
                    <a:pt x="9" y="24"/>
                    <a:pt x="8" y="25"/>
                  </a:cubicBezTo>
                  <a:cubicBezTo>
                    <a:pt x="8" y="25"/>
                    <a:pt x="8" y="25"/>
                    <a:pt x="8" y="26"/>
                  </a:cubicBezTo>
                  <a:cubicBezTo>
                    <a:pt x="7" y="26"/>
                    <a:pt x="7" y="26"/>
                    <a:pt x="7" y="27"/>
                  </a:cubicBezTo>
                  <a:cubicBezTo>
                    <a:pt x="6" y="27"/>
                    <a:pt x="6" y="28"/>
                    <a:pt x="6" y="29"/>
                  </a:cubicBezTo>
                  <a:cubicBezTo>
                    <a:pt x="6" y="29"/>
                    <a:pt x="6" y="29"/>
                    <a:pt x="7" y="29"/>
                  </a:cubicBezTo>
                  <a:cubicBezTo>
                    <a:pt x="7" y="28"/>
                    <a:pt x="8" y="28"/>
                    <a:pt x="8" y="28"/>
                  </a:cubicBezTo>
                  <a:cubicBezTo>
                    <a:pt x="9" y="28"/>
                    <a:pt x="10" y="28"/>
                    <a:pt x="11" y="28"/>
                  </a:cubicBezTo>
                  <a:cubicBezTo>
                    <a:pt x="11" y="27"/>
                    <a:pt x="11" y="27"/>
                    <a:pt x="11" y="27"/>
                  </a:cubicBezTo>
                  <a:cubicBezTo>
                    <a:pt x="12" y="27"/>
                    <a:pt x="12" y="27"/>
                    <a:pt x="12" y="27"/>
                  </a:cubicBezTo>
                  <a:cubicBezTo>
                    <a:pt x="13" y="26"/>
                    <a:pt x="13" y="26"/>
                    <a:pt x="13" y="25"/>
                  </a:cubicBezTo>
                  <a:cubicBezTo>
                    <a:pt x="13" y="25"/>
                    <a:pt x="14" y="25"/>
                    <a:pt x="14" y="25"/>
                  </a:cubicBezTo>
                  <a:cubicBezTo>
                    <a:pt x="15" y="25"/>
                    <a:pt x="16" y="24"/>
                    <a:pt x="16" y="23"/>
                  </a:cubicBezTo>
                  <a:cubicBezTo>
                    <a:pt x="16" y="22"/>
                    <a:pt x="17" y="21"/>
                    <a:pt x="17" y="20"/>
                  </a:cubicBezTo>
                  <a:cubicBezTo>
                    <a:pt x="17" y="20"/>
                    <a:pt x="17" y="19"/>
                    <a:pt x="17" y="19"/>
                  </a:cubicBezTo>
                  <a:cubicBezTo>
                    <a:pt x="17" y="19"/>
                    <a:pt x="18" y="19"/>
                    <a:pt x="18" y="20"/>
                  </a:cubicBezTo>
                  <a:cubicBezTo>
                    <a:pt x="18" y="20"/>
                    <a:pt x="18" y="20"/>
                    <a:pt x="18" y="21"/>
                  </a:cubicBezTo>
                  <a:cubicBezTo>
                    <a:pt x="18" y="21"/>
                    <a:pt x="18" y="22"/>
                    <a:pt x="18" y="22"/>
                  </a:cubicBezTo>
                  <a:cubicBezTo>
                    <a:pt x="19" y="22"/>
                    <a:pt x="19" y="22"/>
                    <a:pt x="19" y="21"/>
                  </a:cubicBezTo>
                  <a:cubicBezTo>
                    <a:pt x="20" y="21"/>
                    <a:pt x="20" y="21"/>
                    <a:pt x="20" y="21"/>
                  </a:cubicBezTo>
                  <a:cubicBezTo>
                    <a:pt x="20" y="20"/>
                    <a:pt x="20" y="20"/>
                    <a:pt x="20" y="20"/>
                  </a:cubicBezTo>
                  <a:cubicBezTo>
                    <a:pt x="20" y="19"/>
                    <a:pt x="20" y="19"/>
                    <a:pt x="21" y="18"/>
                  </a:cubicBezTo>
                  <a:cubicBezTo>
                    <a:pt x="21" y="18"/>
                    <a:pt x="21" y="18"/>
                    <a:pt x="21" y="18"/>
                  </a:cubicBezTo>
                  <a:cubicBezTo>
                    <a:pt x="21" y="18"/>
                    <a:pt x="21" y="19"/>
                    <a:pt x="21" y="19"/>
                  </a:cubicBezTo>
                  <a:cubicBezTo>
                    <a:pt x="21" y="19"/>
                    <a:pt x="21" y="20"/>
                    <a:pt x="21" y="20"/>
                  </a:cubicBezTo>
                  <a:cubicBezTo>
                    <a:pt x="21" y="20"/>
                    <a:pt x="21" y="20"/>
                    <a:pt x="22" y="21"/>
                  </a:cubicBezTo>
                  <a:cubicBezTo>
                    <a:pt x="22" y="21"/>
                    <a:pt x="22" y="21"/>
                    <a:pt x="22" y="21"/>
                  </a:cubicBezTo>
                  <a:cubicBezTo>
                    <a:pt x="23" y="22"/>
                    <a:pt x="24" y="21"/>
                    <a:pt x="24" y="22"/>
                  </a:cubicBezTo>
                  <a:cubicBezTo>
                    <a:pt x="25" y="23"/>
                    <a:pt x="22" y="23"/>
                    <a:pt x="22" y="24"/>
                  </a:cubicBezTo>
                  <a:cubicBezTo>
                    <a:pt x="21" y="24"/>
                    <a:pt x="21" y="24"/>
                    <a:pt x="20" y="25"/>
                  </a:cubicBezTo>
                  <a:cubicBezTo>
                    <a:pt x="20" y="25"/>
                    <a:pt x="18" y="25"/>
                    <a:pt x="18" y="26"/>
                  </a:cubicBezTo>
                  <a:cubicBezTo>
                    <a:pt x="19" y="26"/>
                    <a:pt x="20" y="26"/>
                    <a:pt x="20" y="26"/>
                  </a:cubicBezTo>
                  <a:cubicBezTo>
                    <a:pt x="21" y="25"/>
                    <a:pt x="22" y="25"/>
                    <a:pt x="23" y="25"/>
                  </a:cubicBezTo>
                  <a:cubicBezTo>
                    <a:pt x="23" y="25"/>
                    <a:pt x="24" y="25"/>
                    <a:pt x="25" y="25"/>
                  </a:cubicBezTo>
                  <a:cubicBezTo>
                    <a:pt x="26" y="25"/>
                    <a:pt x="28" y="25"/>
                    <a:pt x="29" y="25"/>
                  </a:cubicBezTo>
                  <a:cubicBezTo>
                    <a:pt x="31" y="24"/>
                    <a:pt x="33" y="25"/>
                    <a:pt x="35" y="25"/>
                  </a:cubicBezTo>
                  <a:cubicBezTo>
                    <a:pt x="35" y="25"/>
                    <a:pt x="36" y="25"/>
                    <a:pt x="36" y="24"/>
                  </a:cubicBezTo>
                  <a:cubicBezTo>
                    <a:pt x="36" y="24"/>
                    <a:pt x="36" y="24"/>
                    <a:pt x="36" y="24"/>
                  </a:cubicBezTo>
                  <a:cubicBezTo>
                    <a:pt x="36" y="23"/>
                    <a:pt x="36" y="23"/>
                    <a:pt x="37" y="23"/>
                  </a:cubicBezTo>
                  <a:cubicBezTo>
                    <a:pt x="37" y="23"/>
                    <a:pt x="37" y="23"/>
                    <a:pt x="38" y="23"/>
                  </a:cubicBezTo>
                  <a:cubicBezTo>
                    <a:pt x="38" y="22"/>
                    <a:pt x="39" y="22"/>
                    <a:pt x="40" y="21"/>
                  </a:cubicBezTo>
                  <a:cubicBezTo>
                    <a:pt x="40" y="21"/>
                    <a:pt x="41" y="21"/>
                    <a:pt x="42" y="21"/>
                  </a:cubicBezTo>
                  <a:cubicBezTo>
                    <a:pt x="42" y="21"/>
                    <a:pt x="42" y="22"/>
                    <a:pt x="42" y="22"/>
                  </a:cubicBezTo>
                  <a:cubicBezTo>
                    <a:pt x="43" y="22"/>
                    <a:pt x="44" y="22"/>
                    <a:pt x="44" y="22"/>
                  </a:cubicBezTo>
                  <a:cubicBezTo>
                    <a:pt x="45" y="22"/>
                    <a:pt x="45" y="22"/>
                    <a:pt x="46" y="22"/>
                  </a:cubicBezTo>
                  <a:cubicBezTo>
                    <a:pt x="46" y="22"/>
                    <a:pt x="46" y="22"/>
                    <a:pt x="46" y="22"/>
                  </a:cubicBezTo>
                  <a:cubicBezTo>
                    <a:pt x="47" y="22"/>
                    <a:pt x="48" y="22"/>
                    <a:pt x="49" y="21"/>
                  </a:cubicBezTo>
                  <a:cubicBezTo>
                    <a:pt x="49" y="21"/>
                    <a:pt x="49" y="21"/>
                    <a:pt x="49" y="21"/>
                  </a:cubicBezTo>
                  <a:cubicBezTo>
                    <a:pt x="50" y="21"/>
                    <a:pt x="50" y="21"/>
                    <a:pt x="50" y="22"/>
                  </a:cubicBezTo>
                  <a:cubicBezTo>
                    <a:pt x="50" y="22"/>
                    <a:pt x="51" y="23"/>
                    <a:pt x="51" y="23"/>
                  </a:cubicBezTo>
                  <a:cubicBezTo>
                    <a:pt x="52" y="23"/>
                    <a:pt x="52" y="24"/>
                    <a:pt x="52" y="24"/>
                  </a:cubicBezTo>
                  <a:cubicBezTo>
                    <a:pt x="52" y="24"/>
                    <a:pt x="52" y="24"/>
                    <a:pt x="52" y="25"/>
                  </a:cubicBezTo>
                  <a:cubicBezTo>
                    <a:pt x="53" y="25"/>
                    <a:pt x="53" y="25"/>
                    <a:pt x="52" y="25"/>
                  </a:cubicBezTo>
                  <a:cubicBezTo>
                    <a:pt x="51" y="26"/>
                    <a:pt x="51" y="26"/>
                    <a:pt x="50" y="26"/>
                  </a:cubicBezTo>
                  <a:cubicBezTo>
                    <a:pt x="48" y="26"/>
                    <a:pt x="47" y="26"/>
                    <a:pt x="45" y="25"/>
                  </a:cubicBezTo>
                  <a:cubicBezTo>
                    <a:pt x="45" y="25"/>
                    <a:pt x="42" y="25"/>
                    <a:pt x="42" y="25"/>
                  </a:cubicBezTo>
                  <a:cubicBezTo>
                    <a:pt x="43" y="25"/>
                    <a:pt x="45" y="26"/>
                    <a:pt x="46" y="26"/>
                  </a:cubicBezTo>
                  <a:cubicBezTo>
                    <a:pt x="48" y="27"/>
                    <a:pt x="50" y="27"/>
                    <a:pt x="52" y="28"/>
                  </a:cubicBezTo>
                  <a:cubicBezTo>
                    <a:pt x="53" y="29"/>
                    <a:pt x="55" y="29"/>
                    <a:pt x="56" y="30"/>
                  </a:cubicBezTo>
                  <a:cubicBezTo>
                    <a:pt x="58" y="30"/>
                    <a:pt x="59" y="31"/>
                    <a:pt x="60" y="32"/>
                  </a:cubicBezTo>
                  <a:cubicBezTo>
                    <a:pt x="61" y="32"/>
                    <a:pt x="61" y="32"/>
                    <a:pt x="62" y="33"/>
                  </a:cubicBezTo>
                  <a:cubicBezTo>
                    <a:pt x="62" y="33"/>
                    <a:pt x="63" y="33"/>
                    <a:pt x="63" y="33"/>
                  </a:cubicBezTo>
                  <a:cubicBezTo>
                    <a:pt x="63" y="34"/>
                    <a:pt x="64" y="34"/>
                    <a:pt x="65" y="35"/>
                  </a:cubicBezTo>
                  <a:cubicBezTo>
                    <a:pt x="65" y="35"/>
                    <a:pt x="65" y="35"/>
                    <a:pt x="66" y="35"/>
                  </a:cubicBezTo>
                  <a:cubicBezTo>
                    <a:pt x="66" y="35"/>
                    <a:pt x="66" y="35"/>
                    <a:pt x="66" y="34"/>
                  </a:cubicBezTo>
                  <a:cubicBezTo>
                    <a:pt x="67" y="34"/>
                    <a:pt x="67" y="34"/>
                    <a:pt x="68" y="34"/>
                  </a:cubicBezTo>
                  <a:cubicBezTo>
                    <a:pt x="68" y="35"/>
                    <a:pt x="69" y="35"/>
                    <a:pt x="69" y="35"/>
                  </a:cubicBezTo>
                  <a:cubicBezTo>
                    <a:pt x="70" y="35"/>
                    <a:pt x="71" y="35"/>
                    <a:pt x="72" y="35"/>
                  </a:cubicBezTo>
                  <a:cubicBezTo>
                    <a:pt x="72" y="35"/>
                    <a:pt x="72" y="36"/>
                    <a:pt x="72" y="36"/>
                  </a:cubicBezTo>
                  <a:cubicBezTo>
                    <a:pt x="72" y="37"/>
                    <a:pt x="72" y="37"/>
                    <a:pt x="72" y="37"/>
                  </a:cubicBezTo>
                  <a:cubicBezTo>
                    <a:pt x="71" y="37"/>
                    <a:pt x="71" y="37"/>
                    <a:pt x="70" y="37"/>
                  </a:cubicBezTo>
                  <a:cubicBezTo>
                    <a:pt x="70" y="37"/>
                    <a:pt x="69" y="36"/>
                    <a:pt x="69" y="37"/>
                  </a:cubicBezTo>
                  <a:cubicBezTo>
                    <a:pt x="68" y="37"/>
                    <a:pt x="70" y="38"/>
                    <a:pt x="70" y="38"/>
                  </a:cubicBezTo>
                  <a:cubicBezTo>
                    <a:pt x="71" y="38"/>
                    <a:pt x="71" y="39"/>
                    <a:pt x="72" y="40"/>
                  </a:cubicBezTo>
                  <a:cubicBezTo>
                    <a:pt x="73" y="40"/>
                    <a:pt x="73" y="41"/>
                    <a:pt x="74" y="42"/>
                  </a:cubicBezTo>
                  <a:cubicBezTo>
                    <a:pt x="75" y="43"/>
                    <a:pt x="76" y="43"/>
                    <a:pt x="77" y="44"/>
                  </a:cubicBezTo>
                  <a:cubicBezTo>
                    <a:pt x="78" y="44"/>
                    <a:pt x="78" y="44"/>
                    <a:pt x="78" y="45"/>
                  </a:cubicBezTo>
                  <a:cubicBezTo>
                    <a:pt x="78" y="45"/>
                    <a:pt x="78" y="46"/>
                    <a:pt x="79" y="46"/>
                  </a:cubicBezTo>
                  <a:cubicBezTo>
                    <a:pt x="79" y="47"/>
                    <a:pt x="80" y="48"/>
                    <a:pt x="80" y="49"/>
                  </a:cubicBezTo>
                  <a:cubicBezTo>
                    <a:pt x="80" y="50"/>
                    <a:pt x="81" y="50"/>
                    <a:pt x="81" y="51"/>
                  </a:cubicBezTo>
                  <a:cubicBezTo>
                    <a:pt x="81" y="52"/>
                    <a:pt x="80" y="52"/>
                    <a:pt x="81" y="53"/>
                  </a:cubicBezTo>
                  <a:cubicBezTo>
                    <a:pt x="81" y="54"/>
                    <a:pt x="82" y="53"/>
                    <a:pt x="82" y="53"/>
                  </a:cubicBezTo>
                  <a:cubicBezTo>
                    <a:pt x="83" y="53"/>
                    <a:pt x="84" y="53"/>
                    <a:pt x="85" y="53"/>
                  </a:cubicBezTo>
                  <a:cubicBezTo>
                    <a:pt x="85" y="52"/>
                    <a:pt x="85" y="52"/>
                    <a:pt x="86" y="52"/>
                  </a:cubicBezTo>
                  <a:cubicBezTo>
                    <a:pt x="86" y="52"/>
                    <a:pt x="87" y="52"/>
                    <a:pt x="87" y="52"/>
                  </a:cubicBezTo>
                  <a:cubicBezTo>
                    <a:pt x="88" y="52"/>
                    <a:pt x="88" y="52"/>
                    <a:pt x="89" y="52"/>
                  </a:cubicBezTo>
                  <a:cubicBezTo>
                    <a:pt x="90" y="52"/>
                    <a:pt x="91" y="52"/>
                    <a:pt x="91" y="52"/>
                  </a:cubicBezTo>
                  <a:cubicBezTo>
                    <a:pt x="92" y="52"/>
                    <a:pt x="92" y="52"/>
                    <a:pt x="92" y="51"/>
                  </a:cubicBezTo>
                  <a:cubicBezTo>
                    <a:pt x="93" y="51"/>
                    <a:pt x="93" y="51"/>
                    <a:pt x="93" y="51"/>
                  </a:cubicBezTo>
                  <a:cubicBezTo>
                    <a:pt x="94" y="51"/>
                    <a:pt x="94" y="51"/>
                    <a:pt x="94" y="50"/>
                  </a:cubicBezTo>
                  <a:cubicBezTo>
                    <a:pt x="95" y="50"/>
                    <a:pt x="95" y="50"/>
                    <a:pt x="95" y="50"/>
                  </a:cubicBezTo>
                  <a:cubicBezTo>
                    <a:pt x="96" y="50"/>
                    <a:pt x="95" y="50"/>
                    <a:pt x="95" y="51"/>
                  </a:cubicBezTo>
                  <a:cubicBezTo>
                    <a:pt x="95" y="51"/>
                    <a:pt x="95" y="51"/>
                    <a:pt x="96" y="51"/>
                  </a:cubicBezTo>
                  <a:cubicBezTo>
                    <a:pt x="96" y="51"/>
                    <a:pt x="97" y="50"/>
                    <a:pt x="97" y="50"/>
                  </a:cubicBezTo>
                  <a:cubicBezTo>
                    <a:pt x="98" y="50"/>
                    <a:pt x="98" y="49"/>
                    <a:pt x="99" y="49"/>
                  </a:cubicBezTo>
                  <a:cubicBezTo>
                    <a:pt x="99" y="49"/>
                    <a:pt x="100" y="49"/>
                    <a:pt x="100" y="48"/>
                  </a:cubicBezTo>
                  <a:cubicBezTo>
                    <a:pt x="101" y="48"/>
                    <a:pt x="101" y="48"/>
                    <a:pt x="101" y="48"/>
                  </a:cubicBezTo>
                  <a:cubicBezTo>
                    <a:pt x="102" y="47"/>
                    <a:pt x="102" y="47"/>
                    <a:pt x="102" y="47"/>
                  </a:cubicBezTo>
                  <a:cubicBezTo>
                    <a:pt x="103" y="47"/>
                    <a:pt x="104" y="47"/>
                    <a:pt x="104" y="46"/>
                  </a:cubicBezTo>
                  <a:cubicBezTo>
                    <a:pt x="104" y="46"/>
                    <a:pt x="105" y="46"/>
                    <a:pt x="105" y="46"/>
                  </a:cubicBezTo>
                  <a:cubicBezTo>
                    <a:pt x="106" y="45"/>
                    <a:pt x="106" y="44"/>
                    <a:pt x="107" y="44"/>
                  </a:cubicBezTo>
                  <a:cubicBezTo>
                    <a:pt x="108" y="44"/>
                    <a:pt x="110" y="44"/>
                    <a:pt x="111" y="44"/>
                  </a:cubicBezTo>
                  <a:cubicBezTo>
                    <a:pt x="112" y="44"/>
                    <a:pt x="114" y="45"/>
                    <a:pt x="114" y="43"/>
                  </a:cubicBezTo>
                  <a:cubicBezTo>
                    <a:pt x="114" y="43"/>
                    <a:pt x="113" y="43"/>
                    <a:pt x="112" y="43"/>
                  </a:cubicBezTo>
                  <a:cubicBezTo>
                    <a:pt x="112" y="42"/>
                    <a:pt x="113" y="42"/>
                    <a:pt x="113" y="41"/>
                  </a:cubicBezTo>
                  <a:cubicBezTo>
                    <a:pt x="113" y="41"/>
                    <a:pt x="113" y="40"/>
                    <a:pt x="113" y="40"/>
                  </a:cubicBezTo>
                  <a:cubicBezTo>
                    <a:pt x="113" y="39"/>
                    <a:pt x="114" y="39"/>
                    <a:pt x="114" y="38"/>
                  </a:cubicBezTo>
                  <a:cubicBezTo>
                    <a:pt x="115" y="38"/>
                    <a:pt x="115" y="38"/>
                    <a:pt x="116" y="38"/>
                  </a:cubicBezTo>
                  <a:cubicBezTo>
                    <a:pt x="116" y="37"/>
                    <a:pt x="116" y="37"/>
                    <a:pt x="117" y="37"/>
                  </a:cubicBezTo>
                  <a:cubicBezTo>
                    <a:pt x="117" y="37"/>
                    <a:pt x="118" y="37"/>
                    <a:pt x="119" y="37"/>
                  </a:cubicBezTo>
                  <a:cubicBezTo>
                    <a:pt x="119" y="38"/>
                    <a:pt x="120" y="38"/>
                    <a:pt x="120" y="38"/>
                  </a:cubicBezTo>
                  <a:cubicBezTo>
                    <a:pt x="121" y="37"/>
                    <a:pt x="121" y="37"/>
                    <a:pt x="122" y="37"/>
                  </a:cubicBezTo>
                  <a:cubicBezTo>
                    <a:pt x="122" y="37"/>
                    <a:pt x="123" y="37"/>
                    <a:pt x="123" y="37"/>
                  </a:cubicBezTo>
                  <a:cubicBezTo>
                    <a:pt x="124" y="37"/>
                    <a:pt x="124" y="37"/>
                    <a:pt x="125" y="37"/>
                  </a:cubicBezTo>
                  <a:cubicBezTo>
                    <a:pt x="125" y="37"/>
                    <a:pt x="126" y="37"/>
                    <a:pt x="126" y="38"/>
                  </a:cubicBezTo>
                  <a:cubicBezTo>
                    <a:pt x="127" y="39"/>
                    <a:pt x="129" y="39"/>
                    <a:pt x="130" y="40"/>
                  </a:cubicBezTo>
                  <a:cubicBezTo>
                    <a:pt x="131" y="41"/>
                    <a:pt x="132" y="41"/>
                    <a:pt x="133" y="42"/>
                  </a:cubicBezTo>
                  <a:cubicBezTo>
                    <a:pt x="134" y="42"/>
                    <a:pt x="135" y="43"/>
                    <a:pt x="136" y="43"/>
                  </a:cubicBezTo>
                  <a:cubicBezTo>
                    <a:pt x="137" y="45"/>
                    <a:pt x="138" y="46"/>
                    <a:pt x="139" y="47"/>
                  </a:cubicBezTo>
                  <a:cubicBezTo>
                    <a:pt x="140" y="49"/>
                    <a:pt x="140" y="50"/>
                    <a:pt x="141" y="51"/>
                  </a:cubicBezTo>
                  <a:cubicBezTo>
                    <a:pt x="142" y="52"/>
                    <a:pt x="142" y="52"/>
                    <a:pt x="143" y="53"/>
                  </a:cubicBezTo>
                  <a:cubicBezTo>
                    <a:pt x="143" y="53"/>
                    <a:pt x="143" y="53"/>
                    <a:pt x="144" y="53"/>
                  </a:cubicBezTo>
                  <a:cubicBezTo>
                    <a:pt x="144" y="53"/>
                    <a:pt x="145" y="53"/>
                    <a:pt x="145" y="54"/>
                  </a:cubicBezTo>
                  <a:cubicBezTo>
                    <a:pt x="145" y="54"/>
                    <a:pt x="146" y="54"/>
                    <a:pt x="147" y="55"/>
                  </a:cubicBezTo>
                  <a:cubicBezTo>
                    <a:pt x="147" y="57"/>
                    <a:pt x="147" y="58"/>
                    <a:pt x="147" y="60"/>
                  </a:cubicBezTo>
                  <a:cubicBezTo>
                    <a:pt x="147" y="61"/>
                    <a:pt x="149" y="62"/>
                    <a:pt x="150" y="62"/>
                  </a:cubicBezTo>
                  <a:cubicBezTo>
                    <a:pt x="151" y="63"/>
                    <a:pt x="153" y="64"/>
                    <a:pt x="153" y="65"/>
                  </a:cubicBezTo>
                  <a:cubicBezTo>
                    <a:pt x="154" y="65"/>
                    <a:pt x="154" y="66"/>
                    <a:pt x="154" y="66"/>
                  </a:cubicBezTo>
                  <a:cubicBezTo>
                    <a:pt x="154" y="67"/>
                    <a:pt x="154" y="67"/>
                    <a:pt x="154" y="67"/>
                  </a:cubicBezTo>
                  <a:cubicBezTo>
                    <a:pt x="155" y="68"/>
                    <a:pt x="155" y="68"/>
                    <a:pt x="156" y="68"/>
                  </a:cubicBezTo>
                  <a:cubicBezTo>
                    <a:pt x="156" y="67"/>
                    <a:pt x="156" y="67"/>
                    <a:pt x="156" y="67"/>
                  </a:cubicBezTo>
                  <a:cubicBezTo>
                    <a:pt x="157" y="66"/>
                    <a:pt x="157" y="66"/>
                    <a:pt x="157" y="66"/>
                  </a:cubicBezTo>
                  <a:cubicBezTo>
                    <a:pt x="158" y="66"/>
                    <a:pt x="158" y="66"/>
                    <a:pt x="158" y="67"/>
                  </a:cubicBezTo>
                  <a:cubicBezTo>
                    <a:pt x="158" y="67"/>
                    <a:pt x="157" y="67"/>
                    <a:pt x="157" y="68"/>
                  </a:cubicBezTo>
                  <a:cubicBezTo>
                    <a:pt x="157" y="68"/>
                    <a:pt x="157" y="68"/>
                    <a:pt x="157" y="68"/>
                  </a:cubicBezTo>
                  <a:cubicBezTo>
                    <a:pt x="156" y="69"/>
                    <a:pt x="156" y="70"/>
                    <a:pt x="157" y="70"/>
                  </a:cubicBezTo>
                  <a:cubicBezTo>
                    <a:pt x="157" y="71"/>
                    <a:pt x="157" y="71"/>
                    <a:pt x="158" y="72"/>
                  </a:cubicBezTo>
                  <a:cubicBezTo>
                    <a:pt x="158" y="73"/>
                    <a:pt x="158" y="73"/>
                    <a:pt x="159" y="74"/>
                  </a:cubicBezTo>
                  <a:cubicBezTo>
                    <a:pt x="159" y="74"/>
                    <a:pt x="159" y="74"/>
                    <a:pt x="159" y="74"/>
                  </a:cubicBezTo>
                  <a:cubicBezTo>
                    <a:pt x="160" y="74"/>
                    <a:pt x="160" y="74"/>
                    <a:pt x="160" y="74"/>
                  </a:cubicBezTo>
                  <a:cubicBezTo>
                    <a:pt x="161" y="74"/>
                    <a:pt x="162" y="74"/>
                    <a:pt x="163" y="74"/>
                  </a:cubicBezTo>
                  <a:cubicBezTo>
                    <a:pt x="164" y="74"/>
                    <a:pt x="165" y="74"/>
                    <a:pt x="166" y="74"/>
                  </a:cubicBezTo>
                  <a:cubicBezTo>
                    <a:pt x="167" y="74"/>
                    <a:pt x="167" y="74"/>
                    <a:pt x="167" y="75"/>
                  </a:cubicBezTo>
                  <a:cubicBezTo>
                    <a:pt x="167" y="76"/>
                    <a:pt x="167" y="77"/>
                    <a:pt x="168" y="78"/>
                  </a:cubicBezTo>
                  <a:cubicBezTo>
                    <a:pt x="168" y="79"/>
                    <a:pt x="168" y="79"/>
                    <a:pt x="169" y="80"/>
                  </a:cubicBezTo>
                  <a:cubicBezTo>
                    <a:pt x="169" y="80"/>
                    <a:pt x="169" y="80"/>
                    <a:pt x="169" y="81"/>
                  </a:cubicBezTo>
                  <a:cubicBezTo>
                    <a:pt x="169" y="81"/>
                    <a:pt x="170" y="82"/>
                    <a:pt x="170" y="83"/>
                  </a:cubicBezTo>
                  <a:cubicBezTo>
                    <a:pt x="171" y="83"/>
                    <a:pt x="171" y="84"/>
                    <a:pt x="171" y="84"/>
                  </a:cubicBezTo>
                  <a:cubicBezTo>
                    <a:pt x="172" y="85"/>
                    <a:pt x="172" y="85"/>
                    <a:pt x="171" y="85"/>
                  </a:cubicBezTo>
                  <a:cubicBezTo>
                    <a:pt x="171" y="86"/>
                    <a:pt x="171" y="86"/>
                    <a:pt x="171" y="86"/>
                  </a:cubicBezTo>
                  <a:cubicBezTo>
                    <a:pt x="170" y="86"/>
                    <a:pt x="170" y="86"/>
                    <a:pt x="170" y="86"/>
                  </a:cubicBezTo>
                  <a:cubicBezTo>
                    <a:pt x="170" y="86"/>
                    <a:pt x="170" y="87"/>
                    <a:pt x="170" y="87"/>
                  </a:cubicBezTo>
                  <a:cubicBezTo>
                    <a:pt x="170" y="87"/>
                    <a:pt x="171" y="87"/>
                    <a:pt x="171" y="88"/>
                  </a:cubicBezTo>
                  <a:cubicBezTo>
                    <a:pt x="171" y="88"/>
                    <a:pt x="171" y="89"/>
                    <a:pt x="171" y="89"/>
                  </a:cubicBezTo>
                  <a:cubicBezTo>
                    <a:pt x="172" y="90"/>
                    <a:pt x="172" y="90"/>
                    <a:pt x="172" y="91"/>
                  </a:cubicBezTo>
                  <a:cubicBezTo>
                    <a:pt x="172" y="91"/>
                    <a:pt x="172" y="92"/>
                    <a:pt x="172" y="92"/>
                  </a:cubicBezTo>
                  <a:cubicBezTo>
                    <a:pt x="172" y="94"/>
                    <a:pt x="172" y="96"/>
                    <a:pt x="172" y="98"/>
                  </a:cubicBezTo>
                  <a:cubicBezTo>
                    <a:pt x="172" y="99"/>
                    <a:pt x="172" y="99"/>
                    <a:pt x="172" y="100"/>
                  </a:cubicBezTo>
                  <a:cubicBezTo>
                    <a:pt x="171" y="101"/>
                    <a:pt x="171" y="101"/>
                    <a:pt x="171" y="102"/>
                  </a:cubicBezTo>
                  <a:cubicBezTo>
                    <a:pt x="171" y="103"/>
                    <a:pt x="171" y="103"/>
                    <a:pt x="171" y="104"/>
                  </a:cubicBezTo>
                  <a:cubicBezTo>
                    <a:pt x="171" y="105"/>
                    <a:pt x="171" y="106"/>
                    <a:pt x="170" y="107"/>
                  </a:cubicBezTo>
                  <a:cubicBezTo>
                    <a:pt x="170" y="108"/>
                    <a:pt x="169" y="109"/>
                    <a:pt x="169" y="110"/>
                  </a:cubicBezTo>
                  <a:cubicBezTo>
                    <a:pt x="169" y="111"/>
                    <a:pt x="168" y="112"/>
                    <a:pt x="168" y="114"/>
                  </a:cubicBezTo>
                  <a:cubicBezTo>
                    <a:pt x="167" y="115"/>
                    <a:pt x="168" y="116"/>
                    <a:pt x="168" y="117"/>
                  </a:cubicBezTo>
                  <a:cubicBezTo>
                    <a:pt x="168" y="118"/>
                    <a:pt x="168" y="119"/>
                    <a:pt x="167" y="120"/>
                  </a:cubicBezTo>
                  <a:cubicBezTo>
                    <a:pt x="167" y="120"/>
                    <a:pt x="167" y="121"/>
                    <a:pt x="166" y="121"/>
                  </a:cubicBezTo>
                  <a:cubicBezTo>
                    <a:pt x="166" y="121"/>
                    <a:pt x="166" y="122"/>
                    <a:pt x="166" y="122"/>
                  </a:cubicBezTo>
                  <a:cubicBezTo>
                    <a:pt x="166" y="123"/>
                    <a:pt x="165" y="123"/>
                    <a:pt x="165" y="123"/>
                  </a:cubicBezTo>
                  <a:cubicBezTo>
                    <a:pt x="165" y="124"/>
                    <a:pt x="165" y="125"/>
                    <a:pt x="166" y="125"/>
                  </a:cubicBezTo>
                  <a:cubicBezTo>
                    <a:pt x="166" y="126"/>
                    <a:pt x="167" y="127"/>
                    <a:pt x="168" y="127"/>
                  </a:cubicBezTo>
                  <a:cubicBezTo>
                    <a:pt x="168" y="128"/>
                    <a:pt x="169" y="128"/>
                    <a:pt x="169" y="129"/>
                  </a:cubicBezTo>
                  <a:cubicBezTo>
                    <a:pt x="169" y="129"/>
                    <a:pt x="169" y="130"/>
                    <a:pt x="170" y="130"/>
                  </a:cubicBezTo>
                  <a:cubicBezTo>
                    <a:pt x="170" y="131"/>
                    <a:pt x="172" y="131"/>
                    <a:pt x="172" y="131"/>
                  </a:cubicBezTo>
                  <a:cubicBezTo>
                    <a:pt x="173" y="131"/>
                    <a:pt x="173" y="129"/>
                    <a:pt x="173" y="129"/>
                  </a:cubicBezTo>
                  <a:cubicBezTo>
                    <a:pt x="173" y="128"/>
                    <a:pt x="174" y="128"/>
                    <a:pt x="174" y="128"/>
                  </a:cubicBezTo>
                  <a:cubicBezTo>
                    <a:pt x="174" y="127"/>
                    <a:pt x="174" y="127"/>
                    <a:pt x="174" y="126"/>
                  </a:cubicBezTo>
                  <a:cubicBezTo>
                    <a:pt x="174" y="126"/>
                    <a:pt x="174" y="125"/>
                    <a:pt x="173" y="124"/>
                  </a:cubicBezTo>
                  <a:cubicBezTo>
                    <a:pt x="173" y="124"/>
                    <a:pt x="172" y="124"/>
                    <a:pt x="172" y="124"/>
                  </a:cubicBezTo>
                  <a:cubicBezTo>
                    <a:pt x="172" y="123"/>
                    <a:pt x="172" y="123"/>
                    <a:pt x="171" y="123"/>
                  </a:cubicBezTo>
                  <a:cubicBezTo>
                    <a:pt x="171" y="123"/>
                    <a:pt x="171" y="123"/>
                    <a:pt x="171" y="122"/>
                  </a:cubicBezTo>
                  <a:cubicBezTo>
                    <a:pt x="170" y="122"/>
                    <a:pt x="170" y="122"/>
                    <a:pt x="170" y="122"/>
                  </a:cubicBezTo>
                  <a:cubicBezTo>
                    <a:pt x="170" y="122"/>
                    <a:pt x="171" y="122"/>
                    <a:pt x="171" y="121"/>
                  </a:cubicBezTo>
                  <a:cubicBezTo>
                    <a:pt x="171" y="121"/>
                    <a:pt x="171" y="120"/>
                    <a:pt x="172" y="120"/>
                  </a:cubicBezTo>
                  <a:cubicBezTo>
                    <a:pt x="173" y="119"/>
                    <a:pt x="173" y="120"/>
                    <a:pt x="174" y="120"/>
                  </a:cubicBezTo>
                  <a:cubicBezTo>
                    <a:pt x="174" y="121"/>
                    <a:pt x="175" y="121"/>
                    <a:pt x="176" y="122"/>
                  </a:cubicBezTo>
                  <a:cubicBezTo>
                    <a:pt x="176" y="122"/>
                    <a:pt x="176" y="122"/>
                    <a:pt x="176" y="123"/>
                  </a:cubicBezTo>
                  <a:cubicBezTo>
                    <a:pt x="176" y="123"/>
                    <a:pt x="176" y="124"/>
                    <a:pt x="176" y="124"/>
                  </a:cubicBezTo>
                  <a:cubicBezTo>
                    <a:pt x="176" y="125"/>
                    <a:pt x="176" y="126"/>
                    <a:pt x="177" y="126"/>
                  </a:cubicBezTo>
                  <a:cubicBezTo>
                    <a:pt x="177" y="126"/>
                    <a:pt x="178" y="126"/>
                    <a:pt x="178" y="126"/>
                  </a:cubicBezTo>
                  <a:cubicBezTo>
                    <a:pt x="178" y="126"/>
                    <a:pt x="178" y="125"/>
                    <a:pt x="178" y="125"/>
                  </a:cubicBezTo>
                  <a:cubicBezTo>
                    <a:pt x="178" y="125"/>
                    <a:pt x="178" y="124"/>
                    <a:pt x="178" y="124"/>
                  </a:cubicBezTo>
                  <a:cubicBezTo>
                    <a:pt x="178" y="124"/>
                    <a:pt x="178" y="124"/>
                    <a:pt x="177" y="123"/>
                  </a:cubicBezTo>
                  <a:cubicBezTo>
                    <a:pt x="177" y="123"/>
                    <a:pt x="178" y="123"/>
                    <a:pt x="178" y="123"/>
                  </a:cubicBezTo>
                  <a:cubicBezTo>
                    <a:pt x="179" y="123"/>
                    <a:pt x="179" y="122"/>
                    <a:pt x="179" y="122"/>
                  </a:cubicBezTo>
                  <a:cubicBezTo>
                    <a:pt x="179" y="122"/>
                    <a:pt x="180" y="122"/>
                    <a:pt x="180" y="122"/>
                  </a:cubicBezTo>
                  <a:cubicBezTo>
                    <a:pt x="181" y="122"/>
                    <a:pt x="181" y="122"/>
                    <a:pt x="181" y="123"/>
                  </a:cubicBezTo>
                  <a:cubicBezTo>
                    <a:pt x="181" y="124"/>
                    <a:pt x="181" y="124"/>
                    <a:pt x="181" y="125"/>
                  </a:cubicBezTo>
                  <a:cubicBezTo>
                    <a:pt x="181" y="125"/>
                    <a:pt x="181" y="126"/>
                    <a:pt x="181" y="126"/>
                  </a:cubicBezTo>
                  <a:cubicBezTo>
                    <a:pt x="181" y="127"/>
                    <a:pt x="181" y="127"/>
                    <a:pt x="181" y="127"/>
                  </a:cubicBezTo>
                  <a:cubicBezTo>
                    <a:pt x="180" y="128"/>
                    <a:pt x="179" y="128"/>
                    <a:pt x="179" y="129"/>
                  </a:cubicBezTo>
                  <a:cubicBezTo>
                    <a:pt x="179" y="129"/>
                    <a:pt x="178" y="130"/>
                    <a:pt x="178" y="130"/>
                  </a:cubicBezTo>
                  <a:cubicBezTo>
                    <a:pt x="178" y="131"/>
                    <a:pt x="178" y="131"/>
                    <a:pt x="178" y="131"/>
                  </a:cubicBezTo>
                  <a:cubicBezTo>
                    <a:pt x="177" y="131"/>
                    <a:pt x="177" y="132"/>
                    <a:pt x="177" y="132"/>
                  </a:cubicBezTo>
                  <a:cubicBezTo>
                    <a:pt x="177" y="133"/>
                    <a:pt x="177" y="133"/>
                    <a:pt x="176" y="133"/>
                  </a:cubicBezTo>
                  <a:cubicBezTo>
                    <a:pt x="176" y="134"/>
                    <a:pt x="176" y="135"/>
                    <a:pt x="176" y="135"/>
                  </a:cubicBezTo>
                  <a:cubicBezTo>
                    <a:pt x="175" y="135"/>
                    <a:pt x="175" y="135"/>
                    <a:pt x="175" y="136"/>
                  </a:cubicBezTo>
                  <a:cubicBezTo>
                    <a:pt x="175" y="136"/>
                    <a:pt x="175" y="136"/>
                    <a:pt x="175" y="137"/>
                  </a:cubicBezTo>
                  <a:cubicBezTo>
                    <a:pt x="175" y="137"/>
                    <a:pt x="175" y="137"/>
                    <a:pt x="175" y="137"/>
                  </a:cubicBezTo>
                  <a:cubicBezTo>
                    <a:pt x="175" y="138"/>
                    <a:pt x="175" y="138"/>
                    <a:pt x="175" y="138"/>
                  </a:cubicBezTo>
                  <a:cubicBezTo>
                    <a:pt x="175" y="139"/>
                    <a:pt x="176" y="138"/>
                    <a:pt x="176" y="139"/>
                  </a:cubicBezTo>
                  <a:cubicBezTo>
                    <a:pt x="177" y="139"/>
                    <a:pt x="177" y="139"/>
                    <a:pt x="177" y="139"/>
                  </a:cubicBezTo>
                  <a:cubicBezTo>
                    <a:pt x="176" y="139"/>
                    <a:pt x="176" y="139"/>
                    <a:pt x="176" y="139"/>
                  </a:cubicBezTo>
                  <a:cubicBezTo>
                    <a:pt x="175" y="139"/>
                    <a:pt x="175" y="139"/>
                    <a:pt x="174" y="139"/>
                  </a:cubicBezTo>
                  <a:cubicBezTo>
                    <a:pt x="174" y="139"/>
                    <a:pt x="173" y="139"/>
                    <a:pt x="172" y="139"/>
                  </a:cubicBezTo>
                  <a:cubicBezTo>
                    <a:pt x="171" y="140"/>
                    <a:pt x="172" y="141"/>
                    <a:pt x="172" y="141"/>
                  </a:cubicBezTo>
                  <a:cubicBezTo>
                    <a:pt x="173" y="142"/>
                    <a:pt x="173" y="142"/>
                    <a:pt x="173" y="142"/>
                  </a:cubicBezTo>
                  <a:cubicBezTo>
                    <a:pt x="174" y="142"/>
                    <a:pt x="175" y="143"/>
                    <a:pt x="175" y="143"/>
                  </a:cubicBezTo>
                  <a:cubicBezTo>
                    <a:pt x="176" y="144"/>
                    <a:pt x="175" y="145"/>
                    <a:pt x="175" y="146"/>
                  </a:cubicBezTo>
                  <a:cubicBezTo>
                    <a:pt x="175" y="147"/>
                    <a:pt x="176" y="148"/>
                    <a:pt x="176" y="149"/>
                  </a:cubicBezTo>
                  <a:cubicBezTo>
                    <a:pt x="177" y="149"/>
                    <a:pt x="177" y="150"/>
                    <a:pt x="178" y="151"/>
                  </a:cubicBezTo>
                  <a:cubicBezTo>
                    <a:pt x="178" y="152"/>
                    <a:pt x="178" y="153"/>
                    <a:pt x="178" y="154"/>
                  </a:cubicBezTo>
                  <a:cubicBezTo>
                    <a:pt x="179" y="154"/>
                    <a:pt x="179" y="155"/>
                    <a:pt x="179" y="155"/>
                  </a:cubicBezTo>
                  <a:cubicBezTo>
                    <a:pt x="179" y="155"/>
                    <a:pt x="179" y="156"/>
                    <a:pt x="179" y="156"/>
                  </a:cubicBezTo>
                  <a:cubicBezTo>
                    <a:pt x="180" y="157"/>
                    <a:pt x="180" y="157"/>
                    <a:pt x="180" y="158"/>
                  </a:cubicBezTo>
                  <a:cubicBezTo>
                    <a:pt x="181" y="159"/>
                    <a:pt x="181" y="159"/>
                    <a:pt x="182" y="160"/>
                  </a:cubicBezTo>
                  <a:cubicBezTo>
                    <a:pt x="183" y="161"/>
                    <a:pt x="183" y="161"/>
                    <a:pt x="183" y="162"/>
                  </a:cubicBezTo>
                  <a:cubicBezTo>
                    <a:pt x="184" y="163"/>
                    <a:pt x="184" y="163"/>
                    <a:pt x="184" y="163"/>
                  </a:cubicBezTo>
                  <a:cubicBezTo>
                    <a:pt x="185" y="164"/>
                    <a:pt x="185" y="164"/>
                    <a:pt x="185" y="164"/>
                  </a:cubicBezTo>
                  <a:cubicBezTo>
                    <a:pt x="185" y="164"/>
                    <a:pt x="185" y="164"/>
                    <a:pt x="185" y="165"/>
                  </a:cubicBezTo>
                  <a:cubicBezTo>
                    <a:pt x="185" y="165"/>
                    <a:pt x="186" y="166"/>
                    <a:pt x="186" y="166"/>
                  </a:cubicBezTo>
                  <a:cubicBezTo>
                    <a:pt x="187" y="166"/>
                    <a:pt x="187" y="167"/>
                    <a:pt x="188" y="166"/>
                  </a:cubicBezTo>
                  <a:cubicBezTo>
                    <a:pt x="188" y="166"/>
                    <a:pt x="189" y="166"/>
                    <a:pt x="189" y="165"/>
                  </a:cubicBezTo>
                  <a:cubicBezTo>
                    <a:pt x="189" y="165"/>
                    <a:pt x="190" y="165"/>
                    <a:pt x="189" y="165"/>
                  </a:cubicBezTo>
                  <a:cubicBezTo>
                    <a:pt x="189" y="164"/>
                    <a:pt x="189" y="164"/>
                    <a:pt x="189" y="164"/>
                  </a:cubicBezTo>
                  <a:cubicBezTo>
                    <a:pt x="189" y="164"/>
                    <a:pt x="189" y="164"/>
                    <a:pt x="189" y="163"/>
                  </a:cubicBezTo>
                  <a:cubicBezTo>
                    <a:pt x="189" y="163"/>
                    <a:pt x="189" y="162"/>
                    <a:pt x="188" y="162"/>
                  </a:cubicBezTo>
                  <a:cubicBezTo>
                    <a:pt x="188" y="161"/>
                    <a:pt x="187" y="160"/>
                    <a:pt x="187" y="159"/>
                  </a:cubicBezTo>
                  <a:cubicBezTo>
                    <a:pt x="187" y="159"/>
                    <a:pt x="188" y="159"/>
                    <a:pt x="188" y="160"/>
                  </a:cubicBezTo>
                  <a:cubicBezTo>
                    <a:pt x="188" y="160"/>
                    <a:pt x="189" y="161"/>
                    <a:pt x="189" y="161"/>
                  </a:cubicBezTo>
                  <a:cubicBezTo>
                    <a:pt x="190" y="161"/>
                    <a:pt x="191" y="161"/>
                    <a:pt x="192" y="161"/>
                  </a:cubicBezTo>
                  <a:cubicBezTo>
                    <a:pt x="193" y="160"/>
                    <a:pt x="193" y="160"/>
                    <a:pt x="193" y="159"/>
                  </a:cubicBezTo>
                  <a:cubicBezTo>
                    <a:pt x="194" y="159"/>
                    <a:pt x="194" y="159"/>
                    <a:pt x="194" y="159"/>
                  </a:cubicBezTo>
                  <a:cubicBezTo>
                    <a:pt x="194" y="159"/>
                    <a:pt x="195" y="159"/>
                    <a:pt x="195" y="159"/>
                  </a:cubicBezTo>
                  <a:cubicBezTo>
                    <a:pt x="195" y="160"/>
                    <a:pt x="194" y="160"/>
                    <a:pt x="194" y="160"/>
                  </a:cubicBezTo>
                  <a:cubicBezTo>
                    <a:pt x="193" y="160"/>
                    <a:pt x="193" y="161"/>
                    <a:pt x="193" y="161"/>
                  </a:cubicBezTo>
                  <a:cubicBezTo>
                    <a:pt x="193" y="161"/>
                    <a:pt x="193" y="161"/>
                    <a:pt x="193" y="162"/>
                  </a:cubicBezTo>
                  <a:cubicBezTo>
                    <a:pt x="192" y="162"/>
                    <a:pt x="192" y="162"/>
                    <a:pt x="192" y="163"/>
                  </a:cubicBezTo>
                  <a:cubicBezTo>
                    <a:pt x="192" y="163"/>
                    <a:pt x="192" y="164"/>
                    <a:pt x="192" y="164"/>
                  </a:cubicBezTo>
                  <a:cubicBezTo>
                    <a:pt x="192" y="165"/>
                    <a:pt x="192" y="166"/>
                    <a:pt x="192" y="166"/>
                  </a:cubicBezTo>
                  <a:cubicBezTo>
                    <a:pt x="193" y="167"/>
                    <a:pt x="193" y="167"/>
                    <a:pt x="193" y="168"/>
                  </a:cubicBezTo>
                  <a:cubicBezTo>
                    <a:pt x="193" y="168"/>
                    <a:pt x="192" y="168"/>
                    <a:pt x="192" y="169"/>
                  </a:cubicBezTo>
                  <a:cubicBezTo>
                    <a:pt x="192" y="169"/>
                    <a:pt x="192" y="170"/>
                    <a:pt x="192" y="170"/>
                  </a:cubicBezTo>
                  <a:cubicBezTo>
                    <a:pt x="192" y="171"/>
                    <a:pt x="192" y="172"/>
                    <a:pt x="191" y="172"/>
                  </a:cubicBezTo>
                  <a:cubicBezTo>
                    <a:pt x="190" y="172"/>
                    <a:pt x="190" y="171"/>
                    <a:pt x="190" y="170"/>
                  </a:cubicBezTo>
                  <a:cubicBezTo>
                    <a:pt x="190" y="170"/>
                    <a:pt x="188" y="170"/>
                    <a:pt x="189" y="171"/>
                  </a:cubicBezTo>
                  <a:cubicBezTo>
                    <a:pt x="189" y="171"/>
                    <a:pt x="189" y="172"/>
                    <a:pt x="189" y="172"/>
                  </a:cubicBezTo>
                  <a:cubicBezTo>
                    <a:pt x="190" y="172"/>
                    <a:pt x="190" y="173"/>
                    <a:pt x="190" y="173"/>
                  </a:cubicBezTo>
                  <a:cubicBezTo>
                    <a:pt x="190" y="173"/>
                    <a:pt x="191" y="174"/>
                    <a:pt x="191" y="174"/>
                  </a:cubicBezTo>
                  <a:cubicBezTo>
                    <a:pt x="190" y="175"/>
                    <a:pt x="190" y="175"/>
                    <a:pt x="190" y="176"/>
                  </a:cubicBezTo>
                  <a:cubicBezTo>
                    <a:pt x="191" y="176"/>
                    <a:pt x="191" y="176"/>
                    <a:pt x="191" y="176"/>
                  </a:cubicBezTo>
                  <a:cubicBezTo>
                    <a:pt x="191" y="177"/>
                    <a:pt x="191" y="178"/>
                    <a:pt x="192" y="178"/>
                  </a:cubicBezTo>
                  <a:cubicBezTo>
                    <a:pt x="192" y="178"/>
                    <a:pt x="193" y="178"/>
                    <a:pt x="193" y="177"/>
                  </a:cubicBezTo>
                  <a:cubicBezTo>
                    <a:pt x="192" y="177"/>
                    <a:pt x="192" y="177"/>
                    <a:pt x="192" y="177"/>
                  </a:cubicBezTo>
                  <a:cubicBezTo>
                    <a:pt x="192" y="176"/>
                    <a:pt x="192" y="176"/>
                    <a:pt x="193" y="176"/>
                  </a:cubicBezTo>
                  <a:cubicBezTo>
                    <a:pt x="193" y="176"/>
                    <a:pt x="194" y="176"/>
                    <a:pt x="194" y="176"/>
                  </a:cubicBezTo>
                  <a:cubicBezTo>
                    <a:pt x="195" y="177"/>
                    <a:pt x="196" y="176"/>
                    <a:pt x="195" y="177"/>
                  </a:cubicBezTo>
                  <a:cubicBezTo>
                    <a:pt x="195" y="178"/>
                    <a:pt x="194" y="178"/>
                    <a:pt x="195" y="179"/>
                  </a:cubicBezTo>
                  <a:cubicBezTo>
                    <a:pt x="195" y="179"/>
                    <a:pt x="195" y="179"/>
                    <a:pt x="196" y="179"/>
                  </a:cubicBezTo>
                  <a:cubicBezTo>
                    <a:pt x="196" y="179"/>
                    <a:pt x="196" y="180"/>
                    <a:pt x="196" y="180"/>
                  </a:cubicBezTo>
                  <a:cubicBezTo>
                    <a:pt x="197" y="181"/>
                    <a:pt x="198" y="181"/>
                    <a:pt x="198" y="181"/>
                  </a:cubicBezTo>
                  <a:cubicBezTo>
                    <a:pt x="198" y="182"/>
                    <a:pt x="199" y="182"/>
                    <a:pt x="199" y="181"/>
                  </a:cubicBezTo>
                  <a:cubicBezTo>
                    <a:pt x="199" y="181"/>
                    <a:pt x="198" y="181"/>
                    <a:pt x="198" y="181"/>
                  </a:cubicBezTo>
                  <a:cubicBezTo>
                    <a:pt x="198" y="180"/>
                    <a:pt x="198" y="180"/>
                    <a:pt x="199" y="180"/>
                  </a:cubicBezTo>
                  <a:cubicBezTo>
                    <a:pt x="200" y="180"/>
                    <a:pt x="200" y="181"/>
                    <a:pt x="200" y="181"/>
                  </a:cubicBezTo>
                  <a:cubicBezTo>
                    <a:pt x="200" y="182"/>
                    <a:pt x="200" y="182"/>
                    <a:pt x="200" y="183"/>
                  </a:cubicBezTo>
                  <a:cubicBezTo>
                    <a:pt x="200" y="183"/>
                    <a:pt x="200" y="184"/>
                    <a:pt x="200" y="184"/>
                  </a:cubicBezTo>
                  <a:cubicBezTo>
                    <a:pt x="201" y="186"/>
                    <a:pt x="200" y="187"/>
                    <a:pt x="201" y="189"/>
                  </a:cubicBezTo>
                  <a:cubicBezTo>
                    <a:pt x="201" y="190"/>
                    <a:pt x="201" y="191"/>
                    <a:pt x="201" y="193"/>
                  </a:cubicBezTo>
                  <a:cubicBezTo>
                    <a:pt x="201" y="193"/>
                    <a:pt x="202" y="193"/>
                    <a:pt x="202" y="194"/>
                  </a:cubicBezTo>
                  <a:cubicBezTo>
                    <a:pt x="202" y="195"/>
                    <a:pt x="202" y="195"/>
                    <a:pt x="202" y="196"/>
                  </a:cubicBezTo>
                  <a:cubicBezTo>
                    <a:pt x="203" y="196"/>
                    <a:pt x="203" y="196"/>
                    <a:pt x="203" y="197"/>
                  </a:cubicBezTo>
                  <a:cubicBezTo>
                    <a:pt x="204" y="198"/>
                    <a:pt x="204" y="198"/>
                    <a:pt x="204" y="199"/>
                  </a:cubicBezTo>
                  <a:cubicBezTo>
                    <a:pt x="205" y="199"/>
                    <a:pt x="205" y="201"/>
                    <a:pt x="206" y="201"/>
                  </a:cubicBezTo>
                  <a:cubicBezTo>
                    <a:pt x="207" y="201"/>
                    <a:pt x="207" y="199"/>
                    <a:pt x="208" y="200"/>
                  </a:cubicBezTo>
                  <a:cubicBezTo>
                    <a:pt x="208" y="200"/>
                    <a:pt x="208" y="200"/>
                    <a:pt x="209" y="200"/>
                  </a:cubicBezTo>
                  <a:cubicBezTo>
                    <a:pt x="209" y="201"/>
                    <a:pt x="210" y="201"/>
                    <a:pt x="210" y="201"/>
                  </a:cubicBezTo>
                  <a:cubicBezTo>
                    <a:pt x="211" y="202"/>
                    <a:pt x="211" y="203"/>
                    <a:pt x="212" y="204"/>
                  </a:cubicBezTo>
                  <a:cubicBezTo>
                    <a:pt x="212" y="204"/>
                    <a:pt x="213" y="204"/>
                    <a:pt x="213" y="204"/>
                  </a:cubicBezTo>
                  <a:cubicBezTo>
                    <a:pt x="213" y="204"/>
                    <a:pt x="213" y="204"/>
                    <a:pt x="214" y="204"/>
                  </a:cubicBezTo>
                  <a:cubicBezTo>
                    <a:pt x="214" y="203"/>
                    <a:pt x="215" y="202"/>
                    <a:pt x="215" y="202"/>
                  </a:cubicBezTo>
                  <a:cubicBezTo>
                    <a:pt x="216" y="202"/>
                    <a:pt x="216" y="203"/>
                    <a:pt x="217" y="204"/>
                  </a:cubicBezTo>
                  <a:cubicBezTo>
                    <a:pt x="217" y="205"/>
                    <a:pt x="217" y="206"/>
                    <a:pt x="217" y="207"/>
                  </a:cubicBezTo>
                  <a:cubicBezTo>
                    <a:pt x="217" y="207"/>
                    <a:pt x="217" y="208"/>
                    <a:pt x="217" y="208"/>
                  </a:cubicBezTo>
                  <a:cubicBezTo>
                    <a:pt x="217" y="209"/>
                    <a:pt x="218" y="209"/>
                    <a:pt x="219" y="210"/>
                  </a:cubicBezTo>
                  <a:cubicBezTo>
                    <a:pt x="220" y="211"/>
                    <a:pt x="221" y="212"/>
                    <a:pt x="221" y="213"/>
                  </a:cubicBezTo>
                  <a:cubicBezTo>
                    <a:pt x="221" y="214"/>
                    <a:pt x="221" y="214"/>
                    <a:pt x="221" y="215"/>
                  </a:cubicBezTo>
                  <a:cubicBezTo>
                    <a:pt x="221" y="216"/>
                    <a:pt x="222" y="216"/>
                    <a:pt x="222" y="217"/>
                  </a:cubicBezTo>
                  <a:cubicBezTo>
                    <a:pt x="223" y="218"/>
                    <a:pt x="224" y="219"/>
                    <a:pt x="225" y="219"/>
                  </a:cubicBezTo>
                  <a:cubicBezTo>
                    <a:pt x="225" y="219"/>
                    <a:pt x="227" y="219"/>
                    <a:pt x="228" y="219"/>
                  </a:cubicBezTo>
                  <a:cubicBezTo>
                    <a:pt x="228" y="219"/>
                    <a:pt x="228" y="218"/>
                    <a:pt x="229" y="218"/>
                  </a:cubicBezTo>
                  <a:cubicBezTo>
                    <a:pt x="229" y="218"/>
                    <a:pt x="230" y="218"/>
                    <a:pt x="230" y="218"/>
                  </a:cubicBezTo>
                  <a:cubicBezTo>
                    <a:pt x="231" y="218"/>
                    <a:pt x="231" y="219"/>
                    <a:pt x="231" y="219"/>
                  </a:cubicBezTo>
                  <a:cubicBezTo>
                    <a:pt x="230" y="220"/>
                    <a:pt x="229" y="220"/>
                    <a:pt x="229" y="220"/>
                  </a:cubicBezTo>
                  <a:cubicBezTo>
                    <a:pt x="228" y="220"/>
                    <a:pt x="226" y="220"/>
                    <a:pt x="225" y="220"/>
                  </a:cubicBezTo>
                  <a:cubicBezTo>
                    <a:pt x="225" y="220"/>
                    <a:pt x="224" y="220"/>
                    <a:pt x="224" y="220"/>
                  </a:cubicBezTo>
                  <a:cubicBezTo>
                    <a:pt x="224" y="221"/>
                    <a:pt x="224" y="222"/>
                    <a:pt x="224" y="222"/>
                  </a:cubicBezTo>
                  <a:cubicBezTo>
                    <a:pt x="224" y="223"/>
                    <a:pt x="224" y="223"/>
                    <a:pt x="223" y="224"/>
                  </a:cubicBezTo>
                  <a:cubicBezTo>
                    <a:pt x="223" y="224"/>
                    <a:pt x="223" y="225"/>
                    <a:pt x="223" y="225"/>
                  </a:cubicBezTo>
                  <a:cubicBezTo>
                    <a:pt x="223" y="226"/>
                    <a:pt x="223" y="226"/>
                    <a:pt x="223" y="227"/>
                  </a:cubicBezTo>
                  <a:cubicBezTo>
                    <a:pt x="224" y="227"/>
                    <a:pt x="224" y="227"/>
                    <a:pt x="224" y="228"/>
                  </a:cubicBezTo>
                  <a:cubicBezTo>
                    <a:pt x="224" y="228"/>
                    <a:pt x="225" y="229"/>
                    <a:pt x="225" y="230"/>
                  </a:cubicBezTo>
                  <a:cubicBezTo>
                    <a:pt x="226" y="230"/>
                    <a:pt x="227" y="230"/>
                    <a:pt x="228" y="230"/>
                  </a:cubicBezTo>
                  <a:cubicBezTo>
                    <a:pt x="229" y="230"/>
                    <a:pt x="231" y="230"/>
                    <a:pt x="232" y="230"/>
                  </a:cubicBezTo>
                  <a:cubicBezTo>
                    <a:pt x="232" y="230"/>
                    <a:pt x="233" y="230"/>
                    <a:pt x="233" y="229"/>
                  </a:cubicBezTo>
                  <a:cubicBezTo>
                    <a:pt x="233" y="229"/>
                    <a:pt x="233" y="229"/>
                    <a:pt x="234" y="229"/>
                  </a:cubicBezTo>
                  <a:cubicBezTo>
                    <a:pt x="235" y="229"/>
                    <a:pt x="236" y="229"/>
                    <a:pt x="237" y="229"/>
                  </a:cubicBezTo>
                  <a:cubicBezTo>
                    <a:pt x="238" y="229"/>
                    <a:pt x="239" y="229"/>
                    <a:pt x="240" y="229"/>
                  </a:cubicBezTo>
                  <a:cubicBezTo>
                    <a:pt x="240" y="229"/>
                    <a:pt x="241" y="229"/>
                    <a:pt x="242" y="228"/>
                  </a:cubicBezTo>
                  <a:cubicBezTo>
                    <a:pt x="242" y="228"/>
                    <a:pt x="243" y="228"/>
                    <a:pt x="243" y="228"/>
                  </a:cubicBezTo>
                  <a:cubicBezTo>
                    <a:pt x="244" y="227"/>
                    <a:pt x="245" y="226"/>
                    <a:pt x="246" y="227"/>
                  </a:cubicBezTo>
                  <a:cubicBezTo>
                    <a:pt x="247" y="227"/>
                    <a:pt x="247" y="227"/>
                    <a:pt x="247" y="227"/>
                  </a:cubicBezTo>
                  <a:cubicBezTo>
                    <a:pt x="248" y="227"/>
                    <a:pt x="248" y="226"/>
                    <a:pt x="248" y="226"/>
                  </a:cubicBezTo>
                  <a:cubicBezTo>
                    <a:pt x="249" y="225"/>
                    <a:pt x="250" y="224"/>
                    <a:pt x="251" y="224"/>
                  </a:cubicBezTo>
                  <a:cubicBezTo>
                    <a:pt x="251" y="223"/>
                    <a:pt x="252" y="223"/>
                    <a:pt x="252" y="222"/>
                  </a:cubicBezTo>
                  <a:cubicBezTo>
                    <a:pt x="253" y="221"/>
                    <a:pt x="253" y="221"/>
                    <a:pt x="252" y="220"/>
                  </a:cubicBezTo>
                  <a:cubicBezTo>
                    <a:pt x="252" y="219"/>
                    <a:pt x="252" y="219"/>
                    <a:pt x="252" y="218"/>
                  </a:cubicBezTo>
                  <a:cubicBezTo>
                    <a:pt x="252" y="218"/>
                    <a:pt x="252" y="217"/>
                    <a:pt x="253" y="217"/>
                  </a:cubicBezTo>
                  <a:cubicBezTo>
                    <a:pt x="253" y="216"/>
                    <a:pt x="253" y="216"/>
                    <a:pt x="253" y="215"/>
                  </a:cubicBezTo>
                  <a:cubicBezTo>
                    <a:pt x="253" y="215"/>
                    <a:pt x="253" y="214"/>
                    <a:pt x="253" y="214"/>
                  </a:cubicBezTo>
                  <a:cubicBezTo>
                    <a:pt x="253" y="214"/>
                    <a:pt x="253" y="214"/>
                    <a:pt x="253" y="213"/>
                  </a:cubicBezTo>
                  <a:cubicBezTo>
                    <a:pt x="253" y="213"/>
                    <a:pt x="253" y="212"/>
                    <a:pt x="253" y="212"/>
                  </a:cubicBezTo>
                  <a:cubicBezTo>
                    <a:pt x="253" y="212"/>
                    <a:pt x="254" y="211"/>
                    <a:pt x="254" y="211"/>
                  </a:cubicBezTo>
                  <a:cubicBezTo>
                    <a:pt x="254" y="211"/>
                    <a:pt x="255" y="211"/>
                    <a:pt x="255" y="210"/>
                  </a:cubicBezTo>
                  <a:cubicBezTo>
                    <a:pt x="255" y="210"/>
                    <a:pt x="255" y="209"/>
                    <a:pt x="255" y="209"/>
                  </a:cubicBezTo>
                  <a:cubicBezTo>
                    <a:pt x="256" y="209"/>
                    <a:pt x="256" y="208"/>
                    <a:pt x="256" y="208"/>
                  </a:cubicBezTo>
                  <a:cubicBezTo>
                    <a:pt x="257" y="207"/>
                    <a:pt x="257" y="207"/>
                    <a:pt x="257" y="206"/>
                  </a:cubicBezTo>
                  <a:cubicBezTo>
                    <a:pt x="258" y="206"/>
                    <a:pt x="258" y="206"/>
                    <a:pt x="258" y="205"/>
                  </a:cubicBezTo>
                  <a:cubicBezTo>
                    <a:pt x="258" y="205"/>
                    <a:pt x="259" y="205"/>
                    <a:pt x="259" y="204"/>
                  </a:cubicBezTo>
                  <a:cubicBezTo>
                    <a:pt x="259" y="204"/>
                    <a:pt x="260" y="203"/>
                    <a:pt x="259" y="202"/>
                  </a:cubicBezTo>
                  <a:cubicBezTo>
                    <a:pt x="259" y="202"/>
                    <a:pt x="258" y="202"/>
                    <a:pt x="258" y="201"/>
                  </a:cubicBezTo>
                  <a:cubicBezTo>
                    <a:pt x="258" y="201"/>
                    <a:pt x="259" y="201"/>
                    <a:pt x="259" y="201"/>
                  </a:cubicBezTo>
                  <a:cubicBezTo>
                    <a:pt x="259" y="200"/>
                    <a:pt x="259" y="200"/>
                    <a:pt x="259" y="200"/>
                  </a:cubicBezTo>
                  <a:cubicBezTo>
                    <a:pt x="259" y="199"/>
                    <a:pt x="259" y="198"/>
                    <a:pt x="259" y="198"/>
                  </a:cubicBezTo>
                  <a:cubicBezTo>
                    <a:pt x="259" y="197"/>
                    <a:pt x="259" y="195"/>
                    <a:pt x="260" y="195"/>
                  </a:cubicBezTo>
                  <a:cubicBezTo>
                    <a:pt x="260" y="193"/>
                    <a:pt x="260" y="192"/>
                    <a:pt x="260" y="191"/>
                  </a:cubicBezTo>
                  <a:cubicBezTo>
                    <a:pt x="260" y="190"/>
                    <a:pt x="260" y="190"/>
                    <a:pt x="260" y="189"/>
                  </a:cubicBezTo>
                  <a:cubicBezTo>
                    <a:pt x="261" y="188"/>
                    <a:pt x="261" y="188"/>
                    <a:pt x="261" y="188"/>
                  </a:cubicBezTo>
                  <a:cubicBezTo>
                    <a:pt x="261" y="187"/>
                    <a:pt x="261" y="187"/>
                    <a:pt x="261" y="186"/>
                  </a:cubicBezTo>
                  <a:cubicBezTo>
                    <a:pt x="261" y="186"/>
                    <a:pt x="261" y="185"/>
                    <a:pt x="261" y="184"/>
                  </a:cubicBezTo>
                  <a:cubicBezTo>
                    <a:pt x="261" y="183"/>
                    <a:pt x="261" y="182"/>
                    <a:pt x="261" y="182"/>
                  </a:cubicBezTo>
                  <a:cubicBezTo>
                    <a:pt x="262" y="181"/>
                    <a:pt x="262" y="180"/>
                    <a:pt x="262" y="179"/>
                  </a:cubicBezTo>
                  <a:cubicBezTo>
                    <a:pt x="262" y="178"/>
                    <a:pt x="262" y="177"/>
                    <a:pt x="262" y="177"/>
                  </a:cubicBezTo>
                  <a:cubicBezTo>
                    <a:pt x="262" y="176"/>
                    <a:pt x="263" y="176"/>
                    <a:pt x="263" y="175"/>
                  </a:cubicBezTo>
                  <a:cubicBezTo>
                    <a:pt x="263" y="175"/>
                    <a:pt x="263" y="174"/>
                    <a:pt x="263" y="173"/>
                  </a:cubicBezTo>
                  <a:cubicBezTo>
                    <a:pt x="263" y="172"/>
                    <a:pt x="263" y="171"/>
                    <a:pt x="263" y="170"/>
                  </a:cubicBezTo>
                  <a:cubicBezTo>
                    <a:pt x="263" y="169"/>
                    <a:pt x="262" y="168"/>
                    <a:pt x="262" y="168"/>
                  </a:cubicBezTo>
                  <a:cubicBezTo>
                    <a:pt x="262" y="167"/>
                    <a:pt x="262" y="166"/>
                    <a:pt x="262" y="165"/>
                  </a:cubicBezTo>
                  <a:cubicBezTo>
                    <a:pt x="262" y="164"/>
                    <a:pt x="262" y="163"/>
                    <a:pt x="262" y="162"/>
                  </a:cubicBezTo>
                  <a:cubicBezTo>
                    <a:pt x="262" y="162"/>
                    <a:pt x="262" y="162"/>
                    <a:pt x="262" y="161"/>
                  </a:cubicBezTo>
                  <a:cubicBezTo>
                    <a:pt x="262" y="161"/>
                    <a:pt x="261" y="161"/>
                    <a:pt x="261" y="160"/>
                  </a:cubicBezTo>
                  <a:cubicBezTo>
                    <a:pt x="261" y="160"/>
                    <a:pt x="261" y="159"/>
                    <a:pt x="261" y="159"/>
                  </a:cubicBezTo>
                  <a:cubicBezTo>
                    <a:pt x="261" y="158"/>
                    <a:pt x="260" y="158"/>
                    <a:pt x="260" y="158"/>
                  </a:cubicBezTo>
                  <a:cubicBezTo>
                    <a:pt x="260" y="157"/>
                    <a:pt x="260" y="157"/>
                    <a:pt x="260" y="157"/>
                  </a:cubicBezTo>
                  <a:cubicBezTo>
                    <a:pt x="260" y="156"/>
                    <a:pt x="259" y="156"/>
                    <a:pt x="259" y="156"/>
                  </a:cubicBezTo>
                  <a:cubicBezTo>
                    <a:pt x="259" y="155"/>
                    <a:pt x="259" y="155"/>
                    <a:pt x="259" y="155"/>
                  </a:cubicBezTo>
                  <a:cubicBezTo>
                    <a:pt x="259" y="154"/>
                    <a:pt x="258" y="154"/>
                    <a:pt x="258" y="154"/>
                  </a:cubicBezTo>
                  <a:cubicBezTo>
                    <a:pt x="258" y="153"/>
                    <a:pt x="258" y="153"/>
                    <a:pt x="258" y="153"/>
                  </a:cubicBezTo>
                  <a:cubicBezTo>
                    <a:pt x="258" y="152"/>
                    <a:pt x="257" y="152"/>
                    <a:pt x="257" y="151"/>
                  </a:cubicBezTo>
                  <a:cubicBezTo>
                    <a:pt x="256" y="151"/>
                    <a:pt x="256" y="151"/>
                    <a:pt x="256" y="151"/>
                  </a:cubicBezTo>
                  <a:cubicBezTo>
                    <a:pt x="256" y="151"/>
                    <a:pt x="255" y="151"/>
                    <a:pt x="255" y="151"/>
                  </a:cubicBezTo>
                  <a:cubicBezTo>
                    <a:pt x="255" y="152"/>
                    <a:pt x="254" y="151"/>
                    <a:pt x="254" y="150"/>
                  </a:cubicBezTo>
                  <a:cubicBezTo>
                    <a:pt x="254" y="150"/>
                    <a:pt x="254" y="150"/>
                    <a:pt x="253" y="150"/>
                  </a:cubicBezTo>
                  <a:cubicBezTo>
                    <a:pt x="253" y="150"/>
                    <a:pt x="253" y="150"/>
                    <a:pt x="253" y="149"/>
                  </a:cubicBezTo>
                  <a:cubicBezTo>
                    <a:pt x="253" y="149"/>
                    <a:pt x="253" y="149"/>
                    <a:pt x="253" y="149"/>
                  </a:cubicBezTo>
                  <a:cubicBezTo>
                    <a:pt x="254" y="149"/>
                    <a:pt x="254" y="149"/>
                    <a:pt x="254" y="150"/>
                  </a:cubicBezTo>
                  <a:cubicBezTo>
                    <a:pt x="254" y="150"/>
                    <a:pt x="255" y="150"/>
                    <a:pt x="256" y="150"/>
                  </a:cubicBezTo>
                  <a:cubicBezTo>
                    <a:pt x="256" y="149"/>
                    <a:pt x="256" y="149"/>
                    <a:pt x="256" y="149"/>
                  </a:cubicBezTo>
                  <a:cubicBezTo>
                    <a:pt x="255" y="148"/>
                    <a:pt x="255" y="148"/>
                    <a:pt x="255" y="147"/>
                  </a:cubicBezTo>
                  <a:cubicBezTo>
                    <a:pt x="255" y="147"/>
                    <a:pt x="255" y="147"/>
                    <a:pt x="255" y="147"/>
                  </a:cubicBezTo>
                  <a:cubicBezTo>
                    <a:pt x="255" y="146"/>
                    <a:pt x="255" y="146"/>
                    <a:pt x="255" y="146"/>
                  </a:cubicBezTo>
                  <a:cubicBezTo>
                    <a:pt x="254" y="145"/>
                    <a:pt x="254" y="145"/>
                    <a:pt x="254" y="144"/>
                  </a:cubicBezTo>
                  <a:cubicBezTo>
                    <a:pt x="254" y="144"/>
                    <a:pt x="254" y="143"/>
                    <a:pt x="254" y="143"/>
                  </a:cubicBezTo>
                  <a:cubicBezTo>
                    <a:pt x="253" y="142"/>
                    <a:pt x="253" y="142"/>
                    <a:pt x="253" y="142"/>
                  </a:cubicBezTo>
                  <a:cubicBezTo>
                    <a:pt x="253" y="141"/>
                    <a:pt x="253" y="141"/>
                    <a:pt x="253" y="140"/>
                  </a:cubicBezTo>
                  <a:cubicBezTo>
                    <a:pt x="253" y="140"/>
                    <a:pt x="254" y="140"/>
                    <a:pt x="254" y="139"/>
                  </a:cubicBezTo>
                  <a:cubicBezTo>
                    <a:pt x="254" y="139"/>
                    <a:pt x="253" y="139"/>
                    <a:pt x="253" y="139"/>
                  </a:cubicBezTo>
                  <a:cubicBezTo>
                    <a:pt x="252" y="139"/>
                    <a:pt x="253" y="139"/>
                    <a:pt x="252" y="140"/>
                  </a:cubicBezTo>
                  <a:cubicBezTo>
                    <a:pt x="252" y="139"/>
                    <a:pt x="252" y="139"/>
                    <a:pt x="252" y="139"/>
                  </a:cubicBezTo>
                  <a:cubicBezTo>
                    <a:pt x="252" y="138"/>
                    <a:pt x="252" y="138"/>
                    <a:pt x="252" y="137"/>
                  </a:cubicBezTo>
                  <a:cubicBezTo>
                    <a:pt x="252" y="137"/>
                    <a:pt x="253" y="137"/>
                    <a:pt x="253" y="137"/>
                  </a:cubicBezTo>
                  <a:cubicBezTo>
                    <a:pt x="252" y="136"/>
                    <a:pt x="252" y="136"/>
                    <a:pt x="252" y="136"/>
                  </a:cubicBezTo>
                  <a:cubicBezTo>
                    <a:pt x="252" y="136"/>
                    <a:pt x="252" y="135"/>
                    <a:pt x="252" y="135"/>
                  </a:cubicBezTo>
                  <a:cubicBezTo>
                    <a:pt x="252" y="134"/>
                    <a:pt x="252" y="134"/>
                    <a:pt x="251" y="133"/>
                  </a:cubicBezTo>
                  <a:cubicBezTo>
                    <a:pt x="251" y="133"/>
                    <a:pt x="251" y="132"/>
                    <a:pt x="251" y="132"/>
                  </a:cubicBezTo>
                  <a:cubicBezTo>
                    <a:pt x="251" y="132"/>
                    <a:pt x="250" y="132"/>
                    <a:pt x="250" y="131"/>
                  </a:cubicBezTo>
                  <a:cubicBezTo>
                    <a:pt x="250" y="131"/>
                    <a:pt x="250" y="131"/>
                    <a:pt x="250" y="131"/>
                  </a:cubicBezTo>
                  <a:cubicBezTo>
                    <a:pt x="249" y="130"/>
                    <a:pt x="249" y="130"/>
                    <a:pt x="249" y="129"/>
                  </a:cubicBezTo>
                  <a:cubicBezTo>
                    <a:pt x="249" y="129"/>
                    <a:pt x="248" y="128"/>
                    <a:pt x="248" y="127"/>
                  </a:cubicBezTo>
                  <a:cubicBezTo>
                    <a:pt x="248" y="127"/>
                    <a:pt x="247" y="126"/>
                    <a:pt x="247" y="125"/>
                  </a:cubicBezTo>
                  <a:cubicBezTo>
                    <a:pt x="247" y="125"/>
                    <a:pt x="247" y="125"/>
                    <a:pt x="246" y="124"/>
                  </a:cubicBezTo>
                  <a:cubicBezTo>
                    <a:pt x="246" y="124"/>
                    <a:pt x="246" y="124"/>
                    <a:pt x="246" y="123"/>
                  </a:cubicBezTo>
                  <a:cubicBezTo>
                    <a:pt x="246" y="123"/>
                    <a:pt x="246" y="123"/>
                    <a:pt x="246" y="122"/>
                  </a:cubicBezTo>
                  <a:cubicBezTo>
                    <a:pt x="246" y="122"/>
                    <a:pt x="245" y="122"/>
                    <a:pt x="245" y="121"/>
                  </a:cubicBezTo>
                  <a:cubicBezTo>
                    <a:pt x="245" y="121"/>
                    <a:pt x="245" y="121"/>
                    <a:pt x="245" y="121"/>
                  </a:cubicBezTo>
                  <a:cubicBezTo>
                    <a:pt x="245" y="120"/>
                    <a:pt x="245" y="120"/>
                    <a:pt x="245" y="120"/>
                  </a:cubicBezTo>
                  <a:cubicBezTo>
                    <a:pt x="245" y="119"/>
                    <a:pt x="244" y="119"/>
                    <a:pt x="244" y="118"/>
                  </a:cubicBezTo>
                  <a:cubicBezTo>
                    <a:pt x="244" y="118"/>
                    <a:pt x="244" y="118"/>
                    <a:pt x="244" y="117"/>
                  </a:cubicBezTo>
                  <a:cubicBezTo>
                    <a:pt x="243" y="117"/>
                    <a:pt x="243" y="116"/>
                    <a:pt x="243" y="116"/>
                  </a:cubicBezTo>
                  <a:cubicBezTo>
                    <a:pt x="243" y="115"/>
                    <a:pt x="243" y="115"/>
                    <a:pt x="242" y="114"/>
                  </a:cubicBezTo>
                  <a:cubicBezTo>
                    <a:pt x="242" y="114"/>
                    <a:pt x="242" y="114"/>
                    <a:pt x="242" y="113"/>
                  </a:cubicBezTo>
                  <a:cubicBezTo>
                    <a:pt x="242" y="113"/>
                    <a:pt x="242" y="113"/>
                    <a:pt x="242" y="112"/>
                  </a:cubicBezTo>
                  <a:cubicBezTo>
                    <a:pt x="241" y="112"/>
                    <a:pt x="241" y="111"/>
                    <a:pt x="241" y="110"/>
                  </a:cubicBezTo>
                  <a:cubicBezTo>
                    <a:pt x="240" y="110"/>
                    <a:pt x="240" y="109"/>
                    <a:pt x="240" y="109"/>
                  </a:cubicBezTo>
                  <a:cubicBezTo>
                    <a:pt x="240" y="108"/>
                    <a:pt x="240" y="108"/>
                    <a:pt x="239" y="107"/>
                  </a:cubicBezTo>
                  <a:cubicBezTo>
                    <a:pt x="239" y="107"/>
                    <a:pt x="239" y="106"/>
                    <a:pt x="239" y="106"/>
                  </a:cubicBezTo>
                  <a:cubicBezTo>
                    <a:pt x="239" y="106"/>
                    <a:pt x="240" y="106"/>
                    <a:pt x="240" y="106"/>
                  </a:cubicBezTo>
                  <a:cubicBezTo>
                    <a:pt x="240" y="107"/>
                    <a:pt x="240" y="107"/>
                    <a:pt x="240" y="107"/>
                  </a:cubicBezTo>
                  <a:cubicBezTo>
                    <a:pt x="240" y="107"/>
                    <a:pt x="241" y="107"/>
                    <a:pt x="241" y="107"/>
                  </a:cubicBezTo>
                  <a:cubicBezTo>
                    <a:pt x="241" y="106"/>
                    <a:pt x="241" y="106"/>
                    <a:pt x="241" y="105"/>
                  </a:cubicBezTo>
                  <a:cubicBezTo>
                    <a:pt x="241" y="104"/>
                    <a:pt x="241" y="104"/>
                    <a:pt x="241" y="103"/>
                  </a:cubicBezTo>
                  <a:cubicBezTo>
                    <a:pt x="241" y="103"/>
                    <a:pt x="241" y="102"/>
                    <a:pt x="241" y="102"/>
                  </a:cubicBezTo>
                  <a:cubicBezTo>
                    <a:pt x="242" y="101"/>
                    <a:pt x="242" y="101"/>
                    <a:pt x="242" y="101"/>
                  </a:cubicBezTo>
                  <a:cubicBezTo>
                    <a:pt x="242" y="101"/>
                    <a:pt x="242" y="100"/>
                    <a:pt x="242" y="100"/>
                  </a:cubicBezTo>
                  <a:cubicBezTo>
                    <a:pt x="242" y="100"/>
                    <a:pt x="242" y="99"/>
                    <a:pt x="243" y="99"/>
                  </a:cubicBezTo>
                  <a:cubicBezTo>
                    <a:pt x="243" y="100"/>
                    <a:pt x="243" y="100"/>
                    <a:pt x="243" y="101"/>
                  </a:cubicBezTo>
                  <a:cubicBezTo>
                    <a:pt x="243" y="101"/>
                    <a:pt x="243" y="101"/>
                    <a:pt x="243" y="101"/>
                  </a:cubicBezTo>
                  <a:cubicBezTo>
                    <a:pt x="243" y="101"/>
                    <a:pt x="243" y="102"/>
                    <a:pt x="243" y="102"/>
                  </a:cubicBezTo>
                  <a:cubicBezTo>
                    <a:pt x="243" y="102"/>
                    <a:pt x="242" y="102"/>
                    <a:pt x="242" y="103"/>
                  </a:cubicBezTo>
                  <a:cubicBezTo>
                    <a:pt x="242" y="103"/>
                    <a:pt x="242" y="104"/>
                    <a:pt x="243" y="104"/>
                  </a:cubicBezTo>
                  <a:cubicBezTo>
                    <a:pt x="243" y="104"/>
                    <a:pt x="244" y="103"/>
                    <a:pt x="244" y="103"/>
                  </a:cubicBezTo>
                  <a:cubicBezTo>
                    <a:pt x="245" y="103"/>
                    <a:pt x="246" y="102"/>
                    <a:pt x="246" y="102"/>
                  </a:cubicBezTo>
                  <a:cubicBezTo>
                    <a:pt x="246" y="101"/>
                    <a:pt x="245" y="101"/>
                    <a:pt x="245" y="101"/>
                  </a:cubicBezTo>
                  <a:cubicBezTo>
                    <a:pt x="245" y="101"/>
                    <a:pt x="245" y="100"/>
                    <a:pt x="245" y="100"/>
                  </a:cubicBezTo>
                  <a:cubicBezTo>
                    <a:pt x="245" y="99"/>
                    <a:pt x="244" y="99"/>
                    <a:pt x="244" y="98"/>
                  </a:cubicBezTo>
                  <a:cubicBezTo>
                    <a:pt x="244" y="98"/>
                    <a:pt x="244" y="97"/>
                    <a:pt x="244" y="97"/>
                  </a:cubicBezTo>
                  <a:cubicBezTo>
                    <a:pt x="244" y="97"/>
                    <a:pt x="244" y="96"/>
                    <a:pt x="244" y="96"/>
                  </a:cubicBezTo>
                  <a:cubicBezTo>
                    <a:pt x="243" y="96"/>
                    <a:pt x="243" y="96"/>
                    <a:pt x="243" y="95"/>
                  </a:cubicBezTo>
                  <a:cubicBezTo>
                    <a:pt x="243" y="95"/>
                    <a:pt x="242" y="94"/>
                    <a:pt x="241" y="94"/>
                  </a:cubicBezTo>
                  <a:cubicBezTo>
                    <a:pt x="241" y="93"/>
                    <a:pt x="240" y="93"/>
                    <a:pt x="240" y="93"/>
                  </a:cubicBezTo>
                  <a:cubicBezTo>
                    <a:pt x="239" y="92"/>
                    <a:pt x="239" y="92"/>
                    <a:pt x="238" y="91"/>
                  </a:cubicBezTo>
                  <a:cubicBezTo>
                    <a:pt x="237" y="90"/>
                    <a:pt x="236" y="89"/>
                    <a:pt x="236" y="88"/>
                  </a:cubicBezTo>
                  <a:cubicBezTo>
                    <a:pt x="235" y="86"/>
                    <a:pt x="235" y="85"/>
                    <a:pt x="235" y="84"/>
                  </a:cubicBezTo>
                  <a:cubicBezTo>
                    <a:pt x="235" y="83"/>
                    <a:pt x="235" y="83"/>
                    <a:pt x="235" y="82"/>
                  </a:cubicBezTo>
                  <a:cubicBezTo>
                    <a:pt x="234" y="82"/>
                    <a:pt x="234" y="81"/>
                    <a:pt x="234" y="81"/>
                  </a:cubicBezTo>
                  <a:cubicBezTo>
                    <a:pt x="234" y="80"/>
                    <a:pt x="233" y="80"/>
                    <a:pt x="233" y="79"/>
                  </a:cubicBezTo>
                  <a:cubicBezTo>
                    <a:pt x="233" y="79"/>
                    <a:pt x="233" y="79"/>
                    <a:pt x="233" y="79"/>
                  </a:cubicBezTo>
                  <a:cubicBezTo>
                    <a:pt x="233" y="79"/>
                    <a:pt x="233" y="78"/>
                    <a:pt x="233" y="78"/>
                  </a:cubicBezTo>
                  <a:cubicBezTo>
                    <a:pt x="232" y="78"/>
                    <a:pt x="232" y="78"/>
                    <a:pt x="232" y="78"/>
                  </a:cubicBezTo>
                  <a:cubicBezTo>
                    <a:pt x="232" y="77"/>
                    <a:pt x="232" y="77"/>
                    <a:pt x="232" y="77"/>
                  </a:cubicBezTo>
                  <a:cubicBezTo>
                    <a:pt x="232" y="76"/>
                    <a:pt x="231" y="76"/>
                    <a:pt x="231" y="76"/>
                  </a:cubicBezTo>
                  <a:cubicBezTo>
                    <a:pt x="231" y="75"/>
                    <a:pt x="231" y="75"/>
                    <a:pt x="230" y="75"/>
                  </a:cubicBezTo>
                  <a:cubicBezTo>
                    <a:pt x="230" y="75"/>
                    <a:pt x="230" y="74"/>
                    <a:pt x="230" y="74"/>
                  </a:cubicBezTo>
                  <a:cubicBezTo>
                    <a:pt x="230" y="74"/>
                    <a:pt x="230" y="73"/>
                    <a:pt x="230" y="73"/>
                  </a:cubicBezTo>
                  <a:cubicBezTo>
                    <a:pt x="230" y="72"/>
                    <a:pt x="230" y="72"/>
                    <a:pt x="229" y="72"/>
                  </a:cubicBezTo>
                  <a:cubicBezTo>
                    <a:pt x="229" y="72"/>
                    <a:pt x="229" y="72"/>
                    <a:pt x="229" y="71"/>
                  </a:cubicBezTo>
                  <a:cubicBezTo>
                    <a:pt x="229" y="71"/>
                    <a:pt x="228" y="71"/>
                    <a:pt x="228" y="71"/>
                  </a:cubicBezTo>
                  <a:cubicBezTo>
                    <a:pt x="228" y="71"/>
                    <a:pt x="228" y="71"/>
                    <a:pt x="228" y="71"/>
                  </a:cubicBezTo>
                  <a:cubicBezTo>
                    <a:pt x="227" y="70"/>
                    <a:pt x="228" y="70"/>
                    <a:pt x="229" y="69"/>
                  </a:cubicBezTo>
                  <a:cubicBezTo>
                    <a:pt x="229" y="69"/>
                    <a:pt x="228" y="69"/>
                    <a:pt x="228" y="69"/>
                  </a:cubicBezTo>
                  <a:cubicBezTo>
                    <a:pt x="228" y="69"/>
                    <a:pt x="227" y="68"/>
                    <a:pt x="227" y="68"/>
                  </a:cubicBezTo>
                  <a:cubicBezTo>
                    <a:pt x="227" y="68"/>
                    <a:pt x="228" y="68"/>
                    <a:pt x="228" y="68"/>
                  </a:cubicBezTo>
                  <a:cubicBezTo>
                    <a:pt x="228" y="68"/>
                    <a:pt x="228" y="67"/>
                    <a:pt x="228" y="67"/>
                  </a:cubicBezTo>
                  <a:cubicBezTo>
                    <a:pt x="227" y="67"/>
                    <a:pt x="226" y="67"/>
                    <a:pt x="226" y="67"/>
                  </a:cubicBezTo>
                  <a:cubicBezTo>
                    <a:pt x="227" y="67"/>
                    <a:pt x="227" y="66"/>
                    <a:pt x="227" y="66"/>
                  </a:cubicBezTo>
                  <a:cubicBezTo>
                    <a:pt x="227" y="66"/>
                    <a:pt x="227" y="66"/>
                    <a:pt x="227" y="66"/>
                  </a:cubicBezTo>
                  <a:cubicBezTo>
                    <a:pt x="227" y="66"/>
                    <a:pt x="226" y="66"/>
                    <a:pt x="226" y="66"/>
                  </a:cubicBezTo>
                  <a:cubicBezTo>
                    <a:pt x="226" y="65"/>
                    <a:pt x="226" y="65"/>
                    <a:pt x="226" y="65"/>
                  </a:cubicBezTo>
                  <a:cubicBezTo>
                    <a:pt x="226" y="64"/>
                    <a:pt x="225" y="63"/>
                    <a:pt x="225" y="63"/>
                  </a:cubicBezTo>
                  <a:cubicBezTo>
                    <a:pt x="224" y="61"/>
                    <a:pt x="224" y="60"/>
                    <a:pt x="223" y="59"/>
                  </a:cubicBezTo>
                  <a:cubicBezTo>
                    <a:pt x="223" y="58"/>
                    <a:pt x="223" y="57"/>
                    <a:pt x="223" y="57"/>
                  </a:cubicBezTo>
                  <a:cubicBezTo>
                    <a:pt x="223" y="56"/>
                    <a:pt x="222" y="55"/>
                    <a:pt x="222" y="55"/>
                  </a:cubicBezTo>
                  <a:cubicBezTo>
                    <a:pt x="222" y="54"/>
                    <a:pt x="222" y="54"/>
                    <a:pt x="222" y="53"/>
                  </a:cubicBezTo>
                  <a:cubicBezTo>
                    <a:pt x="222" y="53"/>
                    <a:pt x="222" y="53"/>
                    <a:pt x="221" y="52"/>
                  </a:cubicBezTo>
                  <a:cubicBezTo>
                    <a:pt x="221" y="51"/>
                    <a:pt x="220" y="51"/>
                    <a:pt x="220" y="50"/>
                  </a:cubicBezTo>
                  <a:cubicBezTo>
                    <a:pt x="220" y="49"/>
                    <a:pt x="219" y="49"/>
                    <a:pt x="219" y="48"/>
                  </a:cubicBezTo>
                  <a:cubicBezTo>
                    <a:pt x="219" y="48"/>
                    <a:pt x="219" y="47"/>
                    <a:pt x="219" y="47"/>
                  </a:cubicBezTo>
                  <a:cubicBezTo>
                    <a:pt x="219" y="47"/>
                    <a:pt x="219" y="46"/>
                    <a:pt x="219" y="46"/>
                  </a:cubicBezTo>
                  <a:cubicBezTo>
                    <a:pt x="219" y="46"/>
                    <a:pt x="219" y="45"/>
                    <a:pt x="219" y="45"/>
                  </a:cubicBezTo>
                  <a:cubicBezTo>
                    <a:pt x="219" y="44"/>
                    <a:pt x="219" y="44"/>
                    <a:pt x="219" y="43"/>
                  </a:cubicBezTo>
                  <a:cubicBezTo>
                    <a:pt x="219" y="42"/>
                    <a:pt x="219" y="42"/>
                    <a:pt x="218" y="41"/>
                  </a:cubicBezTo>
                  <a:cubicBezTo>
                    <a:pt x="218" y="41"/>
                    <a:pt x="218" y="40"/>
                    <a:pt x="218" y="39"/>
                  </a:cubicBezTo>
                  <a:cubicBezTo>
                    <a:pt x="218" y="39"/>
                    <a:pt x="218" y="38"/>
                    <a:pt x="218" y="38"/>
                  </a:cubicBezTo>
                  <a:cubicBezTo>
                    <a:pt x="218" y="37"/>
                    <a:pt x="218" y="37"/>
                    <a:pt x="217" y="37"/>
                  </a:cubicBezTo>
                  <a:cubicBezTo>
                    <a:pt x="217" y="36"/>
                    <a:pt x="217" y="36"/>
                    <a:pt x="217" y="36"/>
                  </a:cubicBezTo>
                  <a:cubicBezTo>
                    <a:pt x="217" y="36"/>
                    <a:pt x="217" y="36"/>
                    <a:pt x="217" y="35"/>
                  </a:cubicBezTo>
                  <a:cubicBezTo>
                    <a:pt x="217" y="35"/>
                    <a:pt x="217" y="35"/>
                    <a:pt x="217" y="34"/>
                  </a:cubicBezTo>
                  <a:cubicBezTo>
                    <a:pt x="217" y="34"/>
                    <a:pt x="217" y="34"/>
                    <a:pt x="217" y="34"/>
                  </a:cubicBezTo>
                  <a:cubicBezTo>
                    <a:pt x="217" y="34"/>
                    <a:pt x="217" y="34"/>
                    <a:pt x="217" y="34"/>
                  </a:cubicBezTo>
                  <a:cubicBezTo>
                    <a:pt x="217" y="33"/>
                    <a:pt x="217" y="33"/>
                    <a:pt x="217" y="33"/>
                  </a:cubicBezTo>
                  <a:cubicBezTo>
                    <a:pt x="217" y="33"/>
                    <a:pt x="216" y="33"/>
                    <a:pt x="216" y="32"/>
                  </a:cubicBezTo>
                  <a:cubicBezTo>
                    <a:pt x="216" y="32"/>
                    <a:pt x="216" y="31"/>
                    <a:pt x="216" y="30"/>
                  </a:cubicBezTo>
                  <a:cubicBezTo>
                    <a:pt x="216" y="30"/>
                    <a:pt x="216" y="30"/>
                    <a:pt x="216" y="30"/>
                  </a:cubicBezTo>
                  <a:cubicBezTo>
                    <a:pt x="216" y="29"/>
                    <a:pt x="216" y="29"/>
                    <a:pt x="216" y="29"/>
                  </a:cubicBezTo>
                  <a:cubicBezTo>
                    <a:pt x="216" y="29"/>
                    <a:pt x="216" y="28"/>
                    <a:pt x="216" y="28"/>
                  </a:cubicBezTo>
                  <a:cubicBezTo>
                    <a:pt x="216" y="27"/>
                    <a:pt x="216" y="27"/>
                    <a:pt x="216" y="26"/>
                  </a:cubicBezTo>
                  <a:cubicBezTo>
                    <a:pt x="216" y="26"/>
                    <a:pt x="216" y="25"/>
                    <a:pt x="216" y="25"/>
                  </a:cubicBezTo>
                  <a:cubicBezTo>
                    <a:pt x="216" y="25"/>
                    <a:pt x="215" y="25"/>
                    <a:pt x="215" y="25"/>
                  </a:cubicBezTo>
                  <a:cubicBezTo>
                    <a:pt x="215" y="25"/>
                    <a:pt x="214" y="25"/>
                    <a:pt x="214" y="25"/>
                  </a:cubicBezTo>
                  <a:cubicBezTo>
                    <a:pt x="213" y="25"/>
                    <a:pt x="213" y="25"/>
                    <a:pt x="212" y="24"/>
                  </a:cubicBezTo>
                  <a:cubicBezTo>
                    <a:pt x="212" y="24"/>
                    <a:pt x="212" y="24"/>
                    <a:pt x="212" y="24"/>
                  </a:cubicBezTo>
                  <a:cubicBezTo>
                    <a:pt x="212" y="24"/>
                    <a:pt x="212" y="24"/>
                    <a:pt x="212" y="23"/>
                  </a:cubicBezTo>
                  <a:cubicBezTo>
                    <a:pt x="213" y="23"/>
                    <a:pt x="213" y="23"/>
                    <a:pt x="213" y="23"/>
                  </a:cubicBezTo>
                  <a:cubicBezTo>
                    <a:pt x="213" y="23"/>
                    <a:pt x="214" y="23"/>
                    <a:pt x="214" y="23"/>
                  </a:cubicBezTo>
                  <a:cubicBezTo>
                    <a:pt x="214" y="23"/>
                    <a:pt x="214" y="23"/>
                    <a:pt x="214" y="22"/>
                  </a:cubicBezTo>
                  <a:cubicBezTo>
                    <a:pt x="213" y="22"/>
                    <a:pt x="213" y="22"/>
                    <a:pt x="213" y="21"/>
                  </a:cubicBezTo>
                  <a:cubicBezTo>
                    <a:pt x="213" y="21"/>
                    <a:pt x="213" y="20"/>
                    <a:pt x="213" y="20"/>
                  </a:cubicBezTo>
                  <a:cubicBezTo>
                    <a:pt x="212" y="20"/>
                    <a:pt x="212" y="20"/>
                    <a:pt x="212" y="19"/>
                  </a:cubicBezTo>
                  <a:cubicBezTo>
                    <a:pt x="212" y="19"/>
                    <a:pt x="212" y="19"/>
                    <a:pt x="212" y="19"/>
                  </a:cubicBezTo>
                  <a:cubicBezTo>
                    <a:pt x="212" y="19"/>
                    <a:pt x="212" y="19"/>
                    <a:pt x="212" y="19"/>
                  </a:cubicBezTo>
                  <a:cubicBezTo>
                    <a:pt x="212" y="19"/>
                    <a:pt x="212" y="19"/>
                    <a:pt x="213" y="18"/>
                  </a:cubicBezTo>
                  <a:cubicBezTo>
                    <a:pt x="213" y="18"/>
                    <a:pt x="213" y="18"/>
                    <a:pt x="213" y="17"/>
                  </a:cubicBezTo>
                  <a:cubicBezTo>
                    <a:pt x="212" y="17"/>
                    <a:pt x="213" y="16"/>
                    <a:pt x="213" y="16"/>
                  </a:cubicBezTo>
                  <a:cubicBezTo>
                    <a:pt x="213" y="17"/>
                    <a:pt x="213" y="17"/>
                    <a:pt x="213" y="17"/>
                  </a:cubicBezTo>
                  <a:cubicBezTo>
                    <a:pt x="213" y="18"/>
                    <a:pt x="213" y="19"/>
                    <a:pt x="213" y="19"/>
                  </a:cubicBezTo>
                  <a:cubicBezTo>
                    <a:pt x="214" y="20"/>
                    <a:pt x="214" y="19"/>
                    <a:pt x="214" y="18"/>
                  </a:cubicBezTo>
                  <a:cubicBezTo>
                    <a:pt x="214" y="18"/>
                    <a:pt x="214" y="17"/>
                    <a:pt x="214" y="17"/>
                  </a:cubicBezTo>
                  <a:cubicBezTo>
                    <a:pt x="214" y="17"/>
                    <a:pt x="214" y="16"/>
                    <a:pt x="214" y="16"/>
                  </a:cubicBezTo>
                  <a:cubicBezTo>
                    <a:pt x="214" y="15"/>
                    <a:pt x="214" y="15"/>
                    <a:pt x="214" y="14"/>
                  </a:cubicBezTo>
                  <a:cubicBezTo>
                    <a:pt x="214" y="14"/>
                    <a:pt x="214" y="14"/>
                    <a:pt x="214" y="13"/>
                  </a:cubicBezTo>
                  <a:cubicBezTo>
                    <a:pt x="214" y="13"/>
                    <a:pt x="213" y="13"/>
                    <a:pt x="213" y="13"/>
                  </a:cubicBezTo>
                  <a:cubicBezTo>
                    <a:pt x="213" y="13"/>
                    <a:pt x="213" y="13"/>
                    <a:pt x="213" y="13"/>
                  </a:cubicBezTo>
                  <a:cubicBezTo>
                    <a:pt x="212" y="13"/>
                    <a:pt x="213" y="13"/>
                    <a:pt x="212" y="12"/>
                  </a:cubicBezTo>
                  <a:cubicBezTo>
                    <a:pt x="212" y="12"/>
                    <a:pt x="212" y="12"/>
                    <a:pt x="212" y="12"/>
                  </a:cubicBezTo>
                  <a:cubicBezTo>
                    <a:pt x="210" y="12"/>
                    <a:pt x="208" y="12"/>
                    <a:pt x="208" y="12"/>
                  </a:cubicBezTo>
                  <a:cubicBezTo>
                    <a:pt x="208" y="12"/>
                    <a:pt x="205" y="11"/>
                    <a:pt x="204" y="10"/>
                  </a:cubicBezTo>
                  <a:close/>
                </a:path>
              </a:pathLst>
            </a:custGeom>
            <a:solidFill>
              <a:srgbClr val="C0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6" name="Freeform 49">
              <a:extLst>
                <a:ext uri="{FF2B5EF4-FFF2-40B4-BE49-F238E27FC236}">
                  <a16:creationId xmlns:a16="http://schemas.microsoft.com/office/drawing/2014/main" id="{D67EBA7D-E0D0-D008-41BD-5CAC7E418242}"/>
                </a:ext>
              </a:extLst>
            </p:cNvPr>
            <p:cNvSpPr>
              <a:spLocks/>
            </p:cNvSpPr>
            <p:nvPr/>
          </p:nvSpPr>
          <p:spPr bwMode="auto">
            <a:xfrm>
              <a:off x="9214496" y="2721107"/>
              <a:ext cx="102437" cy="242874"/>
            </a:xfrm>
            <a:custGeom>
              <a:avLst/>
              <a:gdLst>
                <a:gd name="T0" fmla="*/ 3 w 26"/>
                <a:gd name="T1" fmla="*/ 61 h 61"/>
                <a:gd name="T2" fmla="*/ 26 w 26"/>
                <a:gd name="T3" fmla="*/ 61 h 61"/>
                <a:gd name="T4" fmla="*/ 26 w 26"/>
                <a:gd name="T5" fmla="*/ 59 h 61"/>
                <a:gd name="T6" fmla="*/ 25 w 26"/>
                <a:gd name="T7" fmla="*/ 57 h 61"/>
                <a:gd name="T8" fmla="*/ 22 w 26"/>
                <a:gd name="T9" fmla="*/ 57 h 61"/>
                <a:gd name="T10" fmla="*/ 22 w 26"/>
                <a:gd name="T11" fmla="*/ 55 h 61"/>
                <a:gd name="T12" fmla="*/ 23 w 26"/>
                <a:gd name="T13" fmla="*/ 52 h 61"/>
                <a:gd name="T14" fmla="*/ 24 w 26"/>
                <a:gd name="T15" fmla="*/ 51 h 61"/>
                <a:gd name="T16" fmla="*/ 23 w 26"/>
                <a:gd name="T17" fmla="*/ 48 h 61"/>
                <a:gd name="T18" fmla="*/ 22 w 26"/>
                <a:gd name="T19" fmla="*/ 47 h 61"/>
                <a:gd name="T20" fmla="*/ 21 w 26"/>
                <a:gd name="T21" fmla="*/ 46 h 61"/>
                <a:gd name="T22" fmla="*/ 19 w 26"/>
                <a:gd name="T23" fmla="*/ 44 h 61"/>
                <a:gd name="T24" fmla="*/ 18 w 26"/>
                <a:gd name="T25" fmla="*/ 43 h 61"/>
                <a:gd name="T26" fmla="*/ 17 w 26"/>
                <a:gd name="T27" fmla="*/ 40 h 61"/>
                <a:gd name="T28" fmla="*/ 15 w 26"/>
                <a:gd name="T29" fmla="*/ 37 h 61"/>
                <a:gd name="T30" fmla="*/ 14 w 26"/>
                <a:gd name="T31" fmla="*/ 35 h 61"/>
                <a:gd name="T32" fmla="*/ 13 w 26"/>
                <a:gd name="T33" fmla="*/ 30 h 61"/>
                <a:gd name="T34" fmla="*/ 13 w 26"/>
                <a:gd name="T35" fmla="*/ 27 h 61"/>
                <a:gd name="T36" fmla="*/ 12 w 26"/>
                <a:gd name="T37" fmla="*/ 27 h 61"/>
                <a:gd name="T38" fmla="*/ 12 w 26"/>
                <a:gd name="T39" fmla="*/ 28 h 61"/>
                <a:gd name="T40" fmla="*/ 10 w 26"/>
                <a:gd name="T41" fmla="*/ 27 h 61"/>
                <a:gd name="T42" fmla="*/ 9 w 26"/>
                <a:gd name="T43" fmla="*/ 26 h 61"/>
                <a:gd name="T44" fmla="*/ 11 w 26"/>
                <a:gd name="T45" fmla="*/ 26 h 61"/>
                <a:gd name="T46" fmla="*/ 11 w 26"/>
                <a:gd name="T47" fmla="*/ 25 h 61"/>
                <a:gd name="T48" fmla="*/ 10 w 26"/>
                <a:gd name="T49" fmla="*/ 23 h 61"/>
                <a:gd name="T50" fmla="*/ 9 w 26"/>
                <a:gd name="T51" fmla="*/ 19 h 61"/>
                <a:gd name="T52" fmla="*/ 7 w 26"/>
                <a:gd name="T53" fmla="*/ 16 h 61"/>
                <a:gd name="T54" fmla="*/ 7 w 26"/>
                <a:gd name="T55" fmla="*/ 12 h 61"/>
                <a:gd name="T56" fmla="*/ 7 w 26"/>
                <a:gd name="T57" fmla="*/ 9 h 61"/>
                <a:gd name="T58" fmla="*/ 10 w 26"/>
                <a:gd name="T59" fmla="*/ 4 h 61"/>
                <a:gd name="T60" fmla="*/ 13 w 26"/>
                <a:gd name="T61" fmla="*/ 1 h 61"/>
                <a:gd name="T62" fmla="*/ 0 w 26"/>
                <a:gd name="T63" fmla="*/ 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61">
                  <a:moveTo>
                    <a:pt x="0" y="5"/>
                  </a:moveTo>
                  <a:cubicBezTo>
                    <a:pt x="3" y="61"/>
                    <a:pt x="3" y="61"/>
                    <a:pt x="3" y="61"/>
                  </a:cubicBezTo>
                  <a:cubicBezTo>
                    <a:pt x="26" y="61"/>
                    <a:pt x="26" y="61"/>
                    <a:pt x="26" y="61"/>
                  </a:cubicBezTo>
                  <a:cubicBezTo>
                    <a:pt x="26" y="61"/>
                    <a:pt x="26" y="61"/>
                    <a:pt x="26" y="61"/>
                  </a:cubicBezTo>
                  <a:cubicBezTo>
                    <a:pt x="26" y="60"/>
                    <a:pt x="26" y="60"/>
                    <a:pt x="26" y="59"/>
                  </a:cubicBezTo>
                  <a:cubicBezTo>
                    <a:pt x="26" y="59"/>
                    <a:pt x="26" y="59"/>
                    <a:pt x="26" y="59"/>
                  </a:cubicBezTo>
                  <a:cubicBezTo>
                    <a:pt x="26" y="58"/>
                    <a:pt x="25" y="58"/>
                    <a:pt x="25" y="58"/>
                  </a:cubicBezTo>
                  <a:cubicBezTo>
                    <a:pt x="25" y="58"/>
                    <a:pt x="25" y="57"/>
                    <a:pt x="25" y="57"/>
                  </a:cubicBezTo>
                  <a:cubicBezTo>
                    <a:pt x="25" y="57"/>
                    <a:pt x="24" y="57"/>
                    <a:pt x="23" y="57"/>
                  </a:cubicBezTo>
                  <a:cubicBezTo>
                    <a:pt x="23" y="56"/>
                    <a:pt x="23" y="57"/>
                    <a:pt x="22" y="57"/>
                  </a:cubicBezTo>
                  <a:cubicBezTo>
                    <a:pt x="22" y="57"/>
                    <a:pt x="21" y="57"/>
                    <a:pt x="21" y="56"/>
                  </a:cubicBezTo>
                  <a:cubicBezTo>
                    <a:pt x="21" y="56"/>
                    <a:pt x="22" y="55"/>
                    <a:pt x="22" y="55"/>
                  </a:cubicBezTo>
                  <a:cubicBezTo>
                    <a:pt x="23" y="55"/>
                    <a:pt x="23" y="54"/>
                    <a:pt x="23" y="54"/>
                  </a:cubicBezTo>
                  <a:cubicBezTo>
                    <a:pt x="23" y="53"/>
                    <a:pt x="23" y="52"/>
                    <a:pt x="23" y="52"/>
                  </a:cubicBezTo>
                  <a:cubicBezTo>
                    <a:pt x="23" y="52"/>
                    <a:pt x="23" y="51"/>
                    <a:pt x="23" y="51"/>
                  </a:cubicBezTo>
                  <a:cubicBezTo>
                    <a:pt x="23" y="51"/>
                    <a:pt x="24" y="51"/>
                    <a:pt x="24" y="51"/>
                  </a:cubicBezTo>
                  <a:cubicBezTo>
                    <a:pt x="24" y="51"/>
                    <a:pt x="24" y="50"/>
                    <a:pt x="24" y="50"/>
                  </a:cubicBezTo>
                  <a:cubicBezTo>
                    <a:pt x="24" y="49"/>
                    <a:pt x="24" y="48"/>
                    <a:pt x="23" y="48"/>
                  </a:cubicBezTo>
                  <a:cubicBezTo>
                    <a:pt x="23" y="48"/>
                    <a:pt x="23" y="48"/>
                    <a:pt x="23" y="48"/>
                  </a:cubicBezTo>
                  <a:cubicBezTo>
                    <a:pt x="23" y="47"/>
                    <a:pt x="23" y="47"/>
                    <a:pt x="22" y="47"/>
                  </a:cubicBezTo>
                  <a:cubicBezTo>
                    <a:pt x="22" y="47"/>
                    <a:pt x="22" y="47"/>
                    <a:pt x="22" y="47"/>
                  </a:cubicBezTo>
                  <a:cubicBezTo>
                    <a:pt x="21" y="47"/>
                    <a:pt x="21" y="47"/>
                    <a:pt x="21" y="46"/>
                  </a:cubicBezTo>
                  <a:cubicBezTo>
                    <a:pt x="20" y="46"/>
                    <a:pt x="20" y="46"/>
                    <a:pt x="20" y="46"/>
                  </a:cubicBezTo>
                  <a:cubicBezTo>
                    <a:pt x="20" y="45"/>
                    <a:pt x="20" y="45"/>
                    <a:pt x="19" y="44"/>
                  </a:cubicBezTo>
                  <a:cubicBezTo>
                    <a:pt x="19" y="44"/>
                    <a:pt x="19" y="44"/>
                    <a:pt x="18" y="44"/>
                  </a:cubicBezTo>
                  <a:cubicBezTo>
                    <a:pt x="18" y="43"/>
                    <a:pt x="18" y="43"/>
                    <a:pt x="18" y="43"/>
                  </a:cubicBezTo>
                  <a:cubicBezTo>
                    <a:pt x="17" y="42"/>
                    <a:pt x="17" y="42"/>
                    <a:pt x="17" y="42"/>
                  </a:cubicBezTo>
                  <a:cubicBezTo>
                    <a:pt x="16" y="41"/>
                    <a:pt x="16" y="41"/>
                    <a:pt x="17" y="40"/>
                  </a:cubicBezTo>
                  <a:cubicBezTo>
                    <a:pt x="17" y="39"/>
                    <a:pt x="17" y="39"/>
                    <a:pt x="16" y="38"/>
                  </a:cubicBezTo>
                  <a:cubicBezTo>
                    <a:pt x="16" y="38"/>
                    <a:pt x="15" y="37"/>
                    <a:pt x="15" y="37"/>
                  </a:cubicBezTo>
                  <a:cubicBezTo>
                    <a:pt x="15" y="37"/>
                    <a:pt x="14" y="36"/>
                    <a:pt x="14" y="36"/>
                  </a:cubicBezTo>
                  <a:cubicBezTo>
                    <a:pt x="14" y="36"/>
                    <a:pt x="14" y="35"/>
                    <a:pt x="14" y="35"/>
                  </a:cubicBezTo>
                  <a:cubicBezTo>
                    <a:pt x="14" y="35"/>
                    <a:pt x="13" y="35"/>
                    <a:pt x="13" y="34"/>
                  </a:cubicBezTo>
                  <a:cubicBezTo>
                    <a:pt x="13" y="33"/>
                    <a:pt x="13" y="31"/>
                    <a:pt x="13" y="30"/>
                  </a:cubicBezTo>
                  <a:cubicBezTo>
                    <a:pt x="13" y="29"/>
                    <a:pt x="13" y="29"/>
                    <a:pt x="13" y="28"/>
                  </a:cubicBezTo>
                  <a:cubicBezTo>
                    <a:pt x="13" y="28"/>
                    <a:pt x="13" y="27"/>
                    <a:pt x="13" y="27"/>
                  </a:cubicBezTo>
                  <a:cubicBezTo>
                    <a:pt x="13" y="26"/>
                    <a:pt x="13" y="26"/>
                    <a:pt x="13" y="26"/>
                  </a:cubicBezTo>
                  <a:cubicBezTo>
                    <a:pt x="13" y="26"/>
                    <a:pt x="12" y="26"/>
                    <a:pt x="12" y="27"/>
                  </a:cubicBezTo>
                  <a:cubicBezTo>
                    <a:pt x="12" y="27"/>
                    <a:pt x="13" y="28"/>
                    <a:pt x="13" y="28"/>
                  </a:cubicBezTo>
                  <a:cubicBezTo>
                    <a:pt x="12" y="29"/>
                    <a:pt x="12" y="28"/>
                    <a:pt x="12" y="28"/>
                  </a:cubicBezTo>
                  <a:cubicBezTo>
                    <a:pt x="11" y="28"/>
                    <a:pt x="11" y="28"/>
                    <a:pt x="11" y="27"/>
                  </a:cubicBezTo>
                  <a:cubicBezTo>
                    <a:pt x="10" y="27"/>
                    <a:pt x="10" y="27"/>
                    <a:pt x="10" y="27"/>
                  </a:cubicBezTo>
                  <a:cubicBezTo>
                    <a:pt x="9" y="27"/>
                    <a:pt x="9" y="27"/>
                    <a:pt x="9" y="27"/>
                  </a:cubicBezTo>
                  <a:cubicBezTo>
                    <a:pt x="9" y="27"/>
                    <a:pt x="8" y="26"/>
                    <a:pt x="9" y="26"/>
                  </a:cubicBezTo>
                  <a:cubicBezTo>
                    <a:pt x="9" y="26"/>
                    <a:pt x="10" y="26"/>
                    <a:pt x="10" y="26"/>
                  </a:cubicBezTo>
                  <a:cubicBezTo>
                    <a:pt x="10" y="26"/>
                    <a:pt x="11" y="26"/>
                    <a:pt x="11" y="26"/>
                  </a:cubicBezTo>
                  <a:cubicBezTo>
                    <a:pt x="11" y="26"/>
                    <a:pt x="12" y="26"/>
                    <a:pt x="12" y="26"/>
                  </a:cubicBezTo>
                  <a:cubicBezTo>
                    <a:pt x="12" y="26"/>
                    <a:pt x="12" y="25"/>
                    <a:pt x="11" y="25"/>
                  </a:cubicBezTo>
                  <a:cubicBezTo>
                    <a:pt x="11" y="25"/>
                    <a:pt x="11" y="24"/>
                    <a:pt x="11" y="24"/>
                  </a:cubicBezTo>
                  <a:cubicBezTo>
                    <a:pt x="10" y="23"/>
                    <a:pt x="10" y="23"/>
                    <a:pt x="10" y="23"/>
                  </a:cubicBezTo>
                  <a:cubicBezTo>
                    <a:pt x="10" y="22"/>
                    <a:pt x="10" y="22"/>
                    <a:pt x="9" y="21"/>
                  </a:cubicBezTo>
                  <a:cubicBezTo>
                    <a:pt x="9" y="20"/>
                    <a:pt x="9" y="19"/>
                    <a:pt x="9" y="19"/>
                  </a:cubicBezTo>
                  <a:cubicBezTo>
                    <a:pt x="8" y="18"/>
                    <a:pt x="7" y="18"/>
                    <a:pt x="7" y="17"/>
                  </a:cubicBezTo>
                  <a:cubicBezTo>
                    <a:pt x="7" y="17"/>
                    <a:pt x="7" y="16"/>
                    <a:pt x="7" y="16"/>
                  </a:cubicBezTo>
                  <a:cubicBezTo>
                    <a:pt x="7" y="15"/>
                    <a:pt x="8" y="14"/>
                    <a:pt x="8" y="13"/>
                  </a:cubicBezTo>
                  <a:cubicBezTo>
                    <a:pt x="8" y="12"/>
                    <a:pt x="7" y="12"/>
                    <a:pt x="7" y="12"/>
                  </a:cubicBezTo>
                  <a:cubicBezTo>
                    <a:pt x="7" y="11"/>
                    <a:pt x="7" y="11"/>
                    <a:pt x="7" y="11"/>
                  </a:cubicBezTo>
                  <a:cubicBezTo>
                    <a:pt x="7" y="10"/>
                    <a:pt x="7" y="9"/>
                    <a:pt x="7" y="9"/>
                  </a:cubicBezTo>
                  <a:cubicBezTo>
                    <a:pt x="8" y="8"/>
                    <a:pt x="8" y="7"/>
                    <a:pt x="9" y="7"/>
                  </a:cubicBezTo>
                  <a:cubicBezTo>
                    <a:pt x="9" y="6"/>
                    <a:pt x="9" y="5"/>
                    <a:pt x="10" y="4"/>
                  </a:cubicBezTo>
                  <a:cubicBezTo>
                    <a:pt x="10" y="3"/>
                    <a:pt x="11" y="2"/>
                    <a:pt x="12" y="1"/>
                  </a:cubicBezTo>
                  <a:cubicBezTo>
                    <a:pt x="12" y="1"/>
                    <a:pt x="12" y="1"/>
                    <a:pt x="13" y="1"/>
                  </a:cubicBezTo>
                  <a:cubicBezTo>
                    <a:pt x="6" y="0"/>
                    <a:pt x="6" y="0"/>
                    <a:pt x="6" y="0"/>
                  </a:cubicBezTo>
                  <a:lnTo>
                    <a:pt x="0" y="5"/>
                  </a:lnTo>
                  <a:close/>
                </a:path>
              </a:pathLst>
            </a:custGeom>
            <a:solidFill>
              <a:schemeClr val="bg1">
                <a:lumMod val="85000"/>
              </a:schemeClr>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7" name="Freeform 50">
              <a:extLst>
                <a:ext uri="{FF2B5EF4-FFF2-40B4-BE49-F238E27FC236}">
                  <a16:creationId xmlns:a16="http://schemas.microsoft.com/office/drawing/2014/main" id="{428D461E-28BE-865A-9EF4-E037F49FD350}"/>
                </a:ext>
              </a:extLst>
            </p:cNvPr>
            <p:cNvSpPr>
              <a:spLocks/>
            </p:cNvSpPr>
            <p:nvPr/>
          </p:nvSpPr>
          <p:spPr bwMode="auto">
            <a:xfrm>
              <a:off x="9495371" y="2321273"/>
              <a:ext cx="261048" cy="193307"/>
            </a:xfrm>
            <a:custGeom>
              <a:avLst/>
              <a:gdLst>
                <a:gd name="T0" fmla="*/ 33 w 66"/>
                <a:gd name="T1" fmla="*/ 0 h 49"/>
                <a:gd name="T2" fmla="*/ 33 w 66"/>
                <a:gd name="T3" fmla="*/ 2 h 49"/>
                <a:gd name="T4" fmla="*/ 31 w 66"/>
                <a:gd name="T5" fmla="*/ 2 h 49"/>
                <a:gd name="T6" fmla="*/ 31 w 66"/>
                <a:gd name="T7" fmla="*/ 0 h 49"/>
                <a:gd name="T8" fmla="*/ 8 w 66"/>
                <a:gd name="T9" fmla="*/ 0 h 49"/>
                <a:gd name="T10" fmla="*/ 7 w 66"/>
                <a:gd name="T11" fmla="*/ 19 h 49"/>
                <a:gd name="T12" fmla="*/ 6 w 66"/>
                <a:gd name="T13" fmla="*/ 34 h 49"/>
                <a:gd name="T14" fmla="*/ 7 w 66"/>
                <a:gd name="T15" fmla="*/ 36 h 49"/>
                <a:gd name="T16" fmla="*/ 8 w 66"/>
                <a:gd name="T17" fmla="*/ 39 h 49"/>
                <a:gd name="T18" fmla="*/ 2 w 66"/>
                <a:gd name="T19" fmla="*/ 42 h 49"/>
                <a:gd name="T20" fmla="*/ 0 w 66"/>
                <a:gd name="T21" fmla="*/ 44 h 49"/>
                <a:gd name="T22" fmla="*/ 0 w 66"/>
                <a:gd name="T23" fmla="*/ 46 h 49"/>
                <a:gd name="T24" fmla="*/ 3 w 66"/>
                <a:gd name="T25" fmla="*/ 49 h 49"/>
                <a:gd name="T26" fmla="*/ 3 w 66"/>
                <a:gd name="T27" fmla="*/ 48 h 49"/>
                <a:gd name="T28" fmla="*/ 5 w 66"/>
                <a:gd name="T29" fmla="*/ 48 h 49"/>
                <a:gd name="T30" fmla="*/ 8 w 66"/>
                <a:gd name="T31" fmla="*/ 47 h 49"/>
                <a:gd name="T32" fmla="*/ 9 w 66"/>
                <a:gd name="T33" fmla="*/ 46 h 49"/>
                <a:gd name="T34" fmla="*/ 10 w 66"/>
                <a:gd name="T35" fmla="*/ 45 h 49"/>
                <a:gd name="T36" fmla="*/ 11 w 66"/>
                <a:gd name="T37" fmla="*/ 44 h 49"/>
                <a:gd name="T38" fmla="*/ 12 w 66"/>
                <a:gd name="T39" fmla="*/ 44 h 49"/>
                <a:gd name="T40" fmla="*/ 14 w 66"/>
                <a:gd name="T41" fmla="*/ 43 h 49"/>
                <a:gd name="T42" fmla="*/ 16 w 66"/>
                <a:gd name="T43" fmla="*/ 42 h 49"/>
                <a:gd name="T44" fmla="*/ 17 w 66"/>
                <a:gd name="T45" fmla="*/ 42 h 49"/>
                <a:gd name="T46" fmla="*/ 19 w 66"/>
                <a:gd name="T47" fmla="*/ 42 h 49"/>
                <a:gd name="T48" fmla="*/ 20 w 66"/>
                <a:gd name="T49" fmla="*/ 41 h 49"/>
                <a:gd name="T50" fmla="*/ 21 w 66"/>
                <a:gd name="T51" fmla="*/ 41 h 49"/>
                <a:gd name="T52" fmla="*/ 22 w 66"/>
                <a:gd name="T53" fmla="*/ 40 h 49"/>
                <a:gd name="T54" fmla="*/ 24 w 66"/>
                <a:gd name="T55" fmla="*/ 39 h 49"/>
                <a:gd name="T56" fmla="*/ 25 w 66"/>
                <a:gd name="T57" fmla="*/ 38 h 49"/>
                <a:gd name="T58" fmla="*/ 26 w 66"/>
                <a:gd name="T59" fmla="*/ 37 h 49"/>
                <a:gd name="T60" fmla="*/ 27 w 66"/>
                <a:gd name="T61" fmla="*/ 37 h 49"/>
                <a:gd name="T62" fmla="*/ 27 w 66"/>
                <a:gd name="T63" fmla="*/ 36 h 49"/>
                <a:gd name="T64" fmla="*/ 28 w 66"/>
                <a:gd name="T65" fmla="*/ 35 h 49"/>
                <a:gd name="T66" fmla="*/ 29 w 66"/>
                <a:gd name="T67" fmla="*/ 36 h 49"/>
                <a:gd name="T68" fmla="*/ 30 w 66"/>
                <a:gd name="T69" fmla="*/ 37 h 49"/>
                <a:gd name="T70" fmla="*/ 30 w 66"/>
                <a:gd name="T71" fmla="*/ 37 h 49"/>
                <a:gd name="T72" fmla="*/ 31 w 66"/>
                <a:gd name="T73" fmla="*/ 37 h 49"/>
                <a:gd name="T74" fmla="*/ 33 w 66"/>
                <a:gd name="T75" fmla="*/ 36 h 49"/>
                <a:gd name="T76" fmla="*/ 37 w 66"/>
                <a:gd name="T77" fmla="*/ 36 h 49"/>
                <a:gd name="T78" fmla="*/ 44 w 66"/>
                <a:gd name="T79" fmla="*/ 36 h 49"/>
                <a:gd name="T80" fmla="*/ 45 w 66"/>
                <a:gd name="T81" fmla="*/ 36 h 49"/>
                <a:gd name="T82" fmla="*/ 46 w 66"/>
                <a:gd name="T83" fmla="*/ 36 h 49"/>
                <a:gd name="T84" fmla="*/ 47 w 66"/>
                <a:gd name="T85" fmla="*/ 35 h 49"/>
                <a:gd name="T86" fmla="*/ 48 w 66"/>
                <a:gd name="T87" fmla="*/ 35 h 49"/>
                <a:gd name="T88" fmla="*/ 49 w 66"/>
                <a:gd name="T89" fmla="*/ 35 h 49"/>
                <a:gd name="T90" fmla="*/ 50 w 66"/>
                <a:gd name="T91" fmla="*/ 35 h 49"/>
                <a:gd name="T92" fmla="*/ 51 w 66"/>
                <a:gd name="T93" fmla="*/ 35 h 49"/>
                <a:gd name="T94" fmla="*/ 53 w 66"/>
                <a:gd name="T95" fmla="*/ 35 h 49"/>
                <a:gd name="T96" fmla="*/ 54 w 66"/>
                <a:gd name="T97" fmla="*/ 35 h 49"/>
                <a:gd name="T98" fmla="*/ 55 w 66"/>
                <a:gd name="T99" fmla="*/ 34 h 49"/>
                <a:gd name="T100" fmla="*/ 57 w 66"/>
                <a:gd name="T101" fmla="*/ 34 h 49"/>
                <a:gd name="T102" fmla="*/ 57 w 66"/>
                <a:gd name="T103" fmla="*/ 33 h 49"/>
                <a:gd name="T104" fmla="*/ 57 w 66"/>
                <a:gd name="T105" fmla="*/ 33 h 49"/>
                <a:gd name="T106" fmla="*/ 58 w 66"/>
                <a:gd name="T107" fmla="*/ 33 h 49"/>
                <a:gd name="T108" fmla="*/ 62 w 66"/>
                <a:gd name="T109" fmla="*/ 33 h 49"/>
                <a:gd name="T110" fmla="*/ 64 w 66"/>
                <a:gd name="T111" fmla="*/ 33 h 49"/>
                <a:gd name="T112" fmla="*/ 65 w 66"/>
                <a:gd name="T113" fmla="*/ 33 h 49"/>
                <a:gd name="T114" fmla="*/ 65 w 66"/>
                <a:gd name="T115" fmla="*/ 33 h 49"/>
                <a:gd name="T116" fmla="*/ 65 w 66"/>
                <a:gd name="T117" fmla="*/ 31 h 49"/>
                <a:gd name="T118" fmla="*/ 66 w 66"/>
                <a:gd name="T119" fmla="*/ 27 h 49"/>
                <a:gd name="T120" fmla="*/ 66 w 66"/>
                <a:gd name="T121" fmla="*/ 1 h 49"/>
                <a:gd name="T122" fmla="*/ 33 w 66"/>
                <a:gd name="T1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 h="49">
                  <a:moveTo>
                    <a:pt x="33" y="0"/>
                  </a:moveTo>
                  <a:cubicBezTo>
                    <a:pt x="33" y="2"/>
                    <a:pt x="33" y="2"/>
                    <a:pt x="33" y="2"/>
                  </a:cubicBezTo>
                  <a:cubicBezTo>
                    <a:pt x="31" y="2"/>
                    <a:pt x="31" y="2"/>
                    <a:pt x="31" y="2"/>
                  </a:cubicBezTo>
                  <a:cubicBezTo>
                    <a:pt x="31" y="0"/>
                    <a:pt x="31" y="0"/>
                    <a:pt x="31" y="0"/>
                  </a:cubicBezTo>
                  <a:cubicBezTo>
                    <a:pt x="8" y="0"/>
                    <a:pt x="8" y="0"/>
                    <a:pt x="8" y="0"/>
                  </a:cubicBezTo>
                  <a:cubicBezTo>
                    <a:pt x="7" y="19"/>
                    <a:pt x="7" y="19"/>
                    <a:pt x="7" y="19"/>
                  </a:cubicBezTo>
                  <a:cubicBezTo>
                    <a:pt x="6" y="34"/>
                    <a:pt x="6" y="34"/>
                    <a:pt x="6" y="34"/>
                  </a:cubicBezTo>
                  <a:cubicBezTo>
                    <a:pt x="6" y="34"/>
                    <a:pt x="7" y="36"/>
                    <a:pt x="7" y="36"/>
                  </a:cubicBezTo>
                  <a:cubicBezTo>
                    <a:pt x="7" y="36"/>
                    <a:pt x="8" y="39"/>
                    <a:pt x="8" y="39"/>
                  </a:cubicBezTo>
                  <a:cubicBezTo>
                    <a:pt x="2" y="42"/>
                    <a:pt x="2" y="42"/>
                    <a:pt x="2" y="42"/>
                  </a:cubicBezTo>
                  <a:cubicBezTo>
                    <a:pt x="2" y="42"/>
                    <a:pt x="0" y="44"/>
                    <a:pt x="0" y="44"/>
                  </a:cubicBezTo>
                  <a:cubicBezTo>
                    <a:pt x="0" y="45"/>
                    <a:pt x="0" y="46"/>
                    <a:pt x="0" y="46"/>
                  </a:cubicBezTo>
                  <a:cubicBezTo>
                    <a:pt x="3" y="49"/>
                    <a:pt x="3" y="49"/>
                    <a:pt x="3" y="49"/>
                  </a:cubicBezTo>
                  <a:cubicBezTo>
                    <a:pt x="3" y="48"/>
                    <a:pt x="3" y="48"/>
                    <a:pt x="3" y="48"/>
                  </a:cubicBezTo>
                  <a:cubicBezTo>
                    <a:pt x="4" y="48"/>
                    <a:pt x="4" y="48"/>
                    <a:pt x="5" y="48"/>
                  </a:cubicBezTo>
                  <a:cubicBezTo>
                    <a:pt x="6" y="47"/>
                    <a:pt x="7" y="47"/>
                    <a:pt x="8" y="47"/>
                  </a:cubicBezTo>
                  <a:cubicBezTo>
                    <a:pt x="9" y="46"/>
                    <a:pt x="9" y="46"/>
                    <a:pt x="9" y="46"/>
                  </a:cubicBezTo>
                  <a:cubicBezTo>
                    <a:pt x="10" y="46"/>
                    <a:pt x="10" y="45"/>
                    <a:pt x="10" y="45"/>
                  </a:cubicBezTo>
                  <a:cubicBezTo>
                    <a:pt x="11" y="45"/>
                    <a:pt x="11" y="45"/>
                    <a:pt x="11" y="44"/>
                  </a:cubicBezTo>
                  <a:cubicBezTo>
                    <a:pt x="12" y="44"/>
                    <a:pt x="12" y="44"/>
                    <a:pt x="12" y="44"/>
                  </a:cubicBezTo>
                  <a:cubicBezTo>
                    <a:pt x="13" y="43"/>
                    <a:pt x="14" y="44"/>
                    <a:pt x="14" y="43"/>
                  </a:cubicBezTo>
                  <a:cubicBezTo>
                    <a:pt x="15" y="43"/>
                    <a:pt x="16" y="43"/>
                    <a:pt x="16" y="42"/>
                  </a:cubicBezTo>
                  <a:cubicBezTo>
                    <a:pt x="16" y="42"/>
                    <a:pt x="17" y="42"/>
                    <a:pt x="17" y="42"/>
                  </a:cubicBezTo>
                  <a:cubicBezTo>
                    <a:pt x="18" y="41"/>
                    <a:pt x="19" y="42"/>
                    <a:pt x="19" y="42"/>
                  </a:cubicBezTo>
                  <a:cubicBezTo>
                    <a:pt x="20" y="42"/>
                    <a:pt x="20" y="42"/>
                    <a:pt x="20" y="41"/>
                  </a:cubicBezTo>
                  <a:cubicBezTo>
                    <a:pt x="20" y="41"/>
                    <a:pt x="21" y="41"/>
                    <a:pt x="21" y="41"/>
                  </a:cubicBezTo>
                  <a:cubicBezTo>
                    <a:pt x="21" y="41"/>
                    <a:pt x="22" y="41"/>
                    <a:pt x="22" y="40"/>
                  </a:cubicBezTo>
                  <a:cubicBezTo>
                    <a:pt x="23" y="40"/>
                    <a:pt x="23" y="40"/>
                    <a:pt x="24" y="39"/>
                  </a:cubicBezTo>
                  <a:cubicBezTo>
                    <a:pt x="24" y="39"/>
                    <a:pt x="24" y="39"/>
                    <a:pt x="25" y="38"/>
                  </a:cubicBezTo>
                  <a:cubicBezTo>
                    <a:pt x="25" y="38"/>
                    <a:pt x="25" y="38"/>
                    <a:pt x="26" y="37"/>
                  </a:cubicBezTo>
                  <a:cubicBezTo>
                    <a:pt x="26" y="37"/>
                    <a:pt x="27" y="37"/>
                    <a:pt x="27" y="37"/>
                  </a:cubicBezTo>
                  <a:cubicBezTo>
                    <a:pt x="27" y="37"/>
                    <a:pt x="27" y="36"/>
                    <a:pt x="27" y="36"/>
                  </a:cubicBezTo>
                  <a:cubicBezTo>
                    <a:pt x="28" y="36"/>
                    <a:pt x="28" y="35"/>
                    <a:pt x="28" y="35"/>
                  </a:cubicBezTo>
                  <a:cubicBezTo>
                    <a:pt x="29" y="35"/>
                    <a:pt x="29" y="36"/>
                    <a:pt x="29" y="36"/>
                  </a:cubicBezTo>
                  <a:cubicBezTo>
                    <a:pt x="29" y="36"/>
                    <a:pt x="30" y="36"/>
                    <a:pt x="30" y="37"/>
                  </a:cubicBezTo>
                  <a:cubicBezTo>
                    <a:pt x="30" y="37"/>
                    <a:pt x="30" y="37"/>
                    <a:pt x="30" y="37"/>
                  </a:cubicBezTo>
                  <a:cubicBezTo>
                    <a:pt x="30" y="37"/>
                    <a:pt x="30" y="37"/>
                    <a:pt x="31" y="37"/>
                  </a:cubicBezTo>
                  <a:cubicBezTo>
                    <a:pt x="31" y="36"/>
                    <a:pt x="32" y="36"/>
                    <a:pt x="33" y="36"/>
                  </a:cubicBezTo>
                  <a:cubicBezTo>
                    <a:pt x="34" y="36"/>
                    <a:pt x="35" y="36"/>
                    <a:pt x="37" y="36"/>
                  </a:cubicBezTo>
                  <a:cubicBezTo>
                    <a:pt x="39" y="36"/>
                    <a:pt x="41" y="36"/>
                    <a:pt x="44" y="36"/>
                  </a:cubicBezTo>
                  <a:cubicBezTo>
                    <a:pt x="44" y="36"/>
                    <a:pt x="45" y="36"/>
                    <a:pt x="45" y="36"/>
                  </a:cubicBezTo>
                  <a:cubicBezTo>
                    <a:pt x="45" y="36"/>
                    <a:pt x="45" y="36"/>
                    <a:pt x="46" y="36"/>
                  </a:cubicBezTo>
                  <a:cubicBezTo>
                    <a:pt x="46" y="35"/>
                    <a:pt x="47" y="35"/>
                    <a:pt x="47" y="35"/>
                  </a:cubicBezTo>
                  <a:cubicBezTo>
                    <a:pt x="48" y="35"/>
                    <a:pt x="48" y="35"/>
                    <a:pt x="48" y="35"/>
                  </a:cubicBezTo>
                  <a:cubicBezTo>
                    <a:pt x="49" y="35"/>
                    <a:pt x="49" y="35"/>
                    <a:pt x="49" y="35"/>
                  </a:cubicBezTo>
                  <a:cubicBezTo>
                    <a:pt x="50" y="35"/>
                    <a:pt x="50" y="35"/>
                    <a:pt x="50" y="35"/>
                  </a:cubicBezTo>
                  <a:cubicBezTo>
                    <a:pt x="50" y="35"/>
                    <a:pt x="51" y="35"/>
                    <a:pt x="51" y="35"/>
                  </a:cubicBezTo>
                  <a:cubicBezTo>
                    <a:pt x="52" y="35"/>
                    <a:pt x="52" y="35"/>
                    <a:pt x="53" y="35"/>
                  </a:cubicBezTo>
                  <a:cubicBezTo>
                    <a:pt x="53" y="35"/>
                    <a:pt x="54" y="35"/>
                    <a:pt x="54" y="35"/>
                  </a:cubicBezTo>
                  <a:cubicBezTo>
                    <a:pt x="55" y="35"/>
                    <a:pt x="55" y="35"/>
                    <a:pt x="55" y="34"/>
                  </a:cubicBezTo>
                  <a:cubicBezTo>
                    <a:pt x="56" y="34"/>
                    <a:pt x="56" y="34"/>
                    <a:pt x="57" y="34"/>
                  </a:cubicBezTo>
                  <a:cubicBezTo>
                    <a:pt x="57" y="34"/>
                    <a:pt x="57" y="34"/>
                    <a:pt x="57" y="33"/>
                  </a:cubicBezTo>
                  <a:cubicBezTo>
                    <a:pt x="57" y="33"/>
                    <a:pt x="57" y="33"/>
                    <a:pt x="57" y="33"/>
                  </a:cubicBezTo>
                  <a:cubicBezTo>
                    <a:pt x="58" y="33"/>
                    <a:pt x="58" y="33"/>
                    <a:pt x="58" y="33"/>
                  </a:cubicBezTo>
                  <a:cubicBezTo>
                    <a:pt x="59" y="33"/>
                    <a:pt x="61" y="33"/>
                    <a:pt x="62" y="33"/>
                  </a:cubicBezTo>
                  <a:cubicBezTo>
                    <a:pt x="62" y="33"/>
                    <a:pt x="63" y="33"/>
                    <a:pt x="64" y="33"/>
                  </a:cubicBezTo>
                  <a:cubicBezTo>
                    <a:pt x="64" y="33"/>
                    <a:pt x="64" y="33"/>
                    <a:pt x="65" y="33"/>
                  </a:cubicBezTo>
                  <a:cubicBezTo>
                    <a:pt x="65" y="33"/>
                    <a:pt x="65" y="33"/>
                    <a:pt x="65" y="33"/>
                  </a:cubicBezTo>
                  <a:cubicBezTo>
                    <a:pt x="65" y="31"/>
                    <a:pt x="65" y="31"/>
                    <a:pt x="65" y="31"/>
                  </a:cubicBezTo>
                  <a:cubicBezTo>
                    <a:pt x="66" y="27"/>
                    <a:pt x="66" y="27"/>
                    <a:pt x="66" y="27"/>
                  </a:cubicBezTo>
                  <a:cubicBezTo>
                    <a:pt x="66" y="1"/>
                    <a:pt x="66" y="1"/>
                    <a:pt x="66" y="1"/>
                  </a:cubicBezTo>
                  <a:lnTo>
                    <a:pt x="33" y="0"/>
                  </a:ln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8" name="Freeform 51">
              <a:extLst>
                <a:ext uri="{FF2B5EF4-FFF2-40B4-BE49-F238E27FC236}">
                  <a16:creationId xmlns:a16="http://schemas.microsoft.com/office/drawing/2014/main" id="{341C640A-FDC2-2667-DA2B-3FCA157E8FEF}"/>
                </a:ext>
              </a:extLst>
            </p:cNvPr>
            <p:cNvSpPr>
              <a:spLocks/>
            </p:cNvSpPr>
            <p:nvPr/>
          </p:nvSpPr>
          <p:spPr bwMode="auto">
            <a:xfrm>
              <a:off x="4662676" y="2511276"/>
              <a:ext cx="958278" cy="705491"/>
            </a:xfrm>
            <a:custGeom>
              <a:avLst/>
              <a:gdLst>
                <a:gd name="T0" fmla="*/ 580 w 580"/>
                <a:gd name="T1" fmla="*/ 0 h 427"/>
                <a:gd name="T2" fmla="*/ 0 w 580"/>
                <a:gd name="T3" fmla="*/ 0 h 427"/>
                <a:gd name="T4" fmla="*/ 2 w 580"/>
                <a:gd name="T5" fmla="*/ 427 h 427"/>
                <a:gd name="T6" fmla="*/ 580 w 580"/>
                <a:gd name="T7" fmla="*/ 427 h 427"/>
                <a:gd name="T8" fmla="*/ 580 w 580"/>
                <a:gd name="T9" fmla="*/ 108 h 427"/>
                <a:gd name="T10" fmla="*/ 580 w 580"/>
                <a:gd name="T11" fmla="*/ 0 h 427"/>
              </a:gdLst>
              <a:ahLst/>
              <a:cxnLst>
                <a:cxn ang="0">
                  <a:pos x="T0" y="T1"/>
                </a:cxn>
                <a:cxn ang="0">
                  <a:pos x="T2" y="T3"/>
                </a:cxn>
                <a:cxn ang="0">
                  <a:pos x="T4" y="T5"/>
                </a:cxn>
                <a:cxn ang="0">
                  <a:pos x="T6" y="T7"/>
                </a:cxn>
                <a:cxn ang="0">
                  <a:pos x="T8" y="T9"/>
                </a:cxn>
                <a:cxn ang="0">
                  <a:pos x="T10" y="T11"/>
                </a:cxn>
              </a:cxnLst>
              <a:rect l="0" t="0" r="r" b="b"/>
              <a:pathLst>
                <a:path w="580" h="427">
                  <a:moveTo>
                    <a:pt x="580" y="0"/>
                  </a:moveTo>
                  <a:lnTo>
                    <a:pt x="0" y="0"/>
                  </a:lnTo>
                  <a:lnTo>
                    <a:pt x="2" y="427"/>
                  </a:lnTo>
                  <a:lnTo>
                    <a:pt x="580" y="427"/>
                  </a:lnTo>
                  <a:lnTo>
                    <a:pt x="580" y="108"/>
                  </a:lnTo>
                  <a:lnTo>
                    <a:pt x="580" y="0"/>
                  </a:ln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9" name="Freeform 52">
              <a:extLst>
                <a:ext uri="{FF2B5EF4-FFF2-40B4-BE49-F238E27FC236}">
                  <a16:creationId xmlns:a16="http://schemas.microsoft.com/office/drawing/2014/main" id="{8BC36494-D701-5F10-E463-B870F4C38AC7}"/>
                </a:ext>
              </a:extLst>
            </p:cNvPr>
            <p:cNvSpPr>
              <a:spLocks noEditPoints="1"/>
            </p:cNvSpPr>
            <p:nvPr/>
          </p:nvSpPr>
          <p:spPr bwMode="auto">
            <a:xfrm>
              <a:off x="2567681" y="2329534"/>
              <a:ext cx="1397764" cy="1632379"/>
            </a:xfrm>
            <a:custGeom>
              <a:avLst/>
              <a:gdLst>
                <a:gd name="T0" fmla="*/ 207 w 353"/>
                <a:gd name="T1" fmla="*/ 380 h 412"/>
                <a:gd name="T2" fmla="*/ 204 w 353"/>
                <a:gd name="T3" fmla="*/ 377 h 412"/>
                <a:gd name="T4" fmla="*/ 168 w 353"/>
                <a:gd name="T5" fmla="*/ 383 h 412"/>
                <a:gd name="T6" fmla="*/ 145 w 353"/>
                <a:gd name="T7" fmla="*/ 353 h 412"/>
                <a:gd name="T8" fmla="*/ 161 w 353"/>
                <a:gd name="T9" fmla="*/ 353 h 412"/>
                <a:gd name="T10" fmla="*/ 159 w 353"/>
                <a:gd name="T11" fmla="*/ 349 h 412"/>
                <a:gd name="T12" fmla="*/ 161 w 353"/>
                <a:gd name="T13" fmla="*/ 353 h 412"/>
                <a:gd name="T14" fmla="*/ 336 w 353"/>
                <a:gd name="T15" fmla="*/ 383 h 412"/>
                <a:gd name="T16" fmla="*/ 344 w 353"/>
                <a:gd name="T17" fmla="*/ 350 h 412"/>
                <a:gd name="T18" fmla="*/ 337 w 353"/>
                <a:gd name="T19" fmla="*/ 314 h 412"/>
                <a:gd name="T20" fmla="*/ 6 w 353"/>
                <a:gd name="T21" fmla="*/ 5 h 412"/>
                <a:gd name="T22" fmla="*/ 9 w 353"/>
                <a:gd name="T23" fmla="*/ 15 h 412"/>
                <a:gd name="T24" fmla="*/ 11 w 353"/>
                <a:gd name="T25" fmla="*/ 26 h 412"/>
                <a:gd name="T26" fmla="*/ 8 w 353"/>
                <a:gd name="T27" fmla="*/ 39 h 412"/>
                <a:gd name="T28" fmla="*/ 8 w 353"/>
                <a:gd name="T29" fmla="*/ 53 h 412"/>
                <a:gd name="T30" fmla="*/ 7 w 353"/>
                <a:gd name="T31" fmla="*/ 64 h 412"/>
                <a:gd name="T32" fmla="*/ 0 w 353"/>
                <a:gd name="T33" fmla="*/ 73 h 412"/>
                <a:gd name="T34" fmla="*/ 6 w 353"/>
                <a:gd name="T35" fmla="*/ 85 h 412"/>
                <a:gd name="T36" fmla="*/ 19 w 353"/>
                <a:gd name="T37" fmla="*/ 100 h 412"/>
                <a:gd name="T38" fmla="*/ 20 w 353"/>
                <a:gd name="T39" fmla="*/ 120 h 412"/>
                <a:gd name="T40" fmla="*/ 23 w 353"/>
                <a:gd name="T41" fmla="*/ 132 h 412"/>
                <a:gd name="T42" fmla="*/ 34 w 353"/>
                <a:gd name="T43" fmla="*/ 152 h 412"/>
                <a:gd name="T44" fmla="*/ 49 w 353"/>
                <a:gd name="T45" fmla="*/ 169 h 412"/>
                <a:gd name="T46" fmla="*/ 49 w 353"/>
                <a:gd name="T47" fmla="*/ 172 h 412"/>
                <a:gd name="T48" fmla="*/ 53 w 353"/>
                <a:gd name="T49" fmla="*/ 181 h 412"/>
                <a:gd name="T50" fmla="*/ 65 w 353"/>
                <a:gd name="T51" fmla="*/ 188 h 412"/>
                <a:gd name="T52" fmla="*/ 69 w 353"/>
                <a:gd name="T53" fmla="*/ 175 h 412"/>
                <a:gd name="T54" fmla="*/ 83 w 353"/>
                <a:gd name="T55" fmla="*/ 177 h 412"/>
                <a:gd name="T56" fmla="*/ 92 w 353"/>
                <a:gd name="T57" fmla="*/ 178 h 412"/>
                <a:gd name="T58" fmla="*/ 99 w 353"/>
                <a:gd name="T59" fmla="*/ 179 h 412"/>
                <a:gd name="T60" fmla="*/ 87 w 353"/>
                <a:gd name="T61" fmla="*/ 179 h 412"/>
                <a:gd name="T62" fmla="*/ 72 w 353"/>
                <a:gd name="T63" fmla="*/ 180 h 412"/>
                <a:gd name="T64" fmla="*/ 77 w 353"/>
                <a:gd name="T65" fmla="*/ 197 h 412"/>
                <a:gd name="T66" fmla="*/ 70 w 353"/>
                <a:gd name="T67" fmla="*/ 195 h 412"/>
                <a:gd name="T68" fmla="*/ 65 w 353"/>
                <a:gd name="T69" fmla="*/ 200 h 412"/>
                <a:gd name="T70" fmla="*/ 68 w 353"/>
                <a:gd name="T71" fmla="*/ 212 h 412"/>
                <a:gd name="T72" fmla="*/ 72 w 353"/>
                <a:gd name="T73" fmla="*/ 221 h 412"/>
                <a:gd name="T74" fmla="*/ 83 w 353"/>
                <a:gd name="T75" fmla="*/ 226 h 412"/>
                <a:gd name="T76" fmla="*/ 89 w 353"/>
                <a:gd name="T77" fmla="*/ 231 h 412"/>
                <a:gd name="T78" fmla="*/ 84 w 353"/>
                <a:gd name="T79" fmla="*/ 241 h 412"/>
                <a:gd name="T80" fmla="*/ 86 w 353"/>
                <a:gd name="T81" fmla="*/ 253 h 412"/>
                <a:gd name="T82" fmla="*/ 94 w 353"/>
                <a:gd name="T83" fmla="*/ 260 h 412"/>
                <a:gd name="T84" fmla="*/ 99 w 353"/>
                <a:gd name="T85" fmla="*/ 267 h 412"/>
                <a:gd name="T86" fmla="*/ 106 w 353"/>
                <a:gd name="T87" fmla="*/ 278 h 412"/>
                <a:gd name="T88" fmla="*/ 113 w 353"/>
                <a:gd name="T89" fmla="*/ 285 h 412"/>
                <a:gd name="T90" fmla="*/ 121 w 353"/>
                <a:gd name="T91" fmla="*/ 292 h 412"/>
                <a:gd name="T92" fmla="*/ 122 w 353"/>
                <a:gd name="T93" fmla="*/ 300 h 412"/>
                <a:gd name="T94" fmla="*/ 130 w 353"/>
                <a:gd name="T95" fmla="*/ 309 h 412"/>
                <a:gd name="T96" fmla="*/ 130 w 353"/>
                <a:gd name="T97" fmla="*/ 320 h 412"/>
                <a:gd name="T98" fmla="*/ 130 w 353"/>
                <a:gd name="T99" fmla="*/ 326 h 412"/>
                <a:gd name="T100" fmla="*/ 135 w 353"/>
                <a:gd name="T101" fmla="*/ 332 h 412"/>
                <a:gd name="T102" fmla="*/ 142 w 353"/>
                <a:gd name="T103" fmla="*/ 332 h 412"/>
                <a:gd name="T104" fmla="*/ 176 w 353"/>
                <a:gd name="T105" fmla="*/ 341 h 412"/>
                <a:gd name="T106" fmla="*/ 193 w 353"/>
                <a:gd name="T107" fmla="*/ 351 h 412"/>
                <a:gd name="T108" fmla="*/ 204 w 353"/>
                <a:gd name="T109" fmla="*/ 351 h 412"/>
                <a:gd name="T110" fmla="*/ 211 w 353"/>
                <a:gd name="T111" fmla="*/ 363 h 412"/>
                <a:gd name="T112" fmla="*/ 246 w 353"/>
                <a:gd name="T113" fmla="*/ 397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3" h="412">
                  <a:moveTo>
                    <a:pt x="205" y="400"/>
                  </a:moveTo>
                  <a:cubicBezTo>
                    <a:pt x="204" y="399"/>
                    <a:pt x="203" y="398"/>
                    <a:pt x="202" y="397"/>
                  </a:cubicBezTo>
                  <a:cubicBezTo>
                    <a:pt x="202" y="396"/>
                    <a:pt x="201" y="395"/>
                    <a:pt x="201" y="394"/>
                  </a:cubicBezTo>
                  <a:cubicBezTo>
                    <a:pt x="201" y="393"/>
                    <a:pt x="201" y="393"/>
                    <a:pt x="202" y="393"/>
                  </a:cubicBezTo>
                  <a:cubicBezTo>
                    <a:pt x="202" y="394"/>
                    <a:pt x="202" y="394"/>
                    <a:pt x="203" y="394"/>
                  </a:cubicBezTo>
                  <a:cubicBezTo>
                    <a:pt x="203" y="395"/>
                    <a:pt x="203" y="395"/>
                    <a:pt x="204" y="395"/>
                  </a:cubicBezTo>
                  <a:cubicBezTo>
                    <a:pt x="205" y="396"/>
                    <a:pt x="206" y="397"/>
                    <a:pt x="207" y="399"/>
                  </a:cubicBezTo>
                  <a:cubicBezTo>
                    <a:pt x="207" y="399"/>
                    <a:pt x="208" y="400"/>
                    <a:pt x="208" y="400"/>
                  </a:cubicBezTo>
                  <a:cubicBezTo>
                    <a:pt x="208" y="401"/>
                    <a:pt x="206" y="400"/>
                    <a:pt x="205" y="400"/>
                  </a:cubicBezTo>
                  <a:close/>
                  <a:moveTo>
                    <a:pt x="207" y="380"/>
                  </a:moveTo>
                  <a:cubicBezTo>
                    <a:pt x="207" y="380"/>
                    <a:pt x="208" y="380"/>
                    <a:pt x="209" y="380"/>
                  </a:cubicBezTo>
                  <a:cubicBezTo>
                    <a:pt x="211" y="380"/>
                    <a:pt x="209" y="378"/>
                    <a:pt x="209" y="378"/>
                  </a:cubicBezTo>
                  <a:cubicBezTo>
                    <a:pt x="208" y="377"/>
                    <a:pt x="208" y="376"/>
                    <a:pt x="208" y="376"/>
                  </a:cubicBezTo>
                  <a:cubicBezTo>
                    <a:pt x="207" y="376"/>
                    <a:pt x="207" y="375"/>
                    <a:pt x="207" y="375"/>
                  </a:cubicBezTo>
                  <a:cubicBezTo>
                    <a:pt x="206" y="375"/>
                    <a:pt x="206" y="375"/>
                    <a:pt x="205" y="375"/>
                  </a:cubicBezTo>
                  <a:cubicBezTo>
                    <a:pt x="205" y="375"/>
                    <a:pt x="204" y="374"/>
                    <a:pt x="204" y="374"/>
                  </a:cubicBezTo>
                  <a:cubicBezTo>
                    <a:pt x="203" y="373"/>
                    <a:pt x="202" y="373"/>
                    <a:pt x="202" y="374"/>
                  </a:cubicBezTo>
                  <a:cubicBezTo>
                    <a:pt x="202" y="374"/>
                    <a:pt x="202" y="375"/>
                    <a:pt x="202" y="375"/>
                  </a:cubicBezTo>
                  <a:cubicBezTo>
                    <a:pt x="202" y="375"/>
                    <a:pt x="202" y="376"/>
                    <a:pt x="202" y="376"/>
                  </a:cubicBezTo>
                  <a:cubicBezTo>
                    <a:pt x="203" y="376"/>
                    <a:pt x="204" y="376"/>
                    <a:pt x="204" y="377"/>
                  </a:cubicBezTo>
                  <a:cubicBezTo>
                    <a:pt x="204" y="377"/>
                    <a:pt x="204" y="377"/>
                    <a:pt x="204" y="377"/>
                  </a:cubicBezTo>
                  <a:cubicBezTo>
                    <a:pt x="204" y="378"/>
                    <a:pt x="204" y="378"/>
                    <a:pt x="204" y="378"/>
                  </a:cubicBezTo>
                  <a:cubicBezTo>
                    <a:pt x="205" y="378"/>
                    <a:pt x="205" y="379"/>
                    <a:pt x="205" y="380"/>
                  </a:cubicBezTo>
                  <a:cubicBezTo>
                    <a:pt x="205" y="380"/>
                    <a:pt x="206" y="380"/>
                    <a:pt x="207" y="380"/>
                  </a:cubicBezTo>
                  <a:close/>
                  <a:moveTo>
                    <a:pt x="170" y="383"/>
                  </a:moveTo>
                  <a:cubicBezTo>
                    <a:pt x="170" y="382"/>
                    <a:pt x="170" y="382"/>
                    <a:pt x="170" y="382"/>
                  </a:cubicBezTo>
                  <a:cubicBezTo>
                    <a:pt x="170" y="382"/>
                    <a:pt x="169" y="382"/>
                    <a:pt x="169" y="382"/>
                  </a:cubicBezTo>
                  <a:cubicBezTo>
                    <a:pt x="169" y="382"/>
                    <a:pt x="169" y="381"/>
                    <a:pt x="168" y="381"/>
                  </a:cubicBezTo>
                  <a:cubicBezTo>
                    <a:pt x="168" y="381"/>
                    <a:pt x="167" y="382"/>
                    <a:pt x="167" y="382"/>
                  </a:cubicBezTo>
                  <a:cubicBezTo>
                    <a:pt x="167" y="383"/>
                    <a:pt x="168" y="383"/>
                    <a:pt x="168" y="383"/>
                  </a:cubicBezTo>
                  <a:cubicBezTo>
                    <a:pt x="169" y="383"/>
                    <a:pt x="171" y="384"/>
                    <a:pt x="170" y="383"/>
                  </a:cubicBezTo>
                  <a:close/>
                  <a:moveTo>
                    <a:pt x="152" y="353"/>
                  </a:moveTo>
                  <a:cubicBezTo>
                    <a:pt x="152" y="352"/>
                    <a:pt x="151" y="352"/>
                    <a:pt x="150" y="352"/>
                  </a:cubicBezTo>
                  <a:cubicBezTo>
                    <a:pt x="150" y="351"/>
                    <a:pt x="149" y="351"/>
                    <a:pt x="149" y="351"/>
                  </a:cubicBezTo>
                  <a:cubicBezTo>
                    <a:pt x="149" y="350"/>
                    <a:pt x="148" y="350"/>
                    <a:pt x="148" y="350"/>
                  </a:cubicBezTo>
                  <a:cubicBezTo>
                    <a:pt x="147" y="350"/>
                    <a:pt x="147" y="350"/>
                    <a:pt x="146" y="351"/>
                  </a:cubicBezTo>
                  <a:cubicBezTo>
                    <a:pt x="146" y="351"/>
                    <a:pt x="146" y="351"/>
                    <a:pt x="146" y="351"/>
                  </a:cubicBezTo>
                  <a:cubicBezTo>
                    <a:pt x="145" y="351"/>
                    <a:pt x="144" y="351"/>
                    <a:pt x="144" y="352"/>
                  </a:cubicBezTo>
                  <a:cubicBezTo>
                    <a:pt x="144" y="352"/>
                    <a:pt x="145" y="353"/>
                    <a:pt x="145" y="353"/>
                  </a:cubicBezTo>
                  <a:cubicBezTo>
                    <a:pt x="145" y="353"/>
                    <a:pt x="145" y="353"/>
                    <a:pt x="145" y="353"/>
                  </a:cubicBezTo>
                  <a:cubicBezTo>
                    <a:pt x="145" y="354"/>
                    <a:pt x="145" y="354"/>
                    <a:pt x="146" y="354"/>
                  </a:cubicBezTo>
                  <a:cubicBezTo>
                    <a:pt x="146" y="354"/>
                    <a:pt x="146" y="355"/>
                    <a:pt x="146" y="355"/>
                  </a:cubicBezTo>
                  <a:cubicBezTo>
                    <a:pt x="146" y="355"/>
                    <a:pt x="147" y="355"/>
                    <a:pt x="147" y="355"/>
                  </a:cubicBezTo>
                  <a:cubicBezTo>
                    <a:pt x="147" y="355"/>
                    <a:pt x="147" y="356"/>
                    <a:pt x="147" y="356"/>
                  </a:cubicBezTo>
                  <a:cubicBezTo>
                    <a:pt x="148" y="356"/>
                    <a:pt x="148" y="356"/>
                    <a:pt x="148" y="356"/>
                  </a:cubicBezTo>
                  <a:cubicBezTo>
                    <a:pt x="149" y="355"/>
                    <a:pt x="149" y="355"/>
                    <a:pt x="149" y="355"/>
                  </a:cubicBezTo>
                  <a:cubicBezTo>
                    <a:pt x="150" y="355"/>
                    <a:pt x="150" y="354"/>
                    <a:pt x="150" y="354"/>
                  </a:cubicBezTo>
                  <a:cubicBezTo>
                    <a:pt x="151" y="354"/>
                    <a:pt x="151" y="354"/>
                    <a:pt x="152" y="354"/>
                  </a:cubicBezTo>
                  <a:cubicBezTo>
                    <a:pt x="152" y="353"/>
                    <a:pt x="152" y="353"/>
                    <a:pt x="152" y="353"/>
                  </a:cubicBezTo>
                  <a:close/>
                  <a:moveTo>
                    <a:pt x="161" y="353"/>
                  </a:moveTo>
                  <a:cubicBezTo>
                    <a:pt x="162" y="353"/>
                    <a:pt x="162" y="353"/>
                    <a:pt x="163" y="353"/>
                  </a:cubicBezTo>
                  <a:cubicBezTo>
                    <a:pt x="164" y="353"/>
                    <a:pt x="165" y="352"/>
                    <a:pt x="166" y="352"/>
                  </a:cubicBezTo>
                  <a:cubicBezTo>
                    <a:pt x="166" y="352"/>
                    <a:pt x="166" y="352"/>
                    <a:pt x="167" y="352"/>
                  </a:cubicBezTo>
                  <a:cubicBezTo>
                    <a:pt x="167" y="352"/>
                    <a:pt x="167" y="351"/>
                    <a:pt x="167" y="351"/>
                  </a:cubicBezTo>
                  <a:cubicBezTo>
                    <a:pt x="167" y="351"/>
                    <a:pt x="168" y="350"/>
                    <a:pt x="167" y="350"/>
                  </a:cubicBezTo>
                  <a:cubicBezTo>
                    <a:pt x="167" y="349"/>
                    <a:pt x="166" y="350"/>
                    <a:pt x="166" y="350"/>
                  </a:cubicBezTo>
                  <a:cubicBezTo>
                    <a:pt x="165" y="350"/>
                    <a:pt x="165" y="350"/>
                    <a:pt x="164" y="350"/>
                  </a:cubicBezTo>
                  <a:cubicBezTo>
                    <a:pt x="163" y="350"/>
                    <a:pt x="162" y="350"/>
                    <a:pt x="162" y="350"/>
                  </a:cubicBezTo>
                  <a:cubicBezTo>
                    <a:pt x="161" y="350"/>
                    <a:pt x="161" y="350"/>
                    <a:pt x="161" y="350"/>
                  </a:cubicBezTo>
                  <a:cubicBezTo>
                    <a:pt x="160" y="349"/>
                    <a:pt x="160" y="349"/>
                    <a:pt x="159" y="349"/>
                  </a:cubicBezTo>
                  <a:cubicBezTo>
                    <a:pt x="159" y="349"/>
                    <a:pt x="158" y="349"/>
                    <a:pt x="158" y="349"/>
                  </a:cubicBezTo>
                  <a:cubicBezTo>
                    <a:pt x="157" y="349"/>
                    <a:pt x="157" y="349"/>
                    <a:pt x="156" y="349"/>
                  </a:cubicBezTo>
                  <a:cubicBezTo>
                    <a:pt x="156" y="349"/>
                    <a:pt x="156" y="348"/>
                    <a:pt x="156" y="348"/>
                  </a:cubicBezTo>
                  <a:cubicBezTo>
                    <a:pt x="155" y="348"/>
                    <a:pt x="155" y="348"/>
                    <a:pt x="154" y="349"/>
                  </a:cubicBezTo>
                  <a:cubicBezTo>
                    <a:pt x="154" y="349"/>
                    <a:pt x="155" y="349"/>
                    <a:pt x="155" y="350"/>
                  </a:cubicBezTo>
                  <a:cubicBezTo>
                    <a:pt x="155" y="350"/>
                    <a:pt x="155" y="350"/>
                    <a:pt x="155" y="351"/>
                  </a:cubicBezTo>
                  <a:cubicBezTo>
                    <a:pt x="156" y="351"/>
                    <a:pt x="155" y="351"/>
                    <a:pt x="156" y="352"/>
                  </a:cubicBezTo>
                  <a:cubicBezTo>
                    <a:pt x="156" y="352"/>
                    <a:pt x="156" y="353"/>
                    <a:pt x="157" y="353"/>
                  </a:cubicBezTo>
                  <a:cubicBezTo>
                    <a:pt x="158" y="353"/>
                    <a:pt x="158" y="353"/>
                    <a:pt x="158" y="353"/>
                  </a:cubicBezTo>
                  <a:cubicBezTo>
                    <a:pt x="159" y="353"/>
                    <a:pt x="160" y="353"/>
                    <a:pt x="161" y="353"/>
                  </a:cubicBezTo>
                  <a:close/>
                  <a:moveTo>
                    <a:pt x="340" y="403"/>
                  </a:moveTo>
                  <a:cubicBezTo>
                    <a:pt x="340" y="400"/>
                    <a:pt x="340" y="400"/>
                    <a:pt x="340" y="400"/>
                  </a:cubicBezTo>
                  <a:cubicBezTo>
                    <a:pt x="340" y="400"/>
                    <a:pt x="342" y="399"/>
                    <a:pt x="342" y="399"/>
                  </a:cubicBezTo>
                  <a:cubicBezTo>
                    <a:pt x="342" y="399"/>
                    <a:pt x="343" y="394"/>
                    <a:pt x="343" y="394"/>
                  </a:cubicBezTo>
                  <a:cubicBezTo>
                    <a:pt x="341" y="393"/>
                    <a:pt x="341" y="393"/>
                    <a:pt x="341" y="393"/>
                  </a:cubicBezTo>
                  <a:cubicBezTo>
                    <a:pt x="341" y="393"/>
                    <a:pt x="341" y="392"/>
                    <a:pt x="341" y="392"/>
                  </a:cubicBezTo>
                  <a:cubicBezTo>
                    <a:pt x="341" y="391"/>
                    <a:pt x="335" y="392"/>
                    <a:pt x="335" y="392"/>
                  </a:cubicBezTo>
                  <a:cubicBezTo>
                    <a:pt x="335" y="392"/>
                    <a:pt x="335" y="390"/>
                    <a:pt x="335" y="390"/>
                  </a:cubicBezTo>
                  <a:cubicBezTo>
                    <a:pt x="334" y="390"/>
                    <a:pt x="334" y="388"/>
                    <a:pt x="334" y="388"/>
                  </a:cubicBezTo>
                  <a:cubicBezTo>
                    <a:pt x="334" y="387"/>
                    <a:pt x="336" y="383"/>
                    <a:pt x="336" y="383"/>
                  </a:cubicBezTo>
                  <a:cubicBezTo>
                    <a:pt x="336" y="383"/>
                    <a:pt x="336" y="382"/>
                    <a:pt x="335" y="382"/>
                  </a:cubicBezTo>
                  <a:cubicBezTo>
                    <a:pt x="335" y="381"/>
                    <a:pt x="333" y="381"/>
                    <a:pt x="333" y="380"/>
                  </a:cubicBezTo>
                  <a:cubicBezTo>
                    <a:pt x="333" y="380"/>
                    <a:pt x="334" y="379"/>
                    <a:pt x="334" y="379"/>
                  </a:cubicBezTo>
                  <a:cubicBezTo>
                    <a:pt x="334" y="376"/>
                    <a:pt x="334" y="376"/>
                    <a:pt x="334" y="376"/>
                  </a:cubicBezTo>
                  <a:cubicBezTo>
                    <a:pt x="337" y="375"/>
                    <a:pt x="337" y="375"/>
                    <a:pt x="337" y="375"/>
                  </a:cubicBezTo>
                  <a:cubicBezTo>
                    <a:pt x="341" y="370"/>
                    <a:pt x="341" y="370"/>
                    <a:pt x="341" y="370"/>
                  </a:cubicBezTo>
                  <a:cubicBezTo>
                    <a:pt x="340" y="366"/>
                    <a:pt x="340" y="366"/>
                    <a:pt x="340" y="366"/>
                  </a:cubicBezTo>
                  <a:cubicBezTo>
                    <a:pt x="342" y="363"/>
                    <a:pt x="342" y="363"/>
                    <a:pt x="342" y="363"/>
                  </a:cubicBezTo>
                  <a:cubicBezTo>
                    <a:pt x="340" y="353"/>
                    <a:pt x="340" y="353"/>
                    <a:pt x="340" y="353"/>
                  </a:cubicBezTo>
                  <a:cubicBezTo>
                    <a:pt x="344" y="350"/>
                    <a:pt x="344" y="350"/>
                    <a:pt x="344" y="350"/>
                  </a:cubicBezTo>
                  <a:cubicBezTo>
                    <a:pt x="344" y="347"/>
                    <a:pt x="344" y="347"/>
                    <a:pt x="344" y="347"/>
                  </a:cubicBezTo>
                  <a:cubicBezTo>
                    <a:pt x="348" y="345"/>
                    <a:pt x="348" y="345"/>
                    <a:pt x="348" y="345"/>
                  </a:cubicBezTo>
                  <a:cubicBezTo>
                    <a:pt x="353" y="341"/>
                    <a:pt x="353" y="341"/>
                    <a:pt x="353" y="341"/>
                  </a:cubicBezTo>
                  <a:cubicBezTo>
                    <a:pt x="353" y="341"/>
                    <a:pt x="353" y="339"/>
                    <a:pt x="353" y="339"/>
                  </a:cubicBezTo>
                  <a:cubicBezTo>
                    <a:pt x="353" y="339"/>
                    <a:pt x="353" y="337"/>
                    <a:pt x="353" y="337"/>
                  </a:cubicBezTo>
                  <a:cubicBezTo>
                    <a:pt x="353" y="336"/>
                    <a:pt x="348" y="332"/>
                    <a:pt x="348" y="332"/>
                  </a:cubicBezTo>
                  <a:cubicBezTo>
                    <a:pt x="347" y="332"/>
                    <a:pt x="346" y="333"/>
                    <a:pt x="345" y="332"/>
                  </a:cubicBezTo>
                  <a:cubicBezTo>
                    <a:pt x="345" y="332"/>
                    <a:pt x="345" y="328"/>
                    <a:pt x="345" y="328"/>
                  </a:cubicBezTo>
                  <a:cubicBezTo>
                    <a:pt x="341" y="320"/>
                    <a:pt x="341" y="320"/>
                    <a:pt x="341" y="320"/>
                  </a:cubicBezTo>
                  <a:cubicBezTo>
                    <a:pt x="341" y="320"/>
                    <a:pt x="337" y="315"/>
                    <a:pt x="337" y="314"/>
                  </a:cubicBezTo>
                  <a:cubicBezTo>
                    <a:pt x="336" y="314"/>
                    <a:pt x="337" y="309"/>
                    <a:pt x="337" y="309"/>
                  </a:cubicBezTo>
                  <a:cubicBezTo>
                    <a:pt x="191" y="171"/>
                    <a:pt x="191" y="171"/>
                    <a:pt x="191" y="171"/>
                  </a:cubicBezTo>
                  <a:cubicBezTo>
                    <a:pt x="151" y="137"/>
                    <a:pt x="151" y="137"/>
                    <a:pt x="151" y="137"/>
                  </a:cubicBezTo>
                  <a:cubicBezTo>
                    <a:pt x="151" y="0"/>
                    <a:pt x="151" y="0"/>
                    <a:pt x="151" y="0"/>
                  </a:cubicBezTo>
                  <a:cubicBezTo>
                    <a:pt x="6" y="0"/>
                    <a:pt x="6" y="0"/>
                    <a:pt x="6" y="0"/>
                  </a:cubicBezTo>
                  <a:cubicBezTo>
                    <a:pt x="6" y="1"/>
                    <a:pt x="6" y="1"/>
                    <a:pt x="6" y="1"/>
                  </a:cubicBezTo>
                  <a:cubicBezTo>
                    <a:pt x="6" y="1"/>
                    <a:pt x="6" y="2"/>
                    <a:pt x="6" y="2"/>
                  </a:cubicBezTo>
                  <a:cubicBezTo>
                    <a:pt x="6" y="3"/>
                    <a:pt x="6" y="3"/>
                    <a:pt x="6" y="4"/>
                  </a:cubicBezTo>
                  <a:cubicBezTo>
                    <a:pt x="6" y="4"/>
                    <a:pt x="6" y="4"/>
                    <a:pt x="6" y="5"/>
                  </a:cubicBezTo>
                  <a:cubicBezTo>
                    <a:pt x="6" y="5"/>
                    <a:pt x="6" y="5"/>
                    <a:pt x="6" y="5"/>
                  </a:cubicBezTo>
                  <a:cubicBezTo>
                    <a:pt x="6" y="5"/>
                    <a:pt x="6" y="6"/>
                    <a:pt x="6" y="6"/>
                  </a:cubicBezTo>
                  <a:cubicBezTo>
                    <a:pt x="6" y="6"/>
                    <a:pt x="6" y="6"/>
                    <a:pt x="6" y="6"/>
                  </a:cubicBezTo>
                  <a:cubicBezTo>
                    <a:pt x="6" y="7"/>
                    <a:pt x="6" y="8"/>
                    <a:pt x="6" y="8"/>
                  </a:cubicBezTo>
                  <a:cubicBezTo>
                    <a:pt x="6" y="8"/>
                    <a:pt x="6" y="9"/>
                    <a:pt x="6" y="9"/>
                  </a:cubicBezTo>
                  <a:cubicBezTo>
                    <a:pt x="5" y="9"/>
                    <a:pt x="5" y="9"/>
                    <a:pt x="5" y="10"/>
                  </a:cubicBezTo>
                  <a:cubicBezTo>
                    <a:pt x="5" y="10"/>
                    <a:pt x="5" y="11"/>
                    <a:pt x="5" y="11"/>
                  </a:cubicBezTo>
                  <a:cubicBezTo>
                    <a:pt x="5" y="11"/>
                    <a:pt x="6" y="11"/>
                    <a:pt x="7" y="11"/>
                  </a:cubicBezTo>
                  <a:cubicBezTo>
                    <a:pt x="7" y="12"/>
                    <a:pt x="7" y="12"/>
                    <a:pt x="8" y="13"/>
                  </a:cubicBezTo>
                  <a:cubicBezTo>
                    <a:pt x="8" y="13"/>
                    <a:pt x="8" y="13"/>
                    <a:pt x="8" y="14"/>
                  </a:cubicBezTo>
                  <a:cubicBezTo>
                    <a:pt x="8" y="14"/>
                    <a:pt x="9" y="14"/>
                    <a:pt x="9" y="15"/>
                  </a:cubicBezTo>
                  <a:cubicBezTo>
                    <a:pt x="9" y="15"/>
                    <a:pt x="9" y="15"/>
                    <a:pt x="9" y="16"/>
                  </a:cubicBezTo>
                  <a:cubicBezTo>
                    <a:pt x="9" y="16"/>
                    <a:pt x="9" y="17"/>
                    <a:pt x="9" y="17"/>
                  </a:cubicBezTo>
                  <a:cubicBezTo>
                    <a:pt x="9" y="18"/>
                    <a:pt x="9" y="18"/>
                    <a:pt x="9" y="19"/>
                  </a:cubicBezTo>
                  <a:cubicBezTo>
                    <a:pt x="9" y="19"/>
                    <a:pt x="9" y="20"/>
                    <a:pt x="10" y="20"/>
                  </a:cubicBezTo>
                  <a:cubicBezTo>
                    <a:pt x="10" y="20"/>
                    <a:pt x="10" y="20"/>
                    <a:pt x="10" y="21"/>
                  </a:cubicBezTo>
                  <a:cubicBezTo>
                    <a:pt x="11" y="21"/>
                    <a:pt x="11" y="21"/>
                    <a:pt x="11" y="21"/>
                  </a:cubicBezTo>
                  <a:cubicBezTo>
                    <a:pt x="11" y="22"/>
                    <a:pt x="12" y="22"/>
                    <a:pt x="12" y="22"/>
                  </a:cubicBezTo>
                  <a:cubicBezTo>
                    <a:pt x="12" y="23"/>
                    <a:pt x="12" y="24"/>
                    <a:pt x="12" y="24"/>
                  </a:cubicBezTo>
                  <a:cubicBezTo>
                    <a:pt x="11" y="24"/>
                    <a:pt x="11" y="24"/>
                    <a:pt x="11" y="24"/>
                  </a:cubicBezTo>
                  <a:cubicBezTo>
                    <a:pt x="11" y="25"/>
                    <a:pt x="11" y="25"/>
                    <a:pt x="11" y="26"/>
                  </a:cubicBezTo>
                  <a:cubicBezTo>
                    <a:pt x="11" y="26"/>
                    <a:pt x="11" y="27"/>
                    <a:pt x="11" y="27"/>
                  </a:cubicBezTo>
                  <a:cubicBezTo>
                    <a:pt x="11" y="28"/>
                    <a:pt x="11" y="28"/>
                    <a:pt x="11" y="29"/>
                  </a:cubicBezTo>
                  <a:cubicBezTo>
                    <a:pt x="11" y="29"/>
                    <a:pt x="11" y="29"/>
                    <a:pt x="11" y="30"/>
                  </a:cubicBezTo>
                  <a:cubicBezTo>
                    <a:pt x="10" y="31"/>
                    <a:pt x="11" y="32"/>
                    <a:pt x="11" y="32"/>
                  </a:cubicBezTo>
                  <a:cubicBezTo>
                    <a:pt x="11" y="33"/>
                    <a:pt x="11" y="33"/>
                    <a:pt x="10" y="34"/>
                  </a:cubicBezTo>
                  <a:cubicBezTo>
                    <a:pt x="10" y="34"/>
                    <a:pt x="10" y="34"/>
                    <a:pt x="10" y="34"/>
                  </a:cubicBezTo>
                  <a:cubicBezTo>
                    <a:pt x="10" y="35"/>
                    <a:pt x="10" y="35"/>
                    <a:pt x="10" y="35"/>
                  </a:cubicBezTo>
                  <a:cubicBezTo>
                    <a:pt x="10" y="35"/>
                    <a:pt x="10" y="36"/>
                    <a:pt x="10" y="36"/>
                  </a:cubicBezTo>
                  <a:cubicBezTo>
                    <a:pt x="10" y="37"/>
                    <a:pt x="10" y="37"/>
                    <a:pt x="9" y="38"/>
                  </a:cubicBezTo>
                  <a:cubicBezTo>
                    <a:pt x="9" y="39"/>
                    <a:pt x="8" y="39"/>
                    <a:pt x="8" y="39"/>
                  </a:cubicBezTo>
                  <a:cubicBezTo>
                    <a:pt x="8" y="40"/>
                    <a:pt x="8" y="40"/>
                    <a:pt x="8" y="41"/>
                  </a:cubicBezTo>
                  <a:cubicBezTo>
                    <a:pt x="8" y="42"/>
                    <a:pt x="9" y="42"/>
                    <a:pt x="9" y="42"/>
                  </a:cubicBezTo>
                  <a:cubicBezTo>
                    <a:pt x="9" y="43"/>
                    <a:pt x="9" y="43"/>
                    <a:pt x="9" y="44"/>
                  </a:cubicBezTo>
                  <a:cubicBezTo>
                    <a:pt x="9" y="44"/>
                    <a:pt x="9" y="45"/>
                    <a:pt x="9" y="45"/>
                  </a:cubicBezTo>
                  <a:cubicBezTo>
                    <a:pt x="10" y="46"/>
                    <a:pt x="10" y="47"/>
                    <a:pt x="9" y="47"/>
                  </a:cubicBezTo>
                  <a:cubicBezTo>
                    <a:pt x="9" y="48"/>
                    <a:pt x="9" y="48"/>
                    <a:pt x="9" y="48"/>
                  </a:cubicBezTo>
                  <a:cubicBezTo>
                    <a:pt x="9" y="49"/>
                    <a:pt x="9" y="49"/>
                    <a:pt x="9" y="49"/>
                  </a:cubicBezTo>
                  <a:cubicBezTo>
                    <a:pt x="9" y="50"/>
                    <a:pt x="8" y="51"/>
                    <a:pt x="8" y="52"/>
                  </a:cubicBezTo>
                  <a:cubicBezTo>
                    <a:pt x="8" y="52"/>
                    <a:pt x="8" y="52"/>
                    <a:pt x="8" y="53"/>
                  </a:cubicBezTo>
                  <a:cubicBezTo>
                    <a:pt x="8" y="53"/>
                    <a:pt x="8" y="53"/>
                    <a:pt x="8" y="53"/>
                  </a:cubicBezTo>
                  <a:cubicBezTo>
                    <a:pt x="7" y="54"/>
                    <a:pt x="7" y="55"/>
                    <a:pt x="7" y="55"/>
                  </a:cubicBezTo>
                  <a:cubicBezTo>
                    <a:pt x="7" y="55"/>
                    <a:pt x="7" y="56"/>
                    <a:pt x="7" y="56"/>
                  </a:cubicBezTo>
                  <a:cubicBezTo>
                    <a:pt x="7" y="56"/>
                    <a:pt x="7" y="57"/>
                    <a:pt x="7" y="58"/>
                  </a:cubicBezTo>
                  <a:cubicBezTo>
                    <a:pt x="6" y="58"/>
                    <a:pt x="6" y="58"/>
                    <a:pt x="6" y="59"/>
                  </a:cubicBezTo>
                  <a:cubicBezTo>
                    <a:pt x="6" y="59"/>
                    <a:pt x="6" y="60"/>
                    <a:pt x="6" y="60"/>
                  </a:cubicBezTo>
                  <a:cubicBezTo>
                    <a:pt x="6" y="61"/>
                    <a:pt x="4" y="61"/>
                    <a:pt x="3" y="62"/>
                  </a:cubicBezTo>
                  <a:cubicBezTo>
                    <a:pt x="3" y="62"/>
                    <a:pt x="3" y="63"/>
                    <a:pt x="3" y="63"/>
                  </a:cubicBezTo>
                  <a:cubicBezTo>
                    <a:pt x="4" y="63"/>
                    <a:pt x="4" y="63"/>
                    <a:pt x="5" y="63"/>
                  </a:cubicBezTo>
                  <a:cubicBezTo>
                    <a:pt x="5" y="64"/>
                    <a:pt x="6" y="64"/>
                    <a:pt x="6" y="64"/>
                  </a:cubicBezTo>
                  <a:cubicBezTo>
                    <a:pt x="7" y="64"/>
                    <a:pt x="7" y="64"/>
                    <a:pt x="7" y="64"/>
                  </a:cubicBezTo>
                  <a:cubicBezTo>
                    <a:pt x="7" y="64"/>
                    <a:pt x="9" y="64"/>
                    <a:pt x="8" y="65"/>
                  </a:cubicBezTo>
                  <a:cubicBezTo>
                    <a:pt x="8" y="65"/>
                    <a:pt x="7" y="65"/>
                    <a:pt x="7" y="65"/>
                  </a:cubicBezTo>
                  <a:cubicBezTo>
                    <a:pt x="7" y="65"/>
                    <a:pt x="6" y="64"/>
                    <a:pt x="6" y="64"/>
                  </a:cubicBezTo>
                  <a:cubicBezTo>
                    <a:pt x="6" y="64"/>
                    <a:pt x="5" y="64"/>
                    <a:pt x="5" y="64"/>
                  </a:cubicBezTo>
                  <a:cubicBezTo>
                    <a:pt x="4" y="64"/>
                    <a:pt x="3" y="64"/>
                    <a:pt x="3" y="64"/>
                  </a:cubicBezTo>
                  <a:cubicBezTo>
                    <a:pt x="2" y="65"/>
                    <a:pt x="2" y="65"/>
                    <a:pt x="2" y="65"/>
                  </a:cubicBezTo>
                  <a:cubicBezTo>
                    <a:pt x="2" y="67"/>
                    <a:pt x="2" y="67"/>
                    <a:pt x="1" y="68"/>
                  </a:cubicBezTo>
                  <a:cubicBezTo>
                    <a:pt x="1" y="69"/>
                    <a:pt x="0" y="69"/>
                    <a:pt x="0" y="70"/>
                  </a:cubicBezTo>
                  <a:cubicBezTo>
                    <a:pt x="0" y="70"/>
                    <a:pt x="0" y="71"/>
                    <a:pt x="0" y="72"/>
                  </a:cubicBezTo>
                  <a:cubicBezTo>
                    <a:pt x="0" y="72"/>
                    <a:pt x="0" y="73"/>
                    <a:pt x="0" y="73"/>
                  </a:cubicBezTo>
                  <a:cubicBezTo>
                    <a:pt x="0" y="73"/>
                    <a:pt x="0" y="74"/>
                    <a:pt x="0" y="74"/>
                  </a:cubicBezTo>
                  <a:cubicBezTo>
                    <a:pt x="1" y="74"/>
                    <a:pt x="1" y="75"/>
                    <a:pt x="1" y="76"/>
                  </a:cubicBezTo>
                  <a:cubicBezTo>
                    <a:pt x="1" y="76"/>
                    <a:pt x="1" y="77"/>
                    <a:pt x="1" y="77"/>
                  </a:cubicBezTo>
                  <a:cubicBezTo>
                    <a:pt x="1" y="78"/>
                    <a:pt x="1" y="79"/>
                    <a:pt x="1" y="80"/>
                  </a:cubicBezTo>
                  <a:cubicBezTo>
                    <a:pt x="1" y="80"/>
                    <a:pt x="1" y="80"/>
                    <a:pt x="1" y="81"/>
                  </a:cubicBezTo>
                  <a:cubicBezTo>
                    <a:pt x="1" y="81"/>
                    <a:pt x="2" y="81"/>
                    <a:pt x="2" y="82"/>
                  </a:cubicBezTo>
                  <a:cubicBezTo>
                    <a:pt x="2" y="82"/>
                    <a:pt x="3" y="83"/>
                    <a:pt x="3" y="83"/>
                  </a:cubicBezTo>
                  <a:cubicBezTo>
                    <a:pt x="4" y="83"/>
                    <a:pt x="4" y="83"/>
                    <a:pt x="5" y="84"/>
                  </a:cubicBezTo>
                  <a:cubicBezTo>
                    <a:pt x="5" y="84"/>
                    <a:pt x="5" y="84"/>
                    <a:pt x="5" y="84"/>
                  </a:cubicBezTo>
                  <a:cubicBezTo>
                    <a:pt x="5" y="84"/>
                    <a:pt x="6" y="84"/>
                    <a:pt x="6" y="85"/>
                  </a:cubicBezTo>
                  <a:cubicBezTo>
                    <a:pt x="6" y="85"/>
                    <a:pt x="6" y="85"/>
                    <a:pt x="7" y="86"/>
                  </a:cubicBezTo>
                  <a:cubicBezTo>
                    <a:pt x="7" y="87"/>
                    <a:pt x="8" y="86"/>
                    <a:pt x="9" y="87"/>
                  </a:cubicBezTo>
                  <a:cubicBezTo>
                    <a:pt x="9" y="87"/>
                    <a:pt x="10" y="88"/>
                    <a:pt x="10" y="88"/>
                  </a:cubicBezTo>
                  <a:cubicBezTo>
                    <a:pt x="10" y="89"/>
                    <a:pt x="10" y="90"/>
                    <a:pt x="11" y="91"/>
                  </a:cubicBezTo>
                  <a:cubicBezTo>
                    <a:pt x="12" y="92"/>
                    <a:pt x="14" y="93"/>
                    <a:pt x="14" y="94"/>
                  </a:cubicBezTo>
                  <a:cubicBezTo>
                    <a:pt x="14" y="94"/>
                    <a:pt x="15" y="95"/>
                    <a:pt x="15" y="95"/>
                  </a:cubicBezTo>
                  <a:cubicBezTo>
                    <a:pt x="15" y="95"/>
                    <a:pt x="15" y="96"/>
                    <a:pt x="16" y="96"/>
                  </a:cubicBezTo>
                  <a:cubicBezTo>
                    <a:pt x="16" y="96"/>
                    <a:pt x="16" y="96"/>
                    <a:pt x="16" y="97"/>
                  </a:cubicBezTo>
                  <a:cubicBezTo>
                    <a:pt x="16" y="97"/>
                    <a:pt x="16" y="97"/>
                    <a:pt x="16" y="97"/>
                  </a:cubicBezTo>
                  <a:cubicBezTo>
                    <a:pt x="17" y="98"/>
                    <a:pt x="18" y="99"/>
                    <a:pt x="19" y="100"/>
                  </a:cubicBezTo>
                  <a:cubicBezTo>
                    <a:pt x="19" y="100"/>
                    <a:pt x="19" y="101"/>
                    <a:pt x="19" y="101"/>
                  </a:cubicBezTo>
                  <a:cubicBezTo>
                    <a:pt x="19" y="101"/>
                    <a:pt x="19" y="101"/>
                    <a:pt x="19" y="102"/>
                  </a:cubicBezTo>
                  <a:cubicBezTo>
                    <a:pt x="20" y="102"/>
                    <a:pt x="19" y="103"/>
                    <a:pt x="19" y="103"/>
                  </a:cubicBezTo>
                  <a:cubicBezTo>
                    <a:pt x="20" y="104"/>
                    <a:pt x="20" y="105"/>
                    <a:pt x="20" y="106"/>
                  </a:cubicBezTo>
                  <a:cubicBezTo>
                    <a:pt x="20" y="106"/>
                    <a:pt x="20" y="107"/>
                    <a:pt x="20" y="107"/>
                  </a:cubicBezTo>
                  <a:cubicBezTo>
                    <a:pt x="20" y="108"/>
                    <a:pt x="21" y="108"/>
                    <a:pt x="21" y="108"/>
                  </a:cubicBezTo>
                  <a:cubicBezTo>
                    <a:pt x="21" y="109"/>
                    <a:pt x="21" y="110"/>
                    <a:pt x="21" y="110"/>
                  </a:cubicBezTo>
                  <a:cubicBezTo>
                    <a:pt x="21" y="111"/>
                    <a:pt x="21" y="112"/>
                    <a:pt x="21" y="113"/>
                  </a:cubicBezTo>
                  <a:cubicBezTo>
                    <a:pt x="21" y="113"/>
                    <a:pt x="20" y="113"/>
                    <a:pt x="20" y="113"/>
                  </a:cubicBezTo>
                  <a:cubicBezTo>
                    <a:pt x="20" y="120"/>
                    <a:pt x="20" y="120"/>
                    <a:pt x="20" y="120"/>
                  </a:cubicBezTo>
                  <a:cubicBezTo>
                    <a:pt x="20" y="121"/>
                    <a:pt x="20" y="121"/>
                    <a:pt x="20" y="122"/>
                  </a:cubicBezTo>
                  <a:cubicBezTo>
                    <a:pt x="20" y="122"/>
                    <a:pt x="21" y="122"/>
                    <a:pt x="21" y="123"/>
                  </a:cubicBezTo>
                  <a:cubicBezTo>
                    <a:pt x="21" y="123"/>
                    <a:pt x="21" y="123"/>
                    <a:pt x="21" y="123"/>
                  </a:cubicBezTo>
                  <a:cubicBezTo>
                    <a:pt x="21" y="125"/>
                    <a:pt x="21" y="125"/>
                    <a:pt x="21" y="125"/>
                  </a:cubicBezTo>
                  <a:cubicBezTo>
                    <a:pt x="21" y="125"/>
                    <a:pt x="21" y="125"/>
                    <a:pt x="21" y="125"/>
                  </a:cubicBezTo>
                  <a:cubicBezTo>
                    <a:pt x="21" y="127"/>
                    <a:pt x="21" y="127"/>
                    <a:pt x="21" y="127"/>
                  </a:cubicBezTo>
                  <a:cubicBezTo>
                    <a:pt x="21" y="127"/>
                    <a:pt x="21" y="128"/>
                    <a:pt x="22" y="129"/>
                  </a:cubicBezTo>
                  <a:cubicBezTo>
                    <a:pt x="22" y="129"/>
                    <a:pt x="22" y="129"/>
                    <a:pt x="22" y="130"/>
                  </a:cubicBezTo>
                  <a:cubicBezTo>
                    <a:pt x="22" y="130"/>
                    <a:pt x="22" y="130"/>
                    <a:pt x="23" y="131"/>
                  </a:cubicBezTo>
                  <a:cubicBezTo>
                    <a:pt x="23" y="131"/>
                    <a:pt x="23" y="132"/>
                    <a:pt x="23" y="132"/>
                  </a:cubicBezTo>
                  <a:cubicBezTo>
                    <a:pt x="23" y="133"/>
                    <a:pt x="23" y="133"/>
                    <a:pt x="23" y="133"/>
                  </a:cubicBezTo>
                  <a:cubicBezTo>
                    <a:pt x="24" y="134"/>
                    <a:pt x="24" y="134"/>
                    <a:pt x="24" y="134"/>
                  </a:cubicBezTo>
                  <a:cubicBezTo>
                    <a:pt x="24" y="135"/>
                    <a:pt x="24" y="136"/>
                    <a:pt x="24" y="137"/>
                  </a:cubicBezTo>
                  <a:cubicBezTo>
                    <a:pt x="24" y="138"/>
                    <a:pt x="23" y="139"/>
                    <a:pt x="23" y="140"/>
                  </a:cubicBezTo>
                  <a:cubicBezTo>
                    <a:pt x="24" y="141"/>
                    <a:pt x="24" y="141"/>
                    <a:pt x="24" y="142"/>
                  </a:cubicBezTo>
                  <a:cubicBezTo>
                    <a:pt x="25" y="143"/>
                    <a:pt x="26" y="144"/>
                    <a:pt x="27" y="145"/>
                  </a:cubicBezTo>
                  <a:cubicBezTo>
                    <a:pt x="28" y="146"/>
                    <a:pt x="29" y="147"/>
                    <a:pt x="30" y="148"/>
                  </a:cubicBezTo>
                  <a:cubicBezTo>
                    <a:pt x="31" y="148"/>
                    <a:pt x="31" y="149"/>
                    <a:pt x="32" y="149"/>
                  </a:cubicBezTo>
                  <a:cubicBezTo>
                    <a:pt x="32" y="150"/>
                    <a:pt x="33" y="150"/>
                    <a:pt x="33" y="151"/>
                  </a:cubicBezTo>
                  <a:cubicBezTo>
                    <a:pt x="34" y="151"/>
                    <a:pt x="34" y="152"/>
                    <a:pt x="34" y="152"/>
                  </a:cubicBezTo>
                  <a:cubicBezTo>
                    <a:pt x="34" y="153"/>
                    <a:pt x="35" y="153"/>
                    <a:pt x="35" y="154"/>
                  </a:cubicBezTo>
                  <a:cubicBezTo>
                    <a:pt x="36" y="154"/>
                    <a:pt x="36" y="155"/>
                    <a:pt x="36" y="155"/>
                  </a:cubicBezTo>
                  <a:cubicBezTo>
                    <a:pt x="36" y="155"/>
                    <a:pt x="37" y="156"/>
                    <a:pt x="37" y="156"/>
                  </a:cubicBezTo>
                  <a:cubicBezTo>
                    <a:pt x="38" y="157"/>
                    <a:pt x="38" y="158"/>
                    <a:pt x="39" y="158"/>
                  </a:cubicBezTo>
                  <a:cubicBezTo>
                    <a:pt x="41" y="159"/>
                    <a:pt x="42" y="160"/>
                    <a:pt x="43" y="161"/>
                  </a:cubicBezTo>
                  <a:cubicBezTo>
                    <a:pt x="44" y="162"/>
                    <a:pt x="44" y="163"/>
                    <a:pt x="44" y="164"/>
                  </a:cubicBezTo>
                  <a:cubicBezTo>
                    <a:pt x="45" y="164"/>
                    <a:pt x="45" y="165"/>
                    <a:pt x="45" y="166"/>
                  </a:cubicBezTo>
                  <a:cubicBezTo>
                    <a:pt x="45" y="166"/>
                    <a:pt x="45" y="167"/>
                    <a:pt x="45" y="167"/>
                  </a:cubicBezTo>
                  <a:cubicBezTo>
                    <a:pt x="46" y="167"/>
                    <a:pt x="47" y="167"/>
                    <a:pt x="47" y="168"/>
                  </a:cubicBezTo>
                  <a:cubicBezTo>
                    <a:pt x="48" y="168"/>
                    <a:pt x="48" y="168"/>
                    <a:pt x="49" y="169"/>
                  </a:cubicBezTo>
                  <a:cubicBezTo>
                    <a:pt x="49" y="169"/>
                    <a:pt x="49" y="170"/>
                    <a:pt x="50" y="170"/>
                  </a:cubicBezTo>
                  <a:cubicBezTo>
                    <a:pt x="50" y="171"/>
                    <a:pt x="51" y="172"/>
                    <a:pt x="52" y="173"/>
                  </a:cubicBezTo>
                  <a:cubicBezTo>
                    <a:pt x="52" y="174"/>
                    <a:pt x="53" y="174"/>
                    <a:pt x="53" y="174"/>
                  </a:cubicBezTo>
                  <a:cubicBezTo>
                    <a:pt x="53" y="175"/>
                    <a:pt x="53" y="175"/>
                    <a:pt x="53" y="175"/>
                  </a:cubicBezTo>
                  <a:cubicBezTo>
                    <a:pt x="53" y="176"/>
                    <a:pt x="53" y="176"/>
                    <a:pt x="53" y="176"/>
                  </a:cubicBezTo>
                  <a:cubicBezTo>
                    <a:pt x="52" y="175"/>
                    <a:pt x="52" y="175"/>
                    <a:pt x="51" y="174"/>
                  </a:cubicBezTo>
                  <a:cubicBezTo>
                    <a:pt x="51" y="174"/>
                    <a:pt x="50" y="173"/>
                    <a:pt x="50" y="172"/>
                  </a:cubicBezTo>
                  <a:cubicBezTo>
                    <a:pt x="50" y="172"/>
                    <a:pt x="49" y="172"/>
                    <a:pt x="49" y="171"/>
                  </a:cubicBezTo>
                  <a:cubicBezTo>
                    <a:pt x="49" y="171"/>
                    <a:pt x="49" y="171"/>
                    <a:pt x="49" y="171"/>
                  </a:cubicBezTo>
                  <a:cubicBezTo>
                    <a:pt x="48" y="171"/>
                    <a:pt x="49" y="172"/>
                    <a:pt x="49" y="172"/>
                  </a:cubicBezTo>
                  <a:cubicBezTo>
                    <a:pt x="49" y="173"/>
                    <a:pt x="50" y="173"/>
                    <a:pt x="50" y="174"/>
                  </a:cubicBezTo>
                  <a:cubicBezTo>
                    <a:pt x="50" y="174"/>
                    <a:pt x="50" y="175"/>
                    <a:pt x="50" y="175"/>
                  </a:cubicBezTo>
                  <a:cubicBezTo>
                    <a:pt x="50" y="175"/>
                    <a:pt x="49" y="175"/>
                    <a:pt x="49" y="175"/>
                  </a:cubicBezTo>
                  <a:cubicBezTo>
                    <a:pt x="49" y="176"/>
                    <a:pt x="49" y="177"/>
                    <a:pt x="49" y="178"/>
                  </a:cubicBezTo>
                  <a:cubicBezTo>
                    <a:pt x="49" y="178"/>
                    <a:pt x="49" y="179"/>
                    <a:pt x="48" y="179"/>
                  </a:cubicBezTo>
                  <a:cubicBezTo>
                    <a:pt x="48" y="179"/>
                    <a:pt x="48" y="180"/>
                    <a:pt x="48" y="180"/>
                  </a:cubicBezTo>
                  <a:cubicBezTo>
                    <a:pt x="48" y="181"/>
                    <a:pt x="49" y="181"/>
                    <a:pt x="50" y="181"/>
                  </a:cubicBezTo>
                  <a:cubicBezTo>
                    <a:pt x="50" y="180"/>
                    <a:pt x="50" y="180"/>
                    <a:pt x="51" y="180"/>
                  </a:cubicBezTo>
                  <a:cubicBezTo>
                    <a:pt x="51" y="180"/>
                    <a:pt x="51" y="180"/>
                    <a:pt x="52" y="180"/>
                  </a:cubicBezTo>
                  <a:cubicBezTo>
                    <a:pt x="52" y="180"/>
                    <a:pt x="53" y="180"/>
                    <a:pt x="53" y="181"/>
                  </a:cubicBezTo>
                  <a:cubicBezTo>
                    <a:pt x="53" y="181"/>
                    <a:pt x="54" y="181"/>
                    <a:pt x="54" y="182"/>
                  </a:cubicBezTo>
                  <a:cubicBezTo>
                    <a:pt x="55" y="182"/>
                    <a:pt x="55" y="183"/>
                    <a:pt x="55" y="183"/>
                  </a:cubicBezTo>
                  <a:cubicBezTo>
                    <a:pt x="56" y="184"/>
                    <a:pt x="57" y="184"/>
                    <a:pt x="57" y="185"/>
                  </a:cubicBezTo>
                  <a:cubicBezTo>
                    <a:pt x="58" y="185"/>
                    <a:pt x="58" y="185"/>
                    <a:pt x="58" y="185"/>
                  </a:cubicBezTo>
                  <a:cubicBezTo>
                    <a:pt x="58" y="185"/>
                    <a:pt x="59" y="185"/>
                    <a:pt x="59" y="185"/>
                  </a:cubicBezTo>
                  <a:cubicBezTo>
                    <a:pt x="60" y="185"/>
                    <a:pt x="60" y="185"/>
                    <a:pt x="61" y="185"/>
                  </a:cubicBezTo>
                  <a:cubicBezTo>
                    <a:pt x="61" y="185"/>
                    <a:pt x="61" y="186"/>
                    <a:pt x="62" y="186"/>
                  </a:cubicBezTo>
                  <a:cubicBezTo>
                    <a:pt x="62" y="186"/>
                    <a:pt x="63" y="187"/>
                    <a:pt x="63" y="187"/>
                  </a:cubicBezTo>
                  <a:cubicBezTo>
                    <a:pt x="64" y="188"/>
                    <a:pt x="64" y="188"/>
                    <a:pt x="64" y="188"/>
                  </a:cubicBezTo>
                  <a:cubicBezTo>
                    <a:pt x="65" y="188"/>
                    <a:pt x="65" y="188"/>
                    <a:pt x="65" y="188"/>
                  </a:cubicBezTo>
                  <a:cubicBezTo>
                    <a:pt x="66" y="187"/>
                    <a:pt x="67" y="187"/>
                    <a:pt x="67" y="186"/>
                  </a:cubicBezTo>
                  <a:cubicBezTo>
                    <a:pt x="67" y="185"/>
                    <a:pt x="66" y="184"/>
                    <a:pt x="66" y="184"/>
                  </a:cubicBezTo>
                  <a:cubicBezTo>
                    <a:pt x="65" y="183"/>
                    <a:pt x="65" y="182"/>
                    <a:pt x="65" y="181"/>
                  </a:cubicBezTo>
                  <a:cubicBezTo>
                    <a:pt x="65" y="181"/>
                    <a:pt x="65" y="180"/>
                    <a:pt x="65" y="180"/>
                  </a:cubicBezTo>
                  <a:cubicBezTo>
                    <a:pt x="66" y="179"/>
                    <a:pt x="66" y="179"/>
                    <a:pt x="66" y="178"/>
                  </a:cubicBezTo>
                  <a:cubicBezTo>
                    <a:pt x="65" y="178"/>
                    <a:pt x="65" y="177"/>
                    <a:pt x="65" y="177"/>
                  </a:cubicBezTo>
                  <a:cubicBezTo>
                    <a:pt x="65" y="177"/>
                    <a:pt x="65" y="177"/>
                    <a:pt x="65" y="177"/>
                  </a:cubicBezTo>
                  <a:cubicBezTo>
                    <a:pt x="65" y="176"/>
                    <a:pt x="65" y="176"/>
                    <a:pt x="65" y="176"/>
                  </a:cubicBezTo>
                  <a:cubicBezTo>
                    <a:pt x="66" y="175"/>
                    <a:pt x="67" y="175"/>
                    <a:pt x="67" y="176"/>
                  </a:cubicBezTo>
                  <a:cubicBezTo>
                    <a:pt x="68" y="176"/>
                    <a:pt x="68" y="176"/>
                    <a:pt x="69" y="175"/>
                  </a:cubicBezTo>
                  <a:cubicBezTo>
                    <a:pt x="69" y="175"/>
                    <a:pt x="70" y="176"/>
                    <a:pt x="70" y="176"/>
                  </a:cubicBezTo>
                  <a:cubicBezTo>
                    <a:pt x="71" y="176"/>
                    <a:pt x="71" y="177"/>
                    <a:pt x="72" y="177"/>
                  </a:cubicBezTo>
                  <a:cubicBezTo>
                    <a:pt x="72" y="177"/>
                    <a:pt x="73" y="177"/>
                    <a:pt x="73" y="177"/>
                  </a:cubicBezTo>
                  <a:cubicBezTo>
                    <a:pt x="73" y="177"/>
                    <a:pt x="74" y="177"/>
                    <a:pt x="74" y="177"/>
                  </a:cubicBezTo>
                  <a:cubicBezTo>
                    <a:pt x="75" y="177"/>
                    <a:pt x="75" y="177"/>
                    <a:pt x="76" y="177"/>
                  </a:cubicBezTo>
                  <a:cubicBezTo>
                    <a:pt x="77" y="177"/>
                    <a:pt x="78" y="177"/>
                    <a:pt x="79" y="176"/>
                  </a:cubicBezTo>
                  <a:cubicBezTo>
                    <a:pt x="79" y="176"/>
                    <a:pt x="81" y="174"/>
                    <a:pt x="81" y="175"/>
                  </a:cubicBezTo>
                  <a:cubicBezTo>
                    <a:pt x="81" y="176"/>
                    <a:pt x="81" y="176"/>
                    <a:pt x="82" y="176"/>
                  </a:cubicBezTo>
                  <a:cubicBezTo>
                    <a:pt x="82" y="177"/>
                    <a:pt x="82" y="177"/>
                    <a:pt x="83" y="177"/>
                  </a:cubicBezTo>
                  <a:cubicBezTo>
                    <a:pt x="83" y="177"/>
                    <a:pt x="83" y="177"/>
                    <a:pt x="83" y="177"/>
                  </a:cubicBezTo>
                  <a:cubicBezTo>
                    <a:pt x="83" y="177"/>
                    <a:pt x="83" y="177"/>
                    <a:pt x="84" y="177"/>
                  </a:cubicBezTo>
                  <a:cubicBezTo>
                    <a:pt x="84" y="178"/>
                    <a:pt x="84" y="178"/>
                    <a:pt x="85" y="178"/>
                  </a:cubicBezTo>
                  <a:cubicBezTo>
                    <a:pt x="85" y="178"/>
                    <a:pt x="86" y="178"/>
                    <a:pt x="87" y="178"/>
                  </a:cubicBezTo>
                  <a:cubicBezTo>
                    <a:pt x="88" y="178"/>
                    <a:pt x="88" y="178"/>
                    <a:pt x="89" y="177"/>
                  </a:cubicBezTo>
                  <a:cubicBezTo>
                    <a:pt x="89" y="177"/>
                    <a:pt x="90" y="177"/>
                    <a:pt x="91" y="177"/>
                  </a:cubicBezTo>
                  <a:cubicBezTo>
                    <a:pt x="91" y="176"/>
                    <a:pt x="92" y="176"/>
                    <a:pt x="92" y="176"/>
                  </a:cubicBezTo>
                  <a:cubicBezTo>
                    <a:pt x="92" y="177"/>
                    <a:pt x="92" y="177"/>
                    <a:pt x="92" y="177"/>
                  </a:cubicBezTo>
                  <a:cubicBezTo>
                    <a:pt x="92" y="177"/>
                    <a:pt x="92" y="177"/>
                    <a:pt x="92" y="178"/>
                  </a:cubicBezTo>
                  <a:cubicBezTo>
                    <a:pt x="91" y="178"/>
                    <a:pt x="91" y="178"/>
                    <a:pt x="91" y="178"/>
                  </a:cubicBezTo>
                  <a:cubicBezTo>
                    <a:pt x="91" y="179"/>
                    <a:pt x="92" y="179"/>
                    <a:pt x="92" y="178"/>
                  </a:cubicBezTo>
                  <a:cubicBezTo>
                    <a:pt x="93" y="178"/>
                    <a:pt x="93" y="177"/>
                    <a:pt x="94" y="176"/>
                  </a:cubicBezTo>
                  <a:cubicBezTo>
                    <a:pt x="94" y="176"/>
                    <a:pt x="95" y="176"/>
                    <a:pt x="95" y="176"/>
                  </a:cubicBezTo>
                  <a:cubicBezTo>
                    <a:pt x="96" y="176"/>
                    <a:pt x="97" y="176"/>
                    <a:pt x="97" y="176"/>
                  </a:cubicBezTo>
                  <a:cubicBezTo>
                    <a:pt x="98" y="176"/>
                    <a:pt x="98" y="176"/>
                    <a:pt x="99" y="177"/>
                  </a:cubicBezTo>
                  <a:cubicBezTo>
                    <a:pt x="100" y="178"/>
                    <a:pt x="101" y="178"/>
                    <a:pt x="103" y="179"/>
                  </a:cubicBezTo>
                  <a:cubicBezTo>
                    <a:pt x="103" y="179"/>
                    <a:pt x="105" y="181"/>
                    <a:pt x="103" y="181"/>
                  </a:cubicBezTo>
                  <a:cubicBezTo>
                    <a:pt x="103" y="181"/>
                    <a:pt x="103" y="181"/>
                    <a:pt x="102" y="181"/>
                  </a:cubicBezTo>
                  <a:cubicBezTo>
                    <a:pt x="102" y="181"/>
                    <a:pt x="102" y="181"/>
                    <a:pt x="101" y="181"/>
                  </a:cubicBezTo>
                  <a:cubicBezTo>
                    <a:pt x="101" y="180"/>
                    <a:pt x="101" y="180"/>
                    <a:pt x="100" y="180"/>
                  </a:cubicBezTo>
                  <a:cubicBezTo>
                    <a:pt x="100" y="180"/>
                    <a:pt x="99" y="179"/>
                    <a:pt x="99" y="179"/>
                  </a:cubicBezTo>
                  <a:cubicBezTo>
                    <a:pt x="98" y="179"/>
                    <a:pt x="98" y="178"/>
                    <a:pt x="97" y="178"/>
                  </a:cubicBezTo>
                  <a:cubicBezTo>
                    <a:pt x="97" y="178"/>
                    <a:pt x="96" y="178"/>
                    <a:pt x="96" y="177"/>
                  </a:cubicBezTo>
                  <a:cubicBezTo>
                    <a:pt x="95" y="177"/>
                    <a:pt x="95" y="177"/>
                    <a:pt x="95" y="177"/>
                  </a:cubicBezTo>
                  <a:cubicBezTo>
                    <a:pt x="94" y="176"/>
                    <a:pt x="94" y="178"/>
                    <a:pt x="94" y="178"/>
                  </a:cubicBezTo>
                  <a:cubicBezTo>
                    <a:pt x="94" y="179"/>
                    <a:pt x="94" y="179"/>
                    <a:pt x="94" y="180"/>
                  </a:cubicBezTo>
                  <a:cubicBezTo>
                    <a:pt x="94" y="180"/>
                    <a:pt x="93" y="180"/>
                    <a:pt x="93" y="180"/>
                  </a:cubicBezTo>
                  <a:cubicBezTo>
                    <a:pt x="92" y="180"/>
                    <a:pt x="92" y="180"/>
                    <a:pt x="92" y="180"/>
                  </a:cubicBezTo>
                  <a:cubicBezTo>
                    <a:pt x="91" y="180"/>
                    <a:pt x="91" y="180"/>
                    <a:pt x="91" y="180"/>
                  </a:cubicBezTo>
                  <a:cubicBezTo>
                    <a:pt x="90" y="180"/>
                    <a:pt x="89" y="180"/>
                    <a:pt x="89" y="180"/>
                  </a:cubicBezTo>
                  <a:cubicBezTo>
                    <a:pt x="88" y="180"/>
                    <a:pt x="87" y="179"/>
                    <a:pt x="87" y="179"/>
                  </a:cubicBezTo>
                  <a:cubicBezTo>
                    <a:pt x="86" y="179"/>
                    <a:pt x="86" y="179"/>
                    <a:pt x="85" y="179"/>
                  </a:cubicBezTo>
                  <a:cubicBezTo>
                    <a:pt x="84" y="179"/>
                    <a:pt x="84" y="179"/>
                    <a:pt x="83" y="179"/>
                  </a:cubicBezTo>
                  <a:cubicBezTo>
                    <a:pt x="83" y="178"/>
                    <a:pt x="83" y="178"/>
                    <a:pt x="82" y="178"/>
                  </a:cubicBezTo>
                  <a:cubicBezTo>
                    <a:pt x="82" y="178"/>
                    <a:pt x="82" y="178"/>
                    <a:pt x="81" y="178"/>
                  </a:cubicBezTo>
                  <a:cubicBezTo>
                    <a:pt x="81" y="178"/>
                    <a:pt x="80" y="179"/>
                    <a:pt x="80" y="179"/>
                  </a:cubicBezTo>
                  <a:cubicBezTo>
                    <a:pt x="79" y="179"/>
                    <a:pt x="79" y="179"/>
                    <a:pt x="78" y="179"/>
                  </a:cubicBezTo>
                  <a:cubicBezTo>
                    <a:pt x="78" y="180"/>
                    <a:pt x="77" y="180"/>
                    <a:pt x="77" y="179"/>
                  </a:cubicBezTo>
                  <a:cubicBezTo>
                    <a:pt x="76" y="179"/>
                    <a:pt x="76" y="179"/>
                    <a:pt x="75" y="179"/>
                  </a:cubicBezTo>
                  <a:cubicBezTo>
                    <a:pt x="75" y="179"/>
                    <a:pt x="74" y="179"/>
                    <a:pt x="74" y="179"/>
                  </a:cubicBezTo>
                  <a:cubicBezTo>
                    <a:pt x="73" y="180"/>
                    <a:pt x="73" y="180"/>
                    <a:pt x="72" y="180"/>
                  </a:cubicBezTo>
                  <a:cubicBezTo>
                    <a:pt x="72" y="180"/>
                    <a:pt x="71" y="181"/>
                    <a:pt x="71" y="181"/>
                  </a:cubicBezTo>
                  <a:cubicBezTo>
                    <a:pt x="70" y="181"/>
                    <a:pt x="69" y="181"/>
                    <a:pt x="69" y="182"/>
                  </a:cubicBezTo>
                  <a:cubicBezTo>
                    <a:pt x="68" y="183"/>
                    <a:pt x="69" y="183"/>
                    <a:pt x="70" y="184"/>
                  </a:cubicBezTo>
                  <a:cubicBezTo>
                    <a:pt x="70" y="184"/>
                    <a:pt x="70" y="184"/>
                    <a:pt x="70" y="185"/>
                  </a:cubicBezTo>
                  <a:cubicBezTo>
                    <a:pt x="71" y="186"/>
                    <a:pt x="71" y="187"/>
                    <a:pt x="71" y="188"/>
                  </a:cubicBezTo>
                  <a:cubicBezTo>
                    <a:pt x="71" y="189"/>
                    <a:pt x="72" y="190"/>
                    <a:pt x="73" y="191"/>
                  </a:cubicBezTo>
                  <a:cubicBezTo>
                    <a:pt x="73" y="192"/>
                    <a:pt x="74" y="192"/>
                    <a:pt x="75" y="193"/>
                  </a:cubicBezTo>
                  <a:cubicBezTo>
                    <a:pt x="75" y="193"/>
                    <a:pt x="76" y="194"/>
                    <a:pt x="76" y="194"/>
                  </a:cubicBezTo>
                  <a:cubicBezTo>
                    <a:pt x="77" y="195"/>
                    <a:pt x="76" y="196"/>
                    <a:pt x="77" y="196"/>
                  </a:cubicBezTo>
                  <a:cubicBezTo>
                    <a:pt x="77" y="196"/>
                    <a:pt x="77" y="197"/>
                    <a:pt x="77" y="197"/>
                  </a:cubicBezTo>
                  <a:cubicBezTo>
                    <a:pt x="77" y="197"/>
                    <a:pt x="77" y="198"/>
                    <a:pt x="77" y="198"/>
                  </a:cubicBezTo>
                  <a:cubicBezTo>
                    <a:pt x="77" y="198"/>
                    <a:pt x="78" y="199"/>
                    <a:pt x="78" y="199"/>
                  </a:cubicBezTo>
                  <a:cubicBezTo>
                    <a:pt x="78" y="200"/>
                    <a:pt x="78" y="200"/>
                    <a:pt x="78" y="201"/>
                  </a:cubicBezTo>
                  <a:cubicBezTo>
                    <a:pt x="79" y="201"/>
                    <a:pt x="79" y="202"/>
                    <a:pt x="79" y="202"/>
                  </a:cubicBezTo>
                  <a:cubicBezTo>
                    <a:pt x="79" y="203"/>
                    <a:pt x="79" y="203"/>
                    <a:pt x="78" y="203"/>
                  </a:cubicBezTo>
                  <a:cubicBezTo>
                    <a:pt x="78" y="203"/>
                    <a:pt x="77" y="203"/>
                    <a:pt x="77" y="203"/>
                  </a:cubicBezTo>
                  <a:cubicBezTo>
                    <a:pt x="77" y="203"/>
                    <a:pt x="76" y="202"/>
                    <a:pt x="76" y="202"/>
                  </a:cubicBezTo>
                  <a:cubicBezTo>
                    <a:pt x="76" y="202"/>
                    <a:pt x="75" y="201"/>
                    <a:pt x="75" y="201"/>
                  </a:cubicBezTo>
                  <a:cubicBezTo>
                    <a:pt x="74" y="200"/>
                    <a:pt x="73" y="200"/>
                    <a:pt x="72" y="199"/>
                  </a:cubicBezTo>
                  <a:cubicBezTo>
                    <a:pt x="70" y="199"/>
                    <a:pt x="70" y="196"/>
                    <a:pt x="70" y="195"/>
                  </a:cubicBezTo>
                  <a:cubicBezTo>
                    <a:pt x="70" y="194"/>
                    <a:pt x="70" y="193"/>
                    <a:pt x="70" y="193"/>
                  </a:cubicBezTo>
                  <a:cubicBezTo>
                    <a:pt x="70" y="192"/>
                    <a:pt x="70" y="191"/>
                    <a:pt x="70" y="191"/>
                  </a:cubicBezTo>
                  <a:cubicBezTo>
                    <a:pt x="70" y="190"/>
                    <a:pt x="70" y="190"/>
                    <a:pt x="69" y="190"/>
                  </a:cubicBezTo>
                  <a:cubicBezTo>
                    <a:pt x="69" y="190"/>
                    <a:pt x="69" y="190"/>
                    <a:pt x="68" y="190"/>
                  </a:cubicBezTo>
                  <a:cubicBezTo>
                    <a:pt x="68" y="190"/>
                    <a:pt x="67" y="189"/>
                    <a:pt x="67" y="189"/>
                  </a:cubicBezTo>
                  <a:cubicBezTo>
                    <a:pt x="66" y="189"/>
                    <a:pt x="66" y="190"/>
                    <a:pt x="66" y="191"/>
                  </a:cubicBezTo>
                  <a:cubicBezTo>
                    <a:pt x="66" y="191"/>
                    <a:pt x="66" y="191"/>
                    <a:pt x="66" y="192"/>
                  </a:cubicBezTo>
                  <a:cubicBezTo>
                    <a:pt x="66" y="192"/>
                    <a:pt x="65" y="192"/>
                    <a:pt x="65" y="193"/>
                  </a:cubicBezTo>
                  <a:cubicBezTo>
                    <a:pt x="65" y="193"/>
                    <a:pt x="65" y="193"/>
                    <a:pt x="65" y="193"/>
                  </a:cubicBezTo>
                  <a:cubicBezTo>
                    <a:pt x="65" y="200"/>
                    <a:pt x="65" y="200"/>
                    <a:pt x="65" y="200"/>
                  </a:cubicBezTo>
                  <a:cubicBezTo>
                    <a:pt x="65" y="201"/>
                    <a:pt x="65" y="201"/>
                    <a:pt x="65" y="201"/>
                  </a:cubicBezTo>
                  <a:cubicBezTo>
                    <a:pt x="65" y="202"/>
                    <a:pt x="66" y="202"/>
                    <a:pt x="66" y="203"/>
                  </a:cubicBezTo>
                  <a:cubicBezTo>
                    <a:pt x="66" y="203"/>
                    <a:pt x="66" y="204"/>
                    <a:pt x="67" y="204"/>
                  </a:cubicBezTo>
                  <a:cubicBezTo>
                    <a:pt x="67" y="204"/>
                    <a:pt x="67" y="205"/>
                    <a:pt x="67" y="205"/>
                  </a:cubicBezTo>
                  <a:cubicBezTo>
                    <a:pt x="67" y="205"/>
                    <a:pt x="67" y="206"/>
                    <a:pt x="68" y="206"/>
                  </a:cubicBezTo>
                  <a:cubicBezTo>
                    <a:pt x="68" y="206"/>
                    <a:pt x="68" y="206"/>
                    <a:pt x="68" y="206"/>
                  </a:cubicBezTo>
                  <a:cubicBezTo>
                    <a:pt x="68" y="207"/>
                    <a:pt x="68" y="207"/>
                    <a:pt x="68" y="208"/>
                  </a:cubicBezTo>
                  <a:cubicBezTo>
                    <a:pt x="68" y="208"/>
                    <a:pt x="68" y="209"/>
                    <a:pt x="69" y="209"/>
                  </a:cubicBezTo>
                  <a:cubicBezTo>
                    <a:pt x="69" y="210"/>
                    <a:pt x="69" y="210"/>
                    <a:pt x="69" y="210"/>
                  </a:cubicBezTo>
                  <a:cubicBezTo>
                    <a:pt x="69" y="211"/>
                    <a:pt x="69" y="211"/>
                    <a:pt x="68" y="212"/>
                  </a:cubicBezTo>
                  <a:cubicBezTo>
                    <a:pt x="68" y="212"/>
                    <a:pt x="68" y="212"/>
                    <a:pt x="68" y="213"/>
                  </a:cubicBezTo>
                  <a:cubicBezTo>
                    <a:pt x="68" y="213"/>
                    <a:pt x="68" y="213"/>
                    <a:pt x="68" y="214"/>
                  </a:cubicBezTo>
                  <a:cubicBezTo>
                    <a:pt x="68" y="214"/>
                    <a:pt x="68" y="214"/>
                    <a:pt x="68" y="215"/>
                  </a:cubicBezTo>
                  <a:cubicBezTo>
                    <a:pt x="69" y="215"/>
                    <a:pt x="69" y="215"/>
                    <a:pt x="69" y="215"/>
                  </a:cubicBezTo>
                  <a:cubicBezTo>
                    <a:pt x="69" y="215"/>
                    <a:pt x="69" y="215"/>
                    <a:pt x="69" y="216"/>
                  </a:cubicBezTo>
                  <a:cubicBezTo>
                    <a:pt x="69" y="216"/>
                    <a:pt x="69" y="216"/>
                    <a:pt x="69" y="217"/>
                  </a:cubicBezTo>
                  <a:cubicBezTo>
                    <a:pt x="70" y="217"/>
                    <a:pt x="69" y="217"/>
                    <a:pt x="70" y="217"/>
                  </a:cubicBezTo>
                  <a:cubicBezTo>
                    <a:pt x="70" y="218"/>
                    <a:pt x="70" y="218"/>
                    <a:pt x="70" y="218"/>
                  </a:cubicBezTo>
                  <a:cubicBezTo>
                    <a:pt x="70" y="219"/>
                    <a:pt x="70" y="219"/>
                    <a:pt x="71" y="219"/>
                  </a:cubicBezTo>
                  <a:cubicBezTo>
                    <a:pt x="71" y="220"/>
                    <a:pt x="72" y="220"/>
                    <a:pt x="72" y="221"/>
                  </a:cubicBezTo>
                  <a:cubicBezTo>
                    <a:pt x="72" y="221"/>
                    <a:pt x="73" y="221"/>
                    <a:pt x="73" y="222"/>
                  </a:cubicBezTo>
                  <a:cubicBezTo>
                    <a:pt x="74" y="222"/>
                    <a:pt x="74" y="222"/>
                    <a:pt x="74" y="223"/>
                  </a:cubicBezTo>
                  <a:cubicBezTo>
                    <a:pt x="74" y="223"/>
                    <a:pt x="75" y="223"/>
                    <a:pt x="75" y="223"/>
                  </a:cubicBezTo>
                  <a:cubicBezTo>
                    <a:pt x="75" y="223"/>
                    <a:pt x="76" y="223"/>
                    <a:pt x="76" y="224"/>
                  </a:cubicBezTo>
                  <a:cubicBezTo>
                    <a:pt x="76" y="224"/>
                    <a:pt x="76" y="224"/>
                    <a:pt x="77" y="225"/>
                  </a:cubicBezTo>
                  <a:cubicBezTo>
                    <a:pt x="77" y="225"/>
                    <a:pt x="78" y="225"/>
                    <a:pt x="78" y="225"/>
                  </a:cubicBezTo>
                  <a:cubicBezTo>
                    <a:pt x="78" y="225"/>
                    <a:pt x="78" y="226"/>
                    <a:pt x="78" y="226"/>
                  </a:cubicBezTo>
                  <a:cubicBezTo>
                    <a:pt x="79" y="226"/>
                    <a:pt x="79" y="226"/>
                    <a:pt x="79" y="226"/>
                  </a:cubicBezTo>
                  <a:cubicBezTo>
                    <a:pt x="80" y="226"/>
                    <a:pt x="81" y="226"/>
                    <a:pt x="82" y="226"/>
                  </a:cubicBezTo>
                  <a:cubicBezTo>
                    <a:pt x="82" y="226"/>
                    <a:pt x="83" y="226"/>
                    <a:pt x="83" y="226"/>
                  </a:cubicBezTo>
                  <a:cubicBezTo>
                    <a:pt x="84" y="226"/>
                    <a:pt x="84" y="226"/>
                    <a:pt x="84" y="226"/>
                  </a:cubicBezTo>
                  <a:cubicBezTo>
                    <a:pt x="85" y="225"/>
                    <a:pt x="85" y="226"/>
                    <a:pt x="86" y="226"/>
                  </a:cubicBezTo>
                  <a:cubicBezTo>
                    <a:pt x="86" y="226"/>
                    <a:pt x="86" y="226"/>
                    <a:pt x="86" y="226"/>
                  </a:cubicBezTo>
                  <a:cubicBezTo>
                    <a:pt x="86" y="227"/>
                    <a:pt x="87" y="227"/>
                    <a:pt x="87" y="227"/>
                  </a:cubicBezTo>
                  <a:cubicBezTo>
                    <a:pt x="87" y="227"/>
                    <a:pt x="88" y="227"/>
                    <a:pt x="88" y="227"/>
                  </a:cubicBezTo>
                  <a:cubicBezTo>
                    <a:pt x="88" y="228"/>
                    <a:pt x="88" y="228"/>
                    <a:pt x="88" y="228"/>
                  </a:cubicBezTo>
                  <a:cubicBezTo>
                    <a:pt x="88" y="228"/>
                    <a:pt x="89" y="229"/>
                    <a:pt x="89" y="229"/>
                  </a:cubicBezTo>
                  <a:cubicBezTo>
                    <a:pt x="89" y="229"/>
                    <a:pt x="89" y="229"/>
                    <a:pt x="89" y="229"/>
                  </a:cubicBezTo>
                  <a:cubicBezTo>
                    <a:pt x="89" y="230"/>
                    <a:pt x="89" y="230"/>
                    <a:pt x="89" y="230"/>
                  </a:cubicBezTo>
                  <a:cubicBezTo>
                    <a:pt x="89" y="231"/>
                    <a:pt x="89" y="231"/>
                    <a:pt x="89" y="231"/>
                  </a:cubicBezTo>
                  <a:cubicBezTo>
                    <a:pt x="89" y="231"/>
                    <a:pt x="90" y="231"/>
                    <a:pt x="90" y="232"/>
                  </a:cubicBezTo>
                  <a:cubicBezTo>
                    <a:pt x="90" y="232"/>
                    <a:pt x="90" y="232"/>
                    <a:pt x="90" y="233"/>
                  </a:cubicBezTo>
                  <a:cubicBezTo>
                    <a:pt x="90" y="233"/>
                    <a:pt x="90" y="233"/>
                    <a:pt x="90" y="234"/>
                  </a:cubicBezTo>
                  <a:cubicBezTo>
                    <a:pt x="90" y="234"/>
                    <a:pt x="90" y="234"/>
                    <a:pt x="89" y="234"/>
                  </a:cubicBezTo>
                  <a:cubicBezTo>
                    <a:pt x="89" y="237"/>
                    <a:pt x="89" y="237"/>
                    <a:pt x="89" y="237"/>
                  </a:cubicBezTo>
                  <a:cubicBezTo>
                    <a:pt x="89" y="237"/>
                    <a:pt x="89" y="237"/>
                    <a:pt x="89" y="238"/>
                  </a:cubicBezTo>
                  <a:cubicBezTo>
                    <a:pt x="89" y="238"/>
                    <a:pt x="89" y="238"/>
                    <a:pt x="89" y="239"/>
                  </a:cubicBezTo>
                  <a:cubicBezTo>
                    <a:pt x="88" y="239"/>
                    <a:pt x="88" y="240"/>
                    <a:pt x="88" y="241"/>
                  </a:cubicBezTo>
                  <a:cubicBezTo>
                    <a:pt x="88" y="241"/>
                    <a:pt x="88" y="241"/>
                    <a:pt x="88" y="241"/>
                  </a:cubicBezTo>
                  <a:cubicBezTo>
                    <a:pt x="84" y="241"/>
                    <a:pt x="84" y="241"/>
                    <a:pt x="84" y="241"/>
                  </a:cubicBezTo>
                  <a:cubicBezTo>
                    <a:pt x="84" y="242"/>
                    <a:pt x="84" y="242"/>
                    <a:pt x="84" y="242"/>
                  </a:cubicBezTo>
                  <a:cubicBezTo>
                    <a:pt x="84" y="243"/>
                    <a:pt x="84" y="243"/>
                    <a:pt x="84" y="244"/>
                  </a:cubicBezTo>
                  <a:cubicBezTo>
                    <a:pt x="84" y="244"/>
                    <a:pt x="84" y="244"/>
                    <a:pt x="84" y="245"/>
                  </a:cubicBezTo>
                  <a:cubicBezTo>
                    <a:pt x="84" y="245"/>
                    <a:pt x="85" y="245"/>
                    <a:pt x="85" y="245"/>
                  </a:cubicBezTo>
                  <a:cubicBezTo>
                    <a:pt x="85" y="246"/>
                    <a:pt x="85" y="247"/>
                    <a:pt x="85" y="247"/>
                  </a:cubicBezTo>
                  <a:cubicBezTo>
                    <a:pt x="85" y="248"/>
                    <a:pt x="85" y="248"/>
                    <a:pt x="85" y="248"/>
                  </a:cubicBezTo>
                  <a:cubicBezTo>
                    <a:pt x="85" y="249"/>
                    <a:pt x="85" y="249"/>
                    <a:pt x="85" y="249"/>
                  </a:cubicBezTo>
                  <a:cubicBezTo>
                    <a:pt x="85" y="249"/>
                    <a:pt x="85" y="250"/>
                    <a:pt x="86" y="251"/>
                  </a:cubicBezTo>
                  <a:cubicBezTo>
                    <a:pt x="86" y="253"/>
                    <a:pt x="86" y="253"/>
                    <a:pt x="86" y="253"/>
                  </a:cubicBezTo>
                  <a:cubicBezTo>
                    <a:pt x="86" y="253"/>
                    <a:pt x="86" y="253"/>
                    <a:pt x="86" y="253"/>
                  </a:cubicBezTo>
                  <a:cubicBezTo>
                    <a:pt x="86" y="253"/>
                    <a:pt x="86" y="253"/>
                    <a:pt x="86" y="254"/>
                  </a:cubicBezTo>
                  <a:cubicBezTo>
                    <a:pt x="86" y="254"/>
                    <a:pt x="86" y="255"/>
                    <a:pt x="87" y="255"/>
                  </a:cubicBezTo>
                  <a:cubicBezTo>
                    <a:pt x="87" y="255"/>
                    <a:pt x="87" y="255"/>
                    <a:pt x="87" y="255"/>
                  </a:cubicBezTo>
                  <a:cubicBezTo>
                    <a:pt x="88" y="255"/>
                    <a:pt x="88" y="255"/>
                    <a:pt x="88" y="256"/>
                  </a:cubicBezTo>
                  <a:cubicBezTo>
                    <a:pt x="88" y="256"/>
                    <a:pt x="89" y="256"/>
                    <a:pt x="89" y="257"/>
                  </a:cubicBezTo>
                  <a:cubicBezTo>
                    <a:pt x="90" y="257"/>
                    <a:pt x="90" y="258"/>
                    <a:pt x="90" y="258"/>
                  </a:cubicBezTo>
                  <a:cubicBezTo>
                    <a:pt x="91" y="258"/>
                    <a:pt x="91" y="259"/>
                    <a:pt x="91" y="259"/>
                  </a:cubicBezTo>
                  <a:cubicBezTo>
                    <a:pt x="91" y="259"/>
                    <a:pt x="92" y="259"/>
                    <a:pt x="92" y="259"/>
                  </a:cubicBezTo>
                  <a:cubicBezTo>
                    <a:pt x="92" y="260"/>
                    <a:pt x="93" y="260"/>
                    <a:pt x="93" y="260"/>
                  </a:cubicBezTo>
                  <a:cubicBezTo>
                    <a:pt x="93" y="260"/>
                    <a:pt x="93" y="260"/>
                    <a:pt x="94" y="260"/>
                  </a:cubicBezTo>
                  <a:cubicBezTo>
                    <a:pt x="94" y="261"/>
                    <a:pt x="95" y="262"/>
                    <a:pt x="95" y="262"/>
                  </a:cubicBezTo>
                  <a:cubicBezTo>
                    <a:pt x="95" y="263"/>
                    <a:pt x="96" y="263"/>
                    <a:pt x="96" y="263"/>
                  </a:cubicBezTo>
                  <a:cubicBezTo>
                    <a:pt x="96" y="264"/>
                    <a:pt x="96" y="264"/>
                    <a:pt x="96" y="264"/>
                  </a:cubicBezTo>
                  <a:cubicBezTo>
                    <a:pt x="96" y="264"/>
                    <a:pt x="96" y="265"/>
                    <a:pt x="97" y="265"/>
                  </a:cubicBezTo>
                  <a:cubicBezTo>
                    <a:pt x="97" y="265"/>
                    <a:pt x="97" y="265"/>
                    <a:pt x="97" y="266"/>
                  </a:cubicBezTo>
                  <a:cubicBezTo>
                    <a:pt x="97" y="266"/>
                    <a:pt x="97" y="266"/>
                    <a:pt x="97" y="266"/>
                  </a:cubicBezTo>
                  <a:cubicBezTo>
                    <a:pt x="97" y="266"/>
                    <a:pt x="97" y="266"/>
                    <a:pt x="97" y="266"/>
                  </a:cubicBezTo>
                  <a:cubicBezTo>
                    <a:pt x="97" y="266"/>
                    <a:pt x="98" y="266"/>
                    <a:pt x="98" y="267"/>
                  </a:cubicBezTo>
                  <a:cubicBezTo>
                    <a:pt x="98" y="267"/>
                    <a:pt x="98" y="267"/>
                    <a:pt x="99" y="267"/>
                  </a:cubicBezTo>
                  <a:cubicBezTo>
                    <a:pt x="99" y="267"/>
                    <a:pt x="99" y="267"/>
                    <a:pt x="99" y="267"/>
                  </a:cubicBezTo>
                  <a:cubicBezTo>
                    <a:pt x="99" y="267"/>
                    <a:pt x="99" y="267"/>
                    <a:pt x="100" y="267"/>
                  </a:cubicBezTo>
                  <a:cubicBezTo>
                    <a:pt x="100" y="268"/>
                    <a:pt x="100" y="268"/>
                    <a:pt x="100" y="268"/>
                  </a:cubicBezTo>
                  <a:cubicBezTo>
                    <a:pt x="100" y="268"/>
                    <a:pt x="100" y="268"/>
                    <a:pt x="100" y="269"/>
                  </a:cubicBezTo>
                  <a:cubicBezTo>
                    <a:pt x="101" y="269"/>
                    <a:pt x="101" y="270"/>
                    <a:pt x="101" y="270"/>
                  </a:cubicBezTo>
                  <a:cubicBezTo>
                    <a:pt x="101" y="271"/>
                    <a:pt x="101" y="271"/>
                    <a:pt x="101" y="271"/>
                  </a:cubicBezTo>
                  <a:cubicBezTo>
                    <a:pt x="101" y="272"/>
                    <a:pt x="101" y="272"/>
                    <a:pt x="101" y="273"/>
                  </a:cubicBezTo>
                  <a:cubicBezTo>
                    <a:pt x="102" y="273"/>
                    <a:pt x="102" y="273"/>
                    <a:pt x="102" y="274"/>
                  </a:cubicBezTo>
                  <a:cubicBezTo>
                    <a:pt x="103" y="274"/>
                    <a:pt x="103" y="275"/>
                    <a:pt x="103" y="275"/>
                  </a:cubicBezTo>
                  <a:cubicBezTo>
                    <a:pt x="104" y="275"/>
                    <a:pt x="104" y="276"/>
                    <a:pt x="105" y="276"/>
                  </a:cubicBezTo>
                  <a:cubicBezTo>
                    <a:pt x="105" y="276"/>
                    <a:pt x="106" y="277"/>
                    <a:pt x="106" y="278"/>
                  </a:cubicBezTo>
                  <a:cubicBezTo>
                    <a:pt x="106" y="278"/>
                    <a:pt x="106" y="278"/>
                    <a:pt x="106" y="278"/>
                  </a:cubicBezTo>
                  <a:cubicBezTo>
                    <a:pt x="106" y="279"/>
                    <a:pt x="106" y="279"/>
                    <a:pt x="106" y="279"/>
                  </a:cubicBezTo>
                  <a:cubicBezTo>
                    <a:pt x="107" y="279"/>
                    <a:pt x="107" y="280"/>
                    <a:pt x="107" y="280"/>
                  </a:cubicBezTo>
                  <a:cubicBezTo>
                    <a:pt x="107" y="281"/>
                    <a:pt x="107" y="281"/>
                    <a:pt x="107" y="281"/>
                  </a:cubicBezTo>
                  <a:cubicBezTo>
                    <a:pt x="108" y="282"/>
                    <a:pt x="108" y="282"/>
                    <a:pt x="109" y="282"/>
                  </a:cubicBezTo>
                  <a:cubicBezTo>
                    <a:pt x="109" y="283"/>
                    <a:pt x="110" y="282"/>
                    <a:pt x="110" y="283"/>
                  </a:cubicBezTo>
                  <a:cubicBezTo>
                    <a:pt x="111" y="283"/>
                    <a:pt x="111" y="283"/>
                    <a:pt x="111" y="283"/>
                  </a:cubicBezTo>
                  <a:cubicBezTo>
                    <a:pt x="111" y="283"/>
                    <a:pt x="111" y="283"/>
                    <a:pt x="112" y="283"/>
                  </a:cubicBezTo>
                  <a:cubicBezTo>
                    <a:pt x="112" y="284"/>
                    <a:pt x="112" y="284"/>
                    <a:pt x="113" y="284"/>
                  </a:cubicBezTo>
                  <a:cubicBezTo>
                    <a:pt x="113" y="285"/>
                    <a:pt x="113" y="285"/>
                    <a:pt x="113" y="285"/>
                  </a:cubicBezTo>
                  <a:cubicBezTo>
                    <a:pt x="113" y="286"/>
                    <a:pt x="114" y="286"/>
                    <a:pt x="114" y="286"/>
                  </a:cubicBezTo>
                  <a:cubicBezTo>
                    <a:pt x="114" y="287"/>
                    <a:pt x="114" y="287"/>
                    <a:pt x="114" y="287"/>
                  </a:cubicBezTo>
                  <a:cubicBezTo>
                    <a:pt x="115" y="288"/>
                    <a:pt x="115" y="288"/>
                    <a:pt x="115" y="288"/>
                  </a:cubicBezTo>
                  <a:cubicBezTo>
                    <a:pt x="116" y="288"/>
                    <a:pt x="116" y="288"/>
                    <a:pt x="116" y="289"/>
                  </a:cubicBezTo>
                  <a:cubicBezTo>
                    <a:pt x="117" y="289"/>
                    <a:pt x="117" y="289"/>
                    <a:pt x="117" y="289"/>
                  </a:cubicBezTo>
                  <a:cubicBezTo>
                    <a:pt x="117" y="289"/>
                    <a:pt x="117" y="289"/>
                    <a:pt x="117" y="290"/>
                  </a:cubicBezTo>
                  <a:cubicBezTo>
                    <a:pt x="118" y="290"/>
                    <a:pt x="118" y="290"/>
                    <a:pt x="118" y="290"/>
                  </a:cubicBezTo>
                  <a:cubicBezTo>
                    <a:pt x="119" y="290"/>
                    <a:pt x="119" y="290"/>
                    <a:pt x="119" y="290"/>
                  </a:cubicBezTo>
                  <a:cubicBezTo>
                    <a:pt x="119" y="291"/>
                    <a:pt x="120" y="291"/>
                    <a:pt x="120" y="291"/>
                  </a:cubicBezTo>
                  <a:cubicBezTo>
                    <a:pt x="121" y="291"/>
                    <a:pt x="121" y="291"/>
                    <a:pt x="121" y="292"/>
                  </a:cubicBezTo>
                  <a:cubicBezTo>
                    <a:pt x="121" y="292"/>
                    <a:pt x="121" y="292"/>
                    <a:pt x="121" y="292"/>
                  </a:cubicBezTo>
                  <a:cubicBezTo>
                    <a:pt x="121" y="292"/>
                    <a:pt x="121" y="293"/>
                    <a:pt x="121" y="293"/>
                  </a:cubicBezTo>
                  <a:cubicBezTo>
                    <a:pt x="122" y="293"/>
                    <a:pt x="122" y="293"/>
                    <a:pt x="122" y="293"/>
                  </a:cubicBezTo>
                  <a:cubicBezTo>
                    <a:pt x="122" y="295"/>
                    <a:pt x="122" y="295"/>
                    <a:pt x="122" y="295"/>
                  </a:cubicBezTo>
                  <a:cubicBezTo>
                    <a:pt x="122" y="296"/>
                    <a:pt x="121" y="296"/>
                    <a:pt x="121" y="296"/>
                  </a:cubicBezTo>
                  <a:cubicBezTo>
                    <a:pt x="121" y="296"/>
                    <a:pt x="121" y="297"/>
                    <a:pt x="121" y="297"/>
                  </a:cubicBezTo>
                  <a:cubicBezTo>
                    <a:pt x="121" y="298"/>
                    <a:pt x="121" y="298"/>
                    <a:pt x="121" y="299"/>
                  </a:cubicBezTo>
                  <a:cubicBezTo>
                    <a:pt x="121" y="299"/>
                    <a:pt x="121" y="299"/>
                    <a:pt x="121" y="299"/>
                  </a:cubicBezTo>
                  <a:cubicBezTo>
                    <a:pt x="121" y="299"/>
                    <a:pt x="121" y="300"/>
                    <a:pt x="121" y="300"/>
                  </a:cubicBezTo>
                  <a:cubicBezTo>
                    <a:pt x="121" y="300"/>
                    <a:pt x="122" y="300"/>
                    <a:pt x="122" y="300"/>
                  </a:cubicBezTo>
                  <a:cubicBezTo>
                    <a:pt x="122" y="300"/>
                    <a:pt x="122" y="300"/>
                    <a:pt x="122" y="300"/>
                  </a:cubicBezTo>
                  <a:cubicBezTo>
                    <a:pt x="123" y="300"/>
                    <a:pt x="123" y="301"/>
                    <a:pt x="123" y="301"/>
                  </a:cubicBezTo>
                  <a:cubicBezTo>
                    <a:pt x="123" y="301"/>
                    <a:pt x="123" y="301"/>
                    <a:pt x="124" y="301"/>
                  </a:cubicBezTo>
                  <a:cubicBezTo>
                    <a:pt x="124" y="301"/>
                    <a:pt x="124" y="302"/>
                    <a:pt x="124" y="302"/>
                  </a:cubicBezTo>
                  <a:cubicBezTo>
                    <a:pt x="124" y="302"/>
                    <a:pt x="125" y="302"/>
                    <a:pt x="125" y="302"/>
                  </a:cubicBezTo>
                  <a:cubicBezTo>
                    <a:pt x="125" y="302"/>
                    <a:pt x="126" y="303"/>
                    <a:pt x="126" y="303"/>
                  </a:cubicBezTo>
                  <a:cubicBezTo>
                    <a:pt x="127" y="303"/>
                    <a:pt x="127" y="303"/>
                    <a:pt x="128" y="304"/>
                  </a:cubicBezTo>
                  <a:cubicBezTo>
                    <a:pt x="128" y="304"/>
                    <a:pt x="129" y="304"/>
                    <a:pt x="129" y="304"/>
                  </a:cubicBezTo>
                  <a:cubicBezTo>
                    <a:pt x="129" y="309"/>
                    <a:pt x="129" y="309"/>
                    <a:pt x="129" y="309"/>
                  </a:cubicBezTo>
                  <a:cubicBezTo>
                    <a:pt x="129" y="309"/>
                    <a:pt x="129" y="309"/>
                    <a:pt x="130" y="309"/>
                  </a:cubicBezTo>
                  <a:cubicBezTo>
                    <a:pt x="129" y="310"/>
                    <a:pt x="129" y="310"/>
                    <a:pt x="129" y="310"/>
                  </a:cubicBezTo>
                  <a:cubicBezTo>
                    <a:pt x="129" y="312"/>
                    <a:pt x="129" y="312"/>
                    <a:pt x="129" y="312"/>
                  </a:cubicBezTo>
                  <a:cubicBezTo>
                    <a:pt x="129" y="313"/>
                    <a:pt x="129" y="313"/>
                    <a:pt x="129" y="313"/>
                  </a:cubicBezTo>
                  <a:cubicBezTo>
                    <a:pt x="129" y="313"/>
                    <a:pt x="129" y="314"/>
                    <a:pt x="129" y="314"/>
                  </a:cubicBezTo>
                  <a:cubicBezTo>
                    <a:pt x="129" y="314"/>
                    <a:pt x="130" y="314"/>
                    <a:pt x="130" y="315"/>
                  </a:cubicBezTo>
                  <a:cubicBezTo>
                    <a:pt x="130" y="315"/>
                    <a:pt x="130" y="316"/>
                    <a:pt x="130" y="317"/>
                  </a:cubicBezTo>
                  <a:cubicBezTo>
                    <a:pt x="131" y="317"/>
                    <a:pt x="131" y="318"/>
                    <a:pt x="130" y="318"/>
                  </a:cubicBezTo>
                  <a:cubicBezTo>
                    <a:pt x="130" y="319"/>
                    <a:pt x="129" y="319"/>
                    <a:pt x="130" y="319"/>
                  </a:cubicBezTo>
                  <a:cubicBezTo>
                    <a:pt x="130" y="319"/>
                    <a:pt x="130" y="319"/>
                    <a:pt x="130" y="319"/>
                  </a:cubicBezTo>
                  <a:cubicBezTo>
                    <a:pt x="130" y="320"/>
                    <a:pt x="130" y="320"/>
                    <a:pt x="130" y="320"/>
                  </a:cubicBezTo>
                  <a:cubicBezTo>
                    <a:pt x="130" y="320"/>
                    <a:pt x="130" y="321"/>
                    <a:pt x="130" y="321"/>
                  </a:cubicBezTo>
                  <a:cubicBezTo>
                    <a:pt x="131" y="321"/>
                    <a:pt x="131" y="321"/>
                    <a:pt x="131" y="322"/>
                  </a:cubicBezTo>
                  <a:cubicBezTo>
                    <a:pt x="131" y="322"/>
                    <a:pt x="131" y="322"/>
                    <a:pt x="131" y="322"/>
                  </a:cubicBezTo>
                  <a:cubicBezTo>
                    <a:pt x="131" y="323"/>
                    <a:pt x="130" y="322"/>
                    <a:pt x="130" y="323"/>
                  </a:cubicBezTo>
                  <a:cubicBezTo>
                    <a:pt x="130" y="323"/>
                    <a:pt x="130" y="324"/>
                    <a:pt x="130" y="324"/>
                  </a:cubicBezTo>
                  <a:cubicBezTo>
                    <a:pt x="130" y="324"/>
                    <a:pt x="131" y="325"/>
                    <a:pt x="130" y="325"/>
                  </a:cubicBezTo>
                  <a:cubicBezTo>
                    <a:pt x="130" y="325"/>
                    <a:pt x="130" y="326"/>
                    <a:pt x="130" y="326"/>
                  </a:cubicBezTo>
                  <a:cubicBezTo>
                    <a:pt x="130" y="326"/>
                    <a:pt x="130" y="326"/>
                    <a:pt x="130" y="326"/>
                  </a:cubicBezTo>
                  <a:cubicBezTo>
                    <a:pt x="130" y="326"/>
                    <a:pt x="130" y="326"/>
                    <a:pt x="130" y="326"/>
                  </a:cubicBezTo>
                  <a:cubicBezTo>
                    <a:pt x="130" y="326"/>
                    <a:pt x="130" y="326"/>
                    <a:pt x="130" y="326"/>
                  </a:cubicBezTo>
                  <a:cubicBezTo>
                    <a:pt x="129" y="327"/>
                    <a:pt x="129" y="327"/>
                    <a:pt x="129" y="327"/>
                  </a:cubicBezTo>
                  <a:cubicBezTo>
                    <a:pt x="129" y="328"/>
                    <a:pt x="129" y="328"/>
                    <a:pt x="130" y="328"/>
                  </a:cubicBezTo>
                  <a:cubicBezTo>
                    <a:pt x="130" y="328"/>
                    <a:pt x="131" y="328"/>
                    <a:pt x="131" y="328"/>
                  </a:cubicBezTo>
                  <a:cubicBezTo>
                    <a:pt x="131" y="329"/>
                    <a:pt x="131" y="329"/>
                    <a:pt x="131" y="329"/>
                  </a:cubicBezTo>
                  <a:cubicBezTo>
                    <a:pt x="131" y="329"/>
                    <a:pt x="132" y="329"/>
                    <a:pt x="132" y="329"/>
                  </a:cubicBezTo>
                  <a:cubicBezTo>
                    <a:pt x="132" y="329"/>
                    <a:pt x="132" y="329"/>
                    <a:pt x="132" y="329"/>
                  </a:cubicBezTo>
                  <a:cubicBezTo>
                    <a:pt x="132" y="329"/>
                    <a:pt x="132" y="329"/>
                    <a:pt x="132" y="329"/>
                  </a:cubicBezTo>
                  <a:cubicBezTo>
                    <a:pt x="133" y="329"/>
                    <a:pt x="133" y="329"/>
                    <a:pt x="133" y="329"/>
                  </a:cubicBezTo>
                  <a:cubicBezTo>
                    <a:pt x="134" y="330"/>
                    <a:pt x="134" y="330"/>
                    <a:pt x="134" y="331"/>
                  </a:cubicBezTo>
                  <a:cubicBezTo>
                    <a:pt x="134" y="331"/>
                    <a:pt x="135" y="331"/>
                    <a:pt x="135" y="332"/>
                  </a:cubicBezTo>
                  <a:cubicBezTo>
                    <a:pt x="134" y="332"/>
                    <a:pt x="134" y="332"/>
                    <a:pt x="134" y="332"/>
                  </a:cubicBezTo>
                  <a:cubicBezTo>
                    <a:pt x="135" y="332"/>
                    <a:pt x="135" y="332"/>
                    <a:pt x="135" y="332"/>
                  </a:cubicBezTo>
                  <a:cubicBezTo>
                    <a:pt x="135" y="332"/>
                    <a:pt x="135" y="332"/>
                    <a:pt x="135" y="333"/>
                  </a:cubicBezTo>
                  <a:cubicBezTo>
                    <a:pt x="135" y="333"/>
                    <a:pt x="136" y="333"/>
                    <a:pt x="136" y="333"/>
                  </a:cubicBezTo>
                  <a:cubicBezTo>
                    <a:pt x="136" y="333"/>
                    <a:pt x="136" y="333"/>
                    <a:pt x="136" y="332"/>
                  </a:cubicBezTo>
                  <a:cubicBezTo>
                    <a:pt x="137" y="332"/>
                    <a:pt x="137" y="332"/>
                    <a:pt x="138" y="332"/>
                  </a:cubicBezTo>
                  <a:cubicBezTo>
                    <a:pt x="138" y="332"/>
                    <a:pt x="139" y="332"/>
                    <a:pt x="139" y="332"/>
                  </a:cubicBezTo>
                  <a:cubicBezTo>
                    <a:pt x="140" y="332"/>
                    <a:pt x="140" y="332"/>
                    <a:pt x="140" y="332"/>
                  </a:cubicBezTo>
                  <a:cubicBezTo>
                    <a:pt x="141" y="332"/>
                    <a:pt x="141" y="332"/>
                    <a:pt x="141" y="332"/>
                  </a:cubicBezTo>
                  <a:cubicBezTo>
                    <a:pt x="141" y="332"/>
                    <a:pt x="142" y="332"/>
                    <a:pt x="142" y="332"/>
                  </a:cubicBezTo>
                  <a:cubicBezTo>
                    <a:pt x="151" y="332"/>
                    <a:pt x="151" y="332"/>
                    <a:pt x="151" y="332"/>
                  </a:cubicBezTo>
                  <a:cubicBezTo>
                    <a:pt x="151" y="332"/>
                    <a:pt x="152" y="332"/>
                    <a:pt x="152" y="332"/>
                  </a:cubicBezTo>
                  <a:cubicBezTo>
                    <a:pt x="152" y="333"/>
                    <a:pt x="152" y="333"/>
                    <a:pt x="152" y="333"/>
                  </a:cubicBezTo>
                  <a:cubicBezTo>
                    <a:pt x="153" y="334"/>
                    <a:pt x="154" y="334"/>
                    <a:pt x="155" y="334"/>
                  </a:cubicBezTo>
                  <a:cubicBezTo>
                    <a:pt x="155" y="334"/>
                    <a:pt x="156" y="335"/>
                    <a:pt x="157" y="334"/>
                  </a:cubicBezTo>
                  <a:cubicBezTo>
                    <a:pt x="159" y="334"/>
                    <a:pt x="162" y="334"/>
                    <a:pt x="164" y="334"/>
                  </a:cubicBezTo>
                  <a:cubicBezTo>
                    <a:pt x="165" y="334"/>
                    <a:pt x="167" y="334"/>
                    <a:pt x="169" y="335"/>
                  </a:cubicBezTo>
                  <a:cubicBezTo>
                    <a:pt x="169" y="336"/>
                    <a:pt x="170" y="336"/>
                    <a:pt x="171" y="337"/>
                  </a:cubicBezTo>
                  <a:cubicBezTo>
                    <a:pt x="171" y="337"/>
                    <a:pt x="172" y="337"/>
                    <a:pt x="173" y="338"/>
                  </a:cubicBezTo>
                  <a:cubicBezTo>
                    <a:pt x="174" y="338"/>
                    <a:pt x="175" y="339"/>
                    <a:pt x="176" y="341"/>
                  </a:cubicBezTo>
                  <a:cubicBezTo>
                    <a:pt x="177" y="342"/>
                    <a:pt x="177" y="343"/>
                    <a:pt x="177" y="343"/>
                  </a:cubicBezTo>
                  <a:cubicBezTo>
                    <a:pt x="178" y="344"/>
                    <a:pt x="178" y="345"/>
                    <a:pt x="179" y="345"/>
                  </a:cubicBezTo>
                  <a:cubicBezTo>
                    <a:pt x="180" y="346"/>
                    <a:pt x="181" y="347"/>
                    <a:pt x="182" y="347"/>
                  </a:cubicBezTo>
                  <a:cubicBezTo>
                    <a:pt x="183" y="348"/>
                    <a:pt x="184" y="348"/>
                    <a:pt x="185" y="348"/>
                  </a:cubicBezTo>
                  <a:cubicBezTo>
                    <a:pt x="186" y="349"/>
                    <a:pt x="187" y="349"/>
                    <a:pt x="188" y="350"/>
                  </a:cubicBezTo>
                  <a:cubicBezTo>
                    <a:pt x="188" y="350"/>
                    <a:pt x="188" y="350"/>
                    <a:pt x="188" y="350"/>
                  </a:cubicBezTo>
                  <a:cubicBezTo>
                    <a:pt x="189" y="350"/>
                    <a:pt x="189" y="350"/>
                    <a:pt x="189" y="350"/>
                  </a:cubicBezTo>
                  <a:cubicBezTo>
                    <a:pt x="190" y="351"/>
                    <a:pt x="190" y="351"/>
                    <a:pt x="191" y="351"/>
                  </a:cubicBezTo>
                  <a:cubicBezTo>
                    <a:pt x="191" y="351"/>
                    <a:pt x="192" y="351"/>
                    <a:pt x="192" y="351"/>
                  </a:cubicBezTo>
                  <a:cubicBezTo>
                    <a:pt x="193" y="351"/>
                    <a:pt x="193" y="351"/>
                    <a:pt x="193" y="351"/>
                  </a:cubicBezTo>
                  <a:cubicBezTo>
                    <a:pt x="193" y="351"/>
                    <a:pt x="193" y="351"/>
                    <a:pt x="194" y="351"/>
                  </a:cubicBezTo>
                  <a:cubicBezTo>
                    <a:pt x="194" y="350"/>
                    <a:pt x="195" y="351"/>
                    <a:pt x="195" y="351"/>
                  </a:cubicBezTo>
                  <a:cubicBezTo>
                    <a:pt x="195" y="351"/>
                    <a:pt x="196" y="351"/>
                    <a:pt x="196" y="351"/>
                  </a:cubicBezTo>
                  <a:cubicBezTo>
                    <a:pt x="196" y="351"/>
                    <a:pt x="197" y="351"/>
                    <a:pt x="197" y="351"/>
                  </a:cubicBezTo>
                  <a:cubicBezTo>
                    <a:pt x="197" y="350"/>
                    <a:pt x="198" y="350"/>
                    <a:pt x="198" y="350"/>
                  </a:cubicBezTo>
                  <a:cubicBezTo>
                    <a:pt x="199" y="350"/>
                    <a:pt x="199" y="350"/>
                    <a:pt x="199" y="350"/>
                  </a:cubicBezTo>
                  <a:cubicBezTo>
                    <a:pt x="199" y="349"/>
                    <a:pt x="200" y="350"/>
                    <a:pt x="200" y="350"/>
                  </a:cubicBezTo>
                  <a:cubicBezTo>
                    <a:pt x="201" y="350"/>
                    <a:pt x="201" y="350"/>
                    <a:pt x="202" y="350"/>
                  </a:cubicBezTo>
                  <a:cubicBezTo>
                    <a:pt x="202" y="350"/>
                    <a:pt x="202" y="350"/>
                    <a:pt x="203" y="350"/>
                  </a:cubicBezTo>
                  <a:cubicBezTo>
                    <a:pt x="203" y="351"/>
                    <a:pt x="203" y="351"/>
                    <a:pt x="204" y="351"/>
                  </a:cubicBezTo>
                  <a:cubicBezTo>
                    <a:pt x="204" y="352"/>
                    <a:pt x="204" y="352"/>
                    <a:pt x="205" y="352"/>
                  </a:cubicBezTo>
                  <a:cubicBezTo>
                    <a:pt x="205" y="353"/>
                    <a:pt x="205" y="354"/>
                    <a:pt x="205" y="354"/>
                  </a:cubicBezTo>
                  <a:cubicBezTo>
                    <a:pt x="206" y="355"/>
                    <a:pt x="206" y="355"/>
                    <a:pt x="206" y="355"/>
                  </a:cubicBezTo>
                  <a:cubicBezTo>
                    <a:pt x="206" y="355"/>
                    <a:pt x="206" y="356"/>
                    <a:pt x="206" y="356"/>
                  </a:cubicBezTo>
                  <a:cubicBezTo>
                    <a:pt x="206" y="357"/>
                    <a:pt x="207" y="357"/>
                    <a:pt x="207" y="357"/>
                  </a:cubicBezTo>
                  <a:cubicBezTo>
                    <a:pt x="207" y="359"/>
                    <a:pt x="206" y="360"/>
                    <a:pt x="207" y="361"/>
                  </a:cubicBezTo>
                  <a:cubicBezTo>
                    <a:pt x="207" y="362"/>
                    <a:pt x="207" y="362"/>
                    <a:pt x="207" y="362"/>
                  </a:cubicBezTo>
                  <a:cubicBezTo>
                    <a:pt x="208" y="363"/>
                    <a:pt x="208" y="362"/>
                    <a:pt x="209" y="363"/>
                  </a:cubicBezTo>
                  <a:cubicBezTo>
                    <a:pt x="209" y="363"/>
                    <a:pt x="209" y="363"/>
                    <a:pt x="210" y="363"/>
                  </a:cubicBezTo>
                  <a:cubicBezTo>
                    <a:pt x="210" y="363"/>
                    <a:pt x="211" y="363"/>
                    <a:pt x="211" y="363"/>
                  </a:cubicBezTo>
                  <a:cubicBezTo>
                    <a:pt x="212" y="363"/>
                    <a:pt x="212" y="362"/>
                    <a:pt x="213" y="362"/>
                  </a:cubicBezTo>
                  <a:cubicBezTo>
                    <a:pt x="214" y="362"/>
                    <a:pt x="215" y="362"/>
                    <a:pt x="216" y="362"/>
                  </a:cubicBezTo>
                  <a:cubicBezTo>
                    <a:pt x="216" y="363"/>
                    <a:pt x="217" y="363"/>
                    <a:pt x="217" y="363"/>
                  </a:cubicBezTo>
                  <a:cubicBezTo>
                    <a:pt x="218" y="363"/>
                    <a:pt x="218" y="363"/>
                    <a:pt x="219" y="363"/>
                  </a:cubicBezTo>
                  <a:cubicBezTo>
                    <a:pt x="219" y="363"/>
                    <a:pt x="220" y="365"/>
                    <a:pt x="220" y="366"/>
                  </a:cubicBezTo>
                  <a:cubicBezTo>
                    <a:pt x="221" y="366"/>
                    <a:pt x="225" y="369"/>
                    <a:pt x="226" y="370"/>
                  </a:cubicBezTo>
                  <a:cubicBezTo>
                    <a:pt x="228" y="371"/>
                    <a:pt x="239" y="381"/>
                    <a:pt x="239" y="381"/>
                  </a:cubicBezTo>
                  <a:cubicBezTo>
                    <a:pt x="241" y="383"/>
                    <a:pt x="243" y="387"/>
                    <a:pt x="244" y="388"/>
                  </a:cubicBezTo>
                  <a:cubicBezTo>
                    <a:pt x="244" y="390"/>
                    <a:pt x="245" y="392"/>
                    <a:pt x="245" y="393"/>
                  </a:cubicBezTo>
                  <a:cubicBezTo>
                    <a:pt x="246" y="395"/>
                    <a:pt x="246" y="397"/>
                    <a:pt x="246" y="397"/>
                  </a:cubicBezTo>
                  <a:cubicBezTo>
                    <a:pt x="246" y="398"/>
                    <a:pt x="246" y="401"/>
                    <a:pt x="246" y="402"/>
                  </a:cubicBezTo>
                  <a:cubicBezTo>
                    <a:pt x="246" y="402"/>
                    <a:pt x="246" y="404"/>
                    <a:pt x="246" y="404"/>
                  </a:cubicBezTo>
                  <a:cubicBezTo>
                    <a:pt x="247" y="405"/>
                    <a:pt x="248" y="404"/>
                    <a:pt x="249" y="405"/>
                  </a:cubicBezTo>
                  <a:cubicBezTo>
                    <a:pt x="250" y="405"/>
                    <a:pt x="250" y="406"/>
                    <a:pt x="250" y="406"/>
                  </a:cubicBezTo>
                  <a:cubicBezTo>
                    <a:pt x="251" y="406"/>
                    <a:pt x="251" y="408"/>
                    <a:pt x="251" y="409"/>
                  </a:cubicBezTo>
                  <a:cubicBezTo>
                    <a:pt x="251" y="410"/>
                    <a:pt x="251" y="412"/>
                    <a:pt x="251" y="412"/>
                  </a:cubicBezTo>
                  <a:cubicBezTo>
                    <a:pt x="334" y="404"/>
                    <a:pt x="334" y="404"/>
                    <a:pt x="334" y="404"/>
                  </a:cubicBezTo>
                  <a:cubicBezTo>
                    <a:pt x="339" y="404"/>
                    <a:pt x="339" y="404"/>
                    <a:pt x="339" y="404"/>
                  </a:cubicBezTo>
                  <a:lnTo>
                    <a:pt x="340" y="403"/>
                  </a:lnTo>
                  <a:close/>
                </a:path>
              </a:pathLst>
            </a:custGeom>
            <a:solidFill>
              <a:srgbClr val="C0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0" name="Freeform 53">
              <a:extLst>
                <a:ext uri="{FF2B5EF4-FFF2-40B4-BE49-F238E27FC236}">
                  <a16:creationId xmlns:a16="http://schemas.microsoft.com/office/drawing/2014/main" id="{5550DF91-B5C3-2279-357A-DC944F855F3F}"/>
                </a:ext>
              </a:extLst>
            </p:cNvPr>
            <p:cNvSpPr>
              <a:spLocks/>
            </p:cNvSpPr>
            <p:nvPr/>
          </p:nvSpPr>
          <p:spPr bwMode="auto">
            <a:xfrm>
              <a:off x="6638711" y="3304335"/>
              <a:ext cx="682361" cy="578272"/>
            </a:xfrm>
            <a:custGeom>
              <a:avLst/>
              <a:gdLst>
                <a:gd name="T0" fmla="*/ 118 w 172"/>
                <a:gd name="T1" fmla="*/ 142 h 146"/>
                <a:gd name="T2" fmla="*/ 121 w 172"/>
                <a:gd name="T3" fmla="*/ 139 h 146"/>
                <a:gd name="T4" fmla="*/ 121 w 172"/>
                <a:gd name="T5" fmla="*/ 135 h 146"/>
                <a:gd name="T6" fmla="*/ 120 w 172"/>
                <a:gd name="T7" fmla="*/ 132 h 146"/>
                <a:gd name="T8" fmla="*/ 121 w 172"/>
                <a:gd name="T9" fmla="*/ 130 h 146"/>
                <a:gd name="T10" fmla="*/ 119 w 172"/>
                <a:gd name="T11" fmla="*/ 129 h 146"/>
                <a:gd name="T12" fmla="*/ 118 w 172"/>
                <a:gd name="T13" fmla="*/ 127 h 146"/>
                <a:gd name="T14" fmla="*/ 117 w 172"/>
                <a:gd name="T15" fmla="*/ 123 h 146"/>
                <a:gd name="T16" fmla="*/ 118 w 172"/>
                <a:gd name="T17" fmla="*/ 119 h 146"/>
                <a:gd name="T18" fmla="*/ 122 w 172"/>
                <a:gd name="T19" fmla="*/ 119 h 146"/>
                <a:gd name="T20" fmla="*/ 120 w 172"/>
                <a:gd name="T21" fmla="*/ 117 h 146"/>
                <a:gd name="T22" fmla="*/ 124 w 172"/>
                <a:gd name="T23" fmla="*/ 115 h 146"/>
                <a:gd name="T24" fmla="*/ 123 w 172"/>
                <a:gd name="T25" fmla="*/ 113 h 146"/>
                <a:gd name="T26" fmla="*/ 124 w 172"/>
                <a:gd name="T27" fmla="*/ 109 h 146"/>
                <a:gd name="T28" fmla="*/ 122 w 172"/>
                <a:gd name="T29" fmla="*/ 107 h 146"/>
                <a:gd name="T30" fmla="*/ 125 w 172"/>
                <a:gd name="T31" fmla="*/ 106 h 146"/>
                <a:gd name="T32" fmla="*/ 126 w 172"/>
                <a:gd name="T33" fmla="*/ 105 h 146"/>
                <a:gd name="T34" fmla="*/ 127 w 172"/>
                <a:gd name="T35" fmla="*/ 99 h 146"/>
                <a:gd name="T36" fmla="*/ 129 w 172"/>
                <a:gd name="T37" fmla="*/ 98 h 146"/>
                <a:gd name="T38" fmla="*/ 131 w 172"/>
                <a:gd name="T39" fmla="*/ 95 h 146"/>
                <a:gd name="T40" fmla="*/ 133 w 172"/>
                <a:gd name="T41" fmla="*/ 91 h 146"/>
                <a:gd name="T42" fmla="*/ 137 w 172"/>
                <a:gd name="T43" fmla="*/ 91 h 146"/>
                <a:gd name="T44" fmla="*/ 139 w 172"/>
                <a:gd name="T45" fmla="*/ 84 h 146"/>
                <a:gd name="T46" fmla="*/ 139 w 172"/>
                <a:gd name="T47" fmla="*/ 78 h 146"/>
                <a:gd name="T48" fmla="*/ 142 w 172"/>
                <a:gd name="T49" fmla="*/ 79 h 146"/>
                <a:gd name="T50" fmla="*/ 140 w 172"/>
                <a:gd name="T51" fmla="*/ 73 h 146"/>
                <a:gd name="T52" fmla="*/ 144 w 172"/>
                <a:gd name="T53" fmla="*/ 74 h 146"/>
                <a:gd name="T54" fmla="*/ 144 w 172"/>
                <a:gd name="T55" fmla="*/ 70 h 146"/>
                <a:gd name="T56" fmla="*/ 150 w 172"/>
                <a:gd name="T57" fmla="*/ 67 h 146"/>
                <a:gd name="T58" fmla="*/ 154 w 172"/>
                <a:gd name="T59" fmla="*/ 58 h 146"/>
                <a:gd name="T60" fmla="*/ 156 w 172"/>
                <a:gd name="T61" fmla="*/ 55 h 146"/>
                <a:gd name="T62" fmla="*/ 154 w 172"/>
                <a:gd name="T63" fmla="*/ 51 h 146"/>
                <a:gd name="T64" fmla="*/ 157 w 172"/>
                <a:gd name="T65" fmla="*/ 48 h 146"/>
                <a:gd name="T66" fmla="*/ 153 w 172"/>
                <a:gd name="T67" fmla="*/ 47 h 146"/>
                <a:gd name="T68" fmla="*/ 157 w 172"/>
                <a:gd name="T69" fmla="*/ 45 h 146"/>
                <a:gd name="T70" fmla="*/ 158 w 172"/>
                <a:gd name="T71" fmla="*/ 41 h 146"/>
                <a:gd name="T72" fmla="*/ 162 w 172"/>
                <a:gd name="T73" fmla="*/ 40 h 146"/>
                <a:gd name="T74" fmla="*/ 164 w 172"/>
                <a:gd name="T75" fmla="*/ 35 h 146"/>
                <a:gd name="T76" fmla="*/ 163 w 172"/>
                <a:gd name="T77" fmla="*/ 32 h 146"/>
                <a:gd name="T78" fmla="*/ 168 w 172"/>
                <a:gd name="T79" fmla="*/ 29 h 146"/>
                <a:gd name="T80" fmla="*/ 169 w 172"/>
                <a:gd name="T81" fmla="*/ 25 h 146"/>
                <a:gd name="T82" fmla="*/ 169 w 172"/>
                <a:gd name="T83" fmla="*/ 21 h 146"/>
                <a:gd name="T84" fmla="*/ 153 w 172"/>
                <a:gd name="T85" fmla="*/ 12 h 146"/>
                <a:gd name="T86" fmla="*/ 154 w 172"/>
                <a:gd name="T87" fmla="*/ 0 h 146"/>
                <a:gd name="T88" fmla="*/ 5 w 172"/>
                <a:gd name="T89" fmla="*/ 120 h 146"/>
                <a:gd name="T90" fmla="*/ 8 w 172"/>
                <a:gd name="T91" fmla="*/ 123 h 146"/>
                <a:gd name="T92" fmla="*/ 9 w 172"/>
                <a:gd name="T93" fmla="*/ 124 h 146"/>
                <a:gd name="T94" fmla="*/ 12 w 172"/>
                <a:gd name="T95" fmla="*/ 123 h 146"/>
                <a:gd name="T96" fmla="*/ 16 w 172"/>
                <a:gd name="T97" fmla="*/ 123 h 146"/>
                <a:gd name="T98" fmla="*/ 19 w 172"/>
                <a:gd name="T99" fmla="*/ 124 h 146"/>
                <a:gd name="T100" fmla="*/ 120 w 172"/>
                <a:gd name="T101" fmla="*/ 14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2" h="146">
                  <a:moveTo>
                    <a:pt x="120" y="144"/>
                  </a:moveTo>
                  <a:cubicBezTo>
                    <a:pt x="120" y="144"/>
                    <a:pt x="119" y="144"/>
                    <a:pt x="119" y="144"/>
                  </a:cubicBezTo>
                  <a:cubicBezTo>
                    <a:pt x="119" y="143"/>
                    <a:pt x="119" y="143"/>
                    <a:pt x="118" y="143"/>
                  </a:cubicBezTo>
                  <a:cubicBezTo>
                    <a:pt x="118" y="143"/>
                    <a:pt x="118" y="142"/>
                    <a:pt x="118" y="142"/>
                  </a:cubicBezTo>
                  <a:cubicBezTo>
                    <a:pt x="118" y="142"/>
                    <a:pt x="119" y="141"/>
                    <a:pt x="120" y="141"/>
                  </a:cubicBezTo>
                  <a:cubicBezTo>
                    <a:pt x="120" y="141"/>
                    <a:pt x="121" y="141"/>
                    <a:pt x="122" y="141"/>
                  </a:cubicBezTo>
                  <a:cubicBezTo>
                    <a:pt x="122" y="141"/>
                    <a:pt x="122" y="140"/>
                    <a:pt x="122" y="140"/>
                  </a:cubicBezTo>
                  <a:cubicBezTo>
                    <a:pt x="122" y="140"/>
                    <a:pt x="122" y="139"/>
                    <a:pt x="121" y="139"/>
                  </a:cubicBezTo>
                  <a:cubicBezTo>
                    <a:pt x="121" y="138"/>
                    <a:pt x="121" y="138"/>
                    <a:pt x="122" y="137"/>
                  </a:cubicBezTo>
                  <a:cubicBezTo>
                    <a:pt x="122" y="137"/>
                    <a:pt x="123" y="137"/>
                    <a:pt x="123" y="136"/>
                  </a:cubicBezTo>
                  <a:cubicBezTo>
                    <a:pt x="123" y="136"/>
                    <a:pt x="123" y="136"/>
                    <a:pt x="122" y="135"/>
                  </a:cubicBezTo>
                  <a:cubicBezTo>
                    <a:pt x="122" y="135"/>
                    <a:pt x="122" y="135"/>
                    <a:pt x="121" y="135"/>
                  </a:cubicBezTo>
                  <a:cubicBezTo>
                    <a:pt x="121" y="135"/>
                    <a:pt x="121" y="136"/>
                    <a:pt x="121" y="136"/>
                  </a:cubicBezTo>
                  <a:cubicBezTo>
                    <a:pt x="121" y="136"/>
                    <a:pt x="120" y="136"/>
                    <a:pt x="120" y="136"/>
                  </a:cubicBezTo>
                  <a:cubicBezTo>
                    <a:pt x="120" y="135"/>
                    <a:pt x="120" y="134"/>
                    <a:pt x="120" y="133"/>
                  </a:cubicBezTo>
                  <a:cubicBezTo>
                    <a:pt x="120" y="132"/>
                    <a:pt x="120" y="132"/>
                    <a:pt x="120" y="132"/>
                  </a:cubicBezTo>
                  <a:cubicBezTo>
                    <a:pt x="121" y="131"/>
                    <a:pt x="122" y="130"/>
                    <a:pt x="122" y="129"/>
                  </a:cubicBezTo>
                  <a:cubicBezTo>
                    <a:pt x="122" y="129"/>
                    <a:pt x="122" y="128"/>
                    <a:pt x="122" y="128"/>
                  </a:cubicBezTo>
                  <a:cubicBezTo>
                    <a:pt x="122" y="128"/>
                    <a:pt x="121" y="128"/>
                    <a:pt x="121" y="129"/>
                  </a:cubicBezTo>
                  <a:cubicBezTo>
                    <a:pt x="121" y="129"/>
                    <a:pt x="121" y="129"/>
                    <a:pt x="121" y="130"/>
                  </a:cubicBezTo>
                  <a:cubicBezTo>
                    <a:pt x="121" y="130"/>
                    <a:pt x="120" y="130"/>
                    <a:pt x="120" y="131"/>
                  </a:cubicBezTo>
                  <a:cubicBezTo>
                    <a:pt x="120" y="131"/>
                    <a:pt x="120" y="131"/>
                    <a:pt x="119" y="131"/>
                  </a:cubicBezTo>
                  <a:cubicBezTo>
                    <a:pt x="119" y="131"/>
                    <a:pt x="118" y="131"/>
                    <a:pt x="118" y="130"/>
                  </a:cubicBezTo>
                  <a:cubicBezTo>
                    <a:pt x="118" y="130"/>
                    <a:pt x="119" y="130"/>
                    <a:pt x="119" y="129"/>
                  </a:cubicBezTo>
                  <a:cubicBezTo>
                    <a:pt x="119" y="129"/>
                    <a:pt x="120" y="129"/>
                    <a:pt x="120" y="128"/>
                  </a:cubicBezTo>
                  <a:cubicBezTo>
                    <a:pt x="120" y="128"/>
                    <a:pt x="119" y="128"/>
                    <a:pt x="119" y="128"/>
                  </a:cubicBezTo>
                  <a:cubicBezTo>
                    <a:pt x="118" y="128"/>
                    <a:pt x="117" y="129"/>
                    <a:pt x="117" y="128"/>
                  </a:cubicBezTo>
                  <a:cubicBezTo>
                    <a:pt x="116" y="128"/>
                    <a:pt x="117" y="127"/>
                    <a:pt x="118" y="127"/>
                  </a:cubicBezTo>
                  <a:cubicBezTo>
                    <a:pt x="118" y="127"/>
                    <a:pt x="119" y="127"/>
                    <a:pt x="118" y="126"/>
                  </a:cubicBezTo>
                  <a:cubicBezTo>
                    <a:pt x="118" y="126"/>
                    <a:pt x="118" y="126"/>
                    <a:pt x="118" y="125"/>
                  </a:cubicBezTo>
                  <a:cubicBezTo>
                    <a:pt x="118" y="125"/>
                    <a:pt x="117" y="125"/>
                    <a:pt x="117" y="125"/>
                  </a:cubicBezTo>
                  <a:cubicBezTo>
                    <a:pt x="117" y="124"/>
                    <a:pt x="117" y="124"/>
                    <a:pt x="117" y="123"/>
                  </a:cubicBezTo>
                  <a:cubicBezTo>
                    <a:pt x="118" y="123"/>
                    <a:pt x="118" y="123"/>
                    <a:pt x="119" y="123"/>
                  </a:cubicBezTo>
                  <a:cubicBezTo>
                    <a:pt x="119" y="122"/>
                    <a:pt x="120" y="122"/>
                    <a:pt x="120" y="122"/>
                  </a:cubicBezTo>
                  <a:cubicBezTo>
                    <a:pt x="120" y="121"/>
                    <a:pt x="119" y="121"/>
                    <a:pt x="119" y="121"/>
                  </a:cubicBezTo>
                  <a:cubicBezTo>
                    <a:pt x="119" y="120"/>
                    <a:pt x="118" y="120"/>
                    <a:pt x="118" y="119"/>
                  </a:cubicBezTo>
                  <a:cubicBezTo>
                    <a:pt x="117" y="119"/>
                    <a:pt x="118" y="117"/>
                    <a:pt x="119" y="117"/>
                  </a:cubicBezTo>
                  <a:cubicBezTo>
                    <a:pt x="120" y="117"/>
                    <a:pt x="120" y="118"/>
                    <a:pt x="120" y="118"/>
                  </a:cubicBezTo>
                  <a:cubicBezTo>
                    <a:pt x="121" y="119"/>
                    <a:pt x="121" y="119"/>
                    <a:pt x="121" y="119"/>
                  </a:cubicBezTo>
                  <a:cubicBezTo>
                    <a:pt x="122" y="119"/>
                    <a:pt x="122" y="119"/>
                    <a:pt x="122" y="119"/>
                  </a:cubicBezTo>
                  <a:cubicBezTo>
                    <a:pt x="123" y="120"/>
                    <a:pt x="124" y="119"/>
                    <a:pt x="124" y="119"/>
                  </a:cubicBezTo>
                  <a:cubicBezTo>
                    <a:pt x="124" y="118"/>
                    <a:pt x="123" y="118"/>
                    <a:pt x="123" y="118"/>
                  </a:cubicBezTo>
                  <a:cubicBezTo>
                    <a:pt x="122" y="117"/>
                    <a:pt x="122" y="117"/>
                    <a:pt x="121" y="117"/>
                  </a:cubicBezTo>
                  <a:cubicBezTo>
                    <a:pt x="121" y="117"/>
                    <a:pt x="121" y="117"/>
                    <a:pt x="120" y="117"/>
                  </a:cubicBezTo>
                  <a:cubicBezTo>
                    <a:pt x="120" y="117"/>
                    <a:pt x="120" y="116"/>
                    <a:pt x="120" y="116"/>
                  </a:cubicBezTo>
                  <a:cubicBezTo>
                    <a:pt x="120" y="116"/>
                    <a:pt x="120" y="115"/>
                    <a:pt x="120" y="115"/>
                  </a:cubicBezTo>
                  <a:cubicBezTo>
                    <a:pt x="121" y="115"/>
                    <a:pt x="122" y="114"/>
                    <a:pt x="123" y="115"/>
                  </a:cubicBezTo>
                  <a:cubicBezTo>
                    <a:pt x="123" y="115"/>
                    <a:pt x="123" y="115"/>
                    <a:pt x="124" y="115"/>
                  </a:cubicBezTo>
                  <a:cubicBezTo>
                    <a:pt x="124" y="115"/>
                    <a:pt x="124" y="115"/>
                    <a:pt x="125" y="115"/>
                  </a:cubicBezTo>
                  <a:cubicBezTo>
                    <a:pt x="125" y="115"/>
                    <a:pt x="125" y="115"/>
                    <a:pt x="125" y="114"/>
                  </a:cubicBezTo>
                  <a:cubicBezTo>
                    <a:pt x="124" y="114"/>
                    <a:pt x="124" y="114"/>
                    <a:pt x="124" y="113"/>
                  </a:cubicBezTo>
                  <a:cubicBezTo>
                    <a:pt x="124" y="113"/>
                    <a:pt x="123" y="113"/>
                    <a:pt x="123" y="113"/>
                  </a:cubicBezTo>
                  <a:cubicBezTo>
                    <a:pt x="123" y="112"/>
                    <a:pt x="123" y="112"/>
                    <a:pt x="123" y="112"/>
                  </a:cubicBezTo>
                  <a:cubicBezTo>
                    <a:pt x="123" y="111"/>
                    <a:pt x="123" y="111"/>
                    <a:pt x="123" y="111"/>
                  </a:cubicBezTo>
                  <a:cubicBezTo>
                    <a:pt x="123" y="110"/>
                    <a:pt x="124" y="110"/>
                    <a:pt x="124" y="110"/>
                  </a:cubicBezTo>
                  <a:cubicBezTo>
                    <a:pt x="124" y="109"/>
                    <a:pt x="124" y="109"/>
                    <a:pt x="124" y="109"/>
                  </a:cubicBezTo>
                  <a:cubicBezTo>
                    <a:pt x="124" y="108"/>
                    <a:pt x="124" y="108"/>
                    <a:pt x="124" y="108"/>
                  </a:cubicBezTo>
                  <a:cubicBezTo>
                    <a:pt x="124" y="108"/>
                    <a:pt x="124" y="108"/>
                    <a:pt x="123" y="108"/>
                  </a:cubicBezTo>
                  <a:cubicBezTo>
                    <a:pt x="123" y="108"/>
                    <a:pt x="123" y="108"/>
                    <a:pt x="123" y="108"/>
                  </a:cubicBezTo>
                  <a:cubicBezTo>
                    <a:pt x="122" y="107"/>
                    <a:pt x="122" y="107"/>
                    <a:pt x="122" y="107"/>
                  </a:cubicBezTo>
                  <a:cubicBezTo>
                    <a:pt x="122" y="107"/>
                    <a:pt x="122" y="107"/>
                    <a:pt x="122" y="106"/>
                  </a:cubicBezTo>
                  <a:cubicBezTo>
                    <a:pt x="122" y="106"/>
                    <a:pt x="122" y="106"/>
                    <a:pt x="122" y="105"/>
                  </a:cubicBezTo>
                  <a:cubicBezTo>
                    <a:pt x="123" y="105"/>
                    <a:pt x="124" y="106"/>
                    <a:pt x="125" y="106"/>
                  </a:cubicBezTo>
                  <a:cubicBezTo>
                    <a:pt x="125" y="106"/>
                    <a:pt x="125" y="106"/>
                    <a:pt x="125" y="106"/>
                  </a:cubicBezTo>
                  <a:cubicBezTo>
                    <a:pt x="125" y="106"/>
                    <a:pt x="125" y="106"/>
                    <a:pt x="125" y="106"/>
                  </a:cubicBezTo>
                  <a:cubicBezTo>
                    <a:pt x="126" y="107"/>
                    <a:pt x="126" y="107"/>
                    <a:pt x="126" y="106"/>
                  </a:cubicBezTo>
                  <a:cubicBezTo>
                    <a:pt x="126" y="106"/>
                    <a:pt x="126" y="106"/>
                    <a:pt x="126" y="105"/>
                  </a:cubicBezTo>
                  <a:cubicBezTo>
                    <a:pt x="125" y="105"/>
                    <a:pt x="126" y="105"/>
                    <a:pt x="126" y="105"/>
                  </a:cubicBezTo>
                  <a:cubicBezTo>
                    <a:pt x="127" y="104"/>
                    <a:pt x="128" y="105"/>
                    <a:pt x="129" y="104"/>
                  </a:cubicBezTo>
                  <a:cubicBezTo>
                    <a:pt x="129" y="104"/>
                    <a:pt x="129" y="102"/>
                    <a:pt x="129" y="102"/>
                  </a:cubicBezTo>
                  <a:cubicBezTo>
                    <a:pt x="128" y="101"/>
                    <a:pt x="127" y="101"/>
                    <a:pt x="127" y="100"/>
                  </a:cubicBezTo>
                  <a:cubicBezTo>
                    <a:pt x="126" y="100"/>
                    <a:pt x="127" y="99"/>
                    <a:pt x="127" y="99"/>
                  </a:cubicBezTo>
                  <a:cubicBezTo>
                    <a:pt x="128" y="99"/>
                    <a:pt x="128" y="99"/>
                    <a:pt x="129" y="99"/>
                  </a:cubicBezTo>
                  <a:cubicBezTo>
                    <a:pt x="129" y="99"/>
                    <a:pt x="130" y="99"/>
                    <a:pt x="130" y="99"/>
                  </a:cubicBezTo>
                  <a:cubicBezTo>
                    <a:pt x="131" y="99"/>
                    <a:pt x="131" y="99"/>
                    <a:pt x="131" y="98"/>
                  </a:cubicBezTo>
                  <a:cubicBezTo>
                    <a:pt x="131" y="98"/>
                    <a:pt x="130" y="98"/>
                    <a:pt x="129" y="98"/>
                  </a:cubicBezTo>
                  <a:cubicBezTo>
                    <a:pt x="129" y="98"/>
                    <a:pt x="127" y="97"/>
                    <a:pt x="127" y="96"/>
                  </a:cubicBezTo>
                  <a:cubicBezTo>
                    <a:pt x="127" y="96"/>
                    <a:pt x="127" y="96"/>
                    <a:pt x="127" y="95"/>
                  </a:cubicBezTo>
                  <a:cubicBezTo>
                    <a:pt x="128" y="95"/>
                    <a:pt x="128" y="96"/>
                    <a:pt x="129" y="96"/>
                  </a:cubicBezTo>
                  <a:cubicBezTo>
                    <a:pt x="130" y="96"/>
                    <a:pt x="131" y="97"/>
                    <a:pt x="131" y="95"/>
                  </a:cubicBezTo>
                  <a:cubicBezTo>
                    <a:pt x="131" y="95"/>
                    <a:pt x="131" y="95"/>
                    <a:pt x="131" y="94"/>
                  </a:cubicBezTo>
                  <a:cubicBezTo>
                    <a:pt x="131" y="94"/>
                    <a:pt x="132" y="93"/>
                    <a:pt x="132" y="93"/>
                  </a:cubicBezTo>
                  <a:cubicBezTo>
                    <a:pt x="132" y="93"/>
                    <a:pt x="133" y="93"/>
                    <a:pt x="133" y="93"/>
                  </a:cubicBezTo>
                  <a:cubicBezTo>
                    <a:pt x="134" y="92"/>
                    <a:pt x="133" y="92"/>
                    <a:pt x="133" y="91"/>
                  </a:cubicBezTo>
                  <a:cubicBezTo>
                    <a:pt x="133" y="90"/>
                    <a:pt x="135" y="90"/>
                    <a:pt x="135" y="90"/>
                  </a:cubicBezTo>
                  <a:cubicBezTo>
                    <a:pt x="136" y="90"/>
                    <a:pt x="135" y="91"/>
                    <a:pt x="136" y="92"/>
                  </a:cubicBezTo>
                  <a:cubicBezTo>
                    <a:pt x="136" y="92"/>
                    <a:pt x="136" y="93"/>
                    <a:pt x="137" y="92"/>
                  </a:cubicBezTo>
                  <a:cubicBezTo>
                    <a:pt x="137" y="92"/>
                    <a:pt x="137" y="91"/>
                    <a:pt x="137" y="91"/>
                  </a:cubicBezTo>
                  <a:cubicBezTo>
                    <a:pt x="137" y="91"/>
                    <a:pt x="137" y="90"/>
                    <a:pt x="137" y="90"/>
                  </a:cubicBezTo>
                  <a:cubicBezTo>
                    <a:pt x="137" y="90"/>
                    <a:pt x="138" y="89"/>
                    <a:pt x="138" y="89"/>
                  </a:cubicBezTo>
                  <a:cubicBezTo>
                    <a:pt x="139" y="88"/>
                    <a:pt x="140" y="88"/>
                    <a:pt x="139" y="87"/>
                  </a:cubicBezTo>
                  <a:cubicBezTo>
                    <a:pt x="139" y="86"/>
                    <a:pt x="139" y="85"/>
                    <a:pt x="139" y="84"/>
                  </a:cubicBezTo>
                  <a:cubicBezTo>
                    <a:pt x="140" y="84"/>
                    <a:pt x="140" y="83"/>
                    <a:pt x="140" y="83"/>
                  </a:cubicBezTo>
                  <a:cubicBezTo>
                    <a:pt x="140" y="83"/>
                    <a:pt x="140" y="82"/>
                    <a:pt x="140" y="82"/>
                  </a:cubicBezTo>
                  <a:cubicBezTo>
                    <a:pt x="140" y="81"/>
                    <a:pt x="140" y="81"/>
                    <a:pt x="140" y="80"/>
                  </a:cubicBezTo>
                  <a:cubicBezTo>
                    <a:pt x="139" y="79"/>
                    <a:pt x="139" y="79"/>
                    <a:pt x="139" y="78"/>
                  </a:cubicBezTo>
                  <a:cubicBezTo>
                    <a:pt x="139" y="78"/>
                    <a:pt x="139" y="77"/>
                    <a:pt x="140" y="77"/>
                  </a:cubicBezTo>
                  <a:cubicBezTo>
                    <a:pt x="140" y="77"/>
                    <a:pt x="140" y="78"/>
                    <a:pt x="140" y="78"/>
                  </a:cubicBezTo>
                  <a:cubicBezTo>
                    <a:pt x="140" y="79"/>
                    <a:pt x="141" y="79"/>
                    <a:pt x="141" y="79"/>
                  </a:cubicBezTo>
                  <a:cubicBezTo>
                    <a:pt x="142" y="79"/>
                    <a:pt x="142" y="79"/>
                    <a:pt x="142" y="79"/>
                  </a:cubicBezTo>
                  <a:cubicBezTo>
                    <a:pt x="143" y="78"/>
                    <a:pt x="143" y="78"/>
                    <a:pt x="143" y="78"/>
                  </a:cubicBezTo>
                  <a:cubicBezTo>
                    <a:pt x="143" y="78"/>
                    <a:pt x="143" y="77"/>
                    <a:pt x="143" y="77"/>
                  </a:cubicBezTo>
                  <a:cubicBezTo>
                    <a:pt x="142" y="76"/>
                    <a:pt x="141" y="76"/>
                    <a:pt x="140" y="75"/>
                  </a:cubicBezTo>
                  <a:cubicBezTo>
                    <a:pt x="140" y="74"/>
                    <a:pt x="140" y="73"/>
                    <a:pt x="140" y="73"/>
                  </a:cubicBezTo>
                  <a:cubicBezTo>
                    <a:pt x="140" y="72"/>
                    <a:pt x="140" y="72"/>
                    <a:pt x="141" y="71"/>
                  </a:cubicBezTo>
                  <a:cubicBezTo>
                    <a:pt x="141" y="72"/>
                    <a:pt x="141" y="73"/>
                    <a:pt x="141" y="73"/>
                  </a:cubicBezTo>
                  <a:cubicBezTo>
                    <a:pt x="141" y="73"/>
                    <a:pt x="141" y="74"/>
                    <a:pt x="142" y="74"/>
                  </a:cubicBezTo>
                  <a:cubicBezTo>
                    <a:pt x="142" y="75"/>
                    <a:pt x="143" y="75"/>
                    <a:pt x="144" y="74"/>
                  </a:cubicBezTo>
                  <a:cubicBezTo>
                    <a:pt x="144" y="72"/>
                    <a:pt x="143" y="71"/>
                    <a:pt x="143" y="70"/>
                  </a:cubicBezTo>
                  <a:cubicBezTo>
                    <a:pt x="143" y="70"/>
                    <a:pt x="143" y="69"/>
                    <a:pt x="143" y="69"/>
                  </a:cubicBezTo>
                  <a:cubicBezTo>
                    <a:pt x="143" y="69"/>
                    <a:pt x="143" y="68"/>
                    <a:pt x="144" y="68"/>
                  </a:cubicBezTo>
                  <a:cubicBezTo>
                    <a:pt x="144" y="69"/>
                    <a:pt x="144" y="69"/>
                    <a:pt x="144" y="70"/>
                  </a:cubicBezTo>
                  <a:cubicBezTo>
                    <a:pt x="145" y="70"/>
                    <a:pt x="145" y="70"/>
                    <a:pt x="146" y="70"/>
                  </a:cubicBezTo>
                  <a:cubicBezTo>
                    <a:pt x="147" y="70"/>
                    <a:pt x="148" y="70"/>
                    <a:pt x="149" y="69"/>
                  </a:cubicBezTo>
                  <a:cubicBezTo>
                    <a:pt x="149" y="69"/>
                    <a:pt x="149" y="69"/>
                    <a:pt x="150" y="69"/>
                  </a:cubicBezTo>
                  <a:cubicBezTo>
                    <a:pt x="150" y="68"/>
                    <a:pt x="150" y="68"/>
                    <a:pt x="150" y="67"/>
                  </a:cubicBezTo>
                  <a:cubicBezTo>
                    <a:pt x="151" y="66"/>
                    <a:pt x="151" y="66"/>
                    <a:pt x="150" y="65"/>
                  </a:cubicBezTo>
                  <a:cubicBezTo>
                    <a:pt x="150" y="64"/>
                    <a:pt x="149" y="63"/>
                    <a:pt x="149" y="62"/>
                  </a:cubicBezTo>
                  <a:cubicBezTo>
                    <a:pt x="150" y="61"/>
                    <a:pt x="152" y="62"/>
                    <a:pt x="153" y="61"/>
                  </a:cubicBezTo>
                  <a:cubicBezTo>
                    <a:pt x="153" y="61"/>
                    <a:pt x="153" y="59"/>
                    <a:pt x="154" y="58"/>
                  </a:cubicBezTo>
                  <a:cubicBezTo>
                    <a:pt x="154" y="58"/>
                    <a:pt x="155" y="58"/>
                    <a:pt x="156" y="58"/>
                  </a:cubicBezTo>
                  <a:cubicBezTo>
                    <a:pt x="156" y="58"/>
                    <a:pt x="156" y="57"/>
                    <a:pt x="156" y="57"/>
                  </a:cubicBezTo>
                  <a:cubicBezTo>
                    <a:pt x="156" y="57"/>
                    <a:pt x="156" y="56"/>
                    <a:pt x="156" y="56"/>
                  </a:cubicBezTo>
                  <a:cubicBezTo>
                    <a:pt x="156" y="56"/>
                    <a:pt x="156" y="56"/>
                    <a:pt x="156" y="55"/>
                  </a:cubicBezTo>
                  <a:cubicBezTo>
                    <a:pt x="156" y="55"/>
                    <a:pt x="156" y="55"/>
                    <a:pt x="156" y="54"/>
                  </a:cubicBezTo>
                  <a:cubicBezTo>
                    <a:pt x="156" y="54"/>
                    <a:pt x="156" y="54"/>
                    <a:pt x="155" y="54"/>
                  </a:cubicBezTo>
                  <a:cubicBezTo>
                    <a:pt x="155" y="53"/>
                    <a:pt x="154" y="53"/>
                    <a:pt x="154" y="52"/>
                  </a:cubicBezTo>
                  <a:cubicBezTo>
                    <a:pt x="154" y="52"/>
                    <a:pt x="154" y="52"/>
                    <a:pt x="154" y="51"/>
                  </a:cubicBezTo>
                  <a:cubicBezTo>
                    <a:pt x="154" y="51"/>
                    <a:pt x="155" y="51"/>
                    <a:pt x="155" y="51"/>
                  </a:cubicBezTo>
                  <a:cubicBezTo>
                    <a:pt x="155" y="51"/>
                    <a:pt x="156" y="50"/>
                    <a:pt x="156" y="50"/>
                  </a:cubicBezTo>
                  <a:cubicBezTo>
                    <a:pt x="156" y="50"/>
                    <a:pt x="156" y="49"/>
                    <a:pt x="156" y="49"/>
                  </a:cubicBezTo>
                  <a:cubicBezTo>
                    <a:pt x="156" y="49"/>
                    <a:pt x="157" y="48"/>
                    <a:pt x="157" y="48"/>
                  </a:cubicBezTo>
                  <a:cubicBezTo>
                    <a:pt x="156" y="47"/>
                    <a:pt x="156" y="47"/>
                    <a:pt x="156" y="47"/>
                  </a:cubicBezTo>
                  <a:cubicBezTo>
                    <a:pt x="156" y="47"/>
                    <a:pt x="156" y="47"/>
                    <a:pt x="156" y="46"/>
                  </a:cubicBezTo>
                  <a:cubicBezTo>
                    <a:pt x="155" y="46"/>
                    <a:pt x="155" y="47"/>
                    <a:pt x="155" y="47"/>
                  </a:cubicBezTo>
                  <a:cubicBezTo>
                    <a:pt x="154" y="47"/>
                    <a:pt x="154" y="47"/>
                    <a:pt x="153" y="47"/>
                  </a:cubicBezTo>
                  <a:cubicBezTo>
                    <a:pt x="153" y="46"/>
                    <a:pt x="154" y="46"/>
                    <a:pt x="155" y="45"/>
                  </a:cubicBezTo>
                  <a:cubicBezTo>
                    <a:pt x="155" y="44"/>
                    <a:pt x="155" y="43"/>
                    <a:pt x="157" y="43"/>
                  </a:cubicBezTo>
                  <a:cubicBezTo>
                    <a:pt x="157" y="44"/>
                    <a:pt x="157" y="44"/>
                    <a:pt x="157" y="44"/>
                  </a:cubicBezTo>
                  <a:cubicBezTo>
                    <a:pt x="157" y="45"/>
                    <a:pt x="157" y="45"/>
                    <a:pt x="157" y="45"/>
                  </a:cubicBezTo>
                  <a:cubicBezTo>
                    <a:pt x="157" y="46"/>
                    <a:pt x="157" y="46"/>
                    <a:pt x="157" y="46"/>
                  </a:cubicBezTo>
                  <a:cubicBezTo>
                    <a:pt x="157" y="46"/>
                    <a:pt x="158" y="45"/>
                    <a:pt x="158" y="45"/>
                  </a:cubicBezTo>
                  <a:cubicBezTo>
                    <a:pt x="159" y="44"/>
                    <a:pt x="159" y="44"/>
                    <a:pt x="158" y="43"/>
                  </a:cubicBezTo>
                  <a:cubicBezTo>
                    <a:pt x="158" y="42"/>
                    <a:pt x="158" y="41"/>
                    <a:pt x="158" y="41"/>
                  </a:cubicBezTo>
                  <a:cubicBezTo>
                    <a:pt x="159" y="40"/>
                    <a:pt x="159" y="40"/>
                    <a:pt x="160" y="40"/>
                  </a:cubicBezTo>
                  <a:cubicBezTo>
                    <a:pt x="160" y="40"/>
                    <a:pt x="161" y="41"/>
                    <a:pt x="161" y="41"/>
                  </a:cubicBezTo>
                  <a:cubicBezTo>
                    <a:pt x="161" y="41"/>
                    <a:pt x="162" y="41"/>
                    <a:pt x="162" y="41"/>
                  </a:cubicBezTo>
                  <a:cubicBezTo>
                    <a:pt x="162" y="41"/>
                    <a:pt x="162" y="40"/>
                    <a:pt x="162" y="40"/>
                  </a:cubicBezTo>
                  <a:cubicBezTo>
                    <a:pt x="162" y="40"/>
                    <a:pt x="161" y="40"/>
                    <a:pt x="161" y="39"/>
                  </a:cubicBezTo>
                  <a:cubicBezTo>
                    <a:pt x="161" y="38"/>
                    <a:pt x="162" y="38"/>
                    <a:pt x="163" y="38"/>
                  </a:cubicBezTo>
                  <a:cubicBezTo>
                    <a:pt x="163" y="37"/>
                    <a:pt x="164" y="37"/>
                    <a:pt x="164" y="37"/>
                  </a:cubicBezTo>
                  <a:cubicBezTo>
                    <a:pt x="164" y="36"/>
                    <a:pt x="164" y="36"/>
                    <a:pt x="164" y="35"/>
                  </a:cubicBezTo>
                  <a:cubicBezTo>
                    <a:pt x="163" y="35"/>
                    <a:pt x="163" y="35"/>
                    <a:pt x="162" y="35"/>
                  </a:cubicBezTo>
                  <a:cubicBezTo>
                    <a:pt x="162" y="35"/>
                    <a:pt x="162" y="35"/>
                    <a:pt x="161" y="34"/>
                  </a:cubicBezTo>
                  <a:cubicBezTo>
                    <a:pt x="161" y="34"/>
                    <a:pt x="161" y="33"/>
                    <a:pt x="161" y="32"/>
                  </a:cubicBezTo>
                  <a:cubicBezTo>
                    <a:pt x="162" y="31"/>
                    <a:pt x="162" y="32"/>
                    <a:pt x="163" y="32"/>
                  </a:cubicBezTo>
                  <a:cubicBezTo>
                    <a:pt x="163" y="32"/>
                    <a:pt x="164" y="32"/>
                    <a:pt x="164" y="32"/>
                  </a:cubicBezTo>
                  <a:cubicBezTo>
                    <a:pt x="165" y="32"/>
                    <a:pt x="165" y="31"/>
                    <a:pt x="165" y="31"/>
                  </a:cubicBezTo>
                  <a:cubicBezTo>
                    <a:pt x="166" y="30"/>
                    <a:pt x="166" y="30"/>
                    <a:pt x="166" y="30"/>
                  </a:cubicBezTo>
                  <a:cubicBezTo>
                    <a:pt x="167" y="29"/>
                    <a:pt x="167" y="29"/>
                    <a:pt x="168" y="29"/>
                  </a:cubicBezTo>
                  <a:cubicBezTo>
                    <a:pt x="168" y="29"/>
                    <a:pt x="169" y="29"/>
                    <a:pt x="169" y="28"/>
                  </a:cubicBezTo>
                  <a:cubicBezTo>
                    <a:pt x="169" y="28"/>
                    <a:pt x="168" y="28"/>
                    <a:pt x="168" y="28"/>
                  </a:cubicBezTo>
                  <a:cubicBezTo>
                    <a:pt x="167" y="27"/>
                    <a:pt x="167" y="26"/>
                    <a:pt x="167" y="26"/>
                  </a:cubicBezTo>
                  <a:cubicBezTo>
                    <a:pt x="168" y="25"/>
                    <a:pt x="169" y="25"/>
                    <a:pt x="169" y="25"/>
                  </a:cubicBezTo>
                  <a:cubicBezTo>
                    <a:pt x="170" y="25"/>
                    <a:pt x="170" y="25"/>
                    <a:pt x="170" y="26"/>
                  </a:cubicBezTo>
                  <a:cubicBezTo>
                    <a:pt x="171" y="26"/>
                    <a:pt x="171" y="26"/>
                    <a:pt x="171" y="26"/>
                  </a:cubicBezTo>
                  <a:cubicBezTo>
                    <a:pt x="172" y="25"/>
                    <a:pt x="171" y="25"/>
                    <a:pt x="171" y="25"/>
                  </a:cubicBezTo>
                  <a:cubicBezTo>
                    <a:pt x="171" y="24"/>
                    <a:pt x="169" y="21"/>
                    <a:pt x="169" y="21"/>
                  </a:cubicBezTo>
                  <a:cubicBezTo>
                    <a:pt x="147" y="21"/>
                    <a:pt x="147" y="21"/>
                    <a:pt x="147" y="21"/>
                  </a:cubicBezTo>
                  <a:cubicBezTo>
                    <a:pt x="147" y="20"/>
                    <a:pt x="147" y="20"/>
                    <a:pt x="147" y="20"/>
                  </a:cubicBezTo>
                  <a:cubicBezTo>
                    <a:pt x="147" y="20"/>
                    <a:pt x="150" y="16"/>
                    <a:pt x="150" y="15"/>
                  </a:cubicBezTo>
                  <a:cubicBezTo>
                    <a:pt x="150" y="15"/>
                    <a:pt x="153" y="12"/>
                    <a:pt x="153" y="12"/>
                  </a:cubicBezTo>
                  <a:cubicBezTo>
                    <a:pt x="153" y="12"/>
                    <a:pt x="157" y="9"/>
                    <a:pt x="157" y="9"/>
                  </a:cubicBezTo>
                  <a:cubicBezTo>
                    <a:pt x="157" y="4"/>
                    <a:pt x="157" y="4"/>
                    <a:pt x="157" y="4"/>
                  </a:cubicBezTo>
                  <a:cubicBezTo>
                    <a:pt x="154" y="2"/>
                    <a:pt x="154" y="2"/>
                    <a:pt x="154" y="2"/>
                  </a:cubicBezTo>
                  <a:cubicBezTo>
                    <a:pt x="154" y="0"/>
                    <a:pt x="154" y="0"/>
                    <a:pt x="154" y="0"/>
                  </a:cubicBezTo>
                  <a:cubicBezTo>
                    <a:pt x="0" y="0"/>
                    <a:pt x="0" y="0"/>
                    <a:pt x="0" y="0"/>
                  </a:cubicBezTo>
                  <a:cubicBezTo>
                    <a:pt x="6" y="43"/>
                    <a:pt x="6" y="43"/>
                    <a:pt x="6" y="43"/>
                  </a:cubicBezTo>
                  <a:cubicBezTo>
                    <a:pt x="6" y="50"/>
                    <a:pt x="6" y="50"/>
                    <a:pt x="6" y="50"/>
                  </a:cubicBezTo>
                  <a:cubicBezTo>
                    <a:pt x="5" y="120"/>
                    <a:pt x="5" y="120"/>
                    <a:pt x="5" y="120"/>
                  </a:cubicBezTo>
                  <a:cubicBezTo>
                    <a:pt x="5" y="120"/>
                    <a:pt x="6" y="121"/>
                    <a:pt x="6" y="121"/>
                  </a:cubicBezTo>
                  <a:cubicBezTo>
                    <a:pt x="5" y="122"/>
                    <a:pt x="5" y="122"/>
                    <a:pt x="5" y="122"/>
                  </a:cubicBezTo>
                  <a:cubicBezTo>
                    <a:pt x="5" y="122"/>
                    <a:pt x="6" y="123"/>
                    <a:pt x="6" y="123"/>
                  </a:cubicBezTo>
                  <a:cubicBezTo>
                    <a:pt x="7" y="123"/>
                    <a:pt x="8" y="122"/>
                    <a:pt x="8" y="123"/>
                  </a:cubicBezTo>
                  <a:cubicBezTo>
                    <a:pt x="8" y="124"/>
                    <a:pt x="7" y="124"/>
                    <a:pt x="8" y="124"/>
                  </a:cubicBezTo>
                  <a:cubicBezTo>
                    <a:pt x="8" y="124"/>
                    <a:pt x="8" y="125"/>
                    <a:pt x="9" y="124"/>
                  </a:cubicBezTo>
                  <a:cubicBezTo>
                    <a:pt x="9" y="124"/>
                    <a:pt x="9" y="124"/>
                    <a:pt x="9" y="124"/>
                  </a:cubicBezTo>
                  <a:cubicBezTo>
                    <a:pt x="9" y="124"/>
                    <a:pt x="9" y="124"/>
                    <a:pt x="9" y="124"/>
                  </a:cubicBezTo>
                  <a:cubicBezTo>
                    <a:pt x="10" y="124"/>
                    <a:pt x="10" y="123"/>
                    <a:pt x="10" y="124"/>
                  </a:cubicBezTo>
                  <a:cubicBezTo>
                    <a:pt x="11" y="123"/>
                    <a:pt x="11" y="123"/>
                    <a:pt x="11" y="123"/>
                  </a:cubicBezTo>
                  <a:cubicBezTo>
                    <a:pt x="11" y="124"/>
                    <a:pt x="12" y="124"/>
                    <a:pt x="12" y="124"/>
                  </a:cubicBezTo>
                  <a:cubicBezTo>
                    <a:pt x="12" y="124"/>
                    <a:pt x="12" y="123"/>
                    <a:pt x="12" y="123"/>
                  </a:cubicBezTo>
                  <a:cubicBezTo>
                    <a:pt x="13" y="123"/>
                    <a:pt x="13" y="123"/>
                    <a:pt x="13" y="124"/>
                  </a:cubicBezTo>
                  <a:cubicBezTo>
                    <a:pt x="13" y="124"/>
                    <a:pt x="14" y="124"/>
                    <a:pt x="14" y="124"/>
                  </a:cubicBezTo>
                  <a:cubicBezTo>
                    <a:pt x="14" y="123"/>
                    <a:pt x="14" y="122"/>
                    <a:pt x="15" y="123"/>
                  </a:cubicBezTo>
                  <a:cubicBezTo>
                    <a:pt x="16" y="123"/>
                    <a:pt x="16" y="123"/>
                    <a:pt x="16" y="123"/>
                  </a:cubicBezTo>
                  <a:cubicBezTo>
                    <a:pt x="16" y="123"/>
                    <a:pt x="16" y="123"/>
                    <a:pt x="16" y="124"/>
                  </a:cubicBezTo>
                  <a:cubicBezTo>
                    <a:pt x="17" y="124"/>
                    <a:pt x="17" y="124"/>
                    <a:pt x="18" y="123"/>
                  </a:cubicBezTo>
                  <a:cubicBezTo>
                    <a:pt x="18" y="123"/>
                    <a:pt x="19" y="122"/>
                    <a:pt x="19" y="123"/>
                  </a:cubicBezTo>
                  <a:cubicBezTo>
                    <a:pt x="19" y="123"/>
                    <a:pt x="19" y="124"/>
                    <a:pt x="19" y="124"/>
                  </a:cubicBezTo>
                  <a:cubicBezTo>
                    <a:pt x="19" y="125"/>
                    <a:pt x="20" y="125"/>
                    <a:pt x="20" y="126"/>
                  </a:cubicBezTo>
                  <a:cubicBezTo>
                    <a:pt x="20" y="146"/>
                    <a:pt x="20" y="146"/>
                    <a:pt x="20" y="146"/>
                  </a:cubicBezTo>
                  <a:cubicBezTo>
                    <a:pt x="119" y="146"/>
                    <a:pt x="119" y="146"/>
                    <a:pt x="119" y="146"/>
                  </a:cubicBezTo>
                  <a:cubicBezTo>
                    <a:pt x="120" y="146"/>
                    <a:pt x="121" y="145"/>
                    <a:pt x="120" y="144"/>
                  </a:cubicBez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1" name="Freeform 54">
              <a:extLst>
                <a:ext uri="{FF2B5EF4-FFF2-40B4-BE49-F238E27FC236}">
                  <a16:creationId xmlns:a16="http://schemas.microsoft.com/office/drawing/2014/main" id="{320B1C65-CC70-7FF4-5935-15E501036E28}"/>
                </a:ext>
              </a:extLst>
            </p:cNvPr>
            <p:cNvSpPr>
              <a:spLocks/>
            </p:cNvSpPr>
            <p:nvPr/>
          </p:nvSpPr>
          <p:spPr bwMode="auto">
            <a:xfrm>
              <a:off x="3874574" y="3216769"/>
              <a:ext cx="791406" cy="935148"/>
            </a:xfrm>
            <a:custGeom>
              <a:avLst/>
              <a:gdLst>
                <a:gd name="T0" fmla="*/ 27 w 200"/>
                <a:gd name="T1" fmla="*/ 35 h 236"/>
                <a:gd name="T2" fmla="*/ 24 w 200"/>
                <a:gd name="T3" fmla="*/ 38 h 236"/>
                <a:gd name="T4" fmla="*/ 22 w 200"/>
                <a:gd name="T5" fmla="*/ 42 h 236"/>
                <a:gd name="T6" fmla="*/ 16 w 200"/>
                <a:gd name="T7" fmla="*/ 39 h 236"/>
                <a:gd name="T8" fmla="*/ 12 w 200"/>
                <a:gd name="T9" fmla="*/ 38 h 236"/>
                <a:gd name="T10" fmla="*/ 9 w 200"/>
                <a:gd name="T11" fmla="*/ 37 h 236"/>
                <a:gd name="T12" fmla="*/ 4 w 200"/>
                <a:gd name="T13" fmla="*/ 38 h 236"/>
                <a:gd name="T14" fmla="*/ 4 w 200"/>
                <a:gd name="T15" fmla="*/ 41 h 236"/>
                <a:gd name="T16" fmla="*/ 4 w 200"/>
                <a:gd name="T17" fmla="*/ 47 h 236"/>
                <a:gd name="T18" fmla="*/ 4 w 200"/>
                <a:gd name="T19" fmla="*/ 50 h 236"/>
                <a:gd name="T20" fmla="*/ 4 w 200"/>
                <a:gd name="T21" fmla="*/ 55 h 236"/>
                <a:gd name="T22" fmla="*/ 5 w 200"/>
                <a:gd name="T23" fmla="*/ 62 h 236"/>
                <a:gd name="T24" fmla="*/ 7 w 200"/>
                <a:gd name="T25" fmla="*/ 68 h 236"/>
                <a:gd name="T26" fmla="*/ 8 w 200"/>
                <a:gd name="T27" fmla="*/ 74 h 236"/>
                <a:gd name="T28" fmla="*/ 8 w 200"/>
                <a:gd name="T29" fmla="*/ 80 h 236"/>
                <a:gd name="T30" fmla="*/ 7 w 200"/>
                <a:gd name="T31" fmla="*/ 81 h 236"/>
                <a:gd name="T32" fmla="*/ 7 w 200"/>
                <a:gd name="T33" fmla="*/ 85 h 236"/>
                <a:gd name="T34" fmla="*/ 11 w 200"/>
                <a:gd name="T35" fmla="*/ 96 h 236"/>
                <a:gd name="T36" fmla="*/ 15 w 200"/>
                <a:gd name="T37" fmla="*/ 108 h 236"/>
                <a:gd name="T38" fmla="*/ 23 w 200"/>
                <a:gd name="T39" fmla="*/ 113 h 236"/>
                <a:gd name="T40" fmla="*/ 23 w 200"/>
                <a:gd name="T41" fmla="*/ 117 h 236"/>
                <a:gd name="T42" fmla="*/ 14 w 200"/>
                <a:gd name="T43" fmla="*/ 123 h 236"/>
                <a:gd name="T44" fmla="*/ 10 w 200"/>
                <a:gd name="T45" fmla="*/ 129 h 236"/>
                <a:gd name="T46" fmla="*/ 10 w 200"/>
                <a:gd name="T47" fmla="*/ 142 h 236"/>
                <a:gd name="T48" fmla="*/ 7 w 200"/>
                <a:gd name="T49" fmla="*/ 151 h 236"/>
                <a:gd name="T50" fmla="*/ 4 w 200"/>
                <a:gd name="T51" fmla="*/ 155 h 236"/>
                <a:gd name="T52" fmla="*/ 5 w 200"/>
                <a:gd name="T53" fmla="*/ 158 h 236"/>
                <a:gd name="T54" fmla="*/ 4 w 200"/>
                <a:gd name="T55" fmla="*/ 164 h 236"/>
                <a:gd name="T56" fmla="*/ 5 w 200"/>
                <a:gd name="T57" fmla="*/ 168 h 236"/>
                <a:gd name="T58" fmla="*/ 11 w 200"/>
                <a:gd name="T59" fmla="*/ 169 h 236"/>
                <a:gd name="T60" fmla="*/ 12 w 200"/>
                <a:gd name="T61" fmla="*/ 175 h 236"/>
                <a:gd name="T62" fmla="*/ 10 w 200"/>
                <a:gd name="T63" fmla="*/ 179 h 236"/>
                <a:gd name="T64" fmla="*/ 4 w 200"/>
                <a:gd name="T65" fmla="*/ 180 h 236"/>
                <a:gd name="T66" fmla="*/ 0 w 200"/>
                <a:gd name="T67" fmla="*/ 189 h 236"/>
                <a:gd name="T68" fmla="*/ 199 w 200"/>
                <a:gd name="T69" fmla="*/ 236 h 236"/>
                <a:gd name="T70" fmla="*/ 27 w 200"/>
                <a:gd name="T71"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 h="236">
                  <a:moveTo>
                    <a:pt x="27" y="0"/>
                  </a:moveTo>
                  <a:cubicBezTo>
                    <a:pt x="27" y="35"/>
                    <a:pt x="27" y="35"/>
                    <a:pt x="27" y="35"/>
                  </a:cubicBezTo>
                  <a:cubicBezTo>
                    <a:pt x="27" y="35"/>
                    <a:pt x="26" y="35"/>
                    <a:pt x="25" y="36"/>
                  </a:cubicBezTo>
                  <a:cubicBezTo>
                    <a:pt x="25" y="37"/>
                    <a:pt x="25" y="38"/>
                    <a:pt x="24" y="38"/>
                  </a:cubicBezTo>
                  <a:cubicBezTo>
                    <a:pt x="24" y="39"/>
                    <a:pt x="24" y="40"/>
                    <a:pt x="24" y="41"/>
                  </a:cubicBezTo>
                  <a:cubicBezTo>
                    <a:pt x="23" y="42"/>
                    <a:pt x="23" y="42"/>
                    <a:pt x="22" y="42"/>
                  </a:cubicBezTo>
                  <a:cubicBezTo>
                    <a:pt x="21" y="43"/>
                    <a:pt x="20" y="42"/>
                    <a:pt x="19" y="41"/>
                  </a:cubicBezTo>
                  <a:cubicBezTo>
                    <a:pt x="18" y="41"/>
                    <a:pt x="17" y="39"/>
                    <a:pt x="16" y="39"/>
                  </a:cubicBezTo>
                  <a:cubicBezTo>
                    <a:pt x="16" y="38"/>
                    <a:pt x="14" y="37"/>
                    <a:pt x="14" y="37"/>
                  </a:cubicBezTo>
                  <a:cubicBezTo>
                    <a:pt x="14" y="37"/>
                    <a:pt x="13" y="38"/>
                    <a:pt x="12" y="38"/>
                  </a:cubicBezTo>
                  <a:cubicBezTo>
                    <a:pt x="11" y="38"/>
                    <a:pt x="11" y="37"/>
                    <a:pt x="11" y="37"/>
                  </a:cubicBezTo>
                  <a:cubicBezTo>
                    <a:pt x="10" y="36"/>
                    <a:pt x="9" y="37"/>
                    <a:pt x="9" y="37"/>
                  </a:cubicBezTo>
                  <a:cubicBezTo>
                    <a:pt x="8" y="37"/>
                    <a:pt x="7" y="37"/>
                    <a:pt x="6" y="38"/>
                  </a:cubicBezTo>
                  <a:cubicBezTo>
                    <a:pt x="6" y="38"/>
                    <a:pt x="5" y="38"/>
                    <a:pt x="4" y="38"/>
                  </a:cubicBezTo>
                  <a:cubicBezTo>
                    <a:pt x="3" y="39"/>
                    <a:pt x="3" y="39"/>
                    <a:pt x="3" y="39"/>
                  </a:cubicBezTo>
                  <a:cubicBezTo>
                    <a:pt x="3" y="39"/>
                    <a:pt x="3" y="40"/>
                    <a:pt x="4" y="41"/>
                  </a:cubicBezTo>
                  <a:cubicBezTo>
                    <a:pt x="4" y="42"/>
                    <a:pt x="4" y="44"/>
                    <a:pt x="4" y="45"/>
                  </a:cubicBezTo>
                  <a:cubicBezTo>
                    <a:pt x="4" y="46"/>
                    <a:pt x="4" y="46"/>
                    <a:pt x="4" y="47"/>
                  </a:cubicBezTo>
                  <a:cubicBezTo>
                    <a:pt x="4" y="47"/>
                    <a:pt x="6" y="48"/>
                    <a:pt x="6" y="48"/>
                  </a:cubicBezTo>
                  <a:cubicBezTo>
                    <a:pt x="6" y="48"/>
                    <a:pt x="4" y="50"/>
                    <a:pt x="4" y="50"/>
                  </a:cubicBezTo>
                  <a:cubicBezTo>
                    <a:pt x="3" y="51"/>
                    <a:pt x="4" y="52"/>
                    <a:pt x="4" y="53"/>
                  </a:cubicBezTo>
                  <a:cubicBezTo>
                    <a:pt x="4" y="54"/>
                    <a:pt x="4" y="54"/>
                    <a:pt x="4" y="55"/>
                  </a:cubicBezTo>
                  <a:cubicBezTo>
                    <a:pt x="4" y="56"/>
                    <a:pt x="5" y="59"/>
                    <a:pt x="6" y="59"/>
                  </a:cubicBezTo>
                  <a:cubicBezTo>
                    <a:pt x="6" y="60"/>
                    <a:pt x="6" y="61"/>
                    <a:pt x="5" y="62"/>
                  </a:cubicBezTo>
                  <a:cubicBezTo>
                    <a:pt x="5" y="63"/>
                    <a:pt x="5" y="64"/>
                    <a:pt x="5" y="65"/>
                  </a:cubicBezTo>
                  <a:cubicBezTo>
                    <a:pt x="5" y="66"/>
                    <a:pt x="6" y="67"/>
                    <a:pt x="7" y="68"/>
                  </a:cubicBezTo>
                  <a:cubicBezTo>
                    <a:pt x="7" y="69"/>
                    <a:pt x="8" y="71"/>
                    <a:pt x="8" y="71"/>
                  </a:cubicBezTo>
                  <a:cubicBezTo>
                    <a:pt x="8" y="72"/>
                    <a:pt x="9" y="74"/>
                    <a:pt x="8" y="74"/>
                  </a:cubicBezTo>
                  <a:cubicBezTo>
                    <a:pt x="8" y="75"/>
                    <a:pt x="9" y="77"/>
                    <a:pt x="9" y="78"/>
                  </a:cubicBezTo>
                  <a:cubicBezTo>
                    <a:pt x="10" y="78"/>
                    <a:pt x="8" y="80"/>
                    <a:pt x="8" y="80"/>
                  </a:cubicBezTo>
                  <a:cubicBezTo>
                    <a:pt x="8" y="80"/>
                    <a:pt x="7" y="81"/>
                    <a:pt x="6" y="81"/>
                  </a:cubicBezTo>
                  <a:cubicBezTo>
                    <a:pt x="6" y="81"/>
                    <a:pt x="7" y="81"/>
                    <a:pt x="7" y="81"/>
                  </a:cubicBezTo>
                  <a:cubicBezTo>
                    <a:pt x="8" y="82"/>
                    <a:pt x="7" y="83"/>
                    <a:pt x="7" y="83"/>
                  </a:cubicBezTo>
                  <a:cubicBezTo>
                    <a:pt x="7" y="83"/>
                    <a:pt x="7" y="85"/>
                    <a:pt x="7" y="85"/>
                  </a:cubicBezTo>
                  <a:cubicBezTo>
                    <a:pt x="7" y="85"/>
                    <a:pt x="6" y="90"/>
                    <a:pt x="7" y="90"/>
                  </a:cubicBezTo>
                  <a:cubicBezTo>
                    <a:pt x="7" y="91"/>
                    <a:pt x="11" y="96"/>
                    <a:pt x="11" y="96"/>
                  </a:cubicBezTo>
                  <a:cubicBezTo>
                    <a:pt x="15" y="104"/>
                    <a:pt x="15" y="104"/>
                    <a:pt x="15" y="104"/>
                  </a:cubicBezTo>
                  <a:cubicBezTo>
                    <a:pt x="15" y="104"/>
                    <a:pt x="15" y="108"/>
                    <a:pt x="15" y="108"/>
                  </a:cubicBezTo>
                  <a:cubicBezTo>
                    <a:pt x="16" y="109"/>
                    <a:pt x="17" y="108"/>
                    <a:pt x="18" y="108"/>
                  </a:cubicBezTo>
                  <a:cubicBezTo>
                    <a:pt x="18" y="108"/>
                    <a:pt x="23" y="112"/>
                    <a:pt x="23" y="113"/>
                  </a:cubicBezTo>
                  <a:cubicBezTo>
                    <a:pt x="23" y="113"/>
                    <a:pt x="23" y="115"/>
                    <a:pt x="23" y="115"/>
                  </a:cubicBezTo>
                  <a:cubicBezTo>
                    <a:pt x="23" y="115"/>
                    <a:pt x="23" y="117"/>
                    <a:pt x="23" y="117"/>
                  </a:cubicBezTo>
                  <a:cubicBezTo>
                    <a:pt x="18" y="121"/>
                    <a:pt x="18" y="121"/>
                    <a:pt x="18" y="121"/>
                  </a:cubicBezTo>
                  <a:cubicBezTo>
                    <a:pt x="14" y="123"/>
                    <a:pt x="14" y="123"/>
                    <a:pt x="14" y="123"/>
                  </a:cubicBezTo>
                  <a:cubicBezTo>
                    <a:pt x="14" y="126"/>
                    <a:pt x="14" y="126"/>
                    <a:pt x="14" y="126"/>
                  </a:cubicBezTo>
                  <a:cubicBezTo>
                    <a:pt x="10" y="129"/>
                    <a:pt x="10" y="129"/>
                    <a:pt x="10" y="129"/>
                  </a:cubicBezTo>
                  <a:cubicBezTo>
                    <a:pt x="12" y="139"/>
                    <a:pt x="12" y="139"/>
                    <a:pt x="12" y="139"/>
                  </a:cubicBezTo>
                  <a:cubicBezTo>
                    <a:pt x="10" y="142"/>
                    <a:pt x="10" y="142"/>
                    <a:pt x="10" y="142"/>
                  </a:cubicBezTo>
                  <a:cubicBezTo>
                    <a:pt x="11" y="146"/>
                    <a:pt x="11" y="146"/>
                    <a:pt x="11" y="146"/>
                  </a:cubicBezTo>
                  <a:cubicBezTo>
                    <a:pt x="7" y="151"/>
                    <a:pt x="7" y="151"/>
                    <a:pt x="7" y="151"/>
                  </a:cubicBezTo>
                  <a:cubicBezTo>
                    <a:pt x="4" y="152"/>
                    <a:pt x="4" y="152"/>
                    <a:pt x="4" y="152"/>
                  </a:cubicBezTo>
                  <a:cubicBezTo>
                    <a:pt x="4" y="155"/>
                    <a:pt x="4" y="155"/>
                    <a:pt x="4" y="155"/>
                  </a:cubicBezTo>
                  <a:cubicBezTo>
                    <a:pt x="4" y="155"/>
                    <a:pt x="3" y="156"/>
                    <a:pt x="3" y="156"/>
                  </a:cubicBezTo>
                  <a:cubicBezTo>
                    <a:pt x="3" y="157"/>
                    <a:pt x="5" y="157"/>
                    <a:pt x="5" y="158"/>
                  </a:cubicBezTo>
                  <a:cubicBezTo>
                    <a:pt x="6" y="158"/>
                    <a:pt x="6" y="159"/>
                    <a:pt x="6" y="159"/>
                  </a:cubicBezTo>
                  <a:cubicBezTo>
                    <a:pt x="6" y="159"/>
                    <a:pt x="4" y="163"/>
                    <a:pt x="4" y="164"/>
                  </a:cubicBezTo>
                  <a:cubicBezTo>
                    <a:pt x="4" y="164"/>
                    <a:pt x="4" y="166"/>
                    <a:pt x="5" y="166"/>
                  </a:cubicBezTo>
                  <a:cubicBezTo>
                    <a:pt x="5" y="166"/>
                    <a:pt x="5" y="168"/>
                    <a:pt x="5" y="168"/>
                  </a:cubicBezTo>
                  <a:cubicBezTo>
                    <a:pt x="5" y="168"/>
                    <a:pt x="11" y="167"/>
                    <a:pt x="11" y="168"/>
                  </a:cubicBezTo>
                  <a:cubicBezTo>
                    <a:pt x="11" y="168"/>
                    <a:pt x="11" y="169"/>
                    <a:pt x="11" y="169"/>
                  </a:cubicBezTo>
                  <a:cubicBezTo>
                    <a:pt x="13" y="170"/>
                    <a:pt x="13" y="170"/>
                    <a:pt x="13" y="170"/>
                  </a:cubicBezTo>
                  <a:cubicBezTo>
                    <a:pt x="13" y="170"/>
                    <a:pt x="12" y="175"/>
                    <a:pt x="12" y="175"/>
                  </a:cubicBezTo>
                  <a:cubicBezTo>
                    <a:pt x="12" y="175"/>
                    <a:pt x="10" y="176"/>
                    <a:pt x="10" y="176"/>
                  </a:cubicBezTo>
                  <a:cubicBezTo>
                    <a:pt x="10" y="179"/>
                    <a:pt x="10" y="179"/>
                    <a:pt x="10" y="179"/>
                  </a:cubicBezTo>
                  <a:cubicBezTo>
                    <a:pt x="9" y="180"/>
                    <a:pt x="9" y="180"/>
                    <a:pt x="9" y="180"/>
                  </a:cubicBezTo>
                  <a:cubicBezTo>
                    <a:pt x="4" y="180"/>
                    <a:pt x="4" y="180"/>
                    <a:pt x="4" y="180"/>
                  </a:cubicBezTo>
                  <a:cubicBezTo>
                    <a:pt x="0" y="184"/>
                    <a:pt x="0" y="184"/>
                    <a:pt x="0" y="184"/>
                  </a:cubicBezTo>
                  <a:cubicBezTo>
                    <a:pt x="0" y="189"/>
                    <a:pt x="0" y="189"/>
                    <a:pt x="0" y="189"/>
                  </a:cubicBezTo>
                  <a:cubicBezTo>
                    <a:pt x="129" y="236"/>
                    <a:pt x="129" y="236"/>
                    <a:pt x="129" y="236"/>
                  </a:cubicBezTo>
                  <a:cubicBezTo>
                    <a:pt x="199" y="236"/>
                    <a:pt x="199" y="236"/>
                    <a:pt x="199" y="236"/>
                  </a:cubicBezTo>
                  <a:cubicBezTo>
                    <a:pt x="200" y="0"/>
                    <a:pt x="200" y="0"/>
                    <a:pt x="200" y="0"/>
                  </a:cubicBezTo>
                  <a:lnTo>
                    <a:pt x="27" y="0"/>
                  </a:lnTo>
                  <a:close/>
                </a:path>
              </a:pathLst>
            </a:custGeom>
            <a:solidFill>
              <a:srgbClr val="FFFF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2" name="Freeform 55">
              <a:extLst>
                <a:ext uri="{FF2B5EF4-FFF2-40B4-BE49-F238E27FC236}">
                  <a16:creationId xmlns:a16="http://schemas.microsoft.com/office/drawing/2014/main" id="{71D50BAA-CDDE-1356-E2B8-035E0D619A69}"/>
                </a:ext>
              </a:extLst>
            </p:cNvPr>
            <p:cNvSpPr>
              <a:spLocks/>
            </p:cNvSpPr>
            <p:nvPr/>
          </p:nvSpPr>
          <p:spPr bwMode="auto">
            <a:xfrm>
              <a:off x="7479682" y="3557123"/>
              <a:ext cx="485748" cy="773232"/>
            </a:xfrm>
            <a:custGeom>
              <a:avLst/>
              <a:gdLst>
                <a:gd name="T0" fmla="*/ 37 w 123"/>
                <a:gd name="T1" fmla="*/ 179 h 195"/>
                <a:gd name="T2" fmla="*/ 34 w 123"/>
                <a:gd name="T3" fmla="*/ 176 h 195"/>
                <a:gd name="T4" fmla="*/ 31 w 123"/>
                <a:gd name="T5" fmla="*/ 172 h 195"/>
                <a:gd name="T6" fmla="*/ 30 w 123"/>
                <a:gd name="T7" fmla="*/ 167 h 195"/>
                <a:gd name="T8" fmla="*/ 120 w 123"/>
                <a:gd name="T9" fmla="*/ 164 h 195"/>
                <a:gd name="T10" fmla="*/ 117 w 123"/>
                <a:gd name="T11" fmla="*/ 158 h 195"/>
                <a:gd name="T12" fmla="*/ 116 w 123"/>
                <a:gd name="T13" fmla="*/ 152 h 195"/>
                <a:gd name="T14" fmla="*/ 118 w 123"/>
                <a:gd name="T15" fmla="*/ 144 h 195"/>
                <a:gd name="T16" fmla="*/ 115 w 123"/>
                <a:gd name="T17" fmla="*/ 133 h 195"/>
                <a:gd name="T18" fmla="*/ 117 w 123"/>
                <a:gd name="T19" fmla="*/ 125 h 195"/>
                <a:gd name="T20" fmla="*/ 118 w 123"/>
                <a:gd name="T21" fmla="*/ 119 h 195"/>
                <a:gd name="T22" fmla="*/ 123 w 123"/>
                <a:gd name="T23" fmla="*/ 113 h 195"/>
                <a:gd name="T24" fmla="*/ 120 w 123"/>
                <a:gd name="T25" fmla="*/ 110 h 195"/>
                <a:gd name="T26" fmla="*/ 120 w 123"/>
                <a:gd name="T27" fmla="*/ 105 h 195"/>
                <a:gd name="T28" fmla="*/ 116 w 123"/>
                <a:gd name="T29" fmla="*/ 96 h 195"/>
                <a:gd name="T30" fmla="*/ 115 w 123"/>
                <a:gd name="T31" fmla="*/ 92 h 195"/>
                <a:gd name="T32" fmla="*/ 99 w 123"/>
                <a:gd name="T33" fmla="*/ 0 h 195"/>
                <a:gd name="T34" fmla="*/ 11 w 123"/>
                <a:gd name="T35" fmla="*/ 3 h 195"/>
                <a:gd name="T36" fmla="*/ 0 w 123"/>
                <a:gd name="T37" fmla="*/ 126 h 195"/>
                <a:gd name="T38" fmla="*/ 4 w 123"/>
                <a:gd name="T39" fmla="*/ 189 h 195"/>
                <a:gd name="T40" fmla="*/ 11 w 123"/>
                <a:gd name="T41" fmla="*/ 189 h 195"/>
                <a:gd name="T42" fmla="*/ 13 w 123"/>
                <a:gd name="T43" fmla="*/ 187 h 195"/>
                <a:gd name="T44" fmla="*/ 14 w 123"/>
                <a:gd name="T45" fmla="*/ 181 h 195"/>
                <a:gd name="T46" fmla="*/ 15 w 123"/>
                <a:gd name="T47" fmla="*/ 179 h 195"/>
                <a:gd name="T48" fmla="*/ 17 w 123"/>
                <a:gd name="T49" fmla="*/ 177 h 195"/>
                <a:gd name="T50" fmla="*/ 19 w 123"/>
                <a:gd name="T51" fmla="*/ 180 h 195"/>
                <a:gd name="T52" fmla="*/ 20 w 123"/>
                <a:gd name="T53" fmla="*/ 188 h 195"/>
                <a:gd name="T54" fmla="*/ 22 w 123"/>
                <a:gd name="T55" fmla="*/ 190 h 195"/>
                <a:gd name="T56" fmla="*/ 25 w 123"/>
                <a:gd name="T57" fmla="*/ 194 h 195"/>
                <a:gd name="T58" fmla="*/ 20 w 123"/>
                <a:gd name="T59" fmla="*/ 195 h 195"/>
                <a:gd name="T60" fmla="*/ 25 w 123"/>
                <a:gd name="T61" fmla="*/ 195 h 195"/>
                <a:gd name="T62" fmla="*/ 28 w 123"/>
                <a:gd name="T63" fmla="*/ 195 h 195"/>
                <a:gd name="T64" fmla="*/ 31 w 123"/>
                <a:gd name="T65" fmla="*/ 193 h 195"/>
                <a:gd name="T66" fmla="*/ 36 w 123"/>
                <a:gd name="T67" fmla="*/ 189 h 195"/>
                <a:gd name="T68" fmla="*/ 36 w 123"/>
                <a:gd name="T69" fmla="*/ 185 h 195"/>
                <a:gd name="T70" fmla="*/ 36 w 123"/>
                <a:gd name="T71" fmla="*/ 18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3" h="195">
                  <a:moveTo>
                    <a:pt x="36" y="181"/>
                  </a:moveTo>
                  <a:cubicBezTo>
                    <a:pt x="36" y="181"/>
                    <a:pt x="37" y="179"/>
                    <a:pt x="37" y="179"/>
                  </a:cubicBezTo>
                  <a:cubicBezTo>
                    <a:pt x="37" y="179"/>
                    <a:pt x="37" y="177"/>
                    <a:pt x="37" y="177"/>
                  </a:cubicBezTo>
                  <a:cubicBezTo>
                    <a:pt x="37" y="177"/>
                    <a:pt x="34" y="176"/>
                    <a:pt x="34" y="176"/>
                  </a:cubicBezTo>
                  <a:cubicBezTo>
                    <a:pt x="33" y="176"/>
                    <a:pt x="33" y="175"/>
                    <a:pt x="33" y="174"/>
                  </a:cubicBezTo>
                  <a:cubicBezTo>
                    <a:pt x="33" y="174"/>
                    <a:pt x="31" y="173"/>
                    <a:pt x="31" y="172"/>
                  </a:cubicBezTo>
                  <a:cubicBezTo>
                    <a:pt x="31" y="172"/>
                    <a:pt x="29" y="170"/>
                    <a:pt x="29" y="170"/>
                  </a:cubicBezTo>
                  <a:cubicBezTo>
                    <a:pt x="30" y="167"/>
                    <a:pt x="30" y="167"/>
                    <a:pt x="30" y="167"/>
                  </a:cubicBezTo>
                  <a:cubicBezTo>
                    <a:pt x="31" y="164"/>
                    <a:pt x="31" y="164"/>
                    <a:pt x="31" y="164"/>
                  </a:cubicBezTo>
                  <a:cubicBezTo>
                    <a:pt x="120" y="164"/>
                    <a:pt x="120" y="164"/>
                    <a:pt x="120" y="164"/>
                  </a:cubicBezTo>
                  <a:cubicBezTo>
                    <a:pt x="120" y="164"/>
                    <a:pt x="119" y="161"/>
                    <a:pt x="119" y="160"/>
                  </a:cubicBezTo>
                  <a:cubicBezTo>
                    <a:pt x="119" y="160"/>
                    <a:pt x="118" y="159"/>
                    <a:pt x="117" y="158"/>
                  </a:cubicBezTo>
                  <a:cubicBezTo>
                    <a:pt x="117" y="157"/>
                    <a:pt x="116" y="156"/>
                    <a:pt x="116" y="156"/>
                  </a:cubicBezTo>
                  <a:cubicBezTo>
                    <a:pt x="116" y="155"/>
                    <a:pt x="116" y="152"/>
                    <a:pt x="116" y="152"/>
                  </a:cubicBezTo>
                  <a:cubicBezTo>
                    <a:pt x="116" y="152"/>
                    <a:pt x="117" y="149"/>
                    <a:pt x="117" y="149"/>
                  </a:cubicBezTo>
                  <a:cubicBezTo>
                    <a:pt x="118" y="148"/>
                    <a:pt x="118" y="144"/>
                    <a:pt x="118" y="144"/>
                  </a:cubicBezTo>
                  <a:cubicBezTo>
                    <a:pt x="118" y="143"/>
                    <a:pt x="117" y="138"/>
                    <a:pt x="117" y="137"/>
                  </a:cubicBezTo>
                  <a:cubicBezTo>
                    <a:pt x="116" y="137"/>
                    <a:pt x="115" y="134"/>
                    <a:pt x="115" y="133"/>
                  </a:cubicBezTo>
                  <a:cubicBezTo>
                    <a:pt x="115" y="132"/>
                    <a:pt x="115" y="129"/>
                    <a:pt x="115" y="129"/>
                  </a:cubicBezTo>
                  <a:cubicBezTo>
                    <a:pt x="115" y="128"/>
                    <a:pt x="116" y="126"/>
                    <a:pt x="117" y="125"/>
                  </a:cubicBezTo>
                  <a:cubicBezTo>
                    <a:pt x="117" y="124"/>
                    <a:pt x="118" y="123"/>
                    <a:pt x="118" y="122"/>
                  </a:cubicBezTo>
                  <a:cubicBezTo>
                    <a:pt x="118" y="121"/>
                    <a:pt x="118" y="120"/>
                    <a:pt x="118" y="119"/>
                  </a:cubicBezTo>
                  <a:cubicBezTo>
                    <a:pt x="118" y="118"/>
                    <a:pt x="121" y="116"/>
                    <a:pt x="121" y="115"/>
                  </a:cubicBezTo>
                  <a:cubicBezTo>
                    <a:pt x="121" y="115"/>
                    <a:pt x="123" y="113"/>
                    <a:pt x="123" y="113"/>
                  </a:cubicBezTo>
                  <a:cubicBezTo>
                    <a:pt x="123" y="113"/>
                    <a:pt x="122" y="112"/>
                    <a:pt x="122" y="112"/>
                  </a:cubicBezTo>
                  <a:cubicBezTo>
                    <a:pt x="121" y="111"/>
                    <a:pt x="120" y="111"/>
                    <a:pt x="120" y="110"/>
                  </a:cubicBezTo>
                  <a:cubicBezTo>
                    <a:pt x="120" y="109"/>
                    <a:pt x="120" y="108"/>
                    <a:pt x="120" y="108"/>
                  </a:cubicBezTo>
                  <a:cubicBezTo>
                    <a:pt x="121" y="107"/>
                    <a:pt x="121" y="105"/>
                    <a:pt x="120" y="105"/>
                  </a:cubicBezTo>
                  <a:cubicBezTo>
                    <a:pt x="120" y="105"/>
                    <a:pt x="117" y="100"/>
                    <a:pt x="117" y="99"/>
                  </a:cubicBezTo>
                  <a:cubicBezTo>
                    <a:pt x="117" y="98"/>
                    <a:pt x="116" y="97"/>
                    <a:pt x="116" y="96"/>
                  </a:cubicBezTo>
                  <a:cubicBezTo>
                    <a:pt x="116" y="95"/>
                    <a:pt x="116" y="94"/>
                    <a:pt x="115" y="93"/>
                  </a:cubicBezTo>
                  <a:cubicBezTo>
                    <a:pt x="115" y="93"/>
                    <a:pt x="115" y="92"/>
                    <a:pt x="115" y="92"/>
                  </a:cubicBezTo>
                  <a:cubicBezTo>
                    <a:pt x="115" y="91"/>
                    <a:pt x="114" y="89"/>
                    <a:pt x="114" y="89"/>
                  </a:cubicBezTo>
                  <a:cubicBezTo>
                    <a:pt x="114" y="88"/>
                    <a:pt x="99" y="0"/>
                    <a:pt x="99" y="0"/>
                  </a:cubicBezTo>
                  <a:cubicBezTo>
                    <a:pt x="10" y="0"/>
                    <a:pt x="10" y="0"/>
                    <a:pt x="10" y="0"/>
                  </a:cubicBezTo>
                  <a:cubicBezTo>
                    <a:pt x="11" y="3"/>
                    <a:pt x="11" y="3"/>
                    <a:pt x="11" y="3"/>
                  </a:cubicBezTo>
                  <a:cubicBezTo>
                    <a:pt x="13" y="4"/>
                    <a:pt x="13" y="4"/>
                    <a:pt x="13" y="4"/>
                  </a:cubicBezTo>
                  <a:cubicBezTo>
                    <a:pt x="0" y="126"/>
                    <a:pt x="0" y="126"/>
                    <a:pt x="0" y="126"/>
                  </a:cubicBezTo>
                  <a:cubicBezTo>
                    <a:pt x="3" y="189"/>
                    <a:pt x="3" y="189"/>
                    <a:pt x="3" y="189"/>
                  </a:cubicBezTo>
                  <a:cubicBezTo>
                    <a:pt x="3" y="189"/>
                    <a:pt x="3" y="189"/>
                    <a:pt x="4" y="189"/>
                  </a:cubicBezTo>
                  <a:cubicBezTo>
                    <a:pt x="5" y="189"/>
                    <a:pt x="6" y="189"/>
                    <a:pt x="6" y="189"/>
                  </a:cubicBezTo>
                  <a:cubicBezTo>
                    <a:pt x="8" y="189"/>
                    <a:pt x="10" y="189"/>
                    <a:pt x="11" y="189"/>
                  </a:cubicBezTo>
                  <a:cubicBezTo>
                    <a:pt x="12" y="189"/>
                    <a:pt x="13" y="189"/>
                    <a:pt x="13" y="189"/>
                  </a:cubicBezTo>
                  <a:cubicBezTo>
                    <a:pt x="13" y="189"/>
                    <a:pt x="13" y="188"/>
                    <a:pt x="13" y="187"/>
                  </a:cubicBezTo>
                  <a:cubicBezTo>
                    <a:pt x="13" y="186"/>
                    <a:pt x="13" y="185"/>
                    <a:pt x="13" y="184"/>
                  </a:cubicBezTo>
                  <a:cubicBezTo>
                    <a:pt x="14" y="183"/>
                    <a:pt x="14" y="182"/>
                    <a:pt x="14" y="181"/>
                  </a:cubicBezTo>
                  <a:cubicBezTo>
                    <a:pt x="14" y="181"/>
                    <a:pt x="14" y="181"/>
                    <a:pt x="14" y="180"/>
                  </a:cubicBezTo>
                  <a:cubicBezTo>
                    <a:pt x="14" y="180"/>
                    <a:pt x="15" y="179"/>
                    <a:pt x="15" y="179"/>
                  </a:cubicBezTo>
                  <a:cubicBezTo>
                    <a:pt x="15" y="178"/>
                    <a:pt x="15" y="177"/>
                    <a:pt x="16" y="177"/>
                  </a:cubicBezTo>
                  <a:cubicBezTo>
                    <a:pt x="17" y="177"/>
                    <a:pt x="17" y="177"/>
                    <a:pt x="17" y="177"/>
                  </a:cubicBezTo>
                  <a:cubicBezTo>
                    <a:pt x="18" y="177"/>
                    <a:pt x="18" y="177"/>
                    <a:pt x="19" y="178"/>
                  </a:cubicBezTo>
                  <a:cubicBezTo>
                    <a:pt x="19" y="178"/>
                    <a:pt x="19" y="179"/>
                    <a:pt x="19" y="180"/>
                  </a:cubicBezTo>
                  <a:cubicBezTo>
                    <a:pt x="19" y="180"/>
                    <a:pt x="19" y="181"/>
                    <a:pt x="19" y="182"/>
                  </a:cubicBezTo>
                  <a:cubicBezTo>
                    <a:pt x="19" y="184"/>
                    <a:pt x="19" y="186"/>
                    <a:pt x="20" y="188"/>
                  </a:cubicBezTo>
                  <a:cubicBezTo>
                    <a:pt x="20" y="189"/>
                    <a:pt x="20" y="189"/>
                    <a:pt x="21" y="189"/>
                  </a:cubicBezTo>
                  <a:cubicBezTo>
                    <a:pt x="21" y="190"/>
                    <a:pt x="21" y="190"/>
                    <a:pt x="22" y="190"/>
                  </a:cubicBezTo>
                  <a:cubicBezTo>
                    <a:pt x="22" y="191"/>
                    <a:pt x="23" y="191"/>
                    <a:pt x="24" y="192"/>
                  </a:cubicBezTo>
                  <a:cubicBezTo>
                    <a:pt x="24" y="192"/>
                    <a:pt x="25" y="193"/>
                    <a:pt x="25" y="194"/>
                  </a:cubicBezTo>
                  <a:cubicBezTo>
                    <a:pt x="25" y="195"/>
                    <a:pt x="23" y="194"/>
                    <a:pt x="22" y="194"/>
                  </a:cubicBezTo>
                  <a:cubicBezTo>
                    <a:pt x="22" y="194"/>
                    <a:pt x="20" y="194"/>
                    <a:pt x="20" y="195"/>
                  </a:cubicBezTo>
                  <a:cubicBezTo>
                    <a:pt x="21" y="195"/>
                    <a:pt x="22" y="195"/>
                    <a:pt x="23" y="195"/>
                  </a:cubicBezTo>
                  <a:cubicBezTo>
                    <a:pt x="23" y="195"/>
                    <a:pt x="24" y="195"/>
                    <a:pt x="25" y="195"/>
                  </a:cubicBezTo>
                  <a:cubicBezTo>
                    <a:pt x="25" y="195"/>
                    <a:pt x="26" y="195"/>
                    <a:pt x="27" y="195"/>
                  </a:cubicBezTo>
                  <a:cubicBezTo>
                    <a:pt x="27" y="195"/>
                    <a:pt x="28" y="195"/>
                    <a:pt x="28" y="195"/>
                  </a:cubicBezTo>
                  <a:cubicBezTo>
                    <a:pt x="29" y="195"/>
                    <a:pt x="29" y="194"/>
                    <a:pt x="30" y="194"/>
                  </a:cubicBezTo>
                  <a:cubicBezTo>
                    <a:pt x="30" y="194"/>
                    <a:pt x="31" y="194"/>
                    <a:pt x="31" y="193"/>
                  </a:cubicBezTo>
                  <a:cubicBezTo>
                    <a:pt x="32" y="193"/>
                    <a:pt x="32" y="192"/>
                    <a:pt x="32" y="192"/>
                  </a:cubicBezTo>
                  <a:cubicBezTo>
                    <a:pt x="33" y="191"/>
                    <a:pt x="34" y="190"/>
                    <a:pt x="36" y="189"/>
                  </a:cubicBezTo>
                  <a:cubicBezTo>
                    <a:pt x="36" y="189"/>
                    <a:pt x="37" y="188"/>
                    <a:pt x="37" y="187"/>
                  </a:cubicBezTo>
                  <a:cubicBezTo>
                    <a:pt x="37" y="187"/>
                    <a:pt x="35" y="185"/>
                    <a:pt x="36" y="185"/>
                  </a:cubicBezTo>
                  <a:cubicBezTo>
                    <a:pt x="36" y="184"/>
                    <a:pt x="36" y="183"/>
                    <a:pt x="36" y="183"/>
                  </a:cubicBezTo>
                  <a:cubicBezTo>
                    <a:pt x="36" y="183"/>
                    <a:pt x="36" y="182"/>
                    <a:pt x="36" y="181"/>
                  </a:cubicBezTo>
                  <a:close/>
                </a:path>
              </a:pathLst>
            </a:custGeom>
            <a:solidFill>
              <a:srgbClr val="FF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4" name="Freeform 53">
              <a:extLst>
                <a:ext uri="{FF2B5EF4-FFF2-40B4-BE49-F238E27FC236}">
                  <a16:creationId xmlns:a16="http://schemas.microsoft.com/office/drawing/2014/main" id="{B3C4E04C-2443-62BF-BBAA-537FE90C1D8D}"/>
                </a:ext>
              </a:extLst>
            </p:cNvPr>
            <p:cNvSpPr/>
            <p:nvPr/>
          </p:nvSpPr>
          <p:spPr>
            <a:xfrm>
              <a:off x="9059974" y="5365513"/>
              <a:ext cx="411480" cy="151208"/>
            </a:xfrm>
            <a:custGeom>
              <a:avLst/>
              <a:gdLst>
                <a:gd name="connsiteX0" fmla="*/ 48986 w 411480"/>
                <a:gd name="connsiteY0" fmla="*/ 985 h 151208"/>
                <a:gd name="connsiteX1" fmla="*/ 71846 w 411480"/>
                <a:gd name="connsiteY1" fmla="*/ 10782 h 151208"/>
                <a:gd name="connsiteX2" fmla="*/ 124097 w 411480"/>
                <a:gd name="connsiteY2" fmla="*/ 17314 h 151208"/>
                <a:gd name="connsiteX3" fmla="*/ 251460 w 411480"/>
                <a:gd name="connsiteY3" fmla="*/ 14048 h 151208"/>
                <a:gd name="connsiteX4" fmla="*/ 293915 w 411480"/>
                <a:gd name="connsiteY4" fmla="*/ 17314 h 151208"/>
                <a:gd name="connsiteX5" fmla="*/ 352697 w 411480"/>
                <a:gd name="connsiteY5" fmla="*/ 20579 h 151208"/>
                <a:gd name="connsiteX6" fmla="*/ 382089 w 411480"/>
                <a:gd name="connsiteY6" fmla="*/ 27111 h 151208"/>
                <a:gd name="connsiteX7" fmla="*/ 401683 w 411480"/>
                <a:gd name="connsiteY7" fmla="*/ 33642 h 151208"/>
                <a:gd name="connsiteX8" fmla="*/ 408215 w 411480"/>
                <a:gd name="connsiteY8" fmla="*/ 69565 h 151208"/>
                <a:gd name="connsiteX9" fmla="*/ 411480 w 411480"/>
                <a:gd name="connsiteY9" fmla="*/ 82628 h 151208"/>
                <a:gd name="connsiteX10" fmla="*/ 391886 w 411480"/>
                <a:gd name="connsiteY10" fmla="*/ 89159 h 151208"/>
                <a:gd name="connsiteX11" fmla="*/ 369026 w 411480"/>
                <a:gd name="connsiteY11" fmla="*/ 95691 h 151208"/>
                <a:gd name="connsiteX12" fmla="*/ 362495 w 411480"/>
                <a:gd name="connsiteY12" fmla="*/ 105488 h 151208"/>
                <a:gd name="connsiteX13" fmla="*/ 349432 w 411480"/>
                <a:gd name="connsiteY13" fmla="*/ 131614 h 151208"/>
                <a:gd name="connsiteX14" fmla="*/ 346166 w 411480"/>
                <a:gd name="connsiteY14" fmla="*/ 141411 h 151208"/>
                <a:gd name="connsiteX15" fmla="*/ 287383 w 411480"/>
                <a:gd name="connsiteY15" fmla="*/ 151208 h 151208"/>
                <a:gd name="connsiteX16" fmla="*/ 228600 w 411480"/>
                <a:gd name="connsiteY16" fmla="*/ 147942 h 151208"/>
                <a:gd name="connsiteX17" fmla="*/ 202475 w 411480"/>
                <a:gd name="connsiteY17" fmla="*/ 144676 h 151208"/>
                <a:gd name="connsiteX18" fmla="*/ 169817 w 411480"/>
                <a:gd name="connsiteY18" fmla="*/ 141411 h 151208"/>
                <a:gd name="connsiteX19" fmla="*/ 101237 w 411480"/>
                <a:gd name="connsiteY19" fmla="*/ 144676 h 151208"/>
                <a:gd name="connsiteX20" fmla="*/ 91440 w 411480"/>
                <a:gd name="connsiteY20" fmla="*/ 147942 h 151208"/>
                <a:gd name="connsiteX21" fmla="*/ 75112 w 411480"/>
                <a:gd name="connsiteY21" fmla="*/ 151208 h 151208"/>
                <a:gd name="connsiteX22" fmla="*/ 55517 w 411480"/>
                <a:gd name="connsiteY22" fmla="*/ 141411 h 151208"/>
                <a:gd name="connsiteX23" fmla="*/ 45720 w 411480"/>
                <a:gd name="connsiteY23" fmla="*/ 144676 h 151208"/>
                <a:gd name="connsiteX24" fmla="*/ 16329 w 411480"/>
                <a:gd name="connsiteY24" fmla="*/ 131614 h 151208"/>
                <a:gd name="connsiteX25" fmla="*/ 19595 w 411480"/>
                <a:gd name="connsiteY25" fmla="*/ 118551 h 151208"/>
                <a:gd name="connsiteX26" fmla="*/ 16329 w 411480"/>
                <a:gd name="connsiteY26" fmla="*/ 89159 h 151208"/>
                <a:gd name="connsiteX27" fmla="*/ 3266 w 411480"/>
                <a:gd name="connsiteY27" fmla="*/ 59768 h 151208"/>
                <a:gd name="connsiteX28" fmla="*/ 0 w 411480"/>
                <a:gd name="connsiteY28" fmla="*/ 49971 h 151208"/>
                <a:gd name="connsiteX29" fmla="*/ 13063 w 411480"/>
                <a:gd name="connsiteY29" fmla="*/ 36908 h 151208"/>
                <a:gd name="connsiteX30" fmla="*/ 48986 w 411480"/>
                <a:gd name="connsiteY30" fmla="*/ 985 h 151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11480" h="151208">
                  <a:moveTo>
                    <a:pt x="48986" y="985"/>
                  </a:moveTo>
                  <a:cubicBezTo>
                    <a:pt x="58783" y="-3369"/>
                    <a:pt x="64055" y="7949"/>
                    <a:pt x="71846" y="10782"/>
                  </a:cubicBezTo>
                  <a:cubicBezTo>
                    <a:pt x="87176" y="16356"/>
                    <a:pt x="110954" y="16219"/>
                    <a:pt x="124097" y="17314"/>
                  </a:cubicBezTo>
                  <a:cubicBezTo>
                    <a:pt x="166551" y="16225"/>
                    <a:pt x="208992" y="14048"/>
                    <a:pt x="251460" y="14048"/>
                  </a:cubicBezTo>
                  <a:cubicBezTo>
                    <a:pt x="265653" y="14048"/>
                    <a:pt x="279751" y="16400"/>
                    <a:pt x="293915" y="17314"/>
                  </a:cubicBezTo>
                  <a:lnTo>
                    <a:pt x="352697" y="20579"/>
                  </a:lnTo>
                  <a:cubicBezTo>
                    <a:pt x="362023" y="22444"/>
                    <a:pt x="372862" y="24343"/>
                    <a:pt x="382089" y="27111"/>
                  </a:cubicBezTo>
                  <a:cubicBezTo>
                    <a:pt x="388683" y="29089"/>
                    <a:pt x="401683" y="33642"/>
                    <a:pt x="401683" y="33642"/>
                  </a:cubicBezTo>
                  <a:cubicBezTo>
                    <a:pt x="408690" y="54659"/>
                    <a:pt x="402062" y="32644"/>
                    <a:pt x="408215" y="69565"/>
                  </a:cubicBezTo>
                  <a:cubicBezTo>
                    <a:pt x="408953" y="73992"/>
                    <a:pt x="410392" y="78274"/>
                    <a:pt x="411480" y="82628"/>
                  </a:cubicBezTo>
                  <a:cubicBezTo>
                    <a:pt x="404949" y="84805"/>
                    <a:pt x="398565" y="87489"/>
                    <a:pt x="391886" y="89159"/>
                  </a:cubicBezTo>
                  <a:cubicBezTo>
                    <a:pt x="375483" y="93260"/>
                    <a:pt x="383081" y="91006"/>
                    <a:pt x="369026" y="95691"/>
                  </a:cubicBezTo>
                  <a:cubicBezTo>
                    <a:pt x="366849" y="98957"/>
                    <a:pt x="364089" y="101902"/>
                    <a:pt x="362495" y="105488"/>
                  </a:cubicBezTo>
                  <a:cubicBezTo>
                    <a:pt x="350487" y="132506"/>
                    <a:pt x="362845" y="118199"/>
                    <a:pt x="349432" y="131614"/>
                  </a:cubicBezTo>
                  <a:cubicBezTo>
                    <a:pt x="348343" y="134880"/>
                    <a:pt x="348967" y="139410"/>
                    <a:pt x="346166" y="141411"/>
                  </a:cubicBezTo>
                  <a:cubicBezTo>
                    <a:pt x="333476" y="150475"/>
                    <a:pt x="296611" y="150439"/>
                    <a:pt x="287383" y="151208"/>
                  </a:cubicBezTo>
                  <a:cubicBezTo>
                    <a:pt x="267789" y="150119"/>
                    <a:pt x="248167" y="149447"/>
                    <a:pt x="228600" y="147942"/>
                  </a:cubicBezTo>
                  <a:cubicBezTo>
                    <a:pt x="219850" y="147269"/>
                    <a:pt x="211197" y="145645"/>
                    <a:pt x="202475" y="144676"/>
                  </a:cubicBezTo>
                  <a:cubicBezTo>
                    <a:pt x="191602" y="143468"/>
                    <a:pt x="180703" y="142499"/>
                    <a:pt x="169817" y="141411"/>
                  </a:cubicBezTo>
                  <a:cubicBezTo>
                    <a:pt x="146957" y="142499"/>
                    <a:pt x="124044" y="142776"/>
                    <a:pt x="101237" y="144676"/>
                  </a:cubicBezTo>
                  <a:cubicBezTo>
                    <a:pt x="97807" y="144962"/>
                    <a:pt x="94780" y="147107"/>
                    <a:pt x="91440" y="147942"/>
                  </a:cubicBezTo>
                  <a:cubicBezTo>
                    <a:pt x="86055" y="149288"/>
                    <a:pt x="80555" y="150119"/>
                    <a:pt x="75112" y="151208"/>
                  </a:cubicBezTo>
                  <a:cubicBezTo>
                    <a:pt x="70156" y="147904"/>
                    <a:pt x="62281" y="141411"/>
                    <a:pt x="55517" y="141411"/>
                  </a:cubicBezTo>
                  <a:cubicBezTo>
                    <a:pt x="52075" y="141411"/>
                    <a:pt x="48986" y="143588"/>
                    <a:pt x="45720" y="144676"/>
                  </a:cubicBezTo>
                  <a:cubicBezTo>
                    <a:pt x="31582" y="142909"/>
                    <a:pt x="16329" y="148982"/>
                    <a:pt x="16329" y="131614"/>
                  </a:cubicBezTo>
                  <a:cubicBezTo>
                    <a:pt x="16329" y="127126"/>
                    <a:pt x="18506" y="122905"/>
                    <a:pt x="19595" y="118551"/>
                  </a:cubicBezTo>
                  <a:cubicBezTo>
                    <a:pt x="18506" y="108754"/>
                    <a:pt x="18262" y="98825"/>
                    <a:pt x="16329" y="89159"/>
                  </a:cubicBezTo>
                  <a:cubicBezTo>
                    <a:pt x="10713" y="61079"/>
                    <a:pt x="12386" y="78009"/>
                    <a:pt x="3266" y="59768"/>
                  </a:cubicBezTo>
                  <a:cubicBezTo>
                    <a:pt x="1727" y="56689"/>
                    <a:pt x="1089" y="53237"/>
                    <a:pt x="0" y="49971"/>
                  </a:cubicBezTo>
                  <a:cubicBezTo>
                    <a:pt x="6774" y="29651"/>
                    <a:pt x="-2419" y="48520"/>
                    <a:pt x="13063" y="36908"/>
                  </a:cubicBezTo>
                  <a:cubicBezTo>
                    <a:pt x="19221" y="32289"/>
                    <a:pt x="39189" y="5339"/>
                    <a:pt x="48986" y="985"/>
                  </a:cubicBezTo>
                  <a:close/>
                </a:path>
              </a:pathLst>
            </a:custGeom>
            <a:solidFill>
              <a:srgbClr val="FFC000"/>
            </a:solidFill>
            <a:ln w="254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grpSp>
      <p:sp>
        <p:nvSpPr>
          <p:cNvPr id="53" name="Oval 52"/>
          <p:cNvSpPr>
            <a:spLocks noChangeAspect="1"/>
          </p:cNvSpPr>
          <p:nvPr/>
        </p:nvSpPr>
        <p:spPr>
          <a:xfrm>
            <a:off x="8629227" y="3500617"/>
            <a:ext cx="91440" cy="91440"/>
          </a:xfrm>
          <a:prstGeom prst="ellipse">
            <a:avLst/>
          </a:prstGeom>
          <a:solidFill>
            <a:srgbClr val="FFC000"/>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3" name="Hawaii">
            <a:extLst>
              <a:ext uri="{FF2B5EF4-FFF2-40B4-BE49-F238E27FC236}">
                <a16:creationId xmlns:a16="http://schemas.microsoft.com/office/drawing/2014/main" id="{6B065A8D-F612-98E0-0F9D-291317D4CB1B}"/>
              </a:ext>
            </a:extLst>
          </p:cNvPr>
          <p:cNvSpPr>
            <a:spLocks noChangeAspect="1" noEditPoints="1"/>
          </p:cNvSpPr>
          <p:nvPr/>
        </p:nvSpPr>
        <p:spPr bwMode="auto">
          <a:xfrm>
            <a:off x="3570211" y="5347421"/>
            <a:ext cx="1650552" cy="829407"/>
          </a:xfrm>
          <a:custGeom>
            <a:avLst/>
            <a:gdLst>
              <a:gd name="T0" fmla="*/ 371 w 417"/>
              <a:gd name="T1" fmla="*/ 181 h 209"/>
              <a:gd name="T2" fmla="*/ 360 w 417"/>
              <a:gd name="T3" fmla="*/ 165 h 209"/>
              <a:gd name="T4" fmla="*/ 367 w 417"/>
              <a:gd name="T5" fmla="*/ 158 h 209"/>
              <a:gd name="T6" fmla="*/ 107 w 417"/>
              <a:gd name="T7" fmla="*/ 12 h 209"/>
              <a:gd name="T8" fmla="*/ 101 w 417"/>
              <a:gd name="T9" fmla="*/ 34 h 209"/>
              <a:gd name="T10" fmla="*/ 97 w 417"/>
              <a:gd name="T11" fmla="*/ 38 h 209"/>
              <a:gd name="T12" fmla="*/ 85 w 417"/>
              <a:gd name="T13" fmla="*/ 42 h 209"/>
              <a:gd name="T14" fmla="*/ 61 w 417"/>
              <a:gd name="T15" fmla="*/ 33 h 209"/>
              <a:gd name="T16" fmla="*/ 57 w 417"/>
              <a:gd name="T17" fmla="*/ 16 h 209"/>
              <a:gd name="T18" fmla="*/ 61 w 417"/>
              <a:gd name="T19" fmla="*/ 10 h 209"/>
              <a:gd name="T20" fmla="*/ 71 w 417"/>
              <a:gd name="T21" fmla="*/ 4 h 209"/>
              <a:gd name="T22" fmla="*/ 84 w 417"/>
              <a:gd name="T23" fmla="*/ 3 h 209"/>
              <a:gd name="T24" fmla="*/ 92 w 417"/>
              <a:gd name="T25" fmla="*/ 2 h 209"/>
              <a:gd name="T26" fmla="*/ 103 w 417"/>
              <a:gd name="T27" fmla="*/ 4 h 209"/>
              <a:gd name="T28" fmla="*/ 397 w 417"/>
              <a:gd name="T29" fmla="*/ 131 h 209"/>
              <a:gd name="T30" fmla="*/ 381 w 417"/>
              <a:gd name="T31" fmla="*/ 142 h 209"/>
              <a:gd name="T32" fmla="*/ 349 w 417"/>
              <a:gd name="T33" fmla="*/ 137 h 209"/>
              <a:gd name="T34" fmla="*/ 335 w 417"/>
              <a:gd name="T35" fmla="*/ 129 h 209"/>
              <a:gd name="T36" fmla="*/ 344 w 417"/>
              <a:gd name="T37" fmla="*/ 124 h 209"/>
              <a:gd name="T38" fmla="*/ 362 w 417"/>
              <a:gd name="T39" fmla="*/ 127 h 209"/>
              <a:gd name="T40" fmla="*/ 371 w 417"/>
              <a:gd name="T41" fmla="*/ 128 h 209"/>
              <a:gd name="T42" fmla="*/ 375 w 417"/>
              <a:gd name="T43" fmla="*/ 129 h 209"/>
              <a:gd name="T44" fmla="*/ 394 w 417"/>
              <a:gd name="T45" fmla="*/ 129 h 209"/>
              <a:gd name="T46" fmla="*/ 11 w 417"/>
              <a:gd name="T47" fmla="*/ 35 h 209"/>
              <a:gd name="T48" fmla="*/ 4 w 417"/>
              <a:gd name="T49" fmla="*/ 55 h 209"/>
              <a:gd name="T50" fmla="*/ 19 w 417"/>
              <a:gd name="T51" fmla="*/ 39 h 209"/>
              <a:gd name="T52" fmla="*/ 416 w 417"/>
              <a:gd name="T53" fmla="*/ 199 h 209"/>
              <a:gd name="T54" fmla="*/ 400 w 417"/>
              <a:gd name="T55" fmla="*/ 208 h 209"/>
              <a:gd name="T56" fmla="*/ 415 w 417"/>
              <a:gd name="T57" fmla="*/ 207 h 209"/>
              <a:gd name="T58" fmla="*/ 291 w 417"/>
              <a:gd name="T59" fmla="*/ 113 h 209"/>
              <a:gd name="T60" fmla="*/ 279 w 417"/>
              <a:gd name="T61" fmla="*/ 116 h 209"/>
              <a:gd name="T62" fmla="*/ 274 w 417"/>
              <a:gd name="T63" fmla="*/ 118 h 209"/>
              <a:gd name="T64" fmla="*/ 271 w 417"/>
              <a:gd name="T65" fmla="*/ 116 h 209"/>
              <a:gd name="T66" fmla="*/ 265 w 417"/>
              <a:gd name="T67" fmla="*/ 111 h 209"/>
              <a:gd name="T68" fmla="*/ 264 w 417"/>
              <a:gd name="T69" fmla="*/ 111 h 209"/>
              <a:gd name="T70" fmla="*/ 259 w 417"/>
              <a:gd name="T71" fmla="*/ 112 h 209"/>
              <a:gd name="T72" fmla="*/ 259 w 417"/>
              <a:gd name="T73" fmla="*/ 104 h 209"/>
              <a:gd name="T74" fmla="*/ 259 w 417"/>
              <a:gd name="T75" fmla="*/ 104 h 209"/>
              <a:gd name="T76" fmla="*/ 255 w 417"/>
              <a:gd name="T77" fmla="*/ 104 h 209"/>
              <a:gd name="T78" fmla="*/ 250 w 417"/>
              <a:gd name="T79" fmla="*/ 104 h 209"/>
              <a:gd name="T80" fmla="*/ 253 w 417"/>
              <a:gd name="T81" fmla="*/ 111 h 209"/>
              <a:gd name="T82" fmla="*/ 239 w 417"/>
              <a:gd name="T83" fmla="*/ 110 h 209"/>
              <a:gd name="T84" fmla="*/ 233 w 417"/>
              <a:gd name="T85" fmla="*/ 100 h 209"/>
              <a:gd name="T86" fmla="*/ 229 w 417"/>
              <a:gd name="T87" fmla="*/ 94 h 209"/>
              <a:gd name="T88" fmla="*/ 221 w 417"/>
              <a:gd name="T89" fmla="*/ 80 h 209"/>
              <a:gd name="T90" fmla="*/ 231 w 417"/>
              <a:gd name="T91" fmla="*/ 79 h 209"/>
              <a:gd name="T92" fmla="*/ 236 w 417"/>
              <a:gd name="T93" fmla="*/ 79 h 209"/>
              <a:gd name="T94" fmla="*/ 251 w 417"/>
              <a:gd name="T95" fmla="*/ 64 h 209"/>
              <a:gd name="T96" fmla="*/ 267 w 417"/>
              <a:gd name="T97" fmla="*/ 82 h 209"/>
              <a:gd name="T98" fmla="*/ 273 w 417"/>
              <a:gd name="T99" fmla="*/ 94 h 209"/>
              <a:gd name="T100" fmla="*/ 279 w 417"/>
              <a:gd name="T101" fmla="*/ 96 h 209"/>
              <a:gd name="T102" fmla="*/ 281 w 417"/>
              <a:gd name="T103" fmla="*/ 99 h 209"/>
              <a:gd name="T104" fmla="*/ 285 w 417"/>
              <a:gd name="T105" fmla="*/ 103 h 209"/>
              <a:gd name="T106" fmla="*/ 18 w 417"/>
              <a:gd name="T107" fmla="*/ 26 h 209"/>
              <a:gd name="T108" fmla="*/ 257 w 417"/>
              <a:gd name="T109"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7" h="209">
                <a:moveTo>
                  <a:pt x="386" y="170"/>
                </a:moveTo>
                <a:cubicBezTo>
                  <a:pt x="386" y="171"/>
                  <a:pt x="386" y="172"/>
                  <a:pt x="386" y="173"/>
                </a:cubicBezTo>
                <a:cubicBezTo>
                  <a:pt x="385" y="174"/>
                  <a:pt x="384" y="174"/>
                  <a:pt x="384" y="175"/>
                </a:cubicBezTo>
                <a:cubicBezTo>
                  <a:pt x="384" y="176"/>
                  <a:pt x="383" y="177"/>
                  <a:pt x="382" y="178"/>
                </a:cubicBezTo>
                <a:cubicBezTo>
                  <a:pt x="380" y="178"/>
                  <a:pt x="379" y="179"/>
                  <a:pt x="377" y="180"/>
                </a:cubicBezTo>
                <a:cubicBezTo>
                  <a:pt x="375" y="181"/>
                  <a:pt x="373" y="181"/>
                  <a:pt x="371" y="181"/>
                </a:cubicBezTo>
                <a:cubicBezTo>
                  <a:pt x="371" y="181"/>
                  <a:pt x="371" y="180"/>
                  <a:pt x="370" y="181"/>
                </a:cubicBezTo>
                <a:cubicBezTo>
                  <a:pt x="369" y="181"/>
                  <a:pt x="368" y="181"/>
                  <a:pt x="368" y="180"/>
                </a:cubicBezTo>
                <a:cubicBezTo>
                  <a:pt x="367" y="179"/>
                  <a:pt x="366" y="178"/>
                  <a:pt x="366" y="177"/>
                </a:cubicBezTo>
                <a:cubicBezTo>
                  <a:pt x="365" y="175"/>
                  <a:pt x="365" y="173"/>
                  <a:pt x="366" y="172"/>
                </a:cubicBezTo>
                <a:cubicBezTo>
                  <a:pt x="366" y="170"/>
                  <a:pt x="364" y="167"/>
                  <a:pt x="362" y="166"/>
                </a:cubicBezTo>
                <a:cubicBezTo>
                  <a:pt x="362" y="166"/>
                  <a:pt x="361" y="165"/>
                  <a:pt x="360" y="165"/>
                </a:cubicBezTo>
                <a:cubicBezTo>
                  <a:pt x="358" y="164"/>
                  <a:pt x="357" y="162"/>
                  <a:pt x="358" y="160"/>
                </a:cubicBezTo>
                <a:cubicBezTo>
                  <a:pt x="358" y="160"/>
                  <a:pt x="358" y="159"/>
                  <a:pt x="358" y="159"/>
                </a:cubicBezTo>
                <a:cubicBezTo>
                  <a:pt x="359" y="159"/>
                  <a:pt x="360" y="158"/>
                  <a:pt x="361" y="158"/>
                </a:cubicBezTo>
                <a:cubicBezTo>
                  <a:pt x="361" y="158"/>
                  <a:pt x="361" y="158"/>
                  <a:pt x="361" y="158"/>
                </a:cubicBezTo>
                <a:cubicBezTo>
                  <a:pt x="363" y="157"/>
                  <a:pt x="364" y="158"/>
                  <a:pt x="365" y="157"/>
                </a:cubicBezTo>
                <a:cubicBezTo>
                  <a:pt x="366" y="157"/>
                  <a:pt x="366" y="158"/>
                  <a:pt x="367" y="158"/>
                </a:cubicBezTo>
                <a:cubicBezTo>
                  <a:pt x="367" y="158"/>
                  <a:pt x="367" y="158"/>
                  <a:pt x="367" y="158"/>
                </a:cubicBezTo>
                <a:cubicBezTo>
                  <a:pt x="368" y="158"/>
                  <a:pt x="370" y="157"/>
                  <a:pt x="372" y="158"/>
                </a:cubicBezTo>
                <a:cubicBezTo>
                  <a:pt x="372" y="158"/>
                  <a:pt x="372" y="158"/>
                  <a:pt x="373" y="158"/>
                </a:cubicBezTo>
                <a:cubicBezTo>
                  <a:pt x="375" y="159"/>
                  <a:pt x="377" y="160"/>
                  <a:pt x="379" y="162"/>
                </a:cubicBezTo>
                <a:cubicBezTo>
                  <a:pt x="381" y="164"/>
                  <a:pt x="384" y="166"/>
                  <a:pt x="386" y="170"/>
                </a:cubicBezTo>
                <a:close/>
                <a:moveTo>
                  <a:pt x="107" y="12"/>
                </a:moveTo>
                <a:cubicBezTo>
                  <a:pt x="107" y="13"/>
                  <a:pt x="108" y="16"/>
                  <a:pt x="106" y="17"/>
                </a:cubicBezTo>
                <a:cubicBezTo>
                  <a:pt x="106" y="17"/>
                  <a:pt x="106" y="17"/>
                  <a:pt x="106" y="17"/>
                </a:cubicBezTo>
                <a:cubicBezTo>
                  <a:pt x="105" y="18"/>
                  <a:pt x="104" y="20"/>
                  <a:pt x="104" y="21"/>
                </a:cubicBezTo>
                <a:cubicBezTo>
                  <a:pt x="104" y="22"/>
                  <a:pt x="103" y="22"/>
                  <a:pt x="102" y="23"/>
                </a:cubicBezTo>
                <a:cubicBezTo>
                  <a:pt x="102" y="26"/>
                  <a:pt x="103" y="29"/>
                  <a:pt x="103" y="32"/>
                </a:cubicBezTo>
                <a:cubicBezTo>
                  <a:pt x="103" y="33"/>
                  <a:pt x="103" y="34"/>
                  <a:pt x="101" y="34"/>
                </a:cubicBezTo>
                <a:cubicBezTo>
                  <a:pt x="101" y="34"/>
                  <a:pt x="100" y="34"/>
                  <a:pt x="100" y="34"/>
                </a:cubicBezTo>
                <a:cubicBezTo>
                  <a:pt x="101" y="36"/>
                  <a:pt x="101" y="36"/>
                  <a:pt x="99" y="37"/>
                </a:cubicBezTo>
                <a:cubicBezTo>
                  <a:pt x="99" y="37"/>
                  <a:pt x="99" y="37"/>
                  <a:pt x="99" y="37"/>
                </a:cubicBezTo>
                <a:cubicBezTo>
                  <a:pt x="99" y="37"/>
                  <a:pt x="99" y="37"/>
                  <a:pt x="99" y="37"/>
                </a:cubicBezTo>
                <a:cubicBezTo>
                  <a:pt x="98" y="37"/>
                  <a:pt x="98" y="37"/>
                  <a:pt x="98" y="38"/>
                </a:cubicBezTo>
                <a:cubicBezTo>
                  <a:pt x="97" y="38"/>
                  <a:pt x="97" y="38"/>
                  <a:pt x="97" y="38"/>
                </a:cubicBezTo>
                <a:cubicBezTo>
                  <a:pt x="95" y="41"/>
                  <a:pt x="93" y="43"/>
                  <a:pt x="90" y="44"/>
                </a:cubicBezTo>
                <a:cubicBezTo>
                  <a:pt x="90" y="44"/>
                  <a:pt x="90" y="44"/>
                  <a:pt x="90" y="44"/>
                </a:cubicBezTo>
                <a:cubicBezTo>
                  <a:pt x="90" y="44"/>
                  <a:pt x="90" y="44"/>
                  <a:pt x="90" y="44"/>
                </a:cubicBezTo>
                <a:cubicBezTo>
                  <a:pt x="90" y="44"/>
                  <a:pt x="90" y="44"/>
                  <a:pt x="90" y="44"/>
                </a:cubicBezTo>
                <a:cubicBezTo>
                  <a:pt x="88" y="43"/>
                  <a:pt x="87" y="43"/>
                  <a:pt x="85" y="42"/>
                </a:cubicBezTo>
                <a:cubicBezTo>
                  <a:pt x="85" y="42"/>
                  <a:pt x="85" y="42"/>
                  <a:pt x="85" y="42"/>
                </a:cubicBezTo>
                <a:cubicBezTo>
                  <a:pt x="85" y="42"/>
                  <a:pt x="85" y="42"/>
                  <a:pt x="85" y="42"/>
                </a:cubicBezTo>
                <a:cubicBezTo>
                  <a:pt x="81" y="42"/>
                  <a:pt x="77" y="42"/>
                  <a:pt x="74" y="40"/>
                </a:cubicBezTo>
                <a:cubicBezTo>
                  <a:pt x="74" y="40"/>
                  <a:pt x="73" y="40"/>
                  <a:pt x="73" y="40"/>
                </a:cubicBezTo>
                <a:cubicBezTo>
                  <a:pt x="71" y="40"/>
                  <a:pt x="69" y="40"/>
                  <a:pt x="68" y="37"/>
                </a:cubicBezTo>
                <a:cubicBezTo>
                  <a:pt x="68" y="37"/>
                  <a:pt x="67" y="37"/>
                  <a:pt x="67" y="36"/>
                </a:cubicBezTo>
                <a:cubicBezTo>
                  <a:pt x="66" y="34"/>
                  <a:pt x="63" y="34"/>
                  <a:pt x="61" y="33"/>
                </a:cubicBezTo>
                <a:cubicBezTo>
                  <a:pt x="59" y="32"/>
                  <a:pt x="57" y="31"/>
                  <a:pt x="55" y="31"/>
                </a:cubicBezTo>
                <a:cubicBezTo>
                  <a:pt x="55" y="31"/>
                  <a:pt x="55" y="31"/>
                  <a:pt x="55" y="31"/>
                </a:cubicBezTo>
                <a:cubicBezTo>
                  <a:pt x="53" y="28"/>
                  <a:pt x="51" y="25"/>
                  <a:pt x="52" y="22"/>
                </a:cubicBezTo>
                <a:cubicBezTo>
                  <a:pt x="52" y="20"/>
                  <a:pt x="53" y="19"/>
                  <a:pt x="54" y="18"/>
                </a:cubicBezTo>
                <a:cubicBezTo>
                  <a:pt x="55" y="18"/>
                  <a:pt x="56" y="17"/>
                  <a:pt x="57" y="16"/>
                </a:cubicBezTo>
                <a:cubicBezTo>
                  <a:pt x="57" y="16"/>
                  <a:pt x="57" y="16"/>
                  <a:pt x="57" y="16"/>
                </a:cubicBezTo>
                <a:cubicBezTo>
                  <a:pt x="57" y="16"/>
                  <a:pt x="57" y="16"/>
                  <a:pt x="57" y="16"/>
                </a:cubicBezTo>
                <a:cubicBezTo>
                  <a:pt x="57" y="15"/>
                  <a:pt x="57" y="14"/>
                  <a:pt x="58" y="13"/>
                </a:cubicBezTo>
                <a:cubicBezTo>
                  <a:pt x="58" y="13"/>
                  <a:pt x="58" y="13"/>
                  <a:pt x="58" y="13"/>
                </a:cubicBezTo>
                <a:cubicBezTo>
                  <a:pt x="58" y="12"/>
                  <a:pt x="58" y="12"/>
                  <a:pt x="58" y="12"/>
                </a:cubicBezTo>
                <a:cubicBezTo>
                  <a:pt x="59" y="11"/>
                  <a:pt x="59" y="10"/>
                  <a:pt x="60" y="10"/>
                </a:cubicBezTo>
                <a:cubicBezTo>
                  <a:pt x="60" y="10"/>
                  <a:pt x="60" y="10"/>
                  <a:pt x="61" y="10"/>
                </a:cubicBezTo>
                <a:cubicBezTo>
                  <a:pt x="61" y="9"/>
                  <a:pt x="61" y="9"/>
                  <a:pt x="61" y="9"/>
                </a:cubicBezTo>
                <a:cubicBezTo>
                  <a:pt x="64" y="9"/>
                  <a:pt x="67" y="7"/>
                  <a:pt x="69" y="5"/>
                </a:cubicBezTo>
                <a:cubicBezTo>
                  <a:pt x="70" y="5"/>
                  <a:pt x="70" y="5"/>
                  <a:pt x="71" y="4"/>
                </a:cubicBezTo>
                <a:cubicBezTo>
                  <a:pt x="71" y="4"/>
                  <a:pt x="71" y="4"/>
                  <a:pt x="71" y="4"/>
                </a:cubicBezTo>
                <a:cubicBezTo>
                  <a:pt x="71" y="4"/>
                  <a:pt x="71" y="4"/>
                  <a:pt x="71" y="4"/>
                </a:cubicBezTo>
                <a:cubicBezTo>
                  <a:pt x="71" y="4"/>
                  <a:pt x="71" y="4"/>
                  <a:pt x="71" y="4"/>
                </a:cubicBezTo>
                <a:cubicBezTo>
                  <a:pt x="72" y="4"/>
                  <a:pt x="73" y="3"/>
                  <a:pt x="73" y="3"/>
                </a:cubicBezTo>
                <a:cubicBezTo>
                  <a:pt x="75" y="1"/>
                  <a:pt x="76" y="1"/>
                  <a:pt x="78" y="1"/>
                </a:cubicBezTo>
                <a:cubicBezTo>
                  <a:pt x="78" y="1"/>
                  <a:pt x="79" y="1"/>
                  <a:pt x="79" y="2"/>
                </a:cubicBezTo>
                <a:cubicBezTo>
                  <a:pt x="79" y="2"/>
                  <a:pt x="80" y="2"/>
                  <a:pt x="80" y="2"/>
                </a:cubicBezTo>
                <a:cubicBezTo>
                  <a:pt x="81" y="2"/>
                  <a:pt x="82" y="2"/>
                  <a:pt x="82" y="3"/>
                </a:cubicBezTo>
                <a:cubicBezTo>
                  <a:pt x="83" y="4"/>
                  <a:pt x="83" y="3"/>
                  <a:pt x="84" y="3"/>
                </a:cubicBezTo>
                <a:cubicBezTo>
                  <a:pt x="84" y="3"/>
                  <a:pt x="84" y="3"/>
                  <a:pt x="84" y="3"/>
                </a:cubicBezTo>
                <a:cubicBezTo>
                  <a:pt x="84" y="3"/>
                  <a:pt x="84" y="3"/>
                  <a:pt x="84" y="3"/>
                </a:cubicBezTo>
                <a:cubicBezTo>
                  <a:pt x="85" y="0"/>
                  <a:pt x="85" y="0"/>
                  <a:pt x="87" y="1"/>
                </a:cubicBezTo>
                <a:cubicBezTo>
                  <a:pt x="88" y="1"/>
                  <a:pt x="89" y="1"/>
                  <a:pt x="90" y="1"/>
                </a:cubicBezTo>
                <a:cubicBezTo>
                  <a:pt x="91" y="1"/>
                  <a:pt x="91" y="1"/>
                  <a:pt x="92" y="2"/>
                </a:cubicBezTo>
                <a:cubicBezTo>
                  <a:pt x="92" y="2"/>
                  <a:pt x="92" y="2"/>
                  <a:pt x="92" y="2"/>
                </a:cubicBezTo>
                <a:cubicBezTo>
                  <a:pt x="92" y="2"/>
                  <a:pt x="92" y="2"/>
                  <a:pt x="92" y="2"/>
                </a:cubicBezTo>
                <a:cubicBezTo>
                  <a:pt x="92" y="2"/>
                  <a:pt x="92" y="2"/>
                  <a:pt x="92" y="2"/>
                </a:cubicBezTo>
                <a:cubicBezTo>
                  <a:pt x="93" y="1"/>
                  <a:pt x="94" y="1"/>
                  <a:pt x="95" y="1"/>
                </a:cubicBezTo>
                <a:cubicBezTo>
                  <a:pt x="97" y="0"/>
                  <a:pt x="97" y="2"/>
                  <a:pt x="98" y="2"/>
                </a:cubicBezTo>
                <a:cubicBezTo>
                  <a:pt x="98" y="2"/>
                  <a:pt x="99" y="3"/>
                  <a:pt x="100" y="3"/>
                </a:cubicBezTo>
                <a:cubicBezTo>
                  <a:pt x="101" y="2"/>
                  <a:pt x="102" y="3"/>
                  <a:pt x="103" y="4"/>
                </a:cubicBezTo>
                <a:cubicBezTo>
                  <a:pt x="103" y="4"/>
                  <a:pt x="103" y="5"/>
                  <a:pt x="103" y="5"/>
                </a:cubicBezTo>
                <a:cubicBezTo>
                  <a:pt x="106" y="6"/>
                  <a:pt x="105" y="8"/>
                  <a:pt x="106" y="10"/>
                </a:cubicBezTo>
                <a:cubicBezTo>
                  <a:pt x="106" y="10"/>
                  <a:pt x="106" y="10"/>
                  <a:pt x="106" y="11"/>
                </a:cubicBezTo>
                <a:cubicBezTo>
                  <a:pt x="106" y="11"/>
                  <a:pt x="107" y="11"/>
                  <a:pt x="107" y="12"/>
                </a:cubicBezTo>
                <a:close/>
                <a:moveTo>
                  <a:pt x="397" y="130"/>
                </a:moveTo>
                <a:cubicBezTo>
                  <a:pt x="397" y="130"/>
                  <a:pt x="397" y="131"/>
                  <a:pt x="397" y="131"/>
                </a:cubicBezTo>
                <a:cubicBezTo>
                  <a:pt x="395" y="133"/>
                  <a:pt x="395" y="134"/>
                  <a:pt x="393" y="136"/>
                </a:cubicBezTo>
                <a:cubicBezTo>
                  <a:pt x="393" y="136"/>
                  <a:pt x="393" y="136"/>
                  <a:pt x="393" y="136"/>
                </a:cubicBezTo>
                <a:cubicBezTo>
                  <a:pt x="393" y="136"/>
                  <a:pt x="393" y="136"/>
                  <a:pt x="393" y="136"/>
                </a:cubicBezTo>
                <a:cubicBezTo>
                  <a:pt x="391" y="138"/>
                  <a:pt x="389" y="139"/>
                  <a:pt x="387" y="141"/>
                </a:cubicBezTo>
                <a:cubicBezTo>
                  <a:pt x="385" y="140"/>
                  <a:pt x="383" y="143"/>
                  <a:pt x="381" y="142"/>
                </a:cubicBezTo>
                <a:cubicBezTo>
                  <a:pt x="381" y="142"/>
                  <a:pt x="381" y="142"/>
                  <a:pt x="381" y="142"/>
                </a:cubicBezTo>
                <a:cubicBezTo>
                  <a:pt x="378" y="144"/>
                  <a:pt x="375" y="142"/>
                  <a:pt x="373" y="142"/>
                </a:cubicBezTo>
                <a:cubicBezTo>
                  <a:pt x="371" y="141"/>
                  <a:pt x="368" y="141"/>
                  <a:pt x="366" y="140"/>
                </a:cubicBezTo>
                <a:cubicBezTo>
                  <a:pt x="364" y="139"/>
                  <a:pt x="362" y="139"/>
                  <a:pt x="360" y="137"/>
                </a:cubicBezTo>
                <a:cubicBezTo>
                  <a:pt x="360" y="137"/>
                  <a:pt x="360" y="137"/>
                  <a:pt x="360" y="137"/>
                </a:cubicBezTo>
                <a:cubicBezTo>
                  <a:pt x="359" y="137"/>
                  <a:pt x="357" y="137"/>
                  <a:pt x="355" y="137"/>
                </a:cubicBezTo>
                <a:cubicBezTo>
                  <a:pt x="353" y="136"/>
                  <a:pt x="351" y="137"/>
                  <a:pt x="349" y="137"/>
                </a:cubicBezTo>
                <a:cubicBezTo>
                  <a:pt x="347" y="138"/>
                  <a:pt x="345" y="138"/>
                  <a:pt x="343" y="138"/>
                </a:cubicBezTo>
                <a:cubicBezTo>
                  <a:pt x="341" y="138"/>
                  <a:pt x="339" y="138"/>
                  <a:pt x="337" y="138"/>
                </a:cubicBezTo>
                <a:cubicBezTo>
                  <a:pt x="335" y="138"/>
                  <a:pt x="333" y="138"/>
                  <a:pt x="331" y="137"/>
                </a:cubicBezTo>
                <a:cubicBezTo>
                  <a:pt x="330" y="137"/>
                  <a:pt x="329" y="137"/>
                  <a:pt x="330" y="136"/>
                </a:cubicBezTo>
                <a:cubicBezTo>
                  <a:pt x="331" y="135"/>
                  <a:pt x="331" y="134"/>
                  <a:pt x="331" y="133"/>
                </a:cubicBezTo>
                <a:cubicBezTo>
                  <a:pt x="332" y="131"/>
                  <a:pt x="334" y="130"/>
                  <a:pt x="335" y="129"/>
                </a:cubicBezTo>
                <a:cubicBezTo>
                  <a:pt x="336" y="128"/>
                  <a:pt x="337" y="126"/>
                  <a:pt x="336" y="125"/>
                </a:cubicBezTo>
                <a:cubicBezTo>
                  <a:pt x="336" y="124"/>
                  <a:pt x="336" y="124"/>
                  <a:pt x="336" y="123"/>
                </a:cubicBezTo>
                <a:cubicBezTo>
                  <a:pt x="336" y="123"/>
                  <a:pt x="335" y="123"/>
                  <a:pt x="336" y="122"/>
                </a:cubicBezTo>
                <a:cubicBezTo>
                  <a:pt x="336" y="122"/>
                  <a:pt x="336" y="122"/>
                  <a:pt x="337" y="122"/>
                </a:cubicBezTo>
                <a:cubicBezTo>
                  <a:pt x="337" y="123"/>
                  <a:pt x="338" y="123"/>
                  <a:pt x="339" y="123"/>
                </a:cubicBezTo>
                <a:cubicBezTo>
                  <a:pt x="341" y="123"/>
                  <a:pt x="342" y="124"/>
                  <a:pt x="344" y="124"/>
                </a:cubicBezTo>
                <a:cubicBezTo>
                  <a:pt x="346" y="125"/>
                  <a:pt x="349" y="125"/>
                  <a:pt x="352" y="125"/>
                </a:cubicBezTo>
                <a:cubicBezTo>
                  <a:pt x="352" y="125"/>
                  <a:pt x="353" y="125"/>
                  <a:pt x="354" y="126"/>
                </a:cubicBezTo>
                <a:cubicBezTo>
                  <a:pt x="354" y="126"/>
                  <a:pt x="354" y="126"/>
                  <a:pt x="354" y="126"/>
                </a:cubicBezTo>
                <a:cubicBezTo>
                  <a:pt x="356" y="126"/>
                  <a:pt x="359" y="126"/>
                  <a:pt x="362" y="127"/>
                </a:cubicBezTo>
                <a:cubicBezTo>
                  <a:pt x="362" y="127"/>
                  <a:pt x="362" y="127"/>
                  <a:pt x="362" y="127"/>
                </a:cubicBezTo>
                <a:cubicBezTo>
                  <a:pt x="362" y="127"/>
                  <a:pt x="362" y="127"/>
                  <a:pt x="362" y="127"/>
                </a:cubicBezTo>
                <a:cubicBezTo>
                  <a:pt x="363" y="127"/>
                  <a:pt x="364" y="127"/>
                  <a:pt x="364" y="127"/>
                </a:cubicBezTo>
                <a:cubicBezTo>
                  <a:pt x="365" y="127"/>
                  <a:pt x="365" y="127"/>
                  <a:pt x="365" y="126"/>
                </a:cubicBezTo>
                <a:cubicBezTo>
                  <a:pt x="366" y="126"/>
                  <a:pt x="366" y="125"/>
                  <a:pt x="366" y="125"/>
                </a:cubicBezTo>
                <a:cubicBezTo>
                  <a:pt x="366" y="124"/>
                  <a:pt x="366" y="123"/>
                  <a:pt x="367" y="123"/>
                </a:cubicBezTo>
                <a:cubicBezTo>
                  <a:pt x="368" y="123"/>
                  <a:pt x="369" y="124"/>
                  <a:pt x="369" y="125"/>
                </a:cubicBezTo>
                <a:cubicBezTo>
                  <a:pt x="370" y="126"/>
                  <a:pt x="370" y="127"/>
                  <a:pt x="371" y="128"/>
                </a:cubicBezTo>
                <a:cubicBezTo>
                  <a:pt x="371" y="128"/>
                  <a:pt x="371" y="128"/>
                  <a:pt x="371" y="128"/>
                </a:cubicBezTo>
                <a:cubicBezTo>
                  <a:pt x="372" y="128"/>
                  <a:pt x="372" y="128"/>
                  <a:pt x="373" y="128"/>
                </a:cubicBezTo>
                <a:cubicBezTo>
                  <a:pt x="373" y="129"/>
                  <a:pt x="373" y="129"/>
                  <a:pt x="373" y="129"/>
                </a:cubicBezTo>
                <a:cubicBezTo>
                  <a:pt x="373" y="129"/>
                  <a:pt x="373" y="129"/>
                  <a:pt x="373" y="129"/>
                </a:cubicBezTo>
                <a:cubicBezTo>
                  <a:pt x="374" y="129"/>
                  <a:pt x="375" y="129"/>
                  <a:pt x="375" y="129"/>
                </a:cubicBezTo>
                <a:cubicBezTo>
                  <a:pt x="375" y="129"/>
                  <a:pt x="375" y="129"/>
                  <a:pt x="375" y="129"/>
                </a:cubicBezTo>
                <a:cubicBezTo>
                  <a:pt x="376" y="129"/>
                  <a:pt x="377" y="128"/>
                  <a:pt x="378" y="130"/>
                </a:cubicBezTo>
                <a:cubicBezTo>
                  <a:pt x="378" y="130"/>
                  <a:pt x="378" y="130"/>
                  <a:pt x="379" y="130"/>
                </a:cubicBezTo>
                <a:cubicBezTo>
                  <a:pt x="381" y="129"/>
                  <a:pt x="383" y="129"/>
                  <a:pt x="386" y="128"/>
                </a:cubicBezTo>
                <a:cubicBezTo>
                  <a:pt x="387" y="128"/>
                  <a:pt x="388" y="129"/>
                  <a:pt x="389" y="128"/>
                </a:cubicBezTo>
                <a:cubicBezTo>
                  <a:pt x="390" y="128"/>
                  <a:pt x="391" y="128"/>
                  <a:pt x="392" y="128"/>
                </a:cubicBezTo>
                <a:cubicBezTo>
                  <a:pt x="393" y="128"/>
                  <a:pt x="394" y="128"/>
                  <a:pt x="394" y="129"/>
                </a:cubicBezTo>
                <a:cubicBezTo>
                  <a:pt x="394" y="130"/>
                  <a:pt x="395" y="130"/>
                  <a:pt x="396" y="130"/>
                </a:cubicBezTo>
                <a:cubicBezTo>
                  <a:pt x="396" y="130"/>
                  <a:pt x="396" y="130"/>
                  <a:pt x="397" y="130"/>
                </a:cubicBezTo>
                <a:close/>
                <a:moveTo>
                  <a:pt x="21" y="29"/>
                </a:moveTo>
                <a:cubicBezTo>
                  <a:pt x="20" y="28"/>
                  <a:pt x="19" y="28"/>
                  <a:pt x="18" y="28"/>
                </a:cubicBezTo>
                <a:cubicBezTo>
                  <a:pt x="16" y="29"/>
                  <a:pt x="15" y="29"/>
                  <a:pt x="15" y="31"/>
                </a:cubicBezTo>
                <a:cubicBezTo>
                  <a:pt x="15" y="33"/>
                  <a:pt x="14" y="35"/>
                  <a:pt x="11" y="35"/>
                </a:cubicBezTo>
                <a:cubicBezTo>
                  <a:pt x="10" y="36"/>
                  <a:pt x="8" y="37"/>
                  <a:pt x="7" y="38"/>
                </a:cubicBezTo>
                <a:cubicBezTo>
                  <a:pt x="5" y="40"/>
                  <a:pt x="2" y="41"/>
                  <a:pt x="2" y="45"/>
                </a:cubicBezTo>
                <a:cubicBezTo>
                  <a:pt x="2" y="45"/>
                  <a:pt x="2" y="45"/>
                  <a:pt x="2" y="45"/>
                </a:cubicBezTo>
                <a:cubicBezTo>
                  <a:pt x="1" y="46"/>
                  <a:pt x="0" y="47"/>
                  <a:pt x="1" y="49"/>
                </a:cubicBezTo>
                <a:cubicBezTo>
                  <a:pt x="1" y="50"/>
                  <a:pt x="0" y="50"/>
                  <a:pt x="1" y="51"/>
                </a:cubicBezTo>
                <a:cubicBezTo>
                  <a:pt x="2" y="52"/>
                  <a:pt x="3" y="54"/>
                  <a:pt x="4" y="55"/>
                </a:cubicBezTo>
                <a:cubicBezTo>
                  <a:pt x="4" y="55"/>
                  <a:pt x="5" y="55"/>
                  <a:pt x="5" y="54"/>
                </a:cubicBezTo>
                <a:cubicBezTo>
                  <a:pt x="5" y="53"/>
                  <a:pt x="6" y="52"/>
                  <a:pt x="7" y="51"/>
                </a:cubicBezTo>
                <a:cubicBezTo>
                  <a:pt x="7" y="49"/>
                  <a:pt x="9" y="47"/>
                  <a:pt x="10" y="45"/>
                </a:cubicBezTo>
                <a:cubicBezTo>
                  <a:pt x="10" y="44"/>
                  <a:pt x="12" y="44"/>
                  <a:pt x="13" y="44"/>
                </a:cubicBezTo>
                <a:cubicBezTo>
                  <a:pt x="15" y="43"/>
                  <a:pt x="17" y="42"/>
                  <a:pt x="18" y="41"/>
                </a:cubicBezTo>
                <a:cubicBezTo>
                  <a:pt x="19" y="41"/>
                  <a:pt x="20" y="40"/>
                  <a:pt x="19" y="39"/>
                </a:cubicBezTo>
                <a:cubicBezTo>
                  <a:pt x="18" y="36"/>
                  <a:pt x="19" y="33"/>
                  <a:pt x="21" y="31"/>
                </a:cubicBezTo>
                <a:cubicBezTo>
                  <a:pt x="22" y="30"/>
                  <a:pt x="22" y="29"/>
                  <a:pt x="21" y="29"/>
                </a:cubicBezTo>
                <a:close/>
                <a:moveTo>
                  <a:pt x="415" y="205"/>
                </a:moveTo>
                <a:cubicBezTo>
                  <a:pt x="414" y="204"/>
                  <a:pt x="414" y="204"/>
                  <a:pt x="415" y="203"/>
                </a:cubicBezTo>
                <a:cubicBezTo>
                  <a:pt x="415" y="202"/>
                  <a:pt x="415" y="201"/>
                  <a:pt x="416" y="200"/>
                </a:cubicBezTo>
                <a:cubicBezTo>
                  <a:pt x="416" y="200"/>
                  <a:pt x="416" y="199"/>
                  <a:pt x="416" y="199"/>
                </a:cubicBezTo>
                <a:cubicBezTo>
                  <a:pt x="415" y="197"/>
                  <a:pt x="412" y="196"/>
                  <a:pt x="410" y="197"/>
                </a:cubicBezTo>
                <a:cubicBezTo>
                  <a:pt x="409" y="197"/>
                  <a:pt x="408" y="198"/>
                  <a:pt x="408" y="198"/>
                </a:cubicBezTo>
                <a:cubicBezTo>
                  <a:pt x="406" y="200"/>
                  <a:pt x="404" y="202"/>
                  <a:pt x="401" y="202"/>
                </a:cubicBezTo>
                <a:cubicBezTo>
                  <a:pt x="399" y="202"/>
                  <a:pt x="399" y="204"/>
                  <a:pt x="398" y="205"/>
                </a:cubicBezTo>
                <a:cubicBezTo>
                  <a:pt x="398" y="206"/>
                  <a:pt x="399" y="206"/>
                  <a:pt x="399" y="207"/>
                </a:cubicBezTo>
                <a:cubicBezTo>
                  <a:pt x="400" y="207"/>
                  <a:pt x="400" y="207"/>
                  <a:pt x="400" y="208"/>
                </a:cubicBezTo>
                <a:cubicBezTo>
                  <a:pt x="401" y="209"/>
                  <a:pt x="401" y="209"/>
                  <a:pt x="402" y="208"/>
                </a:cubicBezTo>
                <a:cubicBezTo>
                  <a:pt x="403" y="208"/>
                  <a:pt x="403" y="207"/>
                  <a:pt x="404" y="207"/>
                </a:cubicBezTo>
                <a:cubicBezTo>
                  <a:pt x="406" y="208"/>
                  <a:pt x="407" y="207"/>
                  <a:pt x="408" y="206"/>
                </a:cubicBezTo>
                <a:cubicBezTo>
                  <a:pt x="409" y="206"/>
                  <a:pt x="409" y="206"/>
                  <a:pt x="410" y="207"/>
                </a:cubicBezTo>
                <a:cubicBezTo>
                  <a:pt x="410" y="208"/>
                  <a:pt x="411" y="208"/>
                  <a:pt x="412" y="207"/>
                </a:cubicBezTo>
                <a:cubicBezTo>
                  <a:pt x="413" y="207"/>
                  <a:pt x="414" y="206"/>
                  <a:pt x="415" y="207"/>
                </a:cubicBezTo>
                <a:cubicBezTo>
                  <a:pt x="415" y="207"/>
                  <a:pt x="416" y="206"/>
                  <a:pt x="416" y="205"/>
                </a:cubicBezTo>
                <a:cubicBezTo>
                  <a:pt x="417" y="205"/>
                  <a:pt x="416" y="205"/>
                  <a:pt x="415" y="205"/>
                </a:cubicBezTo>
                <a:close/>
                <a:moveTo>
                  <a:pt x="259" y="104"/>
                </a:moveTo>
                <a:cubicBezTo>
                  <a:pt x="259" y="104"/>
                  <a:pt x="259" y="104"/>
                  <a:pt x="259" y="104"/>
                </a:cubicBezTo>
                <a:cubicBezTo>
                  <a:pt x="259" y="104"/>
                  <a:pt x="259" y="104"/>
                  <a:pt x="259" y="104"/>
                </a:cubicBezTo>
                <a:close/>
                <a:moveTo>
                  <a:pt x="291" y="113"/>
                </a:moveTo>
                <a:cubicBezTo>
                  <a:pt x="290" y="114"/>
                  <a:pt x="288" y="116"/>
                  <a:pt x="286" y="116"/>
                </a:cubicBezTo>
                <a:cubicBezTo>
                  <a:pt x="286" y="116"/>
                  <a:pt x="286" y="116"/>
                  <a:pt x="286" y="116"/>
                </a:cubicBezTo>
                <a:cubicBezTo>
                  <a:pt x="287" y="117"/>
                  <a:pt x="286" y="117"/>
                  <a:pt x="286" y="117"/>
                </a:cubicBezTo>
                <a:cubicBezTo>
                  <a:pt x="284" y="117"/>
                  <a:pt x="285" y="116"/>
                  <a:pt x="285" y="116"/>
                </a:cubicBezTo>
                <a:cubicBezTo>
                  <a:pt x="284" y="114"/>
                  <a:pt x="282" y="115"/>
                  <a:pt x="281" y="115"/>
                </a:cubicBezTo>
                <a:cubicBezTo>
                  <a:pt x="281" y="115"/>
                  <a:pt x="280" y="116"/>
                  <a:pt x="279" y="116"/>
                </a:cubicBezTo>
                <a:cubicBezTo>
                  <a:pt x="279" y="116"/>
                  <a:pt x="279" y="116"/>
                  <a:pt x="279" y="116"/>
                </a:cubicBezTo>
                <a:cubicBezTo>
                  <a:pt x="279" y="116"/>
                  <a:pt x="279" y="116"/>
                  <a:pt x="279" y="116"/>
                </a:cubicBezTo>
                <a:cubicBezTo>
                  <a:pt x="279" y="116"/>
                  <a:pt x="279" y="116"/>
                  <a:pt x="279" y="116"/>
                </a:cubicBezTo>
                <a:cubicBezTo>
                  <a:pt x="279" y="116"/>
                  <a:pt x="279" y="116"/>
                  <a:pt x="279" y="116"/>
                </a:cubicBezTo>
                <a:cubicBezTo>
                  <a:pt x="278" y="116"/>
                  <a:pt x="277" y="116"/>
                  <a:pt x="276" y="118"/>
                </a:cubicBezTo>
                <a:cubicBezTo>
                  <a:pt x="276" y="118"/>
                  <a:pt x="275" y="118"/>
                  <a:pt x="274" y="118"/>
                </a:cubicBezTo>
                <a:cubicBezTo>
                  <a:pt x="274" y="118"/>
                  <a:pt x="274" y="118"/>
                  <a:pt x="274" y="118"/>
                </a:cubicBezTo>
                <a:cubicBezTo>
                  <a:pt x="274" y="118"/>
                  <a:pt x="274" y="118"/>
                  <a:pt x="274" y="118"/>
                </a:cubicBezTo>
                <a:cubicBezTo>
                  <a:pt x="273" y="118"/>
                  <a:pt x="273" y="118"/>
                  <a:pt x="273" y="117"/>
                </a:cubicBezTo>
                <a:cubicBezTo>
                  <a:pt x="273" y="117"/>
                  <a:pt x="272" y="117"/>
                  <a:pt x="272" y="116"/>
                </a:cubicBezTo>
                <a:cubicBezTo>
                  <a:pt x="272" y="116"/>
                  <a:pt x="272" y="116"/>
                  <a:pt x="272" y="116"/>
                </a:cubicBezTo>
                <a:cubicBezTo>
                  <a:pt x="272" y="116"/>
                  <a:pt x="272" y="116"/>
                  <a:pt x="271" y="116"/>
                </a:cubicBezTo>
                <a:cubicBezTo>
                  <a:pt x="270" y="115"/>
                  <a:pt x="269" y="114"/>
                  <a:pt x="268" y="114"/>
                </a:cubicBezTo>
                <a:cubicBezTo>
                  <a:pt x="267" y="113"/>
                  <a:pt x="267" y="113"/>
                  <a:pt x="267" y="112"/>
                </a:cubicBezTo>
                <a:cubicBezTo>
                  <a:pt x="267" y="111"/>
                  <a:pt x="267" y="111"/>
                  <a:pt x="266" y="111"/>
                </a:cubicBezTo>
                <a:cubicBezTo>
                  <a:pt x="266" y="111"/>
                  <a:pt x="266" y="111"/>
                  <a:pt x="266" y="111"/>
                </a:cubicBezTo>
                <a:cubicBezTo>
                  <a:pt x="266" y="111"/>
                  <a:pt x="266" y="111"/>
                  <a:pt x="266" y="111"/>
                </a:cubicBezTo>
                <a:cubicBezTo>
                  <a:pt x="266" y="111"/>
                  <a:pt x="265" y="111"/>
                  <a:pt x="265" y="111"/>
                </a:cubicBezTo>
                <a:cubicBezTo>
                  <a:pt x="265" y="111"/>
                  <a:pt x="266" y="111"/>
                  <a:pt x="266" y="112"/>
                </a:cubicBezTo>
                <a:cubicBezTo>
                  <a:pt x="266" y="112"/>
                  <a:pt x="266" y="112"/>
                  <a:pt x="266" y="112"/>
                </a:cubicBezTo>
                <a:cubicBezTo>
                  <a:pt x="266" y="112"/>
                  <a:pt x="266" y="113"/>
                  <a:pt x="266" y="113"/>
                </a:cubicBezTo>
                <a:cubicBezTo>
                  <a:pt x="265" y="113"/>
                  <a:pt x="265" y="112"/>
                  <a:pt x="265" y="112"/>
                </a:cubicBezTo>
                <a:cubicBezTo>
                  <a:pt x="265" y="112"/>
                  <a:pt x="264" y="111"/>
                  <a:pt x="264" y="111"/>
                </a:cubicBezTo>
                <a:cubicBezTo>
                  <a:pt x="264" y="111"/>
                  <a:pt x="264" y="111"/>
                  <a:pt x="264" y="111"/>
                </a:cubicBezTo>
                <a:cubicBezTo>
                  <a:pt x="264" y="111"/>
                  <a:pt x="264" y="111"/>
                  <a:pt x="264" y="111"/>
                </a:cubicBezTo>
                <a:cubicBezTo>
                  <a:pt x="264" y="111"/>
                  <a:pt x="264" y="111"/>
                  <a:pt x="264" y="111"/>
                </a:cubicBezTo>
                <a:cubicBezTo>
                  <a:pt x="264" y="109"/>
                  <a:pt x="263" y="109"/>
                  <a:pt x="262" y="111"/>
                </a:cubicBezTo>
                <a:cubicBezTo>
                  <a:pt x="262" y="111"/>
                  <a:pt x="262" y="111"/>
                  <a:pt x="262" y="111"/>
                </a:cubicBezTo>
                <a:cubicBezTo>
                  <a:pt x="263" y="113"/>
                  <a:pt x="262" y="112"/>
                  <a:pt x="261" y="112"/>
                </a:cubicBezTo>
                <a:cubicBezTo>
                  <a:pt x="261" y="112"/>
                  <a:pt x="260" y="112"/>
                  <a:pt x="259" y="112"/>
                </a:cubicBezTo>
                <a:cubicBezTo>
                  <a:pt x="258" y="112"/>
                  <a:pt x="258" y="112"/>
                  <a:pt x="258" y="112"/>
                </a:cubicBezTo>
                <a:cubicBezTo>
                  <a:pt x="258" y="112"/>
                  <a:pt x="258" y="112"/>
                  <a:pt x="258" y="112"/>
                </a:cubicBezTo>
                <a:cubicBezTo>
                  <a:pt x="258" y="111"/>
                  <a:pt x="257" y="110"/>
                  <a:pt x="257" y="110"/>
                </a:cubicBezTo>
                <a:cubicBezTo>
                  <a:pt x="256" y="109"/>
                  <a:pt x="256" y="107"/>
                  <a:pt x="257" y="106"/>
                </a:cubicBezTo>
                <a:cubicBezTo>
                  <a:pt x="258" y="105"/>
                  <a:pt x="259" y="105"/>
                  <a:pt x="259" y="104"/>
                </a:cubicBezTo>
                <a:cubicBezTo>
                  <a:pt x="259" y="104"/>
                  <a:pt x="259" y="104"/>
                  <a:pt x="259" y="104"/>
                </a:cubicBezTo>
                <a:cubicBezTo>
                  <a:pt x="259" y="104"/>
                  <a:pt x="259" y="104"/>
                  <a:pt x="259" y="104"/>
                </a:cubicBezTo>
                <a:cubicBezTo>
                  <a:pt x="259" y="104"/>
                  <a:pt x="259" y="104"/>
                  <a:pt x="259" y="104"/>
                </a:cubicBezTo>
                <a:cubicBezTo>
                  <a:pt x="259" y="104"/>
                  <a:pt x="259" y="104"/>
                  <a:pt x="259" y="104"/>
                </a:cubicBezTo>
                <a:cubicBezTo>
                  <a:pt x="259" y="104"/>
                  <a:pt x="259" y="104"/>
                  <a:pt x="259" y="104"/>
                </a:cubicBezTo>
                <a:cubicBezTo>
                  <a:pt x="259" y="104"/>
                  <a:pt x="259" y="104"/>
                  <a:pt x="259" y="104"/>
                </a:cubicBezTo>
                <a:cubicBezTo>
                  <a:pt x="259" y="104"/>
                  <a:pt x="259" y="104"/>
                  <a:pt x="259" y="104"/>
                </a:cubicBezTo>
                <a:cubicBezTo>
                  <a:pt x="259" y="104"/>
                  <a:pt x="259" y="103"/>
                  <a:pt x="259" y="103"/>
                </a:cubicBezTo>
                <a:cubicBezTo>
                  <a:pt x="258" y="102"/>
                  <a:pt x="257" y="102"/>
                  <a:pt x="256" y="102"/>
                </a:cubicBezTo>
                <a:cubicBezTo>
                  <a:pt x="256" y="102"/>
                  <a:pt x="256" y="102"/>
                  <a:pt x="256" y="102"/>
                </a:cubicBezTo>
                <a:cubicBezTo>
                  <a:pt x="256" y="102"/>
                  <a:pt x="256" y="102"/>
                  <a:pt x="256" y="102"/>
                </a:cubicBezTo>
                <a:cubicBezTo>
                  <a:pt x="256" y="103"/>
                  <a:pt x="256" y="103"/>
                  <a:pt x="256" y="103"/>
                </a:cubicBezTo>
                <a:cubicBezTo>
                  <a:pt x="256" y="104"/>
                  <a:pt x="256" y="104"/>
                  <a:pt x="255" y="104"/>
                </a:cubicBezTo>
                <a:cubicBezTo>
                  <a:pt x="255" y="104"/>
                  <a:pt x="255" y="104"/>
                  <a:pt x="255" y="104"/>
                </a:cubicBezTo>
                <a:cubicBezTo>
                  <a:pt x="255" y="103"/>
                  <a:pt x="254" y="102"/>
                  <a:pt x="254" y="103"/>
                </a:cubicBezTo>
                <a:cubicBezTo>
                  <a:pt x="253" y="104"/>
                  <a:pt x="254" y="105"/>
                  <a:pt x="254" y="105"/>
                </a:cubicBezTo>
                <a:cubicBezTo>
                  <a:pt x="255" y="105"/>
                  <a:pt x="255" y="106"/>
                  <a:pt x="255" y="107"/>
                </a:cubicBezTo>
                <a:cubicBezTo>
                  <a:pt x="254" y="106"/>
                  <a:pt x="252" y="106"/>
                  <a:pt x="252" y="105"/>
                </a:cubicBezTo>
                <a:cubicBezTo>
                  <a:pt x="252" y="104"/>
                  <a:pt x="251" y="104"/>
                  <a:pt x="250" y="104"/>
                </a:cubicBezTo>
                <a:cubicBezTo>
                  <a:pt x="250" y="104"/>
                  <a:pt x="250" y="105"/>
                  <a:pt x="250" y="105"/>
                </a:cubicBezTo>
                <a:cubicBezTo>
                  <a:pt x="250" y="106"/>
                  <a:pt x="250" y="106"/>
                  <a:pt x="251" y="106"/>
                </a:cubicBezTo>
                <a:cubicBezTo>
                  <a:pt x="252" y="106"/>
                  <a:pt x="252" y="106"/>
                  <a:pt x="253" y="107"/>
                </a:cubicBezTo>
                <a:cubicBezTo>
                  <a:pt x="255" y="107"/>
                  <a:pt x="255" y="108"/>
                  <a:pt x="255" y="109"/>
                </a:cubicBezTo>
                <a:cubicBezTo>
                  <a:pt x="255" y="111"/>
                  <a:pt x="254" y="111"/>
                  <a:pt x="253" y="111"/>
                </a:cubicBezTo>
                <a:cubicBezTo>
                  <a:pt x="253" y="111"/>
                  <a:pt x="253" y="111"/>
                  <a:pt x="253" y="111"/>
                </a:cubicBezTo>
                <a:cubicBezTo>
                  <a:pt x="252" y="112"/>
                  <a:pt x="250" y="112"/>
                  <a:pt x="249" y="112"/>
                </a:cubicBezTo>
                <a:cubicBezTo>
                  <a:pt x="249" y="112"/>
                  <a:pt x="249" y="112"/>
                  <a:pt x="249" y="112"/>
                </a:cubicBezTo>
                <a:cubicBezTo>
                  <a:pt x="247" y="113"/>
                  <a:pt x="245" y="113"/>
                  <a:pt x="243" y="113"/>
                </a:cubicBezTo>
                <a:cubicBezTo>
                  <a:pt x="243" y="113"/>
                  <a:pt x="243" y="113"/>
                  <a:pt x="243" y="113"/>
                </a:cubicBezTo>
                <a:cubicBezTo>
                  <a:pt x="242" y="113"/>
                  <a:pt x="241" y="114"/>
                  <a:pt x="240" y="113"/>
                </a:cubicBezTo>
                <a:cubicBezTo>
                  <a:pt x="239" y="112"/>
                  <a:pt x="239" y="111"/>
                  <a:pt x="239" y="110"/>
                </a:cubicBezTo>
                <a:cubicBezTo>
                  <a:pt x="238" y="107"/>
                  <a:pt x="237" y="105"/>
                  <a:pt x="235" y="103"/>
                </a:cubicBezTo>
                <a:cubicBezTo>
                  <a:pt x="235" y="103"/>
                  <a:pt x="235" y="103"/>
                  <a:pt x="235" y="103"/>
                </a:cubicBezTo>
                <a:cubicBezTo>
                  <a:pt x="235" y="103"/>
                  <a:pt x="235" y="103"/>
                  <a:pt x="235" y="102"/>
                </a:cubicBezTo>
                <a:cubicBezTo>
                  <a:pt x="235" y="102"/>
                  <a:pt x="234" y="102"/>
                  <a:pt x="234" y="101"/>
                </a:cubicBezTo>
                <a:cubicBezTo>
                  <a:pt x="234" y="101"/>
                  <a:pt x="234" y="101"/>
                  <a:pt x="233" y="101"/>
                </a:cubicBezTo>
                <a:cubicBezTo>
                  <a:pt x="233" y="101"/>
                  <a:pt x="233" y="101"/>
                  <a:pt x="233" y="100"/>
                </a:cubicBezTo>
                <a:cubicBezTo>
                  <a:pt x="233" y="100"/>
                  <a:pt x="233" y="100"/>
                  <a:pt x="233" y="100"/>
                </a:cubicBezTo>
                <a:cubicBezTo>
                  <a:pt x="233" y="100"/>
                  <a:pt x="233" y="100"/>
                  <a:pt x="233" y="100"/>
                </a:cubicBezTo>
                <a:cubicBezTo>
                  <a:pt x="233" y="100"/>
                  <a:pt x="233" y="99"/>
                  <a:pt x="233" y="99"/>
                </a:cubicBezTo>
                <a:cubicBezTo>
                  <a:pt x="233" y="99"/>
                  <a:pt x="232" y="99"/>
                  <a:pt x="232" y="99"/>
                </a:cubicBezTo>
                <a:cubicBezTo>
                  <a:pt x="232" y="98"/>
                  <a:pt x="232" y="98"/>
                  <a:pt x="232" y="97"/>
                </a:cubicBezTo>
                <a:cubicBezTo>
                  <a:pt x="231" y="96"/>
                  <a:pt x="231" y="95"/>
                  <a:pt x="229" y="94"/>
                </a:cubicBezTo>
                <a:cubicBezTo>
                  <a:pt x="228" y="93"/>
                  <a:pt x="228" y="92"/>
                  <a:pt x="227" y="91"/>
                </a:cubicBezTo>
                <a:cubicBezTo>
                  <a:pt x="226" y="91"/>
                  <a:pt x="226" y="90"/>
                  <a:pt x="226" y="90"/>
                </a:cubicBezTo>
                <a:cubicBezTo>
                  <a:pt x="226" y="89"/>
                  <a:pt x="226" y="88"/>
                  <a:pt x="226" y="87"/>
                </a:cubicBezTo>
                <a:cubicBezTo>
                  <a:pt x="227" y="85"/>
                  <a:pt x="226" y="83"/>
                  <a:pt x="224" y="82"/>
                </a:cubicBezTo>
                <a:cubicBezTo>
                  <a:pt x="223" y="81"/>
                  <a:pt x="223" y="81"/>
                  <a:pt x="222" y="81"/>
                </a:cubicBezTo>
                <a:cubicBezTo>
                  <a:pt x="222" y="80"/>
                  <a:pt x="221" y="80"/>
                  <a:pt x="221" y="80"/>
                </a:cubicBezTo>
                <a:cubicBezTo>
                  <a:pt x="222" y="79"/>
                  <a:pt x="222" y="80"/>
                  <a:pt x="222" y="79"/>
                </a:cubicBezTo>
                <a:cubicBezTo>
                  <a:pt x="222" y="79"/>
                  <a:pt x="223" y="79"/>
                  <a:pt x="223" y="79"/>
                </a:cubicBezTo>
                <a:cubicBezTo>
                  <a:pt x="223" y="79"/>
                  <a:pt x="223" y="79"/>
                  <a:pt x="223" y="79"/>
                </a:cubicBezTo>
                <a:cubicBezTo>
                  <a:pt x="224" y="79"/>
                  <a:pt x="224" y="79"/>
                  <a:pt x="225" y="79"/>
                </a:cubicBezTo>
                <a:cubicBezTo>
                  <a:pt x="225" y="79"/>
                  <a:pt x="225" y="79"/>
                  <a:pt x="225" y="79"/>
                </a:cubicBezTo>
                <a:cubicBezTo>
                  <a:pt x="227" y="78"/>
                  <a:pt x="229" y="79"/>
                  <a:pt x="231" y="79"/>
                </a:cubicBezTo>
                <a:cubicBezTo>
                  <a:pt x="231" y="79"/>
                  <a:pt x="231" y="79"/>
                  <a:pt x="231" y="79"/>
                </a:cubicBezTo>
                <a:cubicBezTo>
                  <a:pt x="231" y="79"/>
                  <a:pt x="231" y="79"/>
                  <a:pt x="231" y="79"/>
                </a:cubicBezTo>
                <a:cubicBezTo>
                  <a:pt x="232" y="79"/>
                  <a:pt x="232" y="79"/>
                  <a:pt x="232" y="79"/>
                </a:cubicBezTo>
                <a:cubicBezTo>
                  <a:pt x="232" y="79"/>
                  <a:pt x="232" y="79"/>
                  <a:pt x="232" y="79"/>
                </a:cubicBezTo>
                <a:cubicBezTo>
                  <a:pt x="233" y="79"/>
                  <a:pt x="234" y="79"/>
                  <a:pt x="235" y="79"/>
                </a:cubicBezTo>
                <a:cubicBezTo>
                  <a:pt x="235" y="79"/>
                  <a:pt x="235" y="79"/>
                  <a:pt x="236" y="79"/>
                </a:cubicBezTo>
                <a:cubicBezTo>
                  <a:pt x="238" y="79"/>
                  <a:pt x="239" y="79"/>
                  <a:pt x="240" y="77"/>
                </a:cubicBezTo>
                <a:cubicBezTo>
                  <a:pt x="240" y="76"/>
                  <a:pt x="241" y="75"/>
                  <a:pt x="241" y="75"/>
                </a:cubicBezTo>
                <a:cubicBezTo>
                  <a:pt x="243" y="73"/>
                  <a:pt x="244" y="71"/>
                  <a:pt x="245" y="70"/>
                </a:cubicBezTo>
                <a:cubicBezTo>
                  <a:pt x="247" y="67"/>
                  <a:pt x="248" y="65"/>
                  <a:pt x="251" y="64"/>
                </a:cubicBezTo>
                <a:cubicBezTo>
                  <a:pt x="251" y="64"/>
                  <a:pt x="251" y="64"/>
                  <a:pt x="251" y="64"/>
                </a:cubicBezTo>
                <a:cubicBezTo>
                  <a:pt x="251" y="64"/>
                  <a:pt x="251" y="64"/>
                  <a:pt x="251" y="64"/>
                </a:cubicBezTo>
                <a:cubicBezTo>
                  <a:pt x="254" y="63"/>
                  <a:pt x="256" y="63"/>
                  <a:pt x="258" y="66"/>
                </a:cubicBezTo>
                <a:cubicBezTo>
                  <a:pt x="259" y="67"/>
                  <a:pt x="260" y="69"/>
                  <a:pt x="261" y="71"/>
                </a:cubicBezTo>
                <a:cubicBezTo>
                  <a:pt x="261" y="71"/>
                  <a:pt x="261" y="72"/>
                  <a:pt x="261" y="72"/>
                </a:cubicBezTo>
                <a:cubicBezTo>
                  <a:pt x="262" y="74"/>
                  <a:pt x="262" y="75"/>
                  <a:pt x="263" y="76"/>
                </a:cubicBezTo>
                <a:cubicBezTo>
                  <a:pt x="264" y="76"/>
                  <a:pt x="264" y="77"/>
                  <a:pt x="264" y="77"/>
                </a:cubicBezTo>
                <a:cubicBezTo>
                  <a:pt x="265" y="79"/>
                  <a:pt x="266" y="80"/>
                  <a:pt x="267" y="82"/>
                </a:cubicBezTo>
                <a:cubicBezTo>
                  <a:pt x="267" y="81"/>
                  <a:pt x="268" y="81"/>
                  <a:pt x="268" y="82"/>
                </a:cubicBezTo>
                <a:cubicBezTo>
                  <a:pt x="270" y="82"/>
                  <a:pt x="271" y="86"/>
                  <a:pt x="271" y="87"/>
                </a:cubicBezTo>
                <a:cubicBezTo>
                  <a:pt x="271" y="87"/>
                  <a:pt x="270" y="88"/>
                  <a:pt x="270" y="88"/>
                </a:cubicBezTo>
                <a:cubicBezTo>
                  <a:pt x="269" y="88"/>
                  <a:pt x="269" y="88"/>
                  <a:pt x="269" y="89"/>
                </a:cubicBezTo>
                <a:cubicBezTo>
                  <a:pt x="269" y="91"/>
                  <a:pt x="271" y="93"/>
                  <a:pt x="273" y="94"/>
                </a:cubicBezTo>
                <a:cubicBezTo>
                  <a:pt x="273" y="94"/>
                  <a:pt x="273" y="94"/>
                  <a:pt x="273" y="94"/>
                </a:cubicBezTo>
                <a:cubicBezTo>
                  <a:pt x="273" y="94"/>
                  <a:pt x="273" y="94"/>
                  <a:pt x="273" y="94"/>
                </a:cubicBezTo>
                <a:cubicBezTo>
                  <a:pt x="274" y="95"/>
                  <a:pt x="274" y="97"/>
                  <a:pt x="274" y="98"/>
                </a:cubicBezTo>
                <a:cubicBezTo>
                  <a:pt x="275" y="98"/>
                  <a:pt x="276" y="98"/>
                  <a:pt x="276" y="99"/>
                </a:cubicBezTo>
                <a:cubicBezTo>
                  <a:pt x="277" y="99"/>
                  <a:pt x="277" y="99"/>
                  <a:pt x="278" y="99"/>
                </a:cubicBezTo>
                <a:cubicBezTo>
                  <a:pt x="278" y="99"/>
                  <a:pt x="278" y="99"/>
                  <a:pt x="278" y="99"/>
                </a:cubicBezTo>
                <a:cubicBezTo>
                  <a:pt x="278" y="98"/>
                  <a:pt x="278" y="97"/>
                  <a:pt x="279" y="96"/>
                </a:cubicBezTo>
                <a:cubicBezTo>
                  <a:pt x="279" y="96"/>
                  <a:pt x="279" y="96"/>
                  <a:pt x="279" y="96"/>
                </a:cubicBezTo>
                <a:cubicBezTo>
                  <a:pt x="279" y="96"/>
                  <a:pt x="279" y="96"/>
                  <a:pt x="279" y="96"/>
                </a:cubicBezTo>
                <a:cubicBezTo>
                  <a:pt x="278" y="96"/>
                  <a:pt x="277" y="96"/>
                  <a:pt x="277" y="94"/>
                </a:cubicBezTo>
                <a:cubicBezTo>
                  <a:pt x="278" y="94"/>
                  <a:pt x="279" y="93"/>
                  <a:pt x="279" y="94"/>
                </a:cubicBezTo>
                <a:cubicBezTo>
                  <a:pt x="281" y="94"/>
                  <a:pt x="282" y="94"/>
                  <a:pt x="283" y="94"/>
                </a:cubicBezTo>
                <a:cubicBezTo>
                  <a:pt x="282" y="95"/>
                  <a:pt x="281" y="97"/>
                  <a:pt x="281" y="99"/>
                </a:cubicBezTo>
                <a:cubicBezTo>
                  <a:pt x="281" y="99"/>
                  <a:pt x="281" y="99"/>
                  <a:pt x="281" y="99"/>
                </a:cubicBezTo>
                <a:cubicBezTo>
                  <a:pt x="282" y="100"/>
                  <a:pt x="282" y="101"/>
                  <a:pt x="283" y="101"/>
                </a:cubicBezTo>
                <a:cubicBezTo>
                  <a:pt x="283" y="101"/>
                  <a:pt x="283" y="101"/>
                  <a:pt x="283" y="101"/>
                </a:cubicBezTo>
                <a:cubicBezTo>
                  <a:pt x="283" y="101"/>
                  <a:pt x="283" y="101"/>
                  <a:pt x="283" y="101"/>
                </a:cubicBezTo>
                <a:cubicBezTo>
                  <a:pt x="284" y="102"/>
                  <a:pt x="285" y="102"/>
                  <a:pt x="285" y="103"/>
                </a:cubicBezTo>
                <a:cubicBezTo>
                  <a:pt x="285" y="103"/>
                  <a:pt x="285" y="103"/>
                  <a:pt x="285" y="103"/>
                </a:cubicBezTo>
                <a:cubicBezTo>
                  <a:pt x="285" y="105"/>
                  <a:pt x="285" y="106"/>
                  <a:pt x="286" y="108"/>
                </a:cubicBezTo>
                <a:cubicBezTo>
                  <a:pt x="286" y="108"/>
                  <a:pt x="286" y="108"/>
                  <a:pt x="286" y="108"/>
                </a:cubicBezTo>
                <a:cubicBezTo>
                  <a:pt x="287" y="109"/>
                  <a:pt x="289" y="110"/>
                  <a:pt x="290" y="111"/>
                </a:cubicBezTo>
                <a:cubicBezTo>
                  <a:pt x="291" y="111"/>
                  <a:pt x="291" y="112"/>
                  <a:pt x="291" y="113"/>
                </a:cubicBezTo>
                <a:close/>
                <a:moveTo>
                  <a:pt x="17" y="26"/>
                </a:moveTo>
                <a:cubicBezTo>
                  <a:pt x="17" y="26"/>
                  <a:pt x="18" y="26"/>
                  <a:pt x="18" y="26"/>
                </a:cubicBezTo>
                <a:cubicBezTo>
                  <a:pt x="18" y="25"/>
                  <a:pt x="17" y="25"/>
                  <a:pt x="17" y="25"/>
                </a:cubicBezTo>
                <a:cubicBezTo>
                  <a:pt x="17" y="25"/>
                  <a:pt x="17" y="25"/>
                  <a:pt x="17" y="26"/>
                </a:cubicBezTo>
                <a:cubicBezTo>
                  <a:pt x="17" y="26"/>
                  <a:pt x="17" y="26"/>
                  <a:pt x="17" y="26"/>
                </a:cubicBezTo>
                <a:close/>
                <a:moveTo>
                  <a:pt x="257" y="105"/>
                </a:moveTo>
                <a:cubicBezTo>
                  <a:pt x="256" y="105"/>
                  <a:pt x="256" y="105"/>
                  <a:pt x="256" y="106"/>
                </a:cubicBezTo>
                <a:cubicBezTo>
                  <a:pt x="257" y="106"/>
                  <a:pt x="257" y="105"/>
                  <a:pt x="257" y="105"/>
                </a:cubicBezTo>
                <a:close/>
              </a:path>
            </a:pathLst>
          </a:custGeom>
          <a:solidFill>
            <a:srgbClr val="FFC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 name="Alaska">
            <a:extLst>
              <a:ext uri="{FF2B5EF4-FFF2-40B4-BE49-F238E27FC236}">
                <a16:creationId xmlns:a16="http://schemas.microsoft.com/office/drawing/2014/main" id="{FFA80805-B5D8-6E8D-6104-00F1EF5AA035}"/>
              </a:ext>
            </a:extLst>
          </p:cNvPr>
          <p:cNvSpPr>
            <a:spLocks noChangeAspect="1" noEditPoints="1"/>
          </p:cNvSpPr>
          <p:nvPr/>
        </p:nvSpPr>
        <p:spPr bwMode="auto">
          <a:xfrm>
            <a:off x="723900" y="4323757"/>
            <a:ext cx="2491358" cy="1890288"/>
          </a:xfrm>
          <a:custGeom>
            <a:avLst/>
            <a:gdLst>
              <a:gd name="T0" fmla="*/ 425 w 740"/>
              <a:gd name="T1" fmla="*/ 445 h 561"/>
              <a:gd name="T2" fmla="*/ 442 w 740"/>
              <a:gd name="T3" fmla="*/ 430 h 561"/>
              <a:gd name="T4" fmla="*/ 433 w 740"/>
              <a:gd name="T5" fmla="*/ 438 h 561"/>
              <a:gd name="T6" fmla="*/ 425 w 740"/>
              <a:gd name="T7" fmla="*/ 434 h 561"/>
              <a:gd name="T8" fmla="*/ 435 w 740"/>
              <a:gd name="T9" fmla="*/ 413 h 561"/>
              <a:gd name="T10" fmla="*/ 452 w 740"/>
              <a:gd name="T11" fmla="*/ 413 h 561"/>
              <a:gd name="T12" fmla="*/ 448 w 740"/>
              <a:gd name="T13" fmla="*/ 409 h 561"/>
              <a:gd name="T14" fmla="*/ 456 w 740"/>
              <a:gd name="T15" fmla="*/ 403 h 561"/>
              <a:gd name="T16" fmla="*/ 433 w 740"/>
              <a:gd name="T17" fmla="*/ 422 h 561"/>
              <a:gd name="T18" fmla="*/ 309 w 740"/>
              <a:gd name="T19" fmla="*/ 488 h 561"/>
              <a:gd name="T20" fmla="*/ 267 w 740"/>
              <a:gd name="T21" fmla="*/ 513 h 561"/>
              <a:gd name="T22" fmla="*/ 269 w 740"/>
              <a:gd name="T23" fmla="*/ 506 h 561"/>
              <a:gd name="T24" fmla="*/ 168 w 740"/>
              <a:gd name="T25" fmla="*/ 544 h 561"/>
              <a:gd name="T26" fmla="*/ 4 w 740"/>
              <a:gd name="T27" fmla="*/ 527 h 561"/>
              <a:gd name="T28" fmla="*/ 229 w 740"/>
              <a:gd name="T29" fmla="*/ 529 h 561"/>
              <a:gd name="T30" fmla="*/ 273 w 740"/>
              <a:gd name="T31" fmla="*/ 507 h 561"/>
              <a:gd name="T32" fmla="*/ 45 w 740"/>
              <a:gd name="T33" fmla="*/ 538 h 561"/>
              <a:gd name="T34" fmla="*/ 86 w 740"/>
              <a:gd name="T35" fmla="*/ 556 h 561"/>
              <a:gd name="T36" fmla="*/ 346 w 740"/>
              <a:gd name="T37" fmla="*/ 472 h 561"/>
              <a:gd name="T38" fmla="*/ 274 w 740"/>
              <a:gd name="T39" fmla="*/ 364 h 561"/>
              <a:gd name="T40" fmla="*/ 532 w 740"/>
              <a:gd name="T41" fmla="*/ 349 h 561"/>
              <a:gd name="T42" fmla="*/ 702 w 740"/>
              <a:gd name="T43" fmla="*/ 445 h 561"/>
              <a:gd name="T44" fmla="*/ 685 w 740"/>
              <a:gd name="T45" fmla="*/ 442 h 561"/>
              <a:gd name="T46" fmla="*/ 699 w 740"/>
              <a:gd name="T47" fmla="*/ 476 h 561"/>
              <a:gd name="T48" fmla="*/ 679 w 740"/>
              <a:gd name="T49" fmla="*/ 452 h 561"/>
              <a:gd name="T50" fmla="*/ 669 w 740"/>
              <a:gd name="T51" fmla="*/ 426 h 561"/>
              <a:gd name="T52" fmla="*/ 667 w 740"/>
              <a:gd name="T53" fmla="*/ 409 h 561"/>
              <a:gd name="T54" fmla="*/ 666 w 740"/>
              <a:gd name="T55" fmla="*/ 417 h 561"/>
              <a:gd name="T56" fmla="*/ 694 w 740"/>
              <a:gd name="T57" fmla="*/ 471 h 561"/>
              <a:gd name="T58" fmla="*/ 702 w 740"/>
              <a:gd name="T59" fmla="*/ 456 h 561"/>
              <a:gd name="T60" fmla="*/ 707 w 740"/>
              <a:gd name="T61" fmla="*/ 460 h 561"/>
              <a:gd name="T62" fmla="*/ 700 w 740"/>
              <a:gd name="T63" fmla="*/ 469 h 561"/>
              <a:gd name="T64" fmla="*/ 702 w 740"/>
              <a:gd name="T65" fmla="*/ 452 h 561"/>
              <a:gd name="T66" fmla="*/ 685 w 740"/>
              <a:gd name="T67" fmla="*/ 414 h 561"/>
              <a:gd name="T68" fmla="*/ 680 w 740"/>
              <a:gd name="T69" fmla="*/ 406 h 561"/>
              <a:gd name="T70" fmla="*/ 720 w 740"/>
              <a:gd name="T71" fmla="*/ 443 h 561"/>
              <a:gd name="T72" fmla="*/ 564 w 740"/>
              <a:gd name="T73" fmla="*/ 48 h 561"/>
              <a:gd name="T74" fmla="*/ 483 w 740"/>
              <a:gd name="T75" fmla="*/ 34 h 561"/>
              <a:gd name="T76" fmla="*/ 406 w 740"/>
              <a:gd name="T77" fmla="*/ 20 h 561"/>
              <a:gd name="T78" fmla="*/ 331 w 740"/>
              <a:gd name="T79" fmla="*/ 44 h 561"/>
              <a:gd name="T80" fmla="*/ 323 w 740"/>
              <a:gd name="T81" fmla="*/ 153 h 561"/>
              <a:gd name="T82" fmla="*/ 336 w 740"/>
              <a:gd name="T83" fmla="*/ 181 h 561"/>
              <a:gd name="T84" fmla="*/ 269 w 740"/>
              <a:gd name="T85" fmla="*/ 210 h 561"/>
              <a:gd name="T86" fmla="*/ 335 w 740"/>
              <a:gd name="T87" fmla="*/ 236 h 561"/>
              <a:gd name="T88" fmla="*/ 292 w 740"/>
              <a:gd name="T89" fmla="*/ 282 h 561"/>
              <a:gd name="T90" fmla="*/ 294 w 740"/>
              <a:gd name="T91" fmla="*/ 336 h 561"/>
              <a:gd name="T92" fmla="*/ 324 w 740"/>
              <a:gd name="T93" fmla="*/ 345 h 561"/>
              <a:gd name="T94" fmla="*/ 357 w 740"/>
              <a:gd name="T95" fmla="*/ 388 h 561"/>
              <a:gd name="T96" fmla="*/ 371 w 740"/>
              <a:gd name="T97" fmla="*/ 439 h 561"/>
              <a:gd name="T98" fmla="*/ 337 w 740"/>
              <a:gd name="T99" fmla="*/ 466 h 561"/>
              <a:gd name="T100" fmla="*/ 401 w 740"/>
              <a:gd name="T101" fmla="*/ 428 h 561"/>
              <a:gd name="T102" fmla="*/ 429 w 740"/>
              <a:gd name="T103" fmla="*/ 382 h 561"/>
              <a:gd name="T104" fmla="*/ 489 w 740"/>
              <a:gd name="T105" fmla="*/ 321 h 561"/>
              <a:gd name="T106" fmla="*/ 471 w 740"/>
              <a:gd name="T107" fmla="*/ 378 h 561"/>
              <a:gd name="T108" fmla="*/ 509 w 740"/>
              <a:gd name="T109" fmla="*/ 357 h 561"/>
              <a:gd name="T110" fmla="*/ 509 w 740"/>
              <a:gd name="T111" fmla="*/ 336 h 561"/>
              <a:gd name="T112" fmla="*/ 552 w 740"/>
              <a:gd name="T113" fmla="*/ 355 h 561"/>
              <a:gd name="T114" fmla="*/ 627 w 740"/>
              <a:gd name="T115" fmla="*/ 381 h 561"/>
              <a:gd name="T116" fmla="*/ 672 w 740"/>
              <a:gd name="T117" fmla="*/ 386 h 561"/>
              <a:gd name="T118" fmla="*/ 700 w 740"/>
              <a:gd name="T119" fmla="*/ 420 h 561"/>
              <a:gd name="T120" fmla="*/ 711 w 740"/>
              <a:gd name="T121" fmla="*/ 452 h 561"/>
              <a:gd name="T122" fmla="*/ 718 w 740"/>
              <a:gd name="T123" fmla="*/ 468 h 561"/>
              <a:gd name="T124" fmla="*/ 449 w 740"/>
              <a:gd name="T125" fmla="*/ 35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0" h="561">
                <a:moveTo>
                  <a:pt x="203" y="259"/>
                </a:moveTo>
                <a:cubicBezTo>
                  <a:pt x="203" y="259"/>
                  <a:pt x="203" y="258"/>
                  <a:pt x="203" y="258"/>
                </a:cubicBezTo>
                <a:cubicBezTo>
                  <a:pt x="203" y="257"/>
                  <a:pt x="204" y="257"/>
                  <a:pt x="204" y="257"/>
                </a:cubicBezTo>
                <a:cubicBezTo>
                  <a:pt x="205" y="257"/>
                  <a:pt x="204" y="259"/>
                  <a:pt x="205" y="260"/>
                </a:cubicBezTo>
                <a:cubicBezTo>
                  <a:pt x="205" y="260"/>
                  <a:pt x="205" y="260"/>
                  <a:pt x="206" y="260"/>
                </a:cubicBezTo>
                <a:cubicBezTo>
                  <a:pt x="208" y="261"/>
                  <a:pt x="210" y="262"/>
                  <a:pt x="212" y="262"/>
                </a:cubicBezTo>
                <a:cubicBezTo>
                  <a:pt x="212" y="262"/>
                  <a:pt x="213" y="262"/>
                  <a:pt x="213" y="262"/>
                </a:cubicBezTo>
                <a:cubicBezTo>
                  <a:pt x="214" y="262"/>
                  <a:pt x="215" y="262"/>
                  <a:pt x="216" y="261"/>
                </a:cubicBezTo>
                <a:cubicBezTo>
                  <a:pt x="217" y="260"/>
                  <a:pt x="218" y="260"/>
                  <a:pt x="219" y="260"/>
                </a:cubicBezTo>
                <a:cubicBezTo>
                  <a:pt x="220" y="259"/>
                  <a:pt x="221" y="259"/>
                  <a:pt x="221" y="259"/>
                </a:cubicBezTo>
                <a:cubicBezTo>
                  <a:pt x="222" y="260"/>
                  <a:pt x="222" y="260"/>
                  <a:pt x="222" y="260"/>
                </a:cubicBezTo>
                <a:cubicBezTo>
                  <a:pt x="224" y="261"/>
                  <a:pt x="225" y="262"/>
                  <a:pt x="225" y="264"/>
                </a:cubicBezTo>
                <a:cubicBezTo>
                  <a:pt x="225" y="264"/>
                  <a:pt x="226" y="265"/>
                  <a:pt x="226" y="266"/>
                </a:cubicBezTo>
                <a:cubicBezTo>
                  <a:pt x="227" y="267"/>
                  <a:pt x="228" y="266"/>
                  <a:pt x="230" y="267"/>
                </a:cubicBezTo>
                <a:cubicBezTo>
                  <a:pt x="230" y="267"/>
                  <a:pt x="231" y="268"/>
                  <a:pt x="232" y="268"/>
                </a:cubicBezTo>
                <a:cubicBezTo>
                  <a:pt x="234" y="270"/>
                  <a:pt x="238" y="269"/>
                  <a:pt x="241" y="270"/>
                </a:cubicBezTo>
                <a:cubicBezTo>
                  <a:pt x="242" y="270"/>
                  <a:pt x="242" y="270"/>
                  <a:pt x="242" y="271"/>
                </a:cubicBezTo>
                <a:cubicBezTo>
                  <a:pt x="242" y="271"/>
                  <a:pt x="242" y="271"/>
                  <a:pt x="242" y="271"/>
                </a:cubicBezTo>
                <a:cubicBezTo>
                  <a:pt x="242" y="272"/>
                  <a:pt x="242" y="273"/>
                  <a:pt x="242" y="274"/>
                </a:cubicBezTo>
                <a:cubicBezTo>
                  <a:pt x="241" y="275"/>
                  <a:pt x="240" y="275"/>
                  <a:pt x="239" y="275"/>
                </a:cubicBezTo>
                <a:cubicBezTo>
                  <a:pt x="239" y="275"/>
                  <a:pt x="239" y="275"/>
                  <a:pt x="238" y="275"/>
                </a:cubicBezTo>
                <a:cubicBezTo>
                  <a:pt x="237" y="274"/>
                  <a:pt x="235" y="274"/>
                  <a:pt x="234" y="275"/>
                </a:cubicBezTo>
                <a:cubicBezTo>
                  <a:pt x="233" y="275"/>
                  <a:pt x="232" y="277"/>
                  <a:pt x="231" y="278"/>
                </a:cubicBezTo>
                <a:cubicBezTo>
                  <a:pt x="231" y="279"/>
                  <a:pt x="231" y="279"/>
                  <a:pt x="231" y="280"/>
                </a:cubicBezTo>
                <a:cubicBezTo>
                  <a:pt x="231" y="280"/>
                  <a:pt x="231" y="281"/>
                  <a:pt x="230" y="281"/>
                </a:cubicBezTo>
                <a:cubicBezTo>
                  <a:pt x="230" y="281"/>
                  <a:pt x="230" y="281"/>
                  <a:pt x="229" y="280"/>
                </a:cubicBezTo>
                <a:cubicBezTo>
                  <a:pt x="229" y="280"/>
                  <a:pt x="228" y="280"/>
                  <a:pt x="228" y="279"/>
                </a:cubicBezTo>
                <a:cubicBezTo>
                  <a:pt x="228" y="278"/>
                  <a:pt x="228" y="278"/>
                  <a:pt x="228" y="277"/>
                </a:cubicBezTo>
                <a:cubicBezTo>
                  <a:pt x="227" y="276"/>
                  <a:pt x="226" y="276"/>
                  <a:pt x="225" y="275"/>
                </a:cubicBezTo>
                <a:cubicBezTo>
                  <a:pt x="224" y="275"/>
                  <a:pt x="223" y="274"/>
                  <a:pt x="222" y="274"/>
                </a:cubicBezTo>
                <a:cubicBezTo>
                  <a:pt x="222" y="273"/>
                  <a:pt x="221" y="272"/>
                  <a:pt x="221" y="272"/>
                </a:cubicBezTo>
                <a:cubicBezTo>
                  <a:pt x="220" y="271"/>
                  <a:pt x="219" y="270"/>
                  <a:pt x="218" y="269"/>
                </a:cubicBezTo>
                <a:cubicBezTo>
                  <a:pt x="217" y="268"/>
                  <a:pt x="216" y="268"/>
                  <a:pt x="214" y="267"/>
                </a:cubicBezTo>
                <a:cubicBezTo>
                  <a:pt x="212" y="267"/>
                  <a:pt x="211" y="267"/>
                  <a:pt x="209" y="268"/>
                </a:cubicBezTo>
                <a:cubicBezTo>
                  <a:pt x="209" y="269"/>
                  <a:pt x="209" y="269"/>
                  <a:pt x="208" y="270"/>
                </a:cubicBezTo>
                <a:cubicBezTo>
                  <a:pt x="208" y="270"/>
                  <a:pt x="207" y="270"/>
                  <a:pt x="207" y="270"/>
                </a:cubicBezTo>
                <a:cubicBezTo>
                  <a:pt x="206" y="270"/>
                  <a:pt x="206" y="270"/>
                  <a:pt x="206" y="270"/>
                </a:cubicBezTo>
                <a:cubicBezTo>
                  <a:pt x="205" y="269"/>
                  <a:pt x="203" y="268"/>
                  <a:pt x="202" y="267"/>
                </a:cubicBezTo>
                <a:cubicBezTo>
                  <a:pt x="202" y="266"/>
                  <a:pt x="202" y="265"/>
                  <a:pt x="202" y="263"/>
                </a:cubicBezTo>
                <a:cubicBezTo>
                  <a:pt x="202" y="262"/>
                  <a:pt x="203" y="261"/>
                  <a:pt x="203" y="259"/>
                </a:cubicBezTo>
                <a:close/>
                <a:moveTo>
                  <a:pt x="427" y="436"/>
                </a:moveTo>
                <a:cubicBezTo>
                  <a:pt x="427" y="436"/>
                  <a:pt x="427" y="436"/>
                  <a:pt x="427" y="436"/>
                </a:cubicBezTo>
                <a:cubicBezTo>
                  <a:pt x="427" y="436"/>
                  <a:pt x="427" y="436"/>
                  <a:pt x="427" y="436"/>
                </a:cubicBezTo>
                <a:close/>
                <a:moveTo>
                  <a:pt x="449" y="397"/>
                </a:moveTo>
                <a:cubicBezTo>
                  <a:pt x="449" y="398"/>
                  <a:pt x="449" y="398"/>
                  <a:pt x="450" y="398"/>
                </a:cubicBezTo>
                <a:cubicBezTo>
                  <a:pt x="450" y="399"/>
                  <a:pt x="451" y="398"/>
                  <a:pt x="451" y="399"/>
                </a:cubicBezTo>
                <a:cubicBezTo>
                  <a:pt x="451" y="399"/>
                  <a:pt x="451" y="399"/>
                  <a:pt x="451" y="399"/>
                </a:cubicBezTo>
                <a:cubicBezTo>
                  <a:pt x="451" y="398"/>
                  <a:pt x="452" y="398"/>
                  <a:pt x="452" y="398"/>
                </a:cubicBezTo>
                <a:cubicBezTo>
                  <a:pt x="452" y="398"/>
                  <a:pt x="452" y="398"/>
                  <a:pt x="452" y="398"/>
                </a:cubicBezTo>
                <a:cubicBezTo>
                  <a:pt x="452" y="398"/>
                  <a:pt x="452" y="397"/>
                  <a:pt x="452" y="397"/>
                </a:cubicBezTo>
                <a:cubicBezTo>
                  <a:pt x="452" y="397"/>
                  <a:pt x="452" y="397"/>
                  <a:pt x="452" y="397"/>
                </a:cubicBezTo>
                <a:cubicBezTo>
                  <a:pt x="452" y="397"/>
                  <a:pt x="452" y="397"/>
                  <a:pt x="453" y="396"/>
                </a:cubicBezTo>
                <a:cubicBezTo>
                  <a:pt x="453" y="396"/>
                  <a:pt x="453" y="396"/>
                  <a:pt x="453" y="395"/>
                </a:cubicBezTo>
                <a:cubicBezTo>
                  <a:pt x="453" y="395"/>
                  <a:pt x="453" y="395"/>
                  <a:pt x="453" y="395"/>
                </a:cubicBezTo>
                <a:cubicBezTo>
                  <a:pt x="452" y="395"/>
                  <a:pt x="452" y="395"/>
                  <a:pt x="452" y="395"/>
                </a:cubicBezTo>
                <a:cubicBezTo>
                  <a:pt x="452" y="395"/>
                  <a:pt x="452" y="395"/>
                  <a:pt x="452" y="395"/>
                </a:cubicBezTo>
                <a:cubicBezTo>
                  <a:pt x="452" y="395"/>
                  <a:pt x="451" y="395"/>
                  <a:pt x="451" y="395"/>
                </a:cubicBezTo>
                <a:cubicBezTo>
                  <a:pt x="451" y="395"/>
                  <a:pt x="451" y="395"/>
                  <a:pt x="451" y="396"/>
                </a:cubicBezTo>
                <a:cubicBezTo>
                  <a:pt x="451" y="396"/>
                  <a:pt x="451" y="396"/>
                  <a:pt x="450" y="396"/>
                </a:cubicBezTo>
                <a:cubicBezTo>
                  <a:pt x="450" y="396"/>
                  <a:pt x="450" y="396"/>
                  <a:pt x="450" y="395"/>
                </a:cubicBezTo>
                <a:cubicBezTo>
                  <a:pt x="450" y="395"/>
                  <a:pt x="450" y="395"/>
                  <a:pt x="450" y="395"/>
                </a:cubicBezTo>
                <a:cubicBezTo>
                  <a:pt x="450" y="396"/>
                  <a:pt x="449" y="396"/>
                  <a:pt x="449" y="396"/>
                </a:cubicBezTo>
                <a:cubicBezTo>
                  <a:pt x="449" y="396"/>
                  <a:pt x="449" y="396"/>
                  <a:pt x="449" y="396"/>
                </a:cubicBezTo>
                <a:cubicBezTo>
                  <a:pt x="449" y="396"/>
                  <a:pt x="449" y="396"/>
                  <a:pt x="449" y="396"/>
                </a:cubicBezTo>
                <a:cubicBezTo>
                  <a:pt x="449" y="396"/>
                  <a:pt x="450" y="396"/>
                  <a:pt x="450" y="396"/>
                </a:cubicBezTo>
                <a:cubicBezTo>
                  <a:pt x="450" y="396"/>
                  <a:pt x="450" y="396"/>
                  <a:pt x="450" y="397"/>
                </a:cubicBezTo>
                <a:cubicBezTo>
                  <a:pt x="450" y="397"/>
                  <a:pt x="450" y="397"/>
                  <a:pt x="449" y="397"/>
                </a:cubicBezTo>
                <a:cubicBezTo>
                  <a:pt x="449" y="396"/>
                  <a:pt x="449" y="397"/>
                  <a:pt x="449" y="397"/>
                </a:cubicBezTo>
                <a:cubicBezTo>
                  <a:pt x="449" y="397"/>
                  <a:pt x="449" y="397"/>
                  <a:pt x="449" y="397"/>
                </a:cubicBezTo>
                <a:cubicBezTo>
                  <a:pt x="449" y="397"/>
                  <a:pt x="449" y="397"/>
                  <a:pt x="449" y="397"/>
                </a:cubicBezTo>
                <a:close/>
                <a:moveTo>
                  <a:pt x="430" y="444"/>
                </a:moveTo>
                <a:cubicBezTo>
                  <a:pt x="430" y="444"/>
                  <a:pt x="430" y="444"/>
                  <a:pt x="430" y="444"/>
                </a:cubicBezTo>
                <a:cubicBezTo>
                  <a:pt x="431" y="444"/>
                  <a:pt x="431" y="444"/>
                  <a:pt x="430" y="443"/>
                </a:cubicBezTo>
                <a:cubicBezTo>
                  <a:pt x="430" y="443"/>
                  <a:pt x="430" y="443"/>
                  <a:pt x="430" y="443"/>
                </a:cubicBezTo>
                <a:cubicBezTo>
                  <a:pt x="429" y="443"/>
                  <a:pt x="429" y="443"/>
                  <a:pt x="429" y="443"/>
                </a:cubicBezTo>
                <a:cubicBezTo>
                  <a:pt x="429" y="443"/>
                  <a:pt x="428" y="443"/>
                  <a:pt x="428" y="443"/>
                </a:cubicBezTo>
                <a:cubicBezTo>
                  <a:pt x="428" y="444"/>
                  <a:pt x="427" y="444"/>
                  <a:pt x="427" y="444"/>
                </a:cubicBezTo>
                <a:cubicBezTo>
                  <a:pt x="427" y="444"/>
                  <a:pt x="427" y="445"/>
                  <a:pt x="427" y="445"/>
                </a:cubicBezTo>
                <a:cubicBezTo>
                  <a:pt x="427" y="445"/>
                  <a:pt x="427" y="445"/>
                  <a:pt x="427" y="445"/>
                </a:cubicBezTo>
                <a:cubicBezTo>
                  <a:pt x="427" y="446"/>
                  <a:pt x="428" y="446"/>
                  <a:pt x="429" y="446"/>
                </a:cubicBezTo>
                <a:cubicBezTo>
                  <a:pt x="429" y="446"/>
                  <a:pt x="430" y="445"/>
                  <a:pt x="430" y="445"/>
                </a:cubicBezTo>
                <a:cubicBezTo>
                  <a:pt x="430" y="445"/>
                  <a:pt x="430" y="445"/>
                  <a:pt x="430" y="444"/>
                </a:cubicBezTo>
                <a:close/>
                <a:moveTo>
                  <a:pt x="425" y="445"/>
                </a:moveTo>
                <a:cubicBezTo>
                  <a:pt x="425" y="445"/>
                  <a:pt x="425" y="445"/>
                  <a:pt x="425" y="445"/>
                </a:cubicBezTo>
                <a:cubicBezTo>
                  <a:pt x="425" y="444"/>
                  <a:pt x="425" y="444"/>
                  <a:pt x="425" y="444"/>
                </a:cubicBezTo>
                <a:cubicBezTo>
                  <a:pt x="425" y="444"/>
                  <a:pt x="425" y="444"/>
                  <a:pt x="425" y="444"/>
                </a:cubicBezTo>
                <a:cubicBezTo>
                  <a:pt x="424" y="444"/>
                  <a:pt x="423" y="445"/>
                  <a:pt x="422" y="446"/>
                </a:cubicBezTo>
                <a:cubicBezTo>
                  <a:pt x="422" y="446"/>
                  <a:pt x="422" y="447"/>
                  <a:pt x="421" y="447"/>
                </a:cubicBezTo>
                <a:cubicBezTo>
                  <a:pt x="421" y="448"/>
                  <a:pt x="421" y="448"/>
                  <a:pt x="422" y="448"/>
                </a:cubicBezTo>
                <a:cubicBezTo>
                  <a:pt x="422" y="448"/>
                  <a:pt x="422" y="448"/>
                  <a:pt x="422" y="448"/>
                </a:cubicBezTo>
                <a:cubicBezTo>
                  <a:pt x="422" y="448"/>
                  <a:pt x="423" y="447"/>
                  <a:pt x="423" y="447"/>
                </a:cubicBezTo>
                <a:cubicBezTo>
                  <a:pt x="423" y="447"/>
                  <a:pt x="423" y="447"/>
                  <a:pt x="424" y="446"/>
                </a:cubicBezTo>
                <a:cubicBezTo>
                  <a:pt x="424" y="446"/>
                  <a:pt x="424" y="446"/>
                  <a:pt x="425" y="446"/>
                </a:cubicBezTo>
                <a:cubicBezTo>
                  <a:pt x="425" y="446"/>
                  <a:pt x="425" y="446"/>
                  <a:pt x="425" y="446"/>
                </a:cubicBezTo>
                <a:cubicBezTo>
                  <a:pt x="425" y="445"/>
                  <a:pt x="425" y="445"/>
                  <a:pt x="425" y="445"/>
                </a:cubicBezTo>
                <a:close/>
                <a:moveTo>
                  <a:pt x="425" y="444"/>
                </a:moveTo>
                <a:cubicBezTo>
                  <a:pt x="425" y="444"/>
                  <a:pt x="425" y="444"/>
                  <a:pt x="425" y="444"/>
                </a:cubicBezTo>
                <a:cubicBezTo>
                  <a:pt x="425" y="444"/>
                  <a:pt x="425" y="444"/>
                  <a:pt x="425" y="444"/>
                </a:cubicBezTo>
                <a:close/>
                <a:moveTo>
                  <a:pt x="455" y="419"/>
                </a:moveTo>
                <a:cubicBezTo>
                  <a:pt x="455" y="420"/>
                  <a:pt x="455" y="420"/>
                  <a:pt x="455" y="420"/>
                </a:cubicBezTo>
                <a:cubicBezTo>
                  <a:pt x="455" y="421"/>
                  <a:pt x="454" y="421"/>
                  <a:pt x="454" y="422"/>
                </a:cubicBezTo>
                <a:cubicBezTo>
                  <a:pt x="453" y="422"/>
                  <a:pt x="453" y="423"/>
                  <a:pt x="453" y="424"/>
                </a:cubicBezTo>
                <a:cubicBezTo>
                  <a:pt x="453" y="424"/>
                  <a:pt x="453" y="424"/>
                  <a:pt x="453" y="424"/>
                </a:cubicBezTo>
                <a:cubicBezTo>
                  <a:pt x="452" y="424"/>
                  <a:pt x="452" y="424"/>
                  <a:pt x="451" y="424"/>
                </a:cubicBezTo>
                <a:cubicBezTo>
                  <a:pt x="451" y="424"/>
                  <a:pt x="451" y="424"/>
                  <a:pt x="451" y="424"/>
                </a:cubicBezTo>
                <a:cubicBezTo>
                  <a:pt x="451" y="423"/>
                  <a:pt x="452" y="423"/>
                  <a:pt x="451" y="423"/>
                </a:cubicBezTo>
                <a:cubicBezTo>
                  <a:pt x="451" y="423"/>
                  <a:pt x="451" y="423"/>
                  <a:pt x="451" y="423"/>
                </a:cubicBezTo>
                <a:cubicBezTo>
                  <a:pt x="451" y="423"/>
                  <a:pt x="450" y="423"/>
                  <a:pt x="450" y="423"/>
                </a:cubicBezTo>
                <a:cubicBezTo>
                  <a:pt x="450" y="423"/>
                  <a:pt x="450" y="423"/>
                  <a:pt x="450" y="423"/>
                </a:cubicBezTo>
                <a:cubicBezTo>
                  <a:pt x="450" y="423"/>
                  <a:pt x="449" y="423"/>
                  <a:pt x="449" y="423"/>
                </a:cubicBezTo>
                <a:cubicBezTo>
                  <a:pt x="449" y="423"/>
                  <a:pt x="448" y="423"/>
                  <a:pt x="448" y="422"/>
                </a:cubicBezTo>
                <a:cubicBezTo>
                  <a:pt x="448" y="422"/>
                  <a:pt x="448" y="422"/>
                  <a:pt x="447" y="422"/>
                </a:cubicBezTo>
                <a:cubicBezTo>
                  <a:pt x="447" y="422"/>
                  <a:pt x="447" y="422"/>
                  <a:pt x="446" y="422"/>
                </a:cubicBezTo>
                <a:cubicBezTo>
                  <a:pt x="446" y="422"/>
                  <a:pt x="446" y="422"/>
                  <a:pt x="446" y="422"/>
                </a:cubicBezTo>
                <a:cubicBezTo>
                  <a:pt x="446" y="422"/>
                  <a:pt x="446" y="422"/>
                  <a:pt x="445" y="422"/>
                </a:cubicBezTo>
                <a:cubicBezTo>
                  <a:pt x="445" y="422"/>
                  <a:pt x="446" y="422"/>
                  <a:pt x="446" y="423"/>
                </a:cubicBezTo>
                <a:cubicBezTo>
                  <a:pt x="445" y="423"/>
                  <a:pt x="445" y="423"/>
                  <a:pt x="445" y="423"/>
                </a:cubicBezTo>
                <a:cubicBezTo>
                  <a:pt x="445" y="423"/>
                  <a:pt x="445" y="423"/>
                  <a:pt x="445" y="423"/>
                </a:cubicBezTo>
                <a:cubicBezTo>
                  <a:pt x="444" y="423"/>
                  <a:pt x="444" y="423"/>
                  <a:pt x="444" y="423"/>
                </a:cubicBezTo>
                <a:cubicBezTo>
                  <a:pt x="444" y="423"/>
                  <a:pt x="444" y="423"/>
                  <a:pt x="445" y="423"/>
                </a:cubicBezTo>
                <a:cubicBezTo>
                  <a:pt x="445" y="423"/>
                  <a:pt x="445" y="423"/>
                  <a:pt x="445" y="423"/>
                </a:cubicBezTo>
                <a:cubicBezTo>
                  <a:pt x="445" y="423"/>
                  <a:pt x="445" y="423"/>
                  <a:pt x="445" y="423"/>
                </a:cubicBezTo>
                <a:cubicBezTo>
                  <a:pt x="445" y="423"/>
                  <a:pt x="445" y="423"/>
                  <a:pt x="446" y="423"/>
                </a:cubicBezTo>
                <a:cubicBezTo>
                  <a:pt x="446" y="423"/>
                  <a:pt x="447" y="423"/>
                  <a:pt x="448" y="423"/>
                </a:cubicBezTo>
                <a:cubicBezTo>
                  <a:pt x="448" y="423"/>
                  <a:pt x="448" y="424"/>
                  <a:pt x="448" y="424"/>
                </a:cubicBezTo>
                <a:cubicBezTo>
                  <a:pt x="448" y="424"/>
                  <a:pt x="448" y="424"/>
                  <a:pt x="448" y="424"/>
                </a:cubicBezTo>
                <a:cubicBezTo>
                  <a:pt x="448" y="424"/>
                  <a:pt x="449" y="425"/>
                  <a:pt x="449" y="424"/>
                </a:cubicBezTo>
                <a:cubicBezTo>
                  <a:pt x="449" y="424"/>
                  <a:pt x="449" y="425"/>
                  <a:pt x="449" y="425"/>
                </a:cubicBezTo>
                <a:cubicBezTo>
                  <a:pt x="449" y="425"/>
                  <a:pt x="449" y="425"/>
                  <a:pt x="449" y="425"/>
                </a:cubicBezTo>
                <a:cubicBezTo>
                  <a:pt x="449" y="426"/>
                  <a:pt x="449" y="427"/>
                  <a:pt x="449" y="427"/>
                </a:cubicBezTo>
                <a:cubicBezTo>
                  <a:pt x="448" y="427"/>
                  <a:pt x="448" y="427"/>
                  <a:pt x="448" y="427"/>
                </a:cubicBezTo>
                <a:cubicBezTo>
                  <a:pt x="448" y="427"/>
                  <a:pt x="448" y="427"/>
                  <a:pt x="448" y="427"/>
                </a:cubicBezTo>
                <a:cubicBezTo>
                  <a:pt x="447" y="427"/>
                  <a:pt x="447" y="427"/>
                  <a:pt x="447" y="427"/>
                </a:cubicBezTo>
                <a:cubicBezTo>
                  <a:pt x="447" y="427"/>
                  <a:pt x="447" y="427"/>
                  <a:pt x="447" y="427"/>
                </a:cubicBezTo>
                <a:cubicBezTo>
                  <a:pt x="447" y="427"/>
                  <a:pt x="447" y="427"/>
                  <a:pt x="447" y="427"/>
                </a:cubicBezTo>
                <a:cubicBezTo>
                  <a:pt x="447" y="428"/>
                  <a:pt x="447" y="428"/>
                  <a:pt x="446" y="428"/>
                </a:cubicBezTo>
                <a:cubicBezTo>
                  <a:pt x="446" y="428"/>
                  <a:pt x="446" y="428"/>
                  <a:pt x="446" y="427"/>
                </a:cubicBezTo>
                <a:cubicBezTo>
                  <a:pt x="446" y="427"/>
                  <a:pt x="446" y="427"/>
                  <a:pt x="446" y="427"/>
                </a:cubicBezTo>
                <a:cubicBezTo>
                  <a:pt x="446" y="427"/>
                  <a:pt x="446" y="427"/>
                  <a:pt x="446" y="427"/>
                </a:cubicBezTo>
                <a:cubicBezTo>
                  <a:pt x="446" y="427"/>
                  <a:pt x="446" y="426"/>
                  <a:pt x="446" y="426"/>
                </a:cubicBezTo>
                <a:cubicBezTo>
                  <a:pt x="446" y="426"/>
                  <a:pt x="446" y="426"/>
                  <a:pt x="446" y="426"/>
                </a:cubicBezTo>
                <a:cubicBezTo>
                  <a:pt x="446" y="426"/>
                  <a:pt x="446" y="426"/>
                  <a:pt x="445" y="426"/>
                </a:cubicBezTo>
                <a:cubicBezTo>
                  <a:pt x="445" y="426"/>
                  <a:pt x="445" y="426"/>
                  <a:pt x="445" y="426"/>
                </a:cubicBezTo>
                <a:cubicBezTo>
                  <a:pt x="445" y="426"/>
                  <a:pt x="444" y="426"/>
                  <a:pt x="444" y="426"/>
                </a:cubicBezTo>
                <a:cubicBezTo>
                  <a:pt x="444" y="426"/>
                  <a:pt x="444" y="426"/>
                  <a:pt x="444" y="426"/>
                </a:cubicBezTo>
                <a:cubicBezTo>
                  <a:pt x="443" y="426"/>
                  <a:pt x="443" y="427"/>
                  <a:pt x="443" y="427"/>
                </a:cubicBezTo>
                <a:cubicBezTo>
                  <a:pt x="443" y="426"/>
                  <a:pt x="442" y="426"/>
                  <a:pt x="442" y="426"/>
                </a:cubicBezTo>
                <a:cubicBezTo>
                  <a:pt x="442" y="426"/>
                  <a:pt x="442" y="426"/>
                  <a:pt x="442" y="426"/>
                </a:cubicBezTo>
                <a:cubicBezTo>
                  <a:pt x="442" y="426"/>
                  <a:pt x="442" y="426"/>
                  <a:pt x="442" y="426"/>
                </a:cubicBezTo>
                <a:cubicBezTo>
                  <a:pt x="442" y="426"/>
                  <a:pt x="442" y="426"/>
                  <a:pt x="442" y="427"/>
                </a:cubicBezTo>
                <a:cubicBezTo>
                  <a:pt x="442" y="427"/>
                  <a:pt x="442" y="427"/>
                  <a:pt x="442" y="427"/>
                </a:cubicBezTo>
                <a:cubicBezTo>
                  <a:pt x="442" y="427"/>
                  <a:pt x="443" y="427"/>
                  <a:pt x="443" y="427"/>
                </a:cubicBezTo>
                <a:cubicBezTo>
                  <a:pt x="443" y="427"/>
                  <a:pt x="443" y="427"/>
                  <a:pt x="444" y="427"/>
                </a:cubicBezTo>
                <a:cubicBezTo>
                  <a:pt x="444" y="427"/>
                  <a:pt x="445" y="427"/>
                  <a:pt x="445" y="428"/>
                </a:cubicBezTo>
                <a:cubicBezTo>
                  <a:pt x="445" y="428"/>
                  <a:pt x="445" y="428"/>
                  <a:pt x="445" y="428"/>
                </a:cubicBezTo>
                <a:cubicBezTo>
                  <a:pt x="445" y="428"/>
                  <a:pt x="444" y="429"/>
                  <a:pt x="444" y="429"/>
                </a:cubicBezTo>
                <a:cubicBezTo>
                  <a:pt x="444" y="429"/>
                  <a:pt x="444" y="429"/>
                  <a:pt x="443" y="429"/>
                </a:cubicBezTo>
                <a:cubicBezTo>
                  <a:pt x="443" y="429"/>
                  <a:pt x="442" y="429"/>
                  <a:pt x="442" y="429"/>
                </a:cubicBezTo>
                <a:cubicBezTo>
                  <a:pt x="442" y="429"/>
                  <a:pt x="442" y="429"/>
                  <a:pt x="442" y="429"/>
                </a:cubicBezTo>
                <a:cubicBezTo>
                  <a:pt x="441" y="429"/>
                  <a:pt x="441" y="429"/>
                  <a:pt x="441" y="429"/>
                </a:cubicBezTo>
                <a:cubicBezTo>
                  <a:pt x="441" y="429"/>
                  <a:pt x="441" y="429"/>
                  <a:pt x="441" y="429"/>
                </a:cubicBezTo>
                <a:cubicBezTo>
                  <a:pt x="441" y="429"/>
                  <a:pt x="441" y="429"/>
                  <a:pt x="441" y="429"/>
                </a:cubicBezTo>
                <a:cubicBezTo>
                  <a:pt x="442" y="429"/>
                  <a:pt x="442" y="429"/>
                  <a:pt x="442" y="430"/>
                </a:cubicBezTo>
                <a:cubicBezTo>
                  <a:pt x="442" y="430"/>
                  <a:pt x="442" y="430"/>
                  <a:pt x="442" y="429"/>
                </a:cubicBezTo>
                <a:cubicBezTo>
                  <a:pt x="442" y="429"/>
                  <a:pt x="442" y="430"/>
                  <a:pt x="442" y="430"/>
                </a:cubicBezTo>
                <a:cubicBezTo>
                  <a:pt x="442" y="430"/>
                  <a:pt x="442" y="430"/>
                  <a:pt x="442" y="430"/>
                </a:cubicBezTo>
                <a:cubicBezTo>
                  <a:pt x="442" y="430"/>
                  <a:pt x="442" y="430"/>
                  <a:pt x="442" y="431"/>
                </a:cubicBezTo>
                <a:cubicBezTo>
                  <a:pt x="442" y="431"/>
                  <a:pt x="442" y="431"/>
                  <a:pt x="442" y="431"/>
                </a:cubicBezTo>
                <a:cubicBezTo>
                  <a:pt x="442" y="430"/>
                  <a:pt x="443" y="430"/>
                  <a:pt x="443" y="430"/>
                </a:cubicBezTo>
                <a:cubicBezTo>
                  <a:pt x="443" y="430"/>
                  <a:pt x="444" y="430"/>
                  <a:pt x="443" y="430"/>
                </a:cubicBezTo>
                <a:cubicBezTo>
                  <a:pt x="443" y="430"/>
                  <a:pt x="443" y="430"/>
                  <a:pt x="443" y="430"/>
                </a:cubicBezTo>
                <a:cubicBezTo>
                  <a:pt x="443" y="430"/>
                  <a:pt x="443" y="431"/>
                  <a:pt x="443" y="431"/>
                </a:cubicBezTo>
                <a:cubicBezTo>
                  <a:pt x="443" y="430"/>
                  <a:pt x="444" y="430"/>
                  <a:pt x="444" y="430"/>
                </a:cubicBezTo>
                <a:cubicBezTo>
                  <a:pt x="444" y="430"/>
                  <a:pt x="444" y="430"/>
                  <a:pt x="444" y="430"/>
                </a:cubicBezTo>
                <a:cubicBezTo>
                  <a:pt x="445" y="430"/>
                  <a:pt x="445" y="430"/>
                  <a:pt x="445" y="430"/>
                </a:cubicBezTo>
                <a:cubicBezTo>
                  <a:pt x="445" y="430"/>
                  <a:pt x="446" y="430"/>
                  <a:pt x="446" y="430"/>
                </a:cubicBezTo>
                <a:cubicBezTo>
                  <a:pt x="446" y="430"/>
                  <a:pt x="446" y="430"/>
                  <a:pt x="446" y="431"/>
                </a:cubicBezTo>
                <a:cubicBezTo>
                  <a:pt x="446" y="431"/>
                  <a:pt x="446" y="431"/>
                  <a:pt x="445" y="431"/>
                </a:cubicBezTo>
                <a:cubicBezTo>
                  <a:pt x="445" y="431"/>
                  <a:pt x="445" y="431"/>
                  <a:pt x="445" y="431"/>
                </a:cubicBezTo>
                <a:cubicBezTo>
                  <a:pt x="444" y="431"/>
                  <a:pt x="444" y="431"/>
                  <a:pt x="444" y="432"/>
                </a:cubicBezTo>
                <a:cubicBezTo>
                  <a:pt x="443" y="432"/>
                  <a:pt x="443" y="432"/>
                  <a:pt x="443" y="432"/>
                </a:cubicBezTo>
                <a:cubicBezTo>
                  <a:pt x="443" y="432"/>
                  <a:pt x="442" y="432"/>
                  <a:pt x="442" y="432"/>
                </a:cubicBezTo>
                <a:cubicBezTo>
                  <a:pt x="442" y="432"/>
                  <a:pt x="441" y="433"/>
                  <a:pt x="442" y="433"/>
                </a:cubicBezTo>
                <a:cubicBezTo>
                  <a:pt x="442" y="433"/>
                  <a:pt x="442" y="433"/>
                  <a:pt x="442" y="433"/>
                </a:cubicBezTo>
                <a:cubicBezTo>
                  <a:pt x="442" y="434"/>
                  <a:pt x="441" y="434"/>
                  <a:pt x="440" y="434"/>
                </a:cubicBezTo>
                <a:cubicBezTo>
                  <a:pt x="440" y="434"/>
                  <a:pt x="440" y="434"/>
                  <a:pt x="440" y="434"/>
                </a:cubicBezTo>
                <a:cubicBezTo>
                  <a:pt x="440" y="433"/>
                  <a:pt x="440" y="433"/>
                  <a:pt x="440" y="433"/>
                </a:cubicBezTo>
                <a:cubicBezTo>
                  <a:pt x="440" y="433"/>
                  <a:pt x="440" y="433"/>
                  <a:pt x="440" y="433"/>
                </a:cubicBezTo>
                <a:cubicBezTo>
                  <a:pt x="440" y="432"/>
                  <a:pt x="441" y="432"/>
                  <a:pt x="441" y="432"/>
                </a:cubicBezTo>
                <a:cubicBezTo>
                  <a:pt x="440" y="432"/>
                  <a:pt x="440" y="432"/>
                  <a:pt x="440" y="432"/>
                </a:cubicBezTo>
                <a:cubicBezTo>
                  <a:pt x="440" y="432"/>
                  <a:pt x="440" y="432"/>
                  <a:pt x="440" y="432"/>
                </a:cubicBezTo>
                <a:cubicBezTo>
                  <a:pt x="440" y="432"/>
                  <a:pt x="440" y="432"/>
                  <a:pt x="439" y="433"/>
                </a:cubicBezTo>
                <a:cubicBezTo>
                  <a:pt x="439" y="433"/>
                  <a:pt x="439" y="432"/>
                  <a:pt x="439" y="432"/>
                </a:cubicBezTo>
                <a:cubicBezTo>
                  <a:pt x="439" y="432"/>
                  <a:pt x="439" y="432"/>
                  <a:pt x="439" y="432"/>
                </a:cubicBezTo>
                <a:cubicBezTo>
                  <a:pt x="440" y="432"/>
                  <a:pt x="440" y="432"/>
                  <a:pt x="440" y="431"/>
                </a:cubicBezTo>
                <a:cubicBezTo>
                  <a:pt x="440" y="431"/>
                  <a:pt x="440" y="431"/>
                  <a:pt x="440" y="431"/>
                </a:cubicBezTo>
                <a:cubicBezTo>
                  <a:pt x="440" y="431"/>
                  <a:pt x="440" y="431"/>
                  <a:pt x="440" y="431"/>
                </a:cubicBezTo>
                <a:cubicBezTo>
                  <a:pt x="439" y="431"/>
                  <a:pt x="440" y="431"/>
                  <a:pt x="440" y="431"/>
                </a:cubicBezTo>
                <a:cubicBezTo>
                  <a:pt x="440" y="431"/>
                  <a:pt x="441" y="430"/>
                  <a:pt x="441" y="430"/>
                </a:cubicBezTo>
                <a:cubicBezTo>
                  <a:pt x="441" y="429"/>
                  <a:pt x="441" y="429"/>
                  <a:pt x="441" y="429"/>
                </a:cubicBezTo>
                <a:cubicBezTo>
                  <a:pt x="441" y="429"/>
                  <a:pt x="441" y="429"/>
                  <a:pt x="441" y="429"/>
                </a:cubicBezTo>
                <a:cubicBezTo>
                  <a:pt x="441" y="429"/>
                  <a:pt x="441" y="429"/>
                  <a:pt x="440" y="429"/>
                </a:cubicBezTo>
                <a:cubicBezTo>
                  <a:pt x="440" y="430"/>
                  <a:pt x="440" y="430"/>
                  <a:pt x="440" y="429"/>
                </a:cubicBezTo>
                <a:cubicBezTo>
                  <a:pt x="440" y="429"/>
                  <a:pt x="439" y="429"/>
                  <a:pt x="439" y="429"/>
                </a:cubicBezTo>
                <a:cubicBezTo>
                  <a:pt x="439" y="429"/>
                  <a:pt x="439" y="430"/>
                  <a:pt x="439" y="430"/>
                </a:cubicBezTo>
                <a:cubicBezTo>
                  <a:pt x="439" y="430"/>
                  <a:pt x="440" y="430"/>
                  <a:pt x="440" y="430"/>
                </a:cubicBezTo>
                <a:cubicBezTo>
                  <a:pt x="439" y="430"/>
                  <a:pt x="439" y="430"/>
                  <a:pt x="439" y="431"/>
                </a:cubicBezTo>
                <a:cubicBezTo>
                  <a:pt x="439" y="431"/>
                  <a:pt x="439" y="431"/>
                  <a:pt x="439" y="431"/>
                </a:cubicBezTo>
                <a:cubicBezTo>
                  <a:pt x="439" y="431"/>
                  <a:pt x="439" y="431"/>
                  <a:pt x="439" y="431"/>
                </a:cubicBezTo>
                <a:cubicBezTo>
                  <a:pt x="438" y="431"/>
                  <a:pt x="438" y="431"/>
                  <a:pt x="438" y="431"/>
                </a:cubicBezTo>
                <a:cubicBezTo>
                  <a:pt x="438" y="431"/>
                  <a:pt x="438" y="431"/>
                  <a:pt x="438" y="430"/>
                </a:cubicBezTo>
                <a:cubicBezTo>
                  <a:pt x="438" y="430"/>
                  <a:pt x="438" y="430"/>
                  <a:pt x="438" y="430"/>
                </a:cubicBezTo>
                <a:cubicBezTo>
                  <a:pt x="438" y="430"/>
                  <a:pt x="438" y="430"/>
                  <a:pt x="437" y="430"/>
                </a:cubicBezTo>
                <a:cubicBezTo>
                  <a:pt x="437" y="430"/>
                  <a:pt x="437" y="430"/>
                  <a:pt x="437" y="430"/>
                </a:cubicBezTo>
                <a:cubicBezTo>
                  <a:pt x="437" y="430"/>
                  <a:pt x="438" y="430"/>
                  <a:pt x="438" y="430"/>
                </a:cubicBezTo>
                <a:cubicBezTo>
                  <a:pt x="438" y="430"/>
                  <a:pt x="438" y="430"/>
                  <a:pt x="438" y="430"/>
                </a:cubicBezTo>
                <a:cubicBezTo>
                  <a:pt x="438" y="430"/>
                  <a:pt x="438" y="431"/>
                  <a:pt x="438" y="431"/>
                </a:cubicBezTo>
                <a:cubicBezTo>
                  <a:pt x="438" y="431"/>
                  <a:pt x="438" y="432"/>
                  <a:pt x="438" y="432"/>
                </a:cubicBezTo>
                <a:cubicBezTo>
                  <a:pt x="438" y="432"/>
                  <a:pt x="438" y="432"/>
                  <a:pt x="438" y="432"/>
                </a:cubicBezTo>
                <a:cubicBezTo>
                  <a:pt x="438" y="433"/>
                  <a:pt x="438" y="432"/>
                  <a:pt x="438" y="432"/>
                </a:cubicBezTo>
                <a:cubicBezTo>
                  <a:pt x="437" y="432"/>
                  <a:pt x="437" y="432"/>
                  <a:pt x="437" y="432"/>
                </a:cubicBezTo>
                <a:cubicBezTo>
                  <a:pt x="436" y="432"/>
                  <a:pt x="436" y="432"/>
                  <a:pt x="436" y="432"/>
                </a:cubicBezTo>
                <a:cubicBezTo>
                  <a:pt x="436" y="432"/>
                  <a:pt x="436" y="432"/>
                  <a:pt x="436" y="432"/>
                </a:cubicBezTo>
                <a:cubicBezTo>
                  <a:pt x="435" y="432"/>
                  <a:pt x="435" y="432"/>
                  <a:pt x="435" y="433"/>
                </a:cubicBezTo>
                <a:cubicBezTo>
                  <a:pt x="435" y="433"/>
                  <a:pt x="435" y="433"/>
                  <a:pt x="436" y="433"/>
                </a:cubicBezTo>
                <a:cubicBezTo>
                  <a:pt x="436" y="433"/>
                  <a:pt x="436" y="433"/>
                  <a:pt x="436" y="433"/>
                </a:cubicBezTo>
                <a:cubicBezTo>
                  <a:pt x="437" y="433"/>
                  <a:pt x="437" y="433"/>
                  <a:pt x="437" y="433"/>
                </a:cubicBezTo>
                <a:cubicBezTo>
                  <a:pt x="437" y="433"/>
                  <a:pt x="437" y="433"/>
                  <a:pt x="437" y="433"/>
                </a:cubicBezTo>
                <a:cubicBezTo>
                  <a:pt x="437" y="434"/>
                  <a:pt x="437" y="434"/>
                  <a:pt x="437" y="434"/>
                </a:cubicBezTo>
                <a:cubicBezTo>
                  <a:pt x="437" y="434"/>
                  <a:pt x="437" y="434"/>
                  <a:pt x="437" y="434"/>
                </a:cubicBezTo>
                <a:cubicBezTo>
                  <a:pt x="438" y="434"/>
                  <a:pt x="437" y="434"/>
                  <a:pt x="437" y="435"/>
                </a:cubicBezTo>
                <a:cubicBezTo>
                  <a:pt x="437" y="435"/>
                  <a:pt x="437" y="435"/>
                  <a:pt x="437" y="435"/>
                </a:cubicBezTo>
                <a:cubicBezTo>
                  <a:pt x="437" y="435"/>
                  <a:pt x="437" y="435"/>
                  <a:pt x="437" y="435"/>
                </a:cubicBezTo>
                <a:cubicBezTo>
                  <a:pt x="437" y="435"/>
                  <a:pt x="437" y="435"/>
                  <a:pt x="437" y="435"/>
                </a:cubicBezTo>
                <a:cubicBezTo>
                  <a:pt x="437" y="436"/>
                  <a:pt x="436" y="436"/>
                  <a:pt x="436" y="436"/>
                </a:cubicBezTo>
                <a:cubicBezTo>
                  <a:pt x="436" y="436"/>
                  <a:pt x="436" y="436"/>
                  <a:pt x="436" y="435"/>
                </a:cubicBezTo>
                <a:cubicBezTo>
                  <a:pt x="436" y="435"/>
                  <a:pt x="436" y="435"/>
                  <a:pt x="435" y="435"/>
                </a:cubicBezTo>
                <a:cubicBezTo>
                  <a:pt x="435" y="435"/>
                  <a:pt x="435" y="435"/>
                  <a:pt x="435" y="435"/>
                </a:cubicBezTo>
                <a:cubicBezTo>
                  <a:pt x="435" y="435"/>
                  <a:pt x="435" y="436"/>
                  <a:pt x="435" y="436"/>
                </a:cubicBezTo>
                <a:cubicBezTo>
                  <a:pt x="436" y="436"/>
                  <a:pt x="435" y="436"/>
                  <a:pt x="435" y="437"/>
                </a:cubicBezTo>
                <a:cubicBezTo>
                  <a:pt x="435" y="437"/>
                  <a:pt x="435" y="437"/>
                  <a:pt x="435" y="437"/>
                </a:cubicBezTo>
                <a:cubicBezTo>
                  <a:pt x="434" y="437"/>
                  <a:pt x="434" y="437"/>
                  <a:pt x="435" y="437"/>
                </a:cubicBezTo>
                <a:cubicBezTo>
                  <a:pt x="435" y="437"/>
                  <a:pt x="435" y="437"/>
                  <a:pt x="435" y="438"/>
                </a:cubicBezTo>
                <a:cubicBezTo>
                  <a:pt x="435" y="437"/>
                  <a:pt x="435" y="437"/>
                  <a:pt x="435" y="437"/>
                </a:cubicBezTo>
                <a:cubicBezTo>
                  <a:pt x="435" y="437"/>
                  <a:pt x="435" y="437"/>
                  <a:pt x="435" y="437"/>
                </a:cubicBezTo>
                <a:cubicBezTo>
                  <a:pt x="436" y="437"/>
                  <a:pt x="435" y="437"/>
                  <a:pt x="435" y="437"/>
                </a:cubicBezTo>
                <a:cubicBezTo>
                  <a:pt x="435" y="437"/>
                  <a:pt x="435" y="438"/>
                  <a:pt x="434" y="438"/>
                </a:cubicBezTo>
                <a:cubicBezTo>
                  <a:pt x="434" y="438"/>
                  <a:pt x="434" y="438"/>
                  <a:pt x="434" y="438"/>
                </a:cubicBezTo>
                <a:cubicBezTo>
                  <a:pt x="433" y="438"/>
                  <a:pt x="433" y="438"/>
                  <a:pt x="433" y="438"/>
                </a:cubicBezTo>
                <a:cubicBezTo>
                  <a:pt x="433" y="439"/>
                  <a:pt x="433" y="439"/>
                  <a:pt x="432" y="440"/>
                </a:cubicBezTo>
                <a:cubicBezTo>
                  <a:pt x="432" y="440"/>
                  <a:pt x="432" y="440"/>
                  <a:pt x="432" y="440"/>
                </a:cubicBezTo>
                <a:cubicBezTo>
                  <a:pt x="432" y="440"/>
                  <a:pt x="431" y="440"/>
                  <a:pt x="431" y="440"/>
                </a:cubicBezTo>
                <a:cubicBezTo>
                  <a:pt x="431" y="440"/>
                  <a:pt x="431" y="440"/>
                  <a:pt x="431" y="440"/>
                </a:cubicBezTo>
                <a:cubicBezTo>
                  <a:pt x="430" y="440"/>
                  <a:pt x="430" y="440"/>
                  <a:pt x="430" y="440"/>
                </a:cubicBezTo>
                <a:cubicBezTo>
                  <a:pt x="430" y="440"/>
                  <a:pt x="430" y="439"/>
                  <a:pt x="430" y="439"/>
                </a:cubicBezTo>
                <a:cubicBezTo>
                  <a:pt x="430" y="438"/>
                  <a:pt x="431" y="438"/>
                  <a:pt x="431" y="438"/>
                </a:cubicBezTo>
                <a:cubicBezTo>
                  <a:pt x="431" y="437"/>
                  <a:pt x="432" y="437"/>
                  <a:pt x="432" y="436"/>
                </a:cubicBezTo>
                <a:cubicBezTo>
                  <a:pt x="432" y="436"/>
                  <a:pt x="432" y="436"/>
                  <a:pt x="432" y="436"/>
                </a:cubicBezTo>
                <a:cubicBezTo>
                  <a:pt x="433" y="436"/>
                  <a:pt x="433" y="435"/>
                  <a:pt x="434" y="435"/>
                </a:cubicBezTo>
                <a:cubicBezTo>
                  <a:pt x="434" y="435"/>
                  <a:pt x="434" y="434"/>
                  <a:pt x="434" y="434"/>
                </a:cubicBezTo>
                <a:cubicBezTo>
                  <a:pt x="434" y="434"/>
                  <a:pt x="435" y="434"/>
                  <a:pt x="434" y="434"/>
                </a:cubicBezTo>
                <a:cubicBezTo>
                  <a:pt x="434" y="434"/>
                  <a:pt x="434" y="434"/>
                  <a:pt x="434" y="434"/>
                </a:cubicBezTo>
                <a:cubicBezTo>
                  <a:pt x="434" y="434"/>
                  <a:pt x="434" y="435"/>
                  <a:pt x="433" y="435"/>
                </a:cubicBezTo>
                <a:cubicBezTo>
                  <a:pt x="433" y="435"/>
                  <a:pt x="433" y="434"/>
                  <a:pt x="434" y="434"/>
                </a:cubicBezTo>
                <a:cubicBezTo>
                  <a:pt x="434" y="434"/>
                  <a:pt x="434" y="434"/>
                  <a:pt x="434" y="434"/>
                </a:cubicBezTo>
                <a:cubicBezTo>
                  <a:pt x="434" y="434"/>
                  <a:pt x="433" y="433"/>
                  <a:pt x="433" y="434"/>
                </a:cubicBezTo>
                <a:cubicBezTo>
                  <a:pt x="433" y="434"/>
                  <a:pt x="433" y="434"/>
                  <a:pt x="433" y="434"/>
                </a:cubicBezTo>
                <a:cubicBezTo>
                  <a:pt x="433" y="434"/>
                  <a:pt x="433" y="435"/>
                  <a:pt x="433" y="435"/>
                </a:cubicBezTo>
                <a:cubicBezTo>
                  <a:pt x="433" y="435"/>
                  <a:pt x="433" y="435"/>
                  <a:pt x="432" y="435"/>
                </a:cubicBezTo>
                <a:cubicBezTo>
                  <a:pt x="432" y="435"/>
                  <a:pt x="432" y="435"/>
                  <a:pt x="432" y="435"/>
                </a:cubicBezTo>
                <a:cubicBezTo>
                  <a:pt x="432" y="434"/>
                  <a:pt x="432" y="434"/>
                  <a:pt x="432" y="433"/>
                </a:cubicBezTo>
                <a:cubicBezTo>
                  <a:pt x="432" y="433"/>
                  <a:pt x="433" y="433"/>
                  <a:pt x="433" y="433"/>
                </a:cubicBezTo>
                <a:cubicBezTo>
                  <a:pt x="433" y="432"/>
                  <a:pt x="433" y="432"/>
                  <a:pt x="433" y="432"/>
                </a:cubicBezTo>
                <a:cubicBezTo>
                  <a:pt x="433" y="432"/>
                  <a:pt x="433" y="432"/>
                  <a:pt x="434" y="432"/>
                </a:cubicBezTo>
                <a:cubicBezTo>
                  <a:pt x="434" y="431"/>
                  <a:pt x="434" y="431"/>
                  <a:pt x="435" y="431"/>
                </a:cubicBezTo>
                <a:cubicBezTo>
                  <a:pt x="435" y="431"/>
                  <a:pt x="435" y="431"/>
                  <a:pt x="434" y="431"/>
                </a:cubicBezTo>
                <a:cubicBezTo>
                  <a:pt x="434" y="431"/>
                  <a:pt x="434" y="431"/>
                  <a:pt x="434" y="431"/>
                </a:cubicBezTo>
                <a:cubicBezTo>
                  <a:pt x="434" y="430"/>
                  <a:pt x="434" y="431"/>
                  <a:pt x="434" y="431"/>
                </a:cubicBezTo>
                <a:cubicBezTo>
                  <a:pt x="434" y="431"/>
                  <a:pt x="434" y="431"/>
                  <a:pt x="433" y="431"/>
                </a:cubicBezTo>
                <a:cubicBezTo>
                  <a:pt x="433" y="431"/>
                  <a:pt x="433" y="431"/>
                  <a:pt x="433" y="431"/>
                </a:cubicBezTo>
                <a:cubicBezTo>
                  <a:pt x="433" y="432"/>
                  <a:pt x="432" y="432"/>
                  <a:pt x="432" y="432"/>
                </a:cubicBezTo>
                <a:cubicBezTo>
                  <a:pt x="432" y="433"/>
                  <a:pt x="432" y="433"/>
                  <a:pt x="432" y="433"/>
                </a:cubicBezTo>
                <a:cubicBezTo>
                  <a:pt x="431" y="433"/>
                  <a:pt x="431" y="433"/>
                  <a:pt x="431" y="433"/>
                </a:cubicBezTo>
                <a:cubicBezTo>
                  <a:pt x="431" y="434"/>
                  <a:pt x="431" y="434"/>
                  <a:pt x="431" y="434"/>
                </a:cubicBezTo>
                <a:cubicBezTo>
                  <a:pt x="431" y="435"/>
                  <a:pt x="431" y="435"/>
                  <a:pt x="430" y="435"/>
                </a:cubicBezTo>
                <a:cubicBezTo>
                  <a:pt x="430" y="435"/>
                  <a:pt x="430" y="434"/>
                  <a:pt x="430" y="434"/>
                </a:cubicBezTo>
                <a:cubicBezTo>
                  <a:pt x="430" y="434"/>
                  <a:pt x="430" y="434"/>
                  <a:pt x="430" y="434"/>
                </a:cubicBezTo>
                <a:cubicBezTo>
                  <a:pt x="430" y="434"/>
                  <a:pt x="430" y="433"/>
                  <a:pt x="430" y="433"/>
                </a:cubicBezTo>
                <a:cubicBezTo>
                  <a:pt x="430" y="432"/>
                  <a:pt x="431" y="432"/>
                  <a:pt x="431" y="432"/>
                </a:cubicBezTo>
                <a:cubicBezTo>
                  <a:pt x="432" y="432"/>
                  <a:pt x="432" y="431"/>
                  <a:pt x="432" y="431"/>
                </a:cubicBezTo>
                <a:cubicBezTo>
                  <a:pt x="431" y="431"/>
                  <a:pt x="431" y="431"/>
                  <a:pt x="430" y="431"/>
                </a:cubicBezTo>
                <a:cubicBezTo>
                  <a:pt x="430" y="431"/>
                  <a:pt x="430" y="431"/>
                  <a:pt x="430" y="431"/>
                </a:cubicBezTo>
                <a:cubicBezTo>
                  <a:pt x="430" y="431"/>
                  <a:pt x="430" y="431"/>
                  <a:pt x="430" y="431"/>
                </a:cubicBezTo>
                <a:cubicBezTo>
                  <a:pt x="430" y="431"/>
                  <a:pt x="429" y="431"/>
                  <a:pt x="429" y="431"/>
                </a:cubicBezTo>
                <a:cubicBezTo>
                  <a:pt x="429" y="431"/>
                  <a:pt x="429" y="431"/>
                  <a:pt x="429" y="431"/>
                </a:cubicBezTo>
                <a:cubicBezTo>
                  <a:pt x="429" y="430"/>
                  <a:pt x="429" y="430"/>
                  <a:pt x="428" y="430"/>
                </a:cubicBezTo>
                <a:cubicBezTo>
                  <a:pt x="428" y="430"/>
                  <a:pt x="428" y="430"/>
                  <a:pt x="428" y="431"/>
                </a:cubicBezTo>
                <a:cubicBezTo>
                  <a:pt x="428" y="431"/>
                  <a:pt x="428" y="431"/>
                  <a:pt x="428" y="431"/>
                </a:cubicBezTo>
                <a:cubicBezTo>
                  <a:pt x="428" y="431"/>
                  <a:pt x="427" y="431"/>
                  <a:pt x="427" y="431"/>
                </a:cubicBezTo>
                <a:cubicBezTo>
                  <a:pt x="427" y="431"/>
                  <a:pt x="427" y="431"/>
                  <a:pt x="427" y="431"/>
                </a:cubicBezTo>
                <a:cubicBezTo>
                  <a:pt x="426" y="431"/>
                  <a:pt x="426" y="431"/>
                  <a:pt x="426" y="431"/>
                </a:cubicBezTo>
                <a:cubicBezTo>
                  <a:pt x="426" y="431"/>
                  <a:pt x="426" y="431"/>
                  <a:pt x="426" y="431"/>
                </a:cubicBezTo>
                <a:cubicBezTo>
                  <a:pt x="425" y="431"/>
                  <a:pt x="425" y="432"/>
                  <a:pt x="425" y="432"/>
                </a:cubicBezTo>
                <a:cubicBezTo>
                  <a:pt x="425" y="432"/>
                  <a:pt x="426" y="433"/>
                  <a:pt x="426" y="433"/>
                </a:cubicBezTo>
                <a:cubicBezTo>
                  <a:pt x="426" y="433"/>
                  <a:pt x="427" y="433"/>
                  <a:pt x="427" y="433"/>
                </a:cubicBezTo>
                <a:cubicBezTo>
                  <a:pt x="427" y="433"/>
                  <a:pt x="427" y="432"/>
                  <a:pt x="427" y="432"/>
                </a:cubicBezTo>
                <a:cubicBezTo>
                  <a:pt x="428" y="432"/>
                  <a:pt x="428" y="431"/>
                  <a:pt x="428" y="431"/>
                </a:cubicBezTo>
                <a:cubicBezTo>
                  <a:pt x="429" y="431"/>
                  <a:pt x="429" y="431"/>
                  <a:pt x="430" y="431"/>
                </a:cubicBezTo>
                <a:cubicBezTo>
                  <a:pt x="430" y="431"/>
                  <a:pt x="430" y="431"/>
                  <a:pt x="430" y="432"/>
                </a:cubicBezTo>
                <a:cubicBezTo>
                  <a:pt x="430" y="432"/>
                  <a:pt x="430" y="433"/>
                  <a:pt x="430" y="433"/>
                </a:cubicBezTo>
                <a:cubicBezTo>
                  <a:pt x="430" y="434"/>
                  <a:pt x="430" y="434"/>
                  <a:pt x="429" y="434"/>
                </a:cubicBezTo>
                <a:cubicBezTo>
                  <a:pt x="429" y="434"/>
                  <a:pt x="429" y="434"/>
                  <a:pt x="429" y="435"/>
                </a:cubicBezTo>
                <a:cubicBezTo>
                  <a:pt x="430" y="435"/>
                  <a:pt x="429" y="435"/>
                  <a:pt x="429" y="435"/>
                </a:cubicBezTo>
                <a:cubicBezTo>
                  <a:pt x="429" y="435"/>
                  <a:pt x="429" y="436"/>
                  <a:pt x="429" y="436"/>
                </a:cubicBezTo>
                <a:cubicBezTo>
                  <a:pt x="429" y="436"/>
                  <a:pt x="428" y="436"/>
                  <a:pt x="428" y="436"/>
                </a:cubicBezTo>
                <a:cubicBezTo>
                  <a:pt x="428" y="436"/>
                  <a:pt x="428" y="436"/>
                  <a:pt x="428" y="436"/>
                </a:cubicBezTo>
                <a:cubicBezTo>
                  <a:pt x="428" y="436"/>
                  <a:pt x="429" y="436"/>
                  <a:pt x="429" y="436"/>
                </a:cubicBezTo>
                <a:cubicBezTo>
                  <a:pt x="429" y="436"/>
                  <a:pt x="429" y="436"/>
                  <a:pt x="429" y="436"/>
                </a:cubicBezTo>
                <a:cubicBezTo>
                  <a:pt x="429" y="436"/>
                  <a:pt x="429" y="437"/>
                  <a:pt x="428" y="437"/>
                </a:cubicBezTo>
                <a:cubicBezTo>
                  <a:pt x="428" y="436"/>
                  <a:pt x="428" y="437"/>
                  <a:pt x="428" y="437"/>
                </a:cubicBezTo>
                <a:cubicBezTo>
                  <a:pt x="428" y="437"/>
                  <a:pt x="428" y="437"/>
                  <a:pt x="428" y="437"/>
                </a:cubicBezTo>
                <a:cubicBezTo>
                  <a:pt x="428" y="437"/>
                  <a:pt x="428" y="437"/>
                  <a:pt x="428" y="437"/>
                </a:cubicBezTo>
                <a:cubicBezTo>
                  <a:pt x="428" y="437"/>
                  <a:pt x="428" y="436"/>
                  <a:pt x="428" y="436"/>
                </a:cubicBezTo>
                <a:cubicBezTo>
                  <a:pt x="428" y="436"/>
                  <a:pt x="428" y="436"/>
                  <a:pt x="428" y="436"/>
                </a:cubicBezTo>
                <a:cubicBezTo>
                  <a:pt x="428" y="436"/>
                  <a:pt x="428" y="436"/>
                  <a:pt x="427" y="436"/>
                </a:cubicBezTo>
                <a:cubicBezTo>
                  <a:pt x="427" y="436"/>
                  <a:pt x="427" y="436"/>
                  <a:pt x="427" y="436"/>
                </a:cubicBezTo>
                <a:cubicBezTo>
                  <a:pt x="427" y="436"/>
                  <a:pt x="427" y="436"/>
                  <a:pt x="427" y="436"/>
                </a:cubicBezTo>
                <a:cubicBezTo>
                  <a:pt x="427" y="436"/>
                  <a:pt x="427" y="435"/>
                  <a:pt x="428" y="435"/>
                </a:cubicBezTo>
                <a:cubicBezTo>
                  <a:pt x="427" y="435"/>
                  <a:pt x="427" y="435"/>
                  <a:pt x="427" y="435"/>
                </a:cubicBezTo>
                <a:cubicBezTo>
                  <a:pt x="427" y="435"/>
                  <a:pt x="427" y="435"/>
                  <a:pt x="427" y="435"/>
                </a:cubicBezTo>
                <a:cubicBezTo>
                  <a:pt x="426" y="435"/>
                  <a:pt x="426" y="435"/>
                  <a:pt x="425" y="435"/>
                </a:cubicBezTo>
                <a:cubicBezTo>
                  <a:pt x="425" y="434"/>
                  <a:pt x="425" y="434"/>
                  <a:pt x="425" y="434"/>
                </a:cubicBezTo>
                <a:cubicBezTo>
                  <a:pt x="425" y="433"/>
                  <a:pt x="425" y="432"/>
                  <a:pt x="425" y="431"/>
                </a:cubicBezTo>
                <a:cubicBezTo>
                  <a:pt x="425" y="431"/>
                  <a:pt x="425" y="430"/>
                  <a:pt x="425" y="430"/>
                </a:cubicBezTo>
                <a:cubicBezTo>
                  <a:pt x="424" y="429"/>
                  <a:pt x="424" y="428"/>
                  <a:pt x="424" y="428"/>
                </a:cubicBezTo>
                <a:cubicBezTo>
                  <a:pt x="423" y="428"/>
                  <a:pt x="423" y="428"/>
                  <a:pt x="423" y="428"/>
                </a:cubicBezTo>
                <a:cubicBezTo>
                  <a:pt x="423" y="428"/>
                  <a:pt x="423" y="428"/>
                  <a:pt x="423" y="427"/>
                </a:cubicBezTo>
                <a:cubicBezTo>
                  <a:pt x="423" y="427"/>
                  <a:pt x="422" y="427"/>
                  <a:pt x="422" y="427"/>
                </a:cubicBezTo>
                <a:cubicBezTo>
                  <a:pt x="422" y="428"/>
                  <a:pt x="422" y="428"/>
                  <a:pt x="422" y="428"/>
                </a:cubicBezTo>
                <a:cubicBezTo>
                  <a:pt x="422" y="428"/>
                  <a:pt x="421" y="427"/>
                  <a:pt x="422" y="427"/>
                </a:cubicBezTo>
                <a:cubicBezTo>
                  <a:pt x="422" y="427"/>
                  <a:pt x="422" y="427"/>
                  <a:pt x="422" y="427"/>
                </a:cubicBezTo>
                <a:cubicBezTo>
                  <a:pt x="422" y="427"/>
                  <a:pt x="422" y="426"/>
                  <a:pt x="422" y="426"/>
                </a:cubicBezTo>
                <a:cubicBezTo>
                  <a:pt x="421" y="426"/>
                  <a:pt x="421" y="426"/>
                  <a:pt x="421" y="426"/>
                </a:cubicBezTo>
                <a:cubicBezTo>
                  <a:pt x="421" y="426"/>
                  <a:pt x="422" y="426"/>
                  <a:pt x="422" y="426"/>
                </a:cubicBezTo>
                <a:cubicBezTo>
                  <a:pt x="422" y="426"/>
                  <a:pt x="422" y="426"/>
                  <a:pt x="422" y="425"/>
                </a:cubicBezTo>
                <a:cubicBezTo>
                  <a:pt x="422" y="425"/>
                  <a:pt x="422" y="425"/>
                  <a:pt x="422" y="425"/>
                </a:cubicBezTo>
                <a:cubicBezTo>
                  <a:pt x="422" y="425"/>
                  <a:pt x="422" y="424"/>
                  <a:pt x="422" y="424"/>
                </a:cubicBezTo>
                <a:cubicBezTo>
                  <a:pt x="422" y="424"/>
                  <a:pt x="422" y="424"/>
                  <a:pt x="422" y="424"/>
                </a:cubicBezTo>
                <a:cubicBezTo>
                  <a:pt x="423" y="424"/>
                  <a:pt x="423" y="423"/>
                  <a:pt x="423" y="423"/>
                </a:cubicBezTo>
                <a:cubicBezTo>
                  <a:pt x="423" y="423"/>
                  <a:pt x="423" y="423"/>
                  <a:pt x="423" y="422"/>
                </a:cubicBezTo>
                <a:cubicBezTo>
                  <a:pt x="423" y="422"/>
                  <a:pt x="424" y="422"/>
                  <a:pt x="424" y="422"/>
                </a:cubicBezTo>
                <a:cubicBezTo>
                  <a:pt x="424" y="422"/>
                  <a:pt x="424" y="422"/>
                  <a:pt x="424" y="422"/>
                </a:cubicBezTo>
                <a:cubicBezTo>
                  <a:pt x="425" y="422"/>
                  <a:pt x="425" y="421"/>
                  <a:pt x="425" y="421"/>
                </a:cubicBezTo>
                <a:cubicBezTo>
                  <a:pt x="425" y="421"/>
                  <a:pt x="425" y="421"/>
                  <a:pt x="425" y="421"/>
                </a:cubicBezTo>
                <a:cubicBezTo>
                  <a:pt x="425" y="420"/>
                  <a:pt x="425" y="420"/>
                  <a:pt x="425" y="420"/>
                </a:cubicBezTo>
                <a:cubicBezTo>
                  <a:pt x="425" y="421"/>
                  <a:pt x="426" y="421"/>
                  <a:pt x="426" y="420"/>
                </a:cubicBezTo>
                <a:cubicBezTo>
                  <a:pt x="426" y="420"/>
                  <a:pt x="426" y="420"/>
                  <a:pt x="427" y="419"/>
                </a:cubicBezTo>
                <a:cubicBezTo>
                  <a:pt x="427" y="419"/>
                  <a:pt x="427" y="419"/>
                  <a:pt x="427" y="419"/>
                </a:cubicBezTo>
                <a:cubicBezTo>
                  <a:pt x="427" y="419"/>
                  <a:pt x="427" y="419"/>
                  <a:pt x="427" y="419"/>
                </a:cubicBezTo>
                <a:cubicBezTo>
                  <a:pt x="428" y="419"/>
                  <a:pt x="428" y="418"/>
                  <a:pt x="429" y="418"/>
                </a:cubicBezTo>
                <a:cubicBezTo>
                  <a:pt x="429" y="418"/>
                  <a:pt x="430" y="418"/>
                  <a:pt x="430" y="419"/>
                </a:cubicBezTo>
                <a:cubicBezTo>
                  <a:pt x="430" y="419"/>
                  <a:pt x="430" y="419"/>
                  <a:pt x="431" y="419"/>
                </a:cubicBezTo>
                <a:cubicBezTo>
                  <a:pt x="431" y="418"/>
                  <a:pt x="431" y="419"/>
                  <a:pt x="431" y="419"/>
                </a:cubicBezTo>
                <a:cubicBezTo>
                  <a:pt x="431" y="419"/>
                  <a:pt x="432" y="419"/>
                  <a:pt x="432" y="419"/>
                </a:cubicBezTo>
                <a:cubicBezTo>
                  <a:pt x="432" y="420"/>
                  <a:pt x="432" y="420"/>
                  <a:pt x="432" y="421"/>
                </a:cubicBezTo>
                <a:cubicBezTo>
                  <a:pt x="432" y="421"/>
                  <a:pt x="431" y="421"/>
                  <a:pt x="431" y="421"/>
                </a:cubicBezTo>
                <a:cubicBezTo>
                  <a:pt x="431" y="421"/>
                  <a:pt x="431" y="421"/>
                  <a:pt x="431" y="421"/>
                </a:cubicBezTo>
                <a:cubicBezTo>
                  <a:pt x="431" y="421"/>
                  <a:pt x="431" y="421"/>
                  <a:pt x="431" y="421"/>
                </a:cubicBezTo>
                <a:cubicBezTo>
                  <a:pt x="431" y="422"/>
                  <a:pt x="431" y="422"/>
                  <a:pt x="431" y="421"/>
                </a:cubicBezTo>
                <a:cubicBezTo>
                  <a:pt x="432" y="421"/>
                  <a:pt x="432" y="421"/>
                  <a:pt x="432" y="421"/>
                </a:cubicBezTo>
                <a:cubicBezTo>
                  <a:pt x="432" y="421"/>
                  <a:pt x="432" y="421"/>
                  <a:pt x="432" y="421"/>
                </a:cubicBezTo>
                <a:cubicBezTo>
                  <a:pt x="432" y="421"/>
                  <a:pt x="432" y="421"/>
                  <a:pt x="432" y="422"/>
                </a:cubicBezTo>
                <a:cubicBezTo>
                  <a:pt x="433" y="422"/>
                  <a:pt x="432" y="422"/>
                  <a:pt x="433" y="422"/>
                </a:cubicBezTo>
                <a:cubicBezTo>
                  <a:pt x="433" y="423"/>
                  <a:pt x="433" y="423"/>
                  <a:pt x="433" y="423"/>
                </a:cubicBezTo>
                <a:cubicBezTo>
                  <a:pt x="433" y="424"/>
                  <a:pt x="433" y="424"/>
                  <a:pt x="433" y="424"/>
                </a:cubicBezTo>
                <a:cubicBezTo>
                  <a:pt x="433" y="424"/>
                  <a:pt x="433" y="425"/>
                  <a:pt x="433" y="425"/>
                </a:cubicBezTo>
                <a:cubicBezTo>
                  <a:pt x="434" y="425"/>
                  <a:pt x="434" y="425"/>
                  <a:pt x="434" y="426"/>
                </a:cubicBezTo>
                <a:cubicBezTo>
                  <a:pt x="434" y="426"/>
                  <a:pt x="434" y="426"/>
                  <a:pt x="434" y="427"/>
                </a:cubicBezTo>
                <a:cubicBezTo>
                  <a:pt x="435" y="427"/>
                  <a:pt x="435" y="427"/>
                  <a:pt x="435" y="427"/>
                </a:cubicBezTo>
                <a:cubicBezTo>
                  <a:pt x="435" y="427"/>
                  <a:pt x="436" y="427"/>
                  <a:pt x="436" y="427"/>
                </a:cubicBezTo>
                <a:cubicBezTo>
                  <a:pt x="436" y="427"/>
                  <a:pt x="436" y="427"/>
                  <a:pt x="435" y="427"/>
                </a:cubicBezTo>
                <a:cubicBezTo>
                  <a:pt x="435" y="427"/>
                  <a:pt x="435" y="427"/>
                  <a:pt x="435" y="427"/>
                </a:cubicBezTo>
                <a:cubicBezTo>
                  <a:pt x="435" y="426"/>
                  <a:pt x="435" y="426"/>
                  <a:pt x="435" y="426"/>
                </a:cubicBezTo>
                <a:cubicBezTo>
                  <a:pt x="434" y="425"/>
                  <a:pt x="434" y="425"/>
                  <a:pt x="434" y="424"/>
                </a:cubicBezTo>
                <a:cubicBezTo>
                  <a:pt x="434" y="424"/>
                  <a:pt x="434" y="424"/>
                  <a:pt x="434" y="424"/>
                </a:cubicBezTo>
                <a:cubicBezTo>
                  <a:pt x="434" y="423"/>
                  <a:pt x="434" y="423"/>
                  <a:pt x="434" y="422"/>
                </a:cubicBezTo>
                <a:cubicBezTo>
                  <a:pt x="434" y="422"/>
                  <a:pt x="434" y="421"/>
                  <a:pt x="434" y="421"/>
                </a:cubicBezTo>
                <a:cubicBezTo>
                  <a:pt x="434" y="421"/>
                  <a:pt x="433" y="421"/>
                  <a:pt x="433" y="421"/>
                </a:cubicBezTo>
                <a:cubicBezTo>
                  <a:pt x="433" y="421"/>
                  <a:pt x="434" y="420"/>
                  <a:pt x="434" y="420"/>
                </a:cubicBezTo>
                <a:cubicBezTo>
                  <a:pt x="434" y="420"/>
                  <a:pt x="434" y="420"/>
                  <a:pt x="434" y="421"/>
                </a:cubicBezTo>
                <a:cubicBezTo>
                  <a:pt x="434" y="421"/>
                  <a:pt x="435" y="421"/>
                  <a:pt x="435" y="421"/>
                </a:cubicBezTo>
                <a:cubicBezTo>
                  <a:pt x="435" y="421"/>
                  <a:pt x="435" y="421"/>
                  <a:pt x="435" y="421"/>
                </a:cubicBezTo>
                <a:cubicBezTo>
                  <a:pt x="435" y="421"/>
                  <a:pt x="435" y="421"/>
                  <a:pt x="435" y="421"/>
                </a:cubicBezTo>
                <a:cubicBezTo>
                  <a:pt x="435" y="421"/>
                  <a:pt x="435" y="421"/>
                  <a:pt x="435" y="421"/>
                </a:cubicBezTo>
                <a:cubicBezTo>
                  <a:pt x="435" y="421"/>
                  <a:pt x="435" y="421"/>
                  <a:pt x="435" y="421"/>
                </a:cubicBezTo>
                <a:cubicBezTo>
                  <a:pt x="434" y="421"/>
                  <a:pt x="434" y="421"/>
                  <a:pt x="434" y="420"/>
                </a:cubicBezTo>
                <a:cubicBezTo>
                  <a:pt x="434" y="420"/>
                  <a:pt x="433" y="420"/>
                  <a:pt x="433" y="419"/>
                </a:cubicBezTo>
                <a:cubicBezTo>
                  <a:pt x="433" y="419"/>
                  <a:pt x="433" y="419"/>
                  <a:pt x="433" y="419"/>
                </a:cubicBezTo>
                <a:cubicBezTo>
                  <a:pt x="434" y="419"/>
                  <a:pt x="435" y="419"/>
                  <a:pt x="436" y="419"/>
                </a:cubicBezTo>
                <a:cubicBezTo>
                  <a:pt x="436" y="419"/>
                  <a:pt x="436" y="419"/>
                  <a:pt x="436" y="419"/>
                </a:cubicBezTo>
                <a:cubicBezTo>
                  <a:pt x="436" y="419"/>
                  <a:pt x="436" y="419"/>
                  <a:pt x="436" y="420"/>
                </a:cubicBezTo>
                <a:cubicBezTo>
                  <a:pt x="436" y="420"/>
                  <a:pt x="436" y="420"/>
                  <a:pt x="437" y="420"/>
                </a:cubicBezTo>
                <a:cubicBezTo>
                  <a:pt x="437" y="420"/>
                  <a:pt x="437" y="420"/>
                  <a:pt x="437" y="420"/>
                </a:cubicBezTo>
                <a:cubicBezTo>
                  <a:pt x="437" y="420"/>
                  <a:pt x="437" y="420"/>
                  <a:pt x="437" y="419"/>
                </a:cubicBezTo>
                <a:cubicBezTo>
                  <a:pt x="437" y="419"/>
                  <a:pt x="436" y="418"/>
                  <a:pt x="435" y="418"/>
                </a:cubicBezTo>
                <a:cubicBezTo>
                  <a:pt x="435" y="418"/>
                  <a:pt x="435" y="418"/>
                  <a:pt x="435" y="418"/>
                </a:cubicBezTo>
                <a:cubicBezTo>
                  <a:pt x="434" y="418"/>
                  <a:pt x="434" y="418"/>
                  <a:pt x="434" y="417"/>
                </a:cubicBezTo>
                <a:cubicBezTo>
                  <a:pt x="434" y="417"/>
                  <a:pt x="434" y="417"/>
                  <a:pt x="433" y="417"/>
                </a:cubicBezTo>
                <a:cubicBezTo>
                  <a:pt x="433" y="417"/>
                  <a:pt x="432" y="417"/>
                  <a:pt x="432" y="416"/>
                </a:cubicBezTo>
                <a:cubicBezTo>
                  <a:pt x="432" y="416"/>
                  <a:pt x="432" y="415"/>
                  <a:pt x="432" y="415"/>
                </a:cubicBezTo>
                <a:cubicBezTo>
                  <a:pt x="433" y="415"/>
                  <a:pt x="433" y="414"/>
                  <a:pt x="433" y="414"/>
                </a:cubicBezTo>
                <a:cubicBezTo>
                  <a:pt x="433" y="414"/>
                  <a:pt x="433" y="414"/>
                  <a:pt x="433" y="414"/>
                </a:cubicBezTo>
                <a:cubicBezTo>
                  <a:pt x="433" y="414"/>
                  <a:pt x="434" y="413"/>
                  <a:pt x="434" y="413"/>
                </a:cubicBezTo>
                <a:cubicBezTo>
                  <a:pt x="434" y="413"/>
                  <a:pt x="434" y="413"/>
                  <a:pt x="435" y="413"/>
                </a:cubicBezTo>
                <a:cubicBezTo>
                  <a:pt x="435" y="413"/>
                  <a:pt x="435" y="413"/>
                  <a:pt x="435" y="413"/>
                </a:cubicBezTo>
                <a:cubicBezTo>
                  <a:pt x="435" y="413"/>
                  <a:pt x="436" y="413"/>
                  <a:pt x="436" y="413"/>
                </a:cubicBezTo>
                <a:cubicBezTo>
                  <a:pt x="436" y="413"/>
                  <a:pt x="436" y="413"/>
                  <a:pt x="436" y="414"/>
                </a:cubicBezTo>
                <a:cubicBezTo>
                  <a:pt x="436" y="414"/>
                  <a:pt x="437" y="414"/>
                  <a:pt x="437" y="414"/>
                </a:cubicBezTo>
                <a:cubicBezTo>
                  <a:pt x="437" y="414"/>
                  <a:pt x="437" y="414"/>
                  <a:pt x="437" y="415"/>
                </a:cubicBezTo>
                <a:cubicBezTo>
                  <a:pt x="437" y="415"/>
                  <a:pt x="437" y="415"/>
                  <a:pt x="437" y="415"/>
                </a:cubicBezTo>
                <a:cubicBezTo>
                  <a:pt x="437" y="415"/>
                  <a:pt x="437" y="415"/>
                  <a:pt x="437" y="415"/>
                </a:cubicBezTo>
                <a:cubicBezTo>
                  <a:pt x="437" y="416"/>
                  <a:pt x="437" y="416"/>
                  <a:pt x="437" y="417"/>
                </a:cubicBezTo>
                <a:cubicBezTo>
                  <a:pt x="437" y="418"/>
                  <a:pt x="438" y="418"/>
                  <a:pt x="438" y="418"/>
                </a:cubicBezTo>
                <a:cubicBezTo>
                  <a:pt x="438" y="418"/>
                  <a:pt x="438" y="419"/>
                  <a:pt x="438" y="419"/>
                </a:cubicBezTo>
                <a:cubicBezTo>
                  <a:pt x="438" y="418"/>
                  <a:pt x="438" y="418"/>
                  <a:pt x="438" y="417"/>
                </a:cubicBezTo>
                <a:cubicBezTo>
                  <a:pt x="438" y="417"/>
                  <a:pt x="438" y="417"/>
                  <a:pt x="438" y="417"/>
                </a:cubicBezTo>
                <a:cubicBezTo>
                  <a:pt x="438" y="417"/>
                  <a:pt x="439" y="417"/>
                  <a:pt x="439" y="417"/>
                </a:cubicBezTo>
                <a:cubicBezTo>
                  <a:pt x="439" y="417"/>
                  <a:pt x="438" y="417"/>
                  <a:pt x="438" y="417"/>
                </a:cubicBezTo>
                <a:cubicBezTo>
                  <a:pt x="438" y="416"/>
                  <a:pt x="438" y="416"/>
                  <a:pt x="438" y="416"/>
                </a:cubicBezTo>
                <a:cubicBezTo>
                  <a:pt x="438" y="416"/>
                  <a:pt x="438" y="416"/>
                  <a:pt x="438" y="416"/>
                </a:cubicBezTo>
                <a:cubicBezTo>
                  <a:pt x="439" y="416"/>
                  <a:pt x="439" y="416"/>
                  <a:pt x="439" y="416"/>
                </a:cubicBezTo>
                <a:cubicBezTo>
                  <a:pt x="439" y="416"/>
                  <a:pt x="439" y="417"/>
                  <a:pt x="439" y="417"/>
                </a:cubicBezTo>
                <a:cubicBezTo>
                  <a:pt x="439" y="417"/>
                  <a:pt x="440" y="417"/>
                  <a:pt x="440" y="417"/>
                </a:cubicBezTo>
                <a:cubicBezTo>
                  <a:pt x="440" y="417"/>
                  <a:pt x="440" y="417"/>
                  <a:pt x="440" y="417"/>
                </a:cubicBezTo>
                <a:cubicBezTo>
                  <a:pt x="440" y="417"/>
                  <a:pt x="440" y="417"/>
                  <a:pt x="440" y="417"/>
                </a:cubicBezTo>
                <a:cubicBezTo>
                  <a:pt x="440" y="417"/>
                  <a:pt x="440" y="417"/>
                  <a:pt x="440" y="417"/>
                </a:cubicBezTo>
                <a:cubicBezTo>
                  <a:pt x="440" y="417"/>
                  <a:pt x="440" y="417"/>
                  <a:pt x="440" y="417"/>
                </a:cubicBezTo>
                <a:cubicBezTo>
                  <a:pt x="440" y="417"/>
                  <a:pt x="440" y="416"/>
                  <a:pt x="440" y="416"/>
                </a:cubicBezTo>
                <a:cubicBezTo>
                  <a:pt x="440" y="416"/>
                  <a:pt x="440" y="416"/>
                  <a:pt x="440" y="416"/>
                </a:cubicBezTo>
                <a:cubicBezTo>
                  <a:pt x="440" y="416"/>
                  <a:pt x="439" y="416"/>
                  <a:pt x="439" y="416"/>
                </a:cubicBezTo>
                <a:cubicBezTo>
                  <a:pt x="439" y="415"/>
                  <a:pt x="439" y="415"/>
                  <a:pt x="438" y="415"/>
                </a:cubicBezTo>
                <a:cubicBezTo>
                  <a:pt x="438" y="415"/>
                  <a:pt x="438" y="415"/>
                  <a:pt x="438" y="415"/>
                </a:cubicBezTo>
                <a:cubicBezTo>
                  <a:pt x="438" y="414"/>
                  <a:pt x="438" y="414"/>
                  <a:pt x="438" y="414"/>
                </a:cubicBezTo>
                <a:cubicBezTo>
                  <a:pt x="439" y="414"/>
                  <a:pt x="440" y="415"/>
                  <a:pt x="440" y="415"/>
                </a:cubicBezTo>
                <a:cubicBezTo>
                  <a:pt x="441" y="415"/>
                  <a:pt x="441" y="415"/>
                  <a:pt x="441" y="415"/>
                </a:cubicBezTo>
                <a:cubicBezTo>
                  <a:pt x="441" y="415"/>
                  <a:pt x="441" y="415"/>
                  <a:pt x="441" y="415"/>
                </a:cubicBezTo>
                <a:cubicBezTo>
                  <a:pt x="442" y="415"/>
                  <a:pt x="442" y="415"/>
                  <a:pt x="442" y="416"/>
                </a:cubicBezTo>
                <a:cubicBezTo>
                  <a:pt x="442" y="416"/>
                  <a:pt x="442" y="416"/>
                  <a:pt x="441" y="416"/>
                </a:cubicBezTo>
                <a:cubicBezTo>
                  <a:pt x="441" y="416"/>
                  <a:pt x="441" y="416"/>
                  <a:pt x="442" y="417"/>
                </a:cubicBezTo>
                <a:cubicBezTo>
                  <a:pt x="442" y="417"/>
                  <a:pt x="442" y="417"/>
                  <a:pt x="442" y="417"/>
                </a:cubicBezTo>
                <a:cubicBezTo>
                  <a:pt x="442" y="417"/>
                  <a:pt x="442" y="417"/>
                  <a:pt x="442" y="417"/>
                </a:cubicBezTo>
                <a:cubicBezTo>
                  <a:pt x="442" y="416"/>
                  <a:pt x="442" y="416"/>
                  <a:pt x="442" y="415"/>
                </a:cubicBezTo>
                <a:cubicBezTo>
                  <a:pt x="442" y="415"/>
                  <a:pt x="442" y="414"/>
                  <a:pt x="442" y="413"/>
                </a:cubicBezTo>
                <a:cubicBezTo>
                  <a:pt x="442" y="413"/>
                  <a:pt x="442" y="413"/>
                  <a:pt x="442" y="413"/>
                </a:cubicBezTo>
                <a:cubicBezTo>
                  <a:pt x="442" y="413"/>
                  <a:pt x="441" y="413"/>
                  <a:pt x="441" y="413"/>
                </a:cubicBezTo>
                <a:cubicBezTo>
                  <a:pt x="442" y="413"/>
                  <a:pt x="442" y="413"/>
                  <a:pt x="442" y="413"/>
                </a:cubicBezTo>
                <a:cubicBezTo>
                  <a:pt x="442" y="413"/>
                  <a:pt x="442" y="414"/>
                  <a:pt x="443" y="414"/>
                </a:cubicBezTo>
                <a:cubicBezTo>
                  <a:pt x="443" y="414"/>
                  <a:pt x="443" y="414"/>
                  <a:pt x="443" y="414"/>
                </a:cubicBezTo>
                <a:cubicBezTo>
                  <a:pt x="443" y="414"/>
                  <a:pt x="443" y="413"/>
                  <a:pt x="443" y="413"/>
                </a:cubicBezTo>
                <a:cubicBezTo>
                  <a:pt x="443" y="413"/>
                  <a:pt x="443" y="413"/>
                  <a:pt x="443" y="413"/>
                </a:cubicBezTo>
                <a:cubicBezTo>
                  <a:pt x="442" y="413"/>
                  <a:pt x="442" y="412"/>
                  <a:pt x="442" y="412"/>
                </a:cubicBezTo>
                <a:cubicBezTo>
                  <a:pt x="441" y="411"/>
                  <a:pt x="441" y="411"/>
                  <a:pt x="441" y="411"/>
                </a:cubicBezTo>
                <a:cubicBezTo>
                  <a:pt x="440" y="411"/>
                  <a:pt x="440" y="410"/>
                  <a:pt x="441" y="410"/>
                </a:cubicBezTo>
                <a:cubicBezTo>
                  <a:pt x="441" y="410"/>
                  <a:pt x="441" y="410"/>
                  <a:pt x="441" y="410"/>
                </a:cubicBezTo>
                <a:cubicBezTo>
                  <a:pt x="441" y="411"/>
                  <a:pt x="442" y="411"/>
                  <a:pt x="442" y="411"/>
                </a:cubicBezTo>
                <a:cubicBezTo>
                  <a:pt x="442" y="411"/>
                  <a:pt x="442" y="411"/>
                  <a:pt x="442" y="411"/>
                </a:cubicBezTo>
                <a:cubicBezTo>
                  <a:pt x="443" y="411"/>
                  <a:pt x="443" y="412"/>
                  <a:pt x="444" y="412"/>
                </a:cubicBezTo>
                <a:cubicBezTo>
                  <a:pt x="444" y="412"/>
                  <a:pt x="444" y="412"/>
                  <a:pt x="444" y="412"/>
                </a:cubicBezTo>
                <a:cubicBezTo>
                  <a:pt x="444" y="412"/>
                  <a:pt x="444" y="412"/>
                  <a:pt x="444" y="412"/>
                </a:cubicBezTo>
                <a:cubicBezTo>
                  <a:pt x="444" y="411"/>
                  <a:pt x="444" y="411"/>
                  <a:pt x="445" y="411"/>
                </a:cubicBezTo>
                <a:cubicBezTo>
                  <a:pt x="445" y="411"/>
                  <a:pt x="445" y="411"/>
                  <a:pt x="446" y="412"/>
                </a:cubicBezTo>
                <a:cubicBezTo>
                  <a:pt x="446" y="412"/>
                  <a:pt x="446" y="412"/>
                  <a:pt x="447" y="412"/>
                </a:cubicBezTo>
                <a:cubicBezTo>
                  <a:pt x="447" y="412"/>
                  <a:pt x="447" y="412"/>
                  <a:pt x="447" y="413"/>
                </a:cubicBezTo>
                <a:cubicBezTo>
                  <a:pt x="447" y="413"/>
                  <a:pt x="446" y="413"/>
                  <a:pt x="446" y="413"/>
                </a:cubicBezTo>
                <a:cubicBezTo>
                  <a:pt x="446" y="413"/>
                  <a:pt x="446" y="413"/>
                  <a:pt x="446" y="414"/>
                </a:cubicBezTo>
                <a:cubicBezTo>
                  <a:pt x="446" y="414"/>
                  <a:pt x="446" y="414"/>
                  <a:pt x="446" y="414"/>
                </a:cubicBezTo>
                <a:cubicBezTo>
                  <a:pt x="446" y="414"/>
                  <a:pt x="445" y="414"/>
                  <a:pt x="445" y="415"/>
                </a:cubicBezTo>
                <a:cubicBezTo>
                  <a:pt x="446" y="415"/>
                  <a:pt x="445" y="416"/>
                  <a:pt x="446" y="416"/>
                </a:cubicBezTo>
                <a:cubicBezTo>
                  <a:pt x="446" y="416"/>
                  <a:pt x="446" y="416"/>
                  <a:pt x="446" y="417"/>
                </a:cubicBezTo>
                <a:cubicBezTo>
                  <a:pt x="446" y="417"/>
                  <a:pt x="446" y="417"/>
                  <a:pt x="446" y="417"/>
                </a:cubicBezTo>
                <a:cubicBezTo>
                  <a:pt x="446" y="417"/>
                  <a:pt x="446" y="417"/>
                  <a:pt x="446" y="417"/>
                </a:cubicBezTo>
                <a:cubicBezTo>
                  <a:pt x="446" y="416"/>
                  <a:pt x="446" y="415"/>
                  <a:pt x="446" y="415"/>
                </a:cubicBezTo>
                <a:cubicBezTo>
                  <a:pt x="446" y="414"/>
                  <a:pt x="447" y="414"/>
                  <a:pt x="447" y="414"/>
                </a:cubicBezTo>
                <a:cubicBezTo>
                  <a:pt x="447" y="414"/>
                  <a:pt x="447" y="414"/>
                  <a:pt x="447" y="414"/>
                </a:cubicBezTo>
                <a:cubicBezTo>
                  <a:pt x="447" y="414"/>
                  <a:pt x="447" y="414"/>
                  <a:pt x="447" y="414"/>
                </a:cubicBezTo>
                <a:cubicBezTo>
                  <a:pt x="448" y="414"/>
                  <a:pt x="448" y="415"/>
                  <a:pt x="448" y="414"/>
                </a:cubicBezTo>
                <a:cubicBezTo>
                  <a:pt x="448" y="414"/>
                  <a:pt x="448" y="414"/>
                  <a:pt x="448" y="414"/>
                </a:cubicBezTo>
                <a:cubicBezTo>
                  <a:pt x="448" y="414"/>
                  <a:pt x="448" y="414"/>
                  <a:pt x="448" y="414"/>
                </a:cubicBezTo>
                <a:cubicBezTo>
                  <a:pt x="448" y="413"/>
                  <a:pt x="449" y="413"/>
                  <a:pt x="449" y="413"/>
                </a:cubicBezTo>
                <a:cubicBezTo>
                  <a:pt x="449" y="413"/>
                  <a:pt x="449" y="414"/>
                  <a:pt x="449" y="413"/>
                </a:cubicBezTo>
                <a:cubicBezTo>
                  <a:pt x="449" y="413"/>
                  <a:pt x="449" y="413"/>
                  <a:pt x="449" y="413"/>
                </a:cubicBezTo>
                <a:cubicBezTo>
                  <a:pt x="449" y="413"/>
                  <a:pt x="449" y="413"/>
                  <a:pt x="449" y="412"/>
                </a:cubicBezTo>
                <a:cubicBezTo>
                  <a:pt x="449" y="412"/>
                  <a:pt x="449" y="412"/>
                  <a:pt x="449" y="412"/>
                </a:cubicBezTo>
                <a:cubicBezTo>
                  <a:pt x="450" y="412"/>
                  <a:pt x="450" y="412"/>
                  <a:pt x="450" y="412"/>
                </a:cubicBezTo>
                <a:cubicBezTo>
                  <a:pt x="450" y="412"/>
                  <a:pt x="450" y="412"/>
                  <a:pt x="450" y="412"/>
                </a:cubicBezTo>
                <a:cubicBezTo>
                  <a:pt x="450" y="412"/>
                  <a:pt x="451" y="412"/>
                  <a:pt x="451" y="413"/>
                </a:cubicBezTo>
                <a:cubicBezTo>
                  <a:pt x="451" y="413"/>
                  <a:pt x="451" y="413"/>
                  <a:pt x="451" y="413"/>
                </a:cubicBezTo>
                <a:cubicBezTo>
                  <a:pt x="451" y="413"/>
                  <a:pt x="452" y="413"/>
                  <a:pt x="452" y="413"/>
                </a:cubicBezTo>
                <a:cubicBezTo>
                  <a:pt x="452" y="414"/>
                  <a:pt x="452" y="414"/>
                  <a:pt x="452" y="414"/>
                </a:cubicBezTo>
                <a:cubicBezTo>
                  <a:pt x="452" y="414"/>
                  <a:pt x="452" y="414"/>
                  <a:pt x="452" y="414"/>
                </a:cubicBezTo>
                <a:cubicBezTo>
                  <a:pt x="452" y="414"/>
                  <a:pt x="452" y="414"/>
                  <a:pt x="452" y="415"/>
                </a:cubicBezTo>
                <a:cubicBezTo>
                  <a:pt x="452" y="415"/>
                  <a:pt x="452" y="414"/>
                  <a:pt x="452" y="414"/>
                </a:cubicBezTo>
                <a:cubicBezTo>
                  <a:pt x="452" y="414"/>
                  <a:pt x="452" y="414"/>
                  <a:pt x="453" y="414"/>
                </a:cubicBezTo>
                <a:cubicBezTo>
                  <a:pt x="453" y="415"/>
                  <a:pt x="453" y="415"/>
                  <a:pt x="452" y="415"/>
                </a:cubicBezTo>
                <a:cubicBezTo>
                  <a:pt x="452" y="415"/>
                  <a:pt x="452" y="415"/>
                  <a:pt x="452" y="415"/>
                </a:cubicBezTo>
                <a:cubicBezTo>
                  <a:pt x="452" y="415"/>
                  <a:pt x="452" y="415"/>
                  <a:pt x="451" y="416"/>
                </a:cubicBezTo>
                <a:cubicBezTo>
                  <a:pt x="451" y="416"/>
                  <a:pt x="451" y="416"/>
                  <a:pt x="451" y="416"/>
                </a:cubicBezTo>
                <a:cubicBezTo>
                  <a:pt x="451" y="416"/>
                  <a:pt x="451" y="416"/>
                  <a:pt x="451" y="416"/>
                </a:cubicBezTo>
                <a:cubicBezTo>
                  <a:pt x="451" y="417"/>
                  <a:pt x="451" y="417"/>
                  <a:pt x="450" y="417"/>
                </a:cubicBezTo>
                <a:cubicBezTo>
                  <a:pt x="450" y="417"/>
                  <a:pt x="450" y="417"/>
                  <a:pt x="450" y="417"/>
                </a:cubicBezTo>
                <a:cubicBezTo>
                  <a:pt x="450" y="417"/>
                  <a:pt x="450" y="417"/>
                  <a:pt x="450" y="418"/>
                </a:cubicBezTo>
                <a:cubicBezTo>
                  <a:pt x="450" y="418"/>
                  <a:pt x="450" y="418"/>
                  <a:pt x="450" y="418"/>
                </a:cubicBezTo>
                <a:cubicBezTo>
                  <a:pt x="451" y="417"/>
                  <a:pt x="451" y="417"/>
                  <a:pt x="451" y="417"/>
                </a:cubicBezTo>
                <a:cubicBezTo>
                  <a:pt x="451" y="417"/>
                  <a:pt x="451" y="418"/>
                  <a:pt x="451" y="418"/>
                </a:cubicBezTo>
                <a:cubicBezTo>
                  <a:pt x="451" y="418"/>
                  <a:pt x="451" y="418"/>
                  <a:pt x="451" y="418"/>
                </a:cubicBezTo>
                <a:cubicBezTo>
                  <a:pt x="451" y="418"/>
                  <a:pt x="451" y="419"/>
                  <a:pt x="451" y="419"/>
                </a:cubicBezTo>
                <a:cubicBezTo>
                  <a:pt x="451" y="419"/>
                  <a:pt x="451" y="418"/>
                  <a:pt x="452" y="418"/>
                </a:cubicBezTo>
                <a:cubicBezTo>
                  <a:pt x="452" y="418"/>
                  <a:pt x="452" y="418"/>
                  <a:pt x="452" y="418"/>
                </a:cubicBezTo>
                <a:cubicBezTo>
                  <a:pt x="452" y="419"/>
                  <a:pt x="452" y="419"/>
                  <a:pt x="452" y="419"/>
                </a:cubicBezTo>
                <a:cubicBezTo>
                  <a:pt x="452" y="419"/>
                  <a:pt x="452" y="419"/>
                  <a:pt x="451" y="420"/>
                </a:cubicBezTo>
                <a:cubicBezTo>
                  <a:pt x="451" y="420"/>
                  <a:pt x="451" y="420"/>
                  <a:pt x="451" y="420"/>
                </a:cubicBezTo>
                <a:cubicBezTo>
                  <a:pt x="451" y="420"/>
                  <a:pt x="452" y="420"/>
                  <a:pt x="452" y="420"/>
                </a:cubicBezTo>
                <a:cubicBezTo>
                  <a:pt x="452" y="419"/>
                  <a:pt x="453" y="419"/>
                  <a:pt x="453" y="419"/>
                </a:cubicBezTo>
                <a:cubicBezTo>
                  <a:pt x="453" y="419"/>
                  <a:pt x="453" y="419"/>
                  <a:pt x="453" y="419"/>
                </a:cubicBezTo>
                <a:cubicBezTo>
                  <a:pt x="454" y="419"/>
                  <a:pt x="454" y="419"/>
                  <a:pt x="454" y="419"/>
                </a:cubicBezTo>
                <a:cubicBezTo>
                  <a:pt x="454" y="420"/>
                  <a:pt x="454" y="419"/>
                  <a:pt x="455" y="419"/>
                </a:cubicBezTo>
                <a:cubicBezTo>
                  <a:pt x="455" y="419"/>
                  <a:pt x="455" y="419"/>
                  <a:pt x="455" y="419"/>
                </a:cubicBezTo>
                <a:close/>
                <a:moveTo>
                  <a:pt x="435" y="417"/>
                </a:moveTo>
                <a:cubicBezTo>
                  <a:pt x="435" y="417"/>
                  <a:pt x="435" y="417"/>
                  <a:pt x="435" y="417"/>
                </a:cubicBezTo>
                <a:cubicBezTo>
                  <a:pt x="435" y="417"/>
                  <a:pt x="435" y="417"/>
                  <a:pt x="435" y="417"/>
                </a:cubicBezTo>
                <a:close/>
                <a:moveTo>
                  <a:pt x="447" y="419"/>
                </a:moveTo>
                <a:cubicBezTo>
                  <a:pt x="447" y="419"/>
                  <a:pt x="447" y="419"/>
                  <a:pt x="447" y="419"/>
                </a:cubicBezTo>
                <a:cubicBezTo>
                  <a:pt x="447" y="419"/>
                  <a:pt x="447" y="419"/>
                  <a:pt x="447" y="419"/>
                </a:cubicBezTo>
                <a:close/>
                <a:moveTo>
                  <a:pt x="450" y="418"/>
                </a:moveTo>
                <a:cubicBezTo>
                  <a:pt x="450" y="418"/>
                  <a:pt x="450" y="418"/>
                  <a:pt x="450" y="418"/>
                </a:cubicBezTo>
                <a:cubicBezTo>
                  <a:pt x="450" y="418"/>
                  <a:pt x="450" y="418"/>
                  <a:pt x="450" y="418"/>
                </a:cubicBezTo>
                <a:cubicBezTo>
                  <a:pt x="450" y="418"/>
                  <a:pt x="450" y="418"/>
                  <a:pt x="450" y="418"/>
                </a:cubicBezTo>
                <a:close/>
                <a:moveTo>
                  <a:pt x="411" y="460"/>
                </a:moveTo>
                <a:cubicBezTo>
                  <a:pt x="411" y="460"/>
                  <a:pt x="411" y="460"/>
                  <a:pt x="411" y="459"/>
                </a:cubicBezTo>
                <a:cubicBezTo>
                  <a:pt x="411" y="459"/>
                  <a:pt x="410" y="460"/>
                  <a:pt x="410" y="460"/>
                </a:cubicBezTo>
                <a:cubicBezTo>
                  <a:pt x="410" y="460"/>
                  <a:pt x="410" y="461"/>
                  <a:pt x="410" y="461"/>
                </a:cubicBezTo>
                <a:cubicBezTo>
                  <a:pt x="409" y="461"/>
                  <a:pt x="409" y="461"/>
                  <a:pt x="409" y="461"/>
                </a:cubicBezTo>
                <a:cubicBezTo>
                  <a:pt x="409" y="462"/>
                  <a:pt x="409" y="462"/>
                  <a:pt x="409" y="462"/>
                </a:cubicBezTo>
                <a:cubicBezTo>
                  <a:pt x="409" y="463"/>
                  <a:pt x="409" y="463"/>
                  <a:pt x="410" y="463"/>
                </a:cubicBezTo>
                <a:cubicBezTo>
                  <a:pt x="410" y="463"/>
                  <a:pt x="410" y="463"/>
                  <a:pt x="411" y="463"/>
                </a:cubicBezTo>
                <a:cubicBezTo>
                  <a:pt x="411" y="463"/>
                  <a:pt x="411" y="463"/>
                  <a:pt x="411" y="463"/>
                </a:cubicBezTo>
                <a:cubicBezTo>
                  <a:pt x="411" y="462"/>
                  <a:pt x="412" y="462"/>
                  <a:pt x="411" y="461"/>
                </a:cubicBezTo>
                <a:cubicBezTo>
                  <a:pt x="411" y="461"/>
                  <a:pt x="411" y="460"/>
                  <a:pt x="411" y="460"/>
                </a:cubicBezTo>
                <a:close/>
                <a:moveTo>
                  <a:pt x="458" y="404"/>
                </a:moveTo>
                <a:cubicBezTo>
                  <a:pt x="458" y="404"/>
                  <a:pt x="458" y="405"/>
                  <a:pt x="457" y="405"/>
                </a:cubicBezTo>
                <a:cubicBezTo>
                  <a:pt x="457" y="405"/>
                  <a:pt x="457" y="405"/>
                  <a:pt x="457" y="405"/>
                </a:cubicBezTo>
                <a:cubicBezTo>
                  <a:pt x="457" y="405"/>
                  <a:pt x="456" y="405"/>
                  <a:pt x="457" y="406"/>
                </a:cubicBezTo>
                <a:cubicBezTo>
                  <a:pt x="457" y="406"/>
                  <a:pt x="456" y="406"/>
                  <a:pt x="456" y="406"/>
                </a:cubicBezTo>
                <a:cubicBezTo>
                  <a:pt x="456" y="406"/>
                  <a:pt x="456" y="406"/>
                  <a:pt x="456" y="406"/>
                </a:cubicBezTo>
                <a:cubicBezTo>
                  <a:pt x="455" y="406"/>
                  <a:pt x="455" y="406"/>
                  <a:pt x="455" y="406"/>
                </a:cubicBezTo>
                <a:cubicBezTo>
                  <a:pt x="455" y="406"/>
                  <a:pt x="455" y="406"/>
                  <a:pt x="454" y="405"/>
                </a:cubicBezTo>
                <a:cubicBezTo>
                  <a:pt x="454" y="405"/>
                  <a:pt x="454" y="404"/>
                  <a:pt x="454" y="404"/>
                </a:cubicBezTo>
                <a:cubicBezTo>
                  <a:pt x="454" y="404"/>
                  <a:pt x="454" y="404"/>
                  <a:pt x="454" y="404"/>
                </a:cubicBezTo>
                <a:cubicBezTo>
                  <a:pt x="454" y="403"/>
                  <a:pt x="454" y="404"/>
                  <a:pt x="454" y="404"/>
                </a:cubicBezTo>
                <a:cubicBezTo>
                  <a:pt x="454" y="404"/>
                  <a:pt x="454" y="404"/>
                  <a:pt x="453" y="404"/>
                </a:cubicBezTo>
                <a:cubicBezTo>
                  <a:pt x="453" y="404"/>
                  <a:pt x="453" y="405"/>
                  <a:pt x="453" y="405"/>
                </a:cubicBezTo>
                <a:cubicBezTo>
                  <a:pt x="454" y="405"/>
                  <a:pt x="454" y="405"/>
                  <a:pt x="453" y="406"/>
                </a:cubicBezTo>
                <a:cubicBezTo>
                  <a:pt x="453" y="406"/>
                  <a:pt x="453" y="406"/>
                  <a:pt x="453" y="406"/>
                </a:cubicBezTo>
                <a:cubicBezTo>
                  <a:pt x="453" y="405"/>
                  <a:pt x="453" y="405"/>
                  <a:pt x="453" y="405"/>
                </a:cubicBezTo>
                <a:cubicBezTo>
                  <a:pt x="453" y="406"/>
                  <a:pt x="453" y="406"/>
                  <a:pt x="453" y="407"/>
                </a:cubicBezTo>
                <a:cubicBezTo>
                  <a:pt x="453" y="407"/>
                  <a:pt x="453" y="407"/>
                  <a:pt x="453" y="407"/>
                </a:cubicBezTo>
                <a:cubicBezTo>
                  <a:pt x="453" y="407"/>
                  <a:pt x="453" y="408"/>
                  <a:pt x="453" y="407"/>
                </a:cubicBezTo>
                <a:cubicBezTo>
                  <a:pt x="453" y="407"/>
                  <a:pt x="453" y="407"/>
                  <a:pt x="452" y="407"/>
                </a:cubicBezTo>
                <a:cubicBezTo>
                  <a:pt x="452" y="407"/>
                  <a:pt x="452" y="407"/>
                  <a:pt x="452" y="407"/>
                </a:cubicBezTo>
                <a:cubicBezTo>
                  <a:pt x="452" y="407"/>
                  <a:pt x="452" y="407"/>
                  <a:pt x="451" y="407"/>
                </a:cubicBezTo>
                <a:cubicBezTo>
                  <a:pt x="451" y="407"/>
                  <a:pt x="451" y="407"/>
                  <a:pt x="451" y="407"/>
                </a:cubicBezTo>
                <a:cubicBezTo>
                  <a:pt x="451" y="407"/>
                  <a:pt x="450" y="407"/>
                  <a:pt x="450" y="408"/>
                </a:cubicBezTo>
                <a:cubicBezTo>
                  <a:pt x="450" y="408"/>
                  <a:pt x="450" y="408"/>
                  <a:pt x="450" y="408"/>
                </a:cubicBezTo>
                <a:cubicBezTo>
                  <a:pt x="450" y="408"/>
                  <a:pt x="450" y="408"/>
                  <a:pt x="450" y="407"/>
                </a:cubicBezTo>
                <a:cubicBezTo>
                  <a:pt x="450" y="407"/>
                  <a:pt x="450" y="406"/>
                  <a:pt x="450" y="406"/>
                </a:cubicBezTo>
                <a:cubicBezTo>
                  <a:pt x="450" y="405"/>
                  <a:pt x="450" y="405"/>
                  <a:pt x="450" y="405"/>
                </a:cubicBezTo>
                <a:cubicBezTo>
                  <a:pt x="450" y="405"/>
                  <a:pt x="450" y="406"/>
                  <a:pt x="450" y="406"/>
                </a:cubicBezTo>
                <a:cubicBezTo>
                  <a:pt x="449" y="406"/>
                  <a:pt x="449" y="407"/>
                  <a:pt x="449" y="407"/>
                </a:cubicBezTo>
                <a:cubicBezTo>
                  <a:pt x="449" y="408"/>
                  <a:pt x="449" y="408"/>
                  <a:pt x="449" y="408"/>
                </a:cubicBezTo>
                <a:cubicBezTo>
                  <a:pt x="449" y="408"/>
                  <a:pt x="449" y="408"/>
                  <a:pt x="449" y="409"/>
                </a:cubicBezTo>
                <a:cubicBezTo>
                  <a:pt x="449" y="409"/>
                  <a:pt x="448" y="409"/>
                  <a:pt x="448" y="409"/>
                </a:cubicBezTo>
                <a:cubicBezTo>
                  <a:pt x="448" y="409"/>
                  <a:pt x="447" y="409"/>
                  <a:pt x="447" y="408"/>
                </a:cubicBezTo>
                <a:cubicBezTo>
                  <a:pt x="447" y="408"/>
                  <a:pt x="447" y="408"/>
                  <a:pt x="447" y="408"/>
                </a:cubicBezTo>
                <a:cubicBezTo>
                  <a:pt x="447" y="408"/>
                  <a:pt x="447" y="408"/>
                  <a:pt x="447" y="408"/>
                </a:cubicBezTo>
                <a:cubicBezTo>
                  <a:pt x="447" y="409"/>
                  <a:pt x="447" y="409"/>
                  <a:pt x="447" y="409"/>
                </a:cubicBezTo>
                <a:cubicBezTo>
                  <a:pt x="448" y="410"/>
                  <a:pt x="447" y="410"/>
                  <a:pt x="447" y="410"/>
                </a:cubicBezTo>
                <a:cubicBezTo>
                  <a:pt x="447" y="410"/>
                  <a:pt x="447" y="410"/>
                  <a:pt x="446" y="410"/>
                </a:cubicBezTo>
                <a:cubicBezTo>
                  <a:pt x="446" y="410"/>
                  <a:pt x="445" y="409"/>
                  <a:pt x="445" y="409"/>
                </a:cubicBezTo>
                <a:cubicBezTo>
                  <a:pt x="444" y="409"/>
                  <a:pt x="444" y="408"/>
                  <a:pt x="444" y="408"/>
                </a:cubicBezTo>
                <a:cubicBezTo>
                  <a:pt x="444" y="408"/>
                  <a:pt x="444" y="408"/>
                  <a:pt x="444" y="407"/>
                </a:cubicBezTo>
                <a:cubicBezTo>
                  <a:pt x="443" y="407"/>
                  <a:pt x="443" y="407"/>
                  <a:pt x="442" y="408"/>
                </a:cubicBezTo>
                <a:cubicBezTo>
                  <a:pt x="442" y="408"/>
                  <a:pt x="442" y="407"/>
                  <a:pt x="442" y="407"/>
                </a:cubicBezTo>
                <a:cubicBezTo>
                  <a:pt x="442" y="407"/>
                  <a:pt x="442" y="407"/>
                  <a:pt x="442" y="407"/>
                </a:cubicBezTo>
                <a:cubicBezTo>
                  <a:pt x="442" y="407"/>
                  <a:pt x="442" y="407"/>
                  <a:pt x="442" y="407"/>
                </a:cubicBezTo>
                <a:cubicBezTo>
                  <a:pt x="441" y="406"/>
                  <a:pt x="442" y="406"/>
                  <a:pt x="442" y="405"/>
                </a:cubicBezTo>
                <a:cubicBezTo>
                  <a:pt x="442" y="405"/>
                  <a:pt x="442" y="405"/>
                  <a:pt x="442" y="405"/>
                </a:cubicBezTo>
                <a:cubicBezTo>
                  <a:pt x="442" y="405"/>
                  <a:pt x="442" y="405"/>
                  <a:pt x="442" y="405"/>
                </a:cubicBezTo>
                <a:cubicBezTo>
                  <a:pt x="443" y="405"/>
                  <a:pt x="443" y="405"/>
                  <a:pt x="443" y="405"/>
                </a:cubicBezTo>
                <a:cubicBezTo>
                  <a:pt x="443" y="405"/>
                  <a:pt x="444" y="405"/>
                  <a:pt x="444" y="405"/>
                </a:cubicBezTo>
                <a:cubicBezTo>
                  <a:pt x="444" y="405"/>
                  <a:pt x="444" y="406"/>
                  <a:pt x="444" y="406"/>
                </a:cubicBezTo>
                <a:cubicBezTo>
                  <a:pt x="444" y="406"/>
                  <a:pt x="444" y="406"/>
                  <a:pt x="444" y="406"/>
                </a:cubicBezTo>
                <a:cubicBezTo>
                  <a:pt x="445" y="406"/>
                  <a:pt x="444" y="406"/>
                  <a:pt x="445" y="406"/>
                </a:cubicBezTo>
                <a:cubicBezTo>
                  <a:pt x="445" y="406"/>
                  <a:pt x="445" y="406"/>
                  <a:pt x="445" y="406"/>
                </a:cubicBezTo>
                <a:cubicBezTo>
                  <a:pt x="445" y="406"/>
                  <a:pt x="445" y="406"/>
                  <a:pt x="445" y="406"/>
                </a:cubicBezTo>
                <a:cubicBezTo>
                  <a:pt x="445" y="406"/>
                  <a:pt x="445" y="405"/>
                  <a:pt x="445" y="405"/>
                </a:cubicBezTo>
                <a:cubicBezTo>
                  <a:pt x="445" y="405"/>
                  <a:pt x="445" y="405"/>
                  <a:pt x="444" y="405"/>
                </a:cubicBezTo>
                <a:cubicBezTo>
                  <a:pt x="444" y="405"/>
                  <a:pt x="444" y="405"/>
                  <a:pt x="444" y="404"/>
                </a:cubicBezTo>
                <a:cubicBezTo>
                  <a:pt x="444" y="404"/>
                  <a:pt x="444" y="404"/>
                  <a:pt x="444" y="404"/>
                </a:cubicBezTo>
                <a:cubicBezTo>
                  <a:pt x="443" y="404"/>
                  <a:pt x="443" y="404"/>
                  <a:pt x="443" y="403"/>
                </a:cubicBezTo>
                <a:cubicBezTo>
                  <a:pt x="444" y="403"/>
                  <a:pt x="444" y="403"/>
                  <a:pt x="444" y="403"/>
                </a:cubicBezTo>
                <a:cubicBezTo>
                  <a:pt x="445" y="403"/>
                  <a:pt x="445" y="403"/>
                  <a:pt x="446" y="404"/>
                </a:cubicBezTo>
                <a:cubicBezTo>
                  <a:pt x="446" y="404"/>
                  <a:pt x="446" y="404"/>
                  <a:pt x="446" y="404"/>
                </a:cubicBezTo>
                <a:cubicBezTo>
                  <a:pt x="446" y="403"/>
                  <a:pt x="447" y="403"/>
                  <a:pt x="447" y="403"/>
                </a:cubicBezTo>
                <a:cubicBezTo>
                  <a:pt x="447" y="404"/>
                  <a:pt x="447" y="404"/>
                  <a:pt x="447" y="404"/>
                </a:cubicBezTo>
                <a:cubicBezTo>
                  <a:pt x="447" y="403"/>
                  <a:pt x="447" y="403"/>
                  <a:pt x="447" y="403"/>
                </a:cubicBezTo>
                <a:cubicBezTo>
                  <a:pt x="447" y="403"/>
                  <a:pt x="447" y="402"/>
                  <a:pt x="447" y="402"/>
                </a:cubicBezTo>
                <a:cubicBezTo>
                  <a:pt x="447" y="402"/>
                  <a:pt x="447" y="402"/>
                  <a:pt x="447" y="402"/>
                </a:cubicBezTo>
                <a:cubicBezTo>
                  <a:pt x="447" y="402"/>
                  <a:pt x="447" y="402"/>
                  <a:pt x="447" y="402"/>
                </a:cubicBezTo>
                <a:cubicBezTo>
                  <a:pt x="447" y="402"/>
                  <a:pt x="447" y="402"/>
                  <a:pt x="447" y="402"/>
                </a:cubicBezTo>
                <a:cubicBezTo>
                  <a:pt x="447" y="402"/>
                  <a:pt x="447" y="402"/>
                  <a:pt x="447" y="401"/>
                </a:cubicBezTo>
                <a:cubicBezTo>
                  <a:pt x="447" y="401"/>
                  <a:pt x="447" y="401"/>
                  <a:pt x="447" y="401"/>
                </a:cubicBezTo>
                <a:cubicBezTo>
                  <a:pt x="446" y="401"/>
                  <a:pt x="446" y="401"/>
                  <a:pt x="446" y="401"/>
                </a:cubicBezTo>
                <a:cubicBezTo>
                  <a:pt x="446" y="400"/>
                  <a:pt x="446" y="400"/>
                  <a:pt x="446" y="400"/>
                </a:cubicBezTo>
                <a:cubicBezTo>
                  <a:pt x="446" y="400"/>
                  <a:pt x="446" y="400"/>
                  <a:pt x="446" y="400"/>
                </a:cubicBezTo>
                <a:cubicBezTo>
                  <a:pt x="446" y="400"/>
                  <a:pt x="447" y="400"/>
                  <a:pt x="447" y="400"/>
                </a:cubicBezTo>
                <a:cubicBezTo>
                  <a:pt x="447" y="400"/>
                  <a:pt x="447" y="400"/>
                  <a:pt x="447" y="400"/>
                </a:cubicBezTo>
                <a:cubicBezTo>
                  <a:pt x="447" y="399"/>
                  <a:pt x="448" y="399"/>
                  <a:pt x="448" y="399"/>
                </a:cubicBezTo>
                <a:cubicBezTo>
                  <a:pt x="448" y="399"/>
                  <a:pt x="448" y="400"/>
                  <a:pt x="448" y="400"/>
                </a:cubicBezTo>
                <a:cubicBezTo>
                  <a:pt x="449" y="400"/>
                  <a:pt x="448" y="399"/>
                  <a:pt x="449" y="399"/>
                </a:cubicBezTo>
                <a:cubicBezTo>
                  <a:pt x="449" y="399"/>
                  <a:pt x="449" y="399"/>
                  <a:pt x="449" y="399"/>
                </a:cubicBezTo>
                <a:cubicBezTo>
                  <a:pt x="449" y="399"/>
                  <a:pt x="449" y="398"/>
                  <a:pt x="449" y="398"/>
                </a:cubicBezTo>
                <a:cubicBezTo>
                  <a:pt x="449" y="399"/>
                  <a:pt x="449" y="399"/>
                  <a:pt x="449" y="399"/>
                </a:cubicBezTo>
                <a:cubicBezTo>
                  <a:pt x="449" y="399"/>
                  <a:pt x="449" y="399"/>
                  <a:pt x="449" y="399"/>
                </a:cubicBezTo>
                <a:cubicBezTo>
                  <a:pt x="450" y="399"/>
                  <a:pt x="450" y="399"/>
                  <a:pt x="450" y="399"/>
                </a:cubicBezTo>
                <a:cubicBezTo>
                  <a:pt x="450" y="399"/>
                  <a:pt x="451" y="399"/>
                  <a:pt x="451" y="399"/>
                </a:cubicBezTo>
                <a:cubicBezTo>
                  <a:pt x="451" y="399"/>
                  <a:pt x="451" y="399"/>
                  <a:pt x="451" y="400"/>
                </a:cubicBezTo>
                <a:cubicBezTo>
                  <a:pt x="450" y="400"/>
                  <a:pt x="450" y="400"/>
                  <a:pt x="451" y="400"/>
                </a:cubicBezTo>
                <a:cubicBezTo>
                  <a:pt x="451" y="400"/>
                  <a:pt x="451" y="400"/>
                  <a:pt x="451" y="401"/>
                </a:cubicBezTo>
                <a:cubicBezTo>
                  <a:pt x="451" y="401"/>
                  <a:pt x="451" y="401"/>
                  <a:pt x="451" y="401"/>
                </a:cubicBezTo>
                <a:cubicBezTo>
                  <a:pt x="451" y="401"/>
                  <a:pt x="451" y="402"/>
                  <a:pt x="451" y="402"/>
                </a:cubicBezTo>
                <a:cubicBezTo>
                  <a:pt x="451" y="402"/>
                  <a:pt x="451" y="402"/>
                  <a:pt x="451" y="402"/>
                </a:cubicBezTo>
                <a:cubicBezTo>
                  <a:pt x="451" y="401"/>
                  <a:pt x="451" y="401"/>
                  <a:pt x="451" y="401"/>
                </a:cubicBezTo>
                <a:cubicBezTo>
                  <a:pt x="452" y="401"/>
                  <a:pt x="452" y="402"/>
                  <a:pt x="452" y="402"/>
                </a:cubicBezTo>
                <a:cubicBezTo>
                  <a:pt x="452" y="402"/>
                  <a:pt x="453" y="402"/>
                  <a:pt x="452" y="402"/>
                </a:cubicBezTo>
                <a:cubicBezTo>
                  <a:pt x="452" y="401"/>
                  <a:pt x="453" y="401"/>
                  <a:pt x="453" y="401"/>
                </a:cubicBezTo>
                <a:cubicBezTo>
                  <a:pt x="453" y="401"/>
                  <a:pt x="453" y="400"/>
                  <a:pt x="453" y="400"/>
                </a:cubicBezTo>
                <a:cubicBezTo>
                  <a:pt x="453" y="400"/>
                  <a:pt x="453" y="400"/>
                  <a:pt x="453" y="400"/>
                </a:cubicBezTo>
                <a:cubicBezTo>
                  <a:pt x="453" y="400"/>
                  <a:pt x="453" y="400"/>
                  <a:pt x="453" y="400"/>
                </a:cubicBezTo>
                <a:cubicBezTo>
                  <a:pt x="453" y="400"/>
                  <a:pt x="453" y="400"/>
                  <a:pt x="453" y="400"/>
                </a:cubicBezTo>
                <a:cubicBezTo>
                  <a:pt x="453" y="400"/>
                  <a:pt x="453" y="400"/>
                  <a:pt x="454" y="400"/>
                </a:cubicBezTo>
                <a:cubicBezTo>
                  <a:pt x="454" y="400"/>
                  <a:pt x="454" y="401"/>
                  <a:pt x="454" y="401"/>
                </a:cubicBezTo>
                <a:cubicBezTo>
                  <a:pt x="454" y="401"/>
                  <a:pt x="454" y="401"/>
                  <a:pt x="454" y="401"/>
                </a:cubicBezTo>
                <a:cubicBezTo>
                  <a:pt x="454" y="401"/>
                  <a:pt x="454" y="401"/>
                  <a:pt x="454" y="401"/>
                </a:cubicBezTo>
                <a:cubicBezTo>
                  <a:pt x="454" y="401"/>
                  <a:pt x="454" y="402"/>
                  <a:pt x="454" y="402"/>
                </a:cubicBezTo>
                <a:cubicBezTo>
                  <a:pt x="455" y="402"/>
                  <a:pt x="455" y="402"/>
                  <a:pt x="455" y="401"/>
                </a:cubicBezTo>
                <a:cubicBezTo>
                  <a:pt x="455" y="401"/>
                  <a:pt x="456" y="401"/>
                  <a:pt x="456" y="401"/>
                </a:cubicBezTo>
                <a:cubicBezTo>
                  <a:pt x="456" y="401"/>
                  <a:pt x="456" y="402"/>
                  <a:pt x="456" y="402"/>
                </a:cubicBezTo>
                <a:cubicBezTo>
                  <a:pt x="456" y="402"/>
                  <a:pt x="456" y="402"/>
                  <a:pt x="456" y="402"/>
                </a:cubicBezTo>
                <a:cubicBezTo>
                  <a:pt x="455" y="403"/>
                  <a:pt x="455" y="404"/>
                  <a:pt x="455" y="405"/>
                </a:cubicBezTo>
                <a:cubicBezTo>
                  <a:pt x="455" y="405"/>
                  <a:pt x="455" y="405"/>
                  <a:pt x="455" y="405"/>
                </a:cubicBezTo>
                <a:cubicBezTo>
                  <a:pt x="455" y="405"/>
                  <a:pt x="455" y="405"/>
                  <a:pt x="455" y="405"/>
                </a:cubicBezTo>
                <a:cubicBezTo>
                  <a:pt x="456" y="405"/>
                  <a:pt x="456" y="404"/>
                  <a:pt x="456" y="404"/>
                </a:cubicBezTo>
                <a:cubicBezTo>
                  <a:pt x="456" y="404"/>
                  <a:pt x="456" y="403"/>
                  <a:pt x="456" y="403"/>
                </a:cubicBezTo>
                <a:cubicBezTo>
                  <a:pt x="456" y="403"/>
                  <a:pt x="456" y="403"/>
                  <a:pt x="456" y="403"/>
                </a:cubicBezTo>
                <a:cubicBezTo>
                  <a:pt x="457" y="403"/>
                  <a:pt x="457" y="403"/>
                  <a:pt x="457" y="403"/>
                </a:cubicBezTo>
                <a:cubicBezTo>
                  <a:pt x="457" y="402"/>
                  <a:pt x="457" y="402"/>
                  <a:pt x="457" y="402"/>
                </a:cubicBezTo>
                <a:cubicBezTo>
                  <a:pt x="458" y="402"/>
                  <a:pt x="458" y="403"/>
                  <a:pt x="458" y="404"/>
                </a:cubicBezTo>
                <a:close/>
                <a:moveTo>
                  <a:pt x="438" y="412"/>
                </a:moveTo>
                <a:cubicBezTo>
                  <a:pt x="438" y="413"/>
                  <a:pt x="438" y="413"/>
                  <a:pt x="439" y="413"/>
                </a:cubicBezTo>
                <a:cubicBezTo>
                  <a:pt x="439" y="413"/>
                  <a:pt x="439" y="414"/>
                  <a:pt x="440" y="414"/>
                </a:cubicBezTo>
                <a:cubicBezTo>
                  <a:pt x="440" y="414"/>
                  <a:pt x="440" y="414"/>
                  <a:pt x="440" y="414"/>
                </a:cubicBezTo>
                <a:cubicBezTo>
                  <a:pt x="440" y="414"/>
                  <a:pt x="440" y="414"/>
                  <a:pt x="440" y="414"/>
                </a:cubicBezTo>
                <a:cubicBezTo>
                  <a:pt x="441" y="415"/>
                  <a:pt x="441" y="415"/>
                  <a:pt x="441" y="415"/>
                </a:cubicBezTo>
                <a:cubicBezTo>
                  <a:pt x="441" y="415"/>
                  <a:pt x="442" y="415"/>
                  <a:pt x="442" y="415"/>
                </a:cubicBezTo>
                <a:cubicBezTo>
                  <a:pt x="442" y="415"/>
                  <a:pt x="442" y="415"/>
                  <a:pt x="442" y="415"/>
                </a:cubicBezTo>
                <a:cubicBezTo>
                  <a:pt x="441" y="414"/>
                  <a:pt x="441" y="414"/>
                  <a:pt x="441" y="413"/>
                </a:cubicBezTo>
                <a:cubicBezTo>
                  <a:pt x="441" y="413"/>
                  <a:pt x="441" y="413"/>
                  <a:pt x="441" y="413"/>
                </a:cubicBezTo>
                <a:cubicBezTo>
                  <a:pt x="441" y="413"/>
                  <a:pt x="441" y="413"/>
                  <a:pt x="441" y="412"/>
                </a:cubicBezTo>
                <a:cubicBezTo>
                  <a:pt x="440" y="412"/>
                  <a:pt x="440" y="412"/>
                  <a:pt x="440" y="412"/>
                </a:cubicBezTo>
                <a:cubicBezTo>
                  <a:pt x="440" y="412"/>
                  <a:pt x="439" y="411"/>
                  <a:pt x="438" y="411"/>
                </a:cubicBezTo>
                <a:cubicBezTo>
                  <a:pt x="438" y="411"/>
                  <a:pt x="438" y="411"/>
                  <a:pt x="438" y="411"/>
                </a:cubicBezTo>
                <a:cubicBezTo>
                  <a:pt x="437" y="411"/>
                  <a:pt x="437" y="412"/>
                  <a:pt x="438" y="412"/>
                </a:cubicBezTo>
                <a:close/>
                <a:moveTo>
                  <a:pt x="433" y="444"/>
                </a:moveTo>
                <a:cubicBezTo>
                  <a:pt x="433" y="444"/>
                  <a:pt x="433" y="444"/>
                  <a:pt x="432" y="445"/>
                </a:cubicBezTo>
                <a:cubicBezTo>
                  <a:pt x="432" y="445"/>
                  <a:pt x="432" y="445"/>
                  <a:pt x="432" y="445"/>
                </a:cubicBezTo>
                <a:cubicBezTo>
                  <a:pt x="432" y="445"/>
                  <a:pt x="432" y="445"/>
                  <a:pt x="432" y="445"/>
                </a:cubicBezTo>
                <a:cubicBezTo>
                  <a:pt x="431" y="445"/>
                  <a:pt x="431" y="445"/>
                  <a:pt x="431" y="445"/>
                </a:cubicBezTo>
                <a:cubicBezTo>
                  <a:pt x="430" y="445"/>
                  <a:pt x="430" y="445"/>
                  <a:pt x="430" y="445"/>
                </a:cubicBezTo>
                <a:cubicBezTo>
                  <a:pt x="430" y="446"/>
                  <a:pt x="430" y="446"/>
                  <a:pt x="430" y="446"/>
                </a:cubicBezTo>
                <a:cubicBezTo>
                  <a:pt x="431" y="446"/>
                  <a:pt x="431" y="446"/>
                  <a:pt x="432" y="446"/>
                </a:cubicBezTo>
                <a:cubicBezTo>
                  <a:pt x="432" y="446"/>
                  <a:pt x="433" y="445"/>
                  <a:pt x="433" y="445"/>
                </a:cubicBezTo>
                <a:cubicBezTo>
                  <a:pt x="433" y="445"/>
                  <a:pt x="433" y="445"/>
                  <a:pt x="433" y="444"/>
                </a:cubicBezTo>
                <a:close/>
                <a:moveTo>
                  <a:pt x="439" y="408"/>
                </a:moveTo>
                <a:cubicBezTo>
                  <a:pt x="440" y="408"/>
                  <a:pt x="440" y="407"/>
                  <a:pt x="440" y="407"/>
                </a:cubicBezTo>
                <a:cubicBezTo>
                  <a:pt x="440" y="407"/>
                  <a:pt x="440" y="407"/>
                  <a:pt x="441" y="407"/>
                </a:cubicBezTo>
                <a:cubicBezTo>
                  <a:pt x="441" y="407"/>
                  <a:pt x="441" y="407"/>
                  <a:pt x="441" y="407"/>
                </a:cubicBezTo>
                <a:cubicBezTo>
                  <a:pt x="441" y="407"/>
                  <a:pt x="441" y="407"/>
                  <a:pt x="442" y="408"/>
                </a:cubicBezTo>
                <a:cubicBezTo>
                  <a:pt x="442" y="408"/>
                  <a:pt x="442" y="408"/>
                  <a:pt x="442" y="408"/>
                </a:cubicBezTo>
                <a:cubicBezTo>
                  <a:pt x="442" y="408"/>
                  <a:pt x="442" y="408"/>
                  <a:pt x="442" y="408"/>
                </a:cubicBezTo>
                <a:cubicBezTo>
                  <a:pt x="443" y="408"/>
                  <a:pt x="443" y="408"/>
                  <a:pt x="443" y="408"/>
                </a:cubicBezTo>
                <a:cubicBezTo>
                  <a:pt x="443" y="408"/>
                  <a:pt x="443" y="408"/>
                  <a:pt x="443" y="408"/>
                </a:cubicBezTo>
                <a:cubicBezTo>
                  <a:pt x="443" y="408"/>
                  <a:pt x="443" y="409"/>
                  <a:pt x="444" y="409"/>
                </a:cubicBezTo>
                <a:cubicBezTo>
                  <a:pt x="444" y="409"/>
                  <a:pt x="444" y="410"/>
                  <a:pt x="444" y="410"/>
                </a:cubicBezTo>
                <a:cubicBezTo>
                  <a:pt x="445" y="410"/>
                  <a:pt x="445" y="410"/>
                  <a:pt x="445" y="410"/>
                </a:cubicBezTo>
                <a:cubicBezTo>
                  <a:pt x="445" y="410"/>
                  <a:pt x="446" y="410"/>
                  <a:pt x="446" y="410"/>
                </a:cubicBezTo>
                <a:cubicBezTo>
                  <a:pt x="446" y="411"/>
                  <a:pt x="445" y="411"/>
                  <a:pt x="445" y="411"/>
                </a:cubicBezTo>
                <a:cubicBezTo>
                  <a:pt x="445" y="411"/>
                  <a:pt x="444" y="411"/>
                  <a:pt x="444" y="411"/>
                </a:cubicBezTo>
                <a:cubicBezTo>
                  <a:pt x="444" y="411"/>
                  <a:pt x="443" y="410"/>
                  <a:pt x="443" y="410"/>
                </a:cubicBezTo>
                <a:cubicBezTo>
                  <a:pt x="443" y="410"/>
                  <a:pt x="443" y="410"/>
                  <a:pt x="442" y="410"/>
                </a:cubicBezTo>
                <a:cubicBezTo>
                  <a:pt x="442" y="410"/>
                  <a:pt x="442" y="409"/>
                  <a:pt x="442" y="409"/>
                </a:cubicBezTo>
                <a:cubicBezTo>
                  <a:pt x="441" y="409"/>
                  <a:pt x="441" y="409"/>
                  <a:pt x="441" y="409"/>
                </a:cubicBezTo>
                <a:cubicBezTo>
                  <a:pt x="441" y="409"/>
                  <a:pt x="441" y="408"/>
                  <a:pt x="441" y="408"/>
                </a:cubicBezTo>
                <a:cubicBezTo>
                  <a:pt x="441" y="408"/>
                  <a:pt x="441" y="408"/>
                  <a:pt x="441" y="409"/>
                </a:cubicBezTo>
                <a:cubicBezTo>
                  <a:pt x="441" y="409"/>
                  <a:pt x="441" y="409"/>
                  <a:pt x="441" y="409"/>
                </a:cubicBezTo>
                <a:cubicBezTo>
                  <a:pt x="441" y="409"/>
                  <a:pt x="441" y="409"/>
                  <a:pt x="441" y="409"/>
                </a:cubicBezTo>
                <a:cubicBezTo>
                  <a:pt x="440" y="409"/>
                  <a:pt x="440" y="409"/>
                  <a:pt x="440" y="409"/>
                </a:cubicBezTo>
                <a:cubicBezTo>
                  <a:pt x="439" y="409"/>
                  <a:pt x="439" y="409"/>
                  <a:pt x="439" y="408"/>
                </a:cubicBezTo>
                <a:close/>
                <a:moveTo>
                  <a:pt x="460" y="404"/>
                </a:moveTo>
                <a:cubicBezTo>
                  <a:pt x="460" y="404"/>
                  <a:pt x="460" y="404"/>
                  <a:pt x="459" y="404"/>
                </a:cubicBezTo>
                <a:cubicBezTo>
                  <a:pt x="459" y="404"/>
                  <a:pt x="459" y="404"/>
                  <a:pt x="459" y="404"/>
                </a:cubicBezTo>
                <a:cubicBezTo>
                  <a:pt x="459" y="404"/>
                  <a:pt x="459" y="405"/>
                  <a:pt x="459" y="405"/>
                </a:cubicBezTo>
                <a:cubicBezTo>
                  <a:pt x="459" y="405"/>
                  <a:pt x="459" y="405"/>
                  <a:pt x="459" y="405"/>
                </a:cubicBezTo>
                <a:cubicBezTo>
                  <a:pt x="459" y="405"/>
                  <a:pt x="459" y="405"/>
                  <a:pt x="459" y="405"/>
                </a:cubicBezTo>
                <a:cubicBezTo>
                  <a:pt x="459" y="406"/>
                  <a:pt x="459" y="406"/>
                  <a:pt x="459" y="406"/>
                </a:cubicBezTo>
                <a:cubicBezTo>
                  <a:pt x="459" y="406"/>
                  <a:pt x="459" y="406"/>
                  <a:pt x="459" y="406"/>
                </a:cubicBezTo>
                <a:cubicBezTo>
                  <a:pt x="460" y="405"/>
                  <a:pt x="460" y="405"/>
                  <a:pt x="460" y="404"/>
                </a:cubicBezTo>
                <a:close/>
                <a:moveTo>
                  <a:pt x="448" y="411"/>
                </a:moveTo>
                <a:cubicBezTo>
                  <a:pt x="448" y="411"/>
                  <a:pt x="448" y="411"/>
                  <a:pt x="448" y="411"/>
                </a:cubicBezTo>
                <a:cubicBezTo>
                  <a:pt x="448" y="411"/>
                  <a:pt x="448" y="411"/>
                  <a:pt x="447" y="411"/>
                </a:cubicBezTo>
                <a:cubicBezTo>
                  <a:pt x="447" y="411"/>
                  <a:pt x="447" y="411"/>
                  <a:pt x="447" y="411"/>
                </a:cubicBezTo>
                <a:cubicBezTo>
                  <a:pt x="446" y="411"/>
                  <a:pt x="446" y="411"/>
                  <a:pt x="446" y="411"/>
                </a:cubicBezTo>
                <a:cubicBezTo>
                  <a:pt x="446" y="412"/>
                  <a:pt x="447" y="412"/>
                  <a:pt x="447" y="412"/>
                </a:cubicBezTo>
                <a:cubicBezTo>
                  <a:pt x="447" y="412"/>
                  <a:pt x="448" y="412"/>
                  <a:pt x="448" y="411"/>
                </a:cubicBezTo>
                <a:close/>
                <a:moveTo>
                  <a:pt x="452" y="411"/>
                </a:moveTo>
                <a:cubicBezTo>
                  <a:pt x="452" y="411"/>
                  <a:pt x="452" y="411"/>
                  <a:pt x="452" y="411"/>
                </a:cubicBezTo>
                <a:cubicBezTo>
                  <a:pt x="451" y="411"/>
                  <a:pt x="451" y="411"/>
                  <a:pt x="451" y="411"/>
                </a:cubicBezTo>
                <a:cubicBezTo>
                  <a:pt x="451" y="412"/>
                  <a:pt x="451" y="412"/>
                  <a:pt x="451" y="412"/>
                </a:cubicBezTo>
                <a:cubicBezTo>
                  <a:pt x="451" y="412"/>
                  <a:pt x="452" y="412"/>
                  <a:pt x="452" y="412"/>
                </a:cubicBezTo>
                <a:cubicBezTo>
                  <a:pt x="452" y="412"/>
                  <a:pt x="452" y="412"/>
                  <a:pt x="452" y="412"/>
                </a:cubicBezTo>
                <a:cubicBezTo>
                  <a:pt x="452" y="412"/>
                  <a:pt x="452" y="412"/>
                  <a:pt x="452" y="412"/>
                </a:cubicBezTo>
                <a:cubicBezTo>
                  <a:pt x="453" y="413"/>
                  <a:pt x="453" y="413"/>
                  <a:pt x="453" y="412"/>
                </a:cubicBezTo>
                <a:cubicBezTo>
                  <a:pt x="453" y="412"/>
                  <a:pt x="452" y="412"/>
                  <a:pt x="452" y="412"/>
                </a:cubicBezTo>
                <a:cubicBezTo>
                  <a:pt x="452" y="412"/>
                  <a:pt x="452" y="412"/>
                  <a:pt x="452" y="411"/>
                </a:cubicBezTo>
                <a:cubicBezTo>
                  <a:pt x="452" y="411"/>
                  <a:pt x="452" y="411"/>
                  <a:pt x="452" y="411"/>
                </a:cubicBezTo>
                <a:close/>
                <a:moveTo>
                  <a:pt x="434" y="424"/>
                </a:moveTo>
                <a:cubicBezTo>
                  <a:pt x="434" y="423"/>
                  <a:pt x="434" y="422"/>
                  <a:pt x="433" y="421"/>
                </a:cubicBezTo>
                <a:cubicBezTo>
                  <a:pt x="433" y="421"/>
                  <a:pt x="433" y="422"/>
                  <a:pt x="433" y="422"/>
                </a:cubicBezTo>
                <a:cubicBezTo>
                  <a:pt x="433" y="422"/>
                  <a:pt x="433" y="423"/>
                  <a:pt x="433" y="423"/>
                </a:cubicBezTo>
                <a:cubicBezTo>
                  <a:pt x="433" y="423"/>
                  <a:pt x="433" y="424"/>
                  <a:pt x="434" y="424"/>
                </a:cubicBezTo>
                <a:close/>
                <a:moveTo>
                  <a:pt x="445" y="402"/>
                </a:moveTo>
                <a:cubicBezTo>
                  <a:pt x="446" y="403"/>
                  <a:pt x="446" y="403"/>
                  <a:pt x="447" y="403"/>
                </a:cubicBezTo>
                <a:cubicBezTo>
                  <a:pt x="447" y="403"/>
                  <a:pt x="447" y="403"/>
                  <a:pt x="447" y="403"/>
                </a:cubicBezTo>
                <a:cubicBezTo>
                  <a:pt x="447" y="403"/>
                  <a:pt x="447" y="403"/>
                  <a:pt x="447" y="403"/>
                </a:cubicBezTo>
                <a:cubicBezTo>
                  <a:pt x="447" y="402"/>
                  <a:pt x="447" y="402"/>
                  <a:pt x="447" y="402"/>
                </a:cubicBezTo>
                <a:cubicBezTo>
                  <a:pt x="446" y="402"/>
                  <a:pt x="446" y="402"/>
                  <a:pt x="446" y="402"/>
                </a:cubicBezTo>
                <a:cubicBezTo>
                  <a:pt x="446" y="402"/>
                  <a:pt x="445" y="402"/>
                  <a:pt x="445" y="402"/>
                </a:cubicBezTo>
                <a:cubicBezTo>
                  <a:pt x="445" y="402"/>
                  <a:pt x="445" y="402"/>
                  <a:pt x="445" y="402"/>
                </a:cubicBezTo>
                <a:cubicBezTo>
                  <a:pt x="445" y="402"/>
                  <a:pt x="445" y="402"/>
                  <a:pt x="445" y="402"/>
                </a:cubicBezTo>
                <a:close/>
                <a:moveTo>
                  <a:pt x="431" y="441"/>
                </a:moveTo>
                <a:cubicBezTo>
                  <a:pt x="431" y="441"/>
                  <a:pt x="431" y="441"/>
                  <a:pt x="431" y="441"/>
                </a:cubicBezTo>
                <a:cubicBezTo>
                  <a:pt x="431" y="441"/>
                  <a:pt x="431" y="440"/>
                  <a:pt x="431" y="441"/>
                </a:cubicBezTo>
                <a:cubicBezTo>
                  <a:pt x="430" y="441"/>
                  <a:pt x="430" y="441"/>
                  <a:pt x="430" y="441"/>
                </a:cubicBezTo>
                <a:cubicBezTo>
                  <a:pt x="430" y="442"/>
                  <a:pt x="431" y="441"/>
                  <a:pt x="431" y="442"/>
                </a:cubicBezTo>
                <a:cubicBezTo>
                  <a:pt x="431" y="442"/>
                  <a:pt x="431" y="442"/>
                  <a:pt x="431" y="441"/>
                </a:cubicBezTo>
                <a:close/>
                <a:moveTo>
                  <a:pt x="426" y="444"/>
                </a:moveTo>
                <a:cubicBezTo>
                  <a:pt x="426" y="444"/>
                  <a:pt x="426" y="444"/>
                  <a:pt x="426" y="444"/>
                </a:cubicBezTo>
                <a:cubicBezTo>
                  <a:pt x="426" y="444"/>
                  <a:pt x="426" y="445"/>
                  <a:pt x="426" y="445"/>
                </a:cubicBezTo>
                <a:cubicBezTo>
                  <a:pt x="426" y="445"/>
                  <a:pt x="426" y="445"/>
                  <a:pt x="426" y="445"/>
                </a:cubicBezTo>
                <a:cubicBezTo>
                  <a:pt x="426" y="445"/>
                  <a:pt x="426" y="444"/>
                  <a:pt x="426" y="444"/>
                </a:cubicBezTo>
                <a:cubicBezTo>
                  <a:pt x="426" y="444"/>
                  <a:pt x="426" y="444"/>
                  <a:pt x="426" y="444"/>
                </a:cubicBezTo>
                <a:close/>
                <a:moveTo>
                  <a:pt x="437" y="436"/>
                </a:moveTo>
                <a:cubicBezTo>
                  <a:pt x="437" y="436"/>
                  <a:pt x="437" y="436"/>
                  <a:pt x="436" y="436"/>
                </a:cubicBezTo>
                <a:cubicBezTo>
                  <a:pt x="436" y="436"/>
                  <a:pt x="436" y="436"/>
                  <a:pt x="436" y="436"/>
                </a:cubicBezTo>
                <a:cubicBezTo>
                  <a:pt x="437" y="436"/>
                  <a:pt x="437" y="436"/>
                  <a:pt x="437" y="436"/>
                </a:cubicBezTo>
                <a:cubicBezTo>
                  <a:pt x="437" y="436"/>
                  <a:pt x="437" y="436"/>
                  <a:pt x="437" y="436"/>
                </a:cubicBezTo>
                <a:cubicBezTo>
                  <a:pt x="437" y="436"/>
                  <a:pt x="437" y="436"/>
                  <a:pt x="437" y="436"/>
                </a:cubicBezTo>
                <a:close/>
                <a:moveTo>
                  <a:pt x="428" y="437"/>
                </a:moveTo>
                <a:cubicBezTo>
                  <a:pt x="428" y="437"/>
                  <a:pt x="428" y="437"/>
                  <a:pt x="428" y="438"/>
                </a:cubicBezTo>
                <a:cubicBezTo>
                  <a:pt x="428" y="437"/>
                  <a:pt x="428" y="437"/>
                  <a:pt x="428" y="437"/>
                </a:cubicBezTo>
                <a:close/>
                <a:moveTo>
                  <a:pt x="453" y="425"/>
                </a:moveTo>
                <a:cubicBezTo>
                  <a:pt x="453" y="425"/>
                  <a:pt x="453" y="425"/>
                  <a:pt x="453" y="425"/>
                </a:cubicBezTo>
                <a:cubicBezTo>
                  <a:pt x="453" y="425"/>
                  <a:pt x="453" y="425"/>
                  <a:pt x="453" y="425"/>
                </a:cubicBezTo>
                <a:cubicBezTo>
                  <a:pt x="453" y="425"/>
                  <a:pt x="454" y="425"/>
                  <a:pt x="454" y="425"/>
                </a:cubicBezTo>
                <a:cubicBezTo>
                  <a:pt x="454" y="425"/>
                  <a:pt x="454" y="425"/>
                  <a:pt x="453" y="425"/>
                </a:cubicBezTo>
                <a:close/>
                <a:moveTo>
                  <a:pt x="453" y="416"/>
                </a:moveTo>
                <a:cubicBezTo>
                  <a:pt x="453" y="416"/>
                  <a:pt x="453" y="416"/>
                  <a:pt x="453" y="416"/>
                </a:cubicBezTo>
                <a:cubicBezTo>
                  <a:pt x="453" y="415"/>
                  <a:pt x="453" y="415"/>
                  <a:pt x="453" y="415"/>
                </a:cubicBezTo>
                <a:cubicBezTo>
                  <a:pt x="453" y="415"/>
                  <a:pt x="453" y="416"/>
                  <a:pt x="453" y="416"/>
                </a:cubicBezTo>
                <a:cubicBezTo>
                  <a:pt x="453" y="416"/>
                  <a:pt x="453" y="416"/>
                  <a:pt x="453" y="416"/>
                </a:cubicBezTo>
                <a:close/>
                <a:moveTo>
                  <a:pt x="425" y="444"/>
                </a:moveTo>
                <a:cubicBezTo>
                  <a:pt x="425" y="444"/>
                  <a:pt x="425" y="444"/>
                  <a:pt x="425" y="444"/>
                </a:cubicBezTo>
                <a:cubicBezTo>
                  <a:pt x="425" y="444"/>
                  <a:pt x="425" y="443"/>
                  <a:pt x="425" y="444"/>
                </a:cubicBezTo>
                <a:close/>
                <a:moveTo>
                  <a:pt x="425" y="444"/>
                </a:moveTo>
                <a:cubicBezTo>
                  <a:pt x="425" y="444"/>
                  <a:pt x="425" y="444"/>
                  <a:pt x="425" y="444"/>
                </a:cubicBezTo>
                <a:cubicBezTo>
                  <a:pt x="425" y="444"/>
                  <a:pt x="425" y="444"/>
                  <a:pt x="425" y="444"/>
                </a:cubicBezTo>
                <a:close/>
                <a:moveTo>
                  <a:pt x="428" y="437"/>
                </a:moveTo>
                <a:cubicBezTo>
                  <a:pt x="428" y="437"/>
                  <a:pt x="428" y="436"/>
                  <a:pt x="427" y="436"/>
                </a:cubicBezTo>
                <a:cubicBezTo>
                  <a:pt x="428" y="436"/>
                  <a:pt x="427" y="437"/>
                  <a:pt x="428" y="437"/>
                </a:cubicBezTo>
                <a:close/>
                <a:moveTo>
                  <a:pt x="311" y="486"/>
                </a:moveTo>
                <a:cubicBezTo>
                  <a:pt x="311" y="486"/>
                  <a:pt x="311" y="486"/>
                  <a:pt x="311" y="486"/>
                </a:cubicBezTo>
                <a:cubicBezTo>
                  <a:pt x="312" y="486"/>
                  <a:pt x="314" y="487"/>
                  <a:pt x="315" y="487"/>
                </a:cubicBezTo>
                <a:cubicBezTo>
                  <a:pt x="315" y="486"/>
                  <a:pt x="314" y="486"/>
                  <a:pt x="314" y="486"/>
                </a:cubicBezTo>
                <a:cubicBezTo>
                  <a:pt x="313" y="486"/>
                  <a:pt x="313" y="486"/>
                  <a:pt x="312" y="486"/>
                </a:cubicBezTo>
                <a:cubicBezTo>
                  <a:pt x="311" y="486"/>
                  <a:pt x="311" y="486"/>
                  <a:pt x="310" y="485"/>
                </a:cubicBezTo>
                <a:cubicBezTo>
                  <a:pt x="310" y="485"/>
                  <a:pt x="310" y="484"/>
                  <a:pt x="310" y="483"/>
                </a:cubicBezTo>
                <a:cubicBezTo>
                  <a:pt x="310" y="482"/>
                  <a:pt x="310" y="481"/>
                  <a:pt x="309" y="480"/>
                </a:cubicBezTo>
                <a:cubicBezTo>
                  <a:pt x="309" y="480"/>
                  <a:pt x="309" y="480"/>
                  <a:pt x="309" y="480"/>
                </a:cubicBezTo>
                <a:cubicBezTo>
                  <a:pt x="309" y="479"/>
                  <a:pt x="308" y="479"/>
                  <a:pt x="308" y="479"/>
                </a:cubicBezTo>
                <a:cubicBezTo>
                  <a:pt x="307" y="479"/>
                  <a:pt x="306" y="479"/>
                  <a:pt x="305" y="479"/>
                </a:cubicBezTo>
                <a:cubicBezTo>
                  <a:pt x="305" y="479"/>
                  <a:pt x="304" y="479"/>
                  <a:pt x="304" y="479"/>
                </a:cubicBezTo>
                <a:cubicBezTo>
                  <a:pt x="304" y="480"/>
                  <a:pt x="303" y="480"/>
                  <a:pt x="303" y="480"/>
                </a:cubicBezTo>
                <a:cubicBezTo>
                  <a:pt x="303" y="481"/>
                  <a:pt x="302" y="481"/>
                  <a:pt x="302" y="481"/>
                </a:cubicBezTo>
                <a:cubicBezTo>
                  <a:pt x="301" y="482"/>
                  <a:pt x="301" y="482"/>
                  <a:pt x="300" y="482"/>
                </a:cubicBezTo>
                <a:cubicBezTo>
                  <a:pt x="300" y="482"/>
                  <a:pt x="299" y="483"/>
                  <a:pt x="299" y="483"/>
                </a:cubicBezTo>
                <a:cubicBezTo>
                  <a:pt x="298" y="482"/>
                  <a:pt x="298" y="482"/>
                  <a:pt x="297" y="482"/>
                </a:cubicBezTo>
                <a:cubicBezTo>
                  <a:pt x="297" y="482"/>
                  <a:pt x="297" y="482"/>
                  <a:pt x="296" y="482"/>
                </a:cubicBezTo>
                <a:cubicBezTo>
                  <a:pt x="296" y="482"/>
                  <a:pt x="296" y="483"/>
                  <a:pt x="296" y="483"/>
                </a:cubicBezTo>
                <a:cubicBezTo>
                  <a:pt x="296" y="484"/>
                  <a:pt x="295" y="485"/>
                  <a:pt x="295" y="485"/>
                </a:cubicBezTo>
                <a:cubicBezTo>
                  <a:pt x="294" y="486"/>
                  <a:pt x="294" y="487"/>
                  <a:pt x="294" y="487"/>
                </a:cubicBezTo>
                <a:cubicBezTo>
                  <a:pt x="294" y="488"/>
                  <a:pt x="293" y="488"/>
                  <a:pt x="293" y="488"/>
                </a:cubicBezTo>
                <a:cubicBezTo>
                  <a:pt x="293" y="489"/>
                  <a:pt x="292" y="489"/>
                  <a:pt x="291" y="489"/>
                </a:cubicBezTo>
                <a:cubicBezTo>
                  <a:pt x="291" y="489"/>
                  <a:pt x="290" y="490"/>
                  <a:pt x="291" y="491"/>
                </a:cubicBezTo>
                <a:cubicBezTo>
                  <a:pt x="291" y="491"/>
                  <a:pt x="291" y="492"/>
                  <a:pt x="291" y="493"/>
                </a:cubicBezTo>
                <a:cubicBezTo>
                  <a:pt x="291" y="493"/>
                  <a:pt x="291" y="493"/>
                  <a:pt x="291" y="493"/>
                </a:cubicBezTo>
                <a:cubicBezTo>
                  <a:pt x="291" y="493"/>
                  <a:pt x="291" y="493"/>
                  <a:pt x="291" y="493"/>
                </a:cubicBezTo>
                <a:cubicBezTo>
                  <a:pt x="293" y="493"/>
                  <a:pt x="296" y="493"/>
                  <a:pt x="297" y="493"/>
                </a:cubicBezTo>
                <a:cubicBezTo>
                  <a:pt x="298" y="493"/>
                  <a:pt x="298" y="492"/>
                  <a:pt x="298" y="492"/>
                </a:cubicBezTo>
                <a:cubicBezTo>
                  <a:pt x="299" y="492"/>
                  <a:pt x="299" y="491"/>
                  <a:pt x="299" y="491"/>
                </a:cubicBezTo>
                <a:cubicBezTo>
                  <a:pt x="300" y="490"/>
                  <a:pt x="301" y="489"/>
                  <a:pt x="302" y="488"/>
                </a:cubicBezTo>
                <a:cubicBezTo>
                  <a:pt x="305" y="488"/>
                  <a:pt x="307" y="488"/>
                  <a:pt x="309" y="488"/>
                </a:cubicBezTo>
                <a:cubicBezTo>
                  <a:pt x="310" y="488"/>
                  <a:pt x="310" y="488"/>
                  <a:pt x="311" y="487"/>
                </a:cubicBezTo>
                <a:cubicBezTo>
                  <a:pt x="311" y="487"/>
                  <a:pt x="311" y="486"/>
                  <a:pt x="311" y="486"/>
                </a:cubicBezTo>
                <a:close/>
                <a:moveTo>
                  <a:pt x="253" y="516"/>
                </a:moveTo>
                <a:cubicBezTo>
                  <a:pt x="252" y="517"/>
                  <a:pt x="251" y="518"/>
                  <a:pt x="249" y="518"/>
                </a:cubicBezTo>
                <a:cubicBezTo>
                  <a:pt x="248" y="519"/>
                  <a:pt x="247" y="519"/>
                  <a:pt x="247" y="520"/>
                </a:cubicBezTo>
                <a:cubicBezTo>
                  <a:pt x="247" y="521"/>
                  <a:pt x="247" y="521"/>
                  <a:pt x="246" y="522"/>
                </a:cubicBezTo>
                <a:cubicBezTo>
                  <a:pt x="246" y="522"/>
                  <a:pt x="245" y="523"/>
                  <a:pt x="245" y="523"/>
                </a:cubicBezTo>
                <a:cubicBezTo>
                  <a:pt x="244" y="524"/>
                  <a:pt x="243" y="524"/>
                  <a:pt x="243" y="525"/>
                </a:cubicBezTo>
                <a:cubicBezTo>
                  <a:pt x="242" y="525"/>
                  <a:pt x="242" y="525"/>
                  <a:pt x="242" y="525"/>
                </a:cubicBezTo>
                <a:cubicBezTo>
                  <a:pt x="242" y="525"/>
                  <a:pt x="241" y="525"/>
                  <a:pt x="241" y="525"/>
                </a:cubicBezTo>
                <a:cubicBezTo>
                  <a:pt x="241" y="526"/>
                  <a:pt x="241" y="526"/>
                  <a:pt x="241" y="526"/>
                </a:cubicBezTo>
                <a:cubicBezTo>
                  <a:pt x="241" y="526"/>
                  <a:pt x="241" y="526"/>
                  <a:pt x="242" y="526"/>
                </a:cubicBezTo>
                <a:cubicBezTo>
                  <a:pt x="241" y="526"/>
                  <a:pt x="241" y="526"/>
                  <a:pt x="241" y="526"/>
                </a:cubicBezTo>
                <a:cubicBezTo>
                  <a:pt x="241" y="526"/>
                  <a:pt x="240" y="526"/>
                  <a:pt x="240" y="526"/>
                </a:cubicBezTo>
                <a:cubicBezTo>
                  <a:pt x="239" y="527"/>
                  <a:pt x="239" y="527"/>
                  <a:pt x="238" y="527"/>
                </a:cubicBezTo>
                <a:cubicBezTo>
                  <a:pt x="238" y="527"/>
                  <a:pt x="238" y="527"/>
                  <a:pt x="238" y="527"/>
                </a:cubicBezTo>
                <a:cubicBezTo>
                  <a:pt x="239" y="527"/>
                  <a:pt x="239" y="527"/>
                  <a:pt x="239" y="526"/>
                </a:cubicBezTo>
                <a:cubicBezTo>
                  <a:pt x="239" y="526"/>
                  <a:pt x="239" y="525"/>
                  <a:pt x="240" y="525"/>
                </a:cubicBezTo>
                <a:cubicBezTo>
                  <a:pt x="240" y="526"/>
                  <a:pt x="240" y="525"/>
                  <a:pt x="240" y="525"/>
                </a:cubicBezTo>
                <a:cubicBezTo>
                  <a:pt x="240" y="524"/>
                  <a:pt x="240" y="524"/>
                  <a:pt x="241" y="524"/>
                </a:cubicBezTo>
                <a:cubicBezTo>
                  <a:pt x="241" y="524"/>
                  <a:pt x="241" y="523"/>
                  <a:pt x="241" y="523"/>
                </a:cubicBezTo>
                <a:cubicBezTo>
                  <a:pt x="242" y="523"/>
                  <a:pt x="241" y="522"/>
                  <a:pt x="241" y="522"/>
                </a:cubicBezTo>
                <a:cubicBezTo>
                  <a:pt x="241" y="522"/>
                  <a:pt x="241" y="521"/>
                  <a:pt x="241" y="521"/>
                </a:cubicBezTo>
                <a:cubicBezTo>
                  <a:pt x="241" y="520"/>
                  <a:pt x="242" y="520"/>
                  <a:pt x="242" y="520"/>
                </a:cubicBezTo>
                <a:cubicBezTo>
                  <a:pt x="242" y="520"/>
                  <a:pt x="243" y="520"/>
                  <a:pt x="243" y="520"/>
                </a:cubicBezTo>
                <a:cubicBezTo>
                  <a:pt x="243" y="519"/>
                  <a:pt x="244" y="519"/>
                  <a:pt x="244" y="519"/>
                </a:cubicBezTo>
                <a:cubicBezTo>
                  <a:pt x="245" y="519"/>
                  <a:pt x="245" y="519"/>
                  <a:pt x="246" y="519"/>
                </a:cubicBezTo>
                <a:cubicBezTo>
                  <a:pt x="246" y="519"/>
                  <a:pt x="247" y="519"/>
                  <a:pt x="247" y="519"/>
                </a:cubicBezTo>
                <a:cubicBezTo>
                  <a:pt x="247" y="518"/>
                  <a:pt x="247" y="518"/>
                  <a:pt x="246" y="518"/>
                </a:cubicBezTo>
                <a:cubicBezTo>
                  <a:pt x="246" y="518"/>
                  <a:pt x="246" y="517"/>
                  <a:pt x="246" y="517"/>
                </a:cubicBezTo>
                <a:cubicBezTo>
                  <a:pt x="246" y="517"/>
                  <a:pt x="246" y="516"/>
                  <a:pt x="246" y="515"/>
                </a:cubicBezTo>
                <a:cubicBezTo>
                  <a:pt x="246" y="515"/>
                  <a:pt x="247" y="514"/>
                  <a:pt x="247" y="514"/>
                </a:cubicBezTo>
                <a:cubicBezTo>
                  <a:pt x="247" y="514"/>
                  <a:pt x="248" y="514"/>
                  <a:pt x="248" y="514"/>
                </a:cubicBezTo>
                <a:cubicBezTo>
                  <a:pt x="248" y="513"/>
                  <a:pt x="249" y="513"/>
                  <a:pt x="250" y="512"/>
                </a:cubicBezTo>
                <a:cubicBezTo>
                  <a:pt x="251" y="512"/>
                  <a:pt x="251" y="512"/>
                  <a:pt x="252" y="513"/>
                </a:cubicBezTo>
                <a:cubicBezTo>
                  <a:pt x="252" y="513"/>
                  <a:pt x="253" y="513"/>
                  <a:pt x="253" y="513"/>
                </a:cubicBezTo>
                <a:cubicBezTo>
                  <a:pt x="254" y="513"/>
                  <a:pt x="254" y="513"/>
                  <a:pt x="254" y="514"/>
                </a:cubicBezTo>
                <a:cubicBezTo>
                  <a:pt x="254" y="514"/>
                  <a:pt x="254" y="514"/>
                  <a:pt x="254" y="514"/>
                </a:cubicBezTo>
                <a:cubicBezTo>
                  <a:pt x="253" y="515"/>
                  <a:pt x="253" y="515"/>
                  <a:pt x="253" y="516"/>
                </a:cubicBezTo>
                <a:cubicBezTo>
                  <a:pt x="253" y="516"/>
                  <a:pt x="253" y="516"/>
                  <a:pt x="253" y="516"/>
                </a:cubicBezTo>
                <a:close/>
                <a:moveTo>
                  <a:pt x="127" y="549"/>
                </a:moveTo>
                <a:cubicBezTo>
                  <a:pt x="128" y="549"/>
                  <a:pt x="128" y="549"/>
                  <a:pt x="128" y="548"/>
                </a:cubicBezTo>
                <a:cubicBezTo>
                  <a:pt x="127" y="548"/>
                  <a:pt x="127" y="549"/>
                  <a:pt x="126" y="549"/>
                </a:cubicBezTo>
                <a:cubicBezTo>
                  <a:pt x="125" y="549"/>
                  <a:pt x="125" y="548"/>
                  <a:pt x="124" y="548"/>
                </a:cubicBezTo>
                <a:cubicBezTo>
                  <a:pt x="124" y="548"/>
                  <a:pt x="124" y="547"/>
                  <a:pt x="123" y="547"/>
                </a:cubicBezTo>
                <a:cubicBezTo>
                  <a:pt x="123" y="547"/>
                  <a:pt x="122" y="547"/>
                  <a:pt x="122" y="547"/>
                </a:cubicBezTo>
                <a:cubicBezTo>
                  <a:pt x="121" y="547"/>
                  <a:pt x="121" y="547"/>
                  <a:pt x="120" y="548"/>
                </a:cubicBezTo>
                <a:cubicBezTo>
                  <a:pt x="120" y="548"/>
                  <a:pt x="121" y="548"/>
                  <a:pt x="121" y="548"/>
                </a:cubicBezTo>
                <a:cubicBezTo>
                  <a:pt x="121" y="549"/>
                  <a:pt x="122" y="549"/>
                  <a:pt x="122" y="549"/>
                </a:cubicBezTo>
                <a:cubicBezTo>
                  <a:pt x="122" y="550"/>
                  <a:pt x="122" y="550"/>
                  <a:pt x="123" y="550"/>
                </a:cubicBezTo>
                <a:cubicBezTo>
                  <a:pt x="123" y="550"/>
                  <a:pt x="123" y="550"/>
                  <a:pt x="124" y="550"/>
                </a:cubicBezTo>
                <a:cubicBezTo>
                  <a:pt x="124" y="551"/>
                  <a:pt x="124" y="551"/>
                  <a:pt x="123" y="551"/>
                </a:cubicBezTo>
                <a:cubicBezTo>
                  <a:pt x="123" y="551"/>
                  <a:pt x="122" y="551"/>
                  <a:pt x="122" y="551"/>
                </a:cubicBezTo>
                <a:cubicBezTo>
                  <a:pt x="122" y="551"/>
                  <a:pt x="121" y="552"/>
                  <a:pt x="122" y="552"/>
                </a:cubicBezTo>
                <a:cubicBezTo>
                  <a:pt x="122" y="552"/>
                  <a:pt x="122" y="552"/>
                  <a:pt x="122" y="552"/>
                </a:cubicBezTo>
                <a:cubicBezTo>
                  <a:pt x="122" y="552"/>
                  <a:pt x="123" y="552"/>
                  <a:pt x="123" y="552"/>
                </a:cubicBezTo>
                <a:cubicBezTo>
                  <a:pt x="123" y="553"/>
                  <a:pt x="124" y="553"/>
                  <a:pt x="124" y="553"/>
                </a:cubicBezTo>
                <a:cubicBezTo>
                  <a:pt x="124" y="553"/>
                  <a:pt x="124" y="554"/>
                  <a:pt x="124" y="553"/>
                </a:cubicBezTo>
                <a:cubicBezTo>
                  <a:pt x="124" y="553"/>
                  <a:pt x="124" y="553"/>
                  <a:pt x="124" y="553"/>
                </a:cubicBezTo>
                <a:cubicBezTo>
                  <a:pt x="124" y="552"/>
                  <a:pt x="124" y="552"/>
                  <a:pt x="125" y="552"/>
                </a:cubicBezTo>
                <a:cubicBezTo>
                  <a:pt x="125" y="552"/>
                  <a:pt x="125" y="551"/>
                  <a:pt x="125" y="551"/>
                </a:cubicBezTo>
                <a:cubicBezTo>
                  <a:pt x="125" y="551"/>
                  <a:pt x="126" y="550"/>
                  <a:pt x="125" y="550"/>
                </a:cubicBezTo>
                <a:cubicBezTo>
                  <a:pt x="126" y="550"/>
                  <a:pt x="126" y="550"/>
                  <a:pt x="126" y="550"/>
                </a:cubicBezTo>
                <a:cubicBezTo>
                  <a:pt x="126" y="549"/>
                  <a:pt x="127" y="549"/>
                  <a:pt x="127" y="549"/>
                </a:cubicBezTo>
                <a:close/>
                <a:moveTo>
                  <a:pt x="273" y="509"/>
                </a:moveTo>
                <a:cubicBezTo>
                  <a:pt x="273" y="509"/>
                  <a:pt x="273" y="510"/>
                  <a:pt x="273" y="510"/>
                </a:cubicBezTo>
                <a:cubicBezTo>
                  <a:pt x="272" y="510"/>
                  <a:pt x="271" y="510"/>
                  <a:pt x="270" y="510"/>
                </a:cubicBezTo>
                <a:cubicBezTo>
                  <a:pt x="270" y="511"/>
                  <a:pt x="270" y="511"/>
                  <a:pt x="270" y="511"/>
                </a:cubicBezTo>
                <a:cubicBezTo>
                  <a:pt x="270" y="511"/>
                  <a:pt x="270" y="511"/>
                  <a:pt x="270" y="511"/>
                </a:cubicBezTo>
                <a:cubicBezTo>
                  <a:pt x="270" y="511"/>
                  <a:pt x="270" y="511"/>
                  <a:pt x="270" y="512"/>
                </a:cubicBezTo>
                <a:cubicBezTo>
                  <a:pt x="270" y="512"/>
                  <a:pt x="270" y="512"/>
                  <a:pt x="269" y="512"/>
                </a:cubicBezTo>
                <a:cubicBezTo>
                  <a:pt x="269" y="512"/>
                  <a:pt x="269" y="512"/>
                  <a:pt x="269" y="512"/>
                </a:cubicBezTo>
                <a:cubicBezTo>
                  <a:pt x="269" y="512"/>
                  <a:pt x="269" y="512"/>
                  <a:pt x="269" y="511"/>
                </a:cubicBezTo>
                <a:cubicBezTo>
                  <a:pt x="269" y="512"/>
                  <a:pt x="268" y="512"/>
                  <a:pt x="269" y="512"/>
                </a:cubicBezTo>
                <a:cubicBezTo>
                  <a:pt x="269" y="512"/>
                  <a:pt x="269" y="513"/>
                  <a:pt x="269" y="513"/>
                </a:cubicBezTo>
                <a:cubicBezTo>
                  <a:pt x="268" y="513"/>
                  <a:pt x="268" y="513"/>
                  <a:pt x="268" y="513"/>
                </a:cubicBezTo>
                <a:cubicBezTo>
                  <a:pt x="268" y="513"/>
                  <a:pt x="268" y="513"/>
                  <a:pt x="268" y="512"/>
                </a:cubicBezTo>
                <a:cubicBezTo>
                  <a:pt x="268" y="513"/>
                  <a:pt x="268" y="513"/>
                  <a:pt x="268" y="513"/>
                </a:cubicBezTo>
                <a:cubicBezTo>
                  <a:pt x="268" y="513"/>
                  <a:pt x="269" y="513"/>
                  <a:pt x="268" y="513"/>
                </a:cubicBezTo>
                <a:cubicBezTo>
                  <a:pt x="268" y="513"/>
                  <a:pt x="268" y="513"/>
                  <a:pt x="268" y="513"/>
                </a:cubicBezTo>
                <a:cubicBezTo>
                  <a:pt x="267" y="513"/>
                  <a:pt x="267" y="513"/>
                  <a:pt x="267" y="512"/>
                </a:cubicBezTo>
                <a:cubicBezTo>
                  <a:pt x="267" y="512"/>
                  <a:pt x="267" y="512"/>
                  <a:pt x="267" y="512"/>
                </a:cubicBezTo>
                <a:cubicBezTo>
                  <a:pt x="267" y="513"/>
                  <a:pt x="267" y="513"/>
                  <a:pt x="267" y="513"/>
                </a:cubicBezTo>
                <a:cubicBezTo>
                  <a:pt x="267" y="513"/>
                  <a:pt x="267" y="514"/>
                  <a:pt x="267" y="514"/>
                </a:cubicBezTo>
                <a:cubicBezTo>
                  <a:pt x="267" y="514"/>
                  <a:pt x="267" y="514"/>
                  <a:pt x="267" y="514"/>
                </a:cubicBezTo>
                <a:cubicBezTo>
                  <a:pt x="267" y="515"/>
                  <a:pt x="267" y="515"/>
                  <a:pt x="266" y="514"/>
                </a:cubicBezTo>
                <a:cubicBezTo>
                  <a:pt x="266" y="514"/>
                  <a:pt x="266" y="514"/>
                  <a:pt x="266" y="514"/>
                </a:cubicBezTo>
                <a:cubicBezTo>
                  <a:pt x="266" y="515"/>
                  <a:pt x="265" y="515"/>
                  <a:pt x="265" y="515"/>
                </a:cubicBezTo>
                <a:cubicBezTo>
                  <a:pt x="265" y="514"/>
                  <a:pt x="265" y="515"/>
                  <a:pt x="264" y="515"/>
                </a:cubicBezTo>
                <a:cubicBezTo>
                  <a:pt x="264" y="515"/>
                  <a:pt x="264" y="515"/>
                  <a:pt x="264" y="515"/>
                </a:cubicBezTo>
                <a:cubicBezTo>
                  <a:pt x="264" y="514"/>
                  <a:pt x="264" y="514"/>
                  <a:pt x="264" y="514"/>
                </a:cubicBezTo>
                <a:cubicBezTo>
                  <a:pt x="264" y="514"/>
                  <a:pt x="263" y="514"/>
                  <a:pt x="263" y="515"/>
                </a:cubicBezTo>
                <a:cubicBezTo>
                  <a:pt x="263" y="515"/>
                  <a:pt x="263" y="515"/>
                  <a:pt x="263" y="515"/>
                </a:cubicBezTo>
                <a:cubicBezTo>
                  <a:pt x="262" y="515"/>
                  <a:pt x="262" y="516"/>
                  <a:pt x="261" y="516"/>
                </a:cubicBezTo>
                <a:cubicBezTo>
                  <a:pt x="261" y="516"/>
                  <a:pt x="261" y="516"/>
                  <a:pt x="261" y="516"/>
                </a:cubicBezTo>
                <a:cubicBezTo>
                  <a:pt x="260" y="517"/>
                  <a:pt x="260" y="517"/>
                  <a:pt x="259" y="517"/>
                </a:cubicBezTo>
                <a:cubicBezTo>
                  <a:pt x="258" y="517"/>
                  <a:pt x="258" y="518"/>
                  <a:pt x="258" y="518"/>
                </a:cubicBezTo>
                <a:cubicBezTo>
                  <a:pt x="258" y="518"/>
                  <a:pt x="258" y="519"/>
                  <a:pt x="257" y="518"/>
                </a:cubicBezTo>
                <a:cubicBezTo>
                  <a:pt x="257" y="518"/>
                  <a:pt x="257" y="518"/>
                  <a:pt x="257" y="518"/>
                </a:cubicBezTo>
                <a:cubicBezTo>
                  <a:pt x="256" y="518"/>
                  <a:pt x="256" y="518"/>
                  <a:pt x="256" y="519"/>
                </a:cubicBezTo>
                <a:cubicBezTo>
                  <a:pt x="256" y="519"/>
                  <a:pt x="256" y="519"/>
                  <a:pt x="255" y="519"/>
                </a:cubicBezTo>
                <a:cubicBezTo>
                  <a:pt x="255" y="519"/>
                  <a:pt x="255" y="518"/>
                  <a:pt x="254" y="518"/>
                </a:cubicBezTo>
                <a:cubicBezTo>
                  <a:pt x="254" y="518"/>
                  <a:pt x="254" y="518"/>
                  <a:pt x="254" y="518"/>
                </a:cubicBezTo>
                <a:cubicBezTo>
                  <a:pt x="253" y="518"/>
                  <a:pt x="253" y="518"/>
                  <a:pt x="254" y="517"/>
                </a:cubicBezTo>
                <a:cubicBezTo>
                  <a:pt x="254" y="517"/>
                  <a:pt x="254" y="517"/>
                  <a:pt x="255" y="516"/>
                </a:cubicBezTo>
                <a:cubicBezTo>
                  <a:pt x="255" y="516"/>
                  <a:pt x="255" y="516"/>
                  <a:pt x="256" y="516"/>
                </a:cubicBezTo>
                <a:cubicBezTo>
                  <a:pt x="256" y="516"/>
                  <a:pt x="256" y="516"/>
                  <a:pt x="257" y="516"/>
                </a:cubicBezTo>
                <a:cubicBezTo>
                  <a:pt x="257" y="516"/>
                  <a:pt x="257" y="516"/>
                  <a:pt x="257" y="516"/>
                </a:cubicBezTo>
                <a:cubicBezTo>
                  <a:pt x="257" y="516"/>
                  <a:pt x="257" y="516"/>
                  <a:pt x="258" y="516"/>
                </a:cubicBezTo>
                <a:cubicBezTo>
                  <a:pt x="258" y="515"/>
                  <a:pt x="258" y="515"/>
                  <a:pt x="258" y="515"/>
                </a:cubicBezTo>
                <a:cubicBezTo>
                  <a:pt x="258" y="515"/>
                  <a:pt x="259" y="515"/>
                  <a:pt x="259" y="515"/>
                </a:cubicBezTo>
                <a:cubicBezTo>
                  <a:pt x="259" y="515"/>
                  <a:pt x="259" y="515"/>
                  <a:pt x="259" y="515"/>
                </a:cubicBezTo>
                <a:cubicBezTo>
                  <a:pt x="259" y="515"/>
                  <a:pt x="259" y="515"/>
                  <a:pt x="259" y="515"/>
                </a:cubicBezTo>
                <a:cubicBezTo>
                  <a:pt x="260" y="515"/>
                  <a:pt x="260" y="515"/>
                  <a:pt x="260" y="515"/>
                </a:cubicBezTo>
                <a:cubicBezTo>
                  <a:pt x="260" y="515"/>
                  <a:pt x="260" y="515"/>
                  <a:pt x="260" y="515"/>
                </a:cubicBezTo>
                <a:cubicBezTo>
                  <a:pt x="260" y="515"/>
                  <a:pt x="260" y="515"/>
                  <a:pt x="261" y="515"/>
                </a:cubicBezTo>
                <a:cubicBezTo>
                  <a:pt x="261" y="514"/>
                  <a:pt x="261" y="514"/>
                  <a:pt x="260" y="514"/>
                </a:cubicBezTo>
                <a:cubicBezTo>
                  <a:pt x="261" y="514"/>
                  <a:pt x="262" y="514"/>
                  <a:pt x="263" y="514"/>
                </a:cubicBezTo>
                <a:cubicBezTo>
                  <a:pt x="263" y="514"/>
                  <a:pt x="262" y="514"/>
                  <a:pt x="262" y="514"/>
                </a:cubicBezTo>
                <a:cubicBezTo>
                  <a:pt x="262" y="514"/>
                  <a:pt x="262" y="513"/>
                  <a:pt x="262" y="513"/>
                </a:cubicBezTo>
                <a:cubicBezTo>
                  <a:pt x="262" y="513"/>
                  <a:pt x="262" y="513"/>
                  <a:pt x="262" y="513"/>
                </a:cubicBezTo>
                <a:cubicBezTo>
                  <a:pt x="263" y="513"/>
                  <a:pt x="264" y="513"/>
                  <a:pt x="265" y="513"/>
                </a:cubicBezTo>
                <a:cubicBezTo>
                  <a:pt x="264" y="512"/>
                  <a:pt x="264" y="513"/>
                  <a:pt x="264" y="513"/>
                </a:cubicBezTo>
                <a:cubicBezTo>
                  <a:pt x="263" y="513"/>
                  <a:pt x="263" y="513"/>
                  <a:pt x="263" y="512"/>
                </a:cubicBezTo>
                <a:cubicBezTo>
                  <a:pt x="262" y="512"/>
                  <a:pt x="262" y="512"/>
                  <a:pt x="262" y="512"/>
                </a:cubicBezTo>
                <a:cubicBezTo>
                  <a:pt x="262" y="511"/>
                  <a:pt x="262" y="511"/>
                  <a:pt x="262" y="511"/>
                </a:cubicBezTo>
                <a:cubicBezTo>
                  <a:pt x="263" y="511"/>
                  <a:pt x="263" y="511"/>
                  <a:pt x="263" y="511"/>
                </a:cubicBezTo>
                <a:cubicBezTo>
                  <a:pt x="263" y="511"/>
                  <a:pt x="263" y="511"/>
                  <a:pt x="264" y="511"/>
                </a:cubicBezTo>
                <a:cubicBezTo>
                  <a:pt x="263" y="511"/>
                  <a:pt x="263" y="511"/>
                  <a:pt x="264" y="511"/>
                </a:cubicBezTo>
                <a:cubicBezTo>
                  <a:pt x="264" y="510"/>
                  <a:pt x="264" y="510"/>
                  <a:pt x="264" y="510"/>
                </a:cubicBezTo>
                <a:cubicBezTo>
                  <a:pt x="263" y="510"/>
                  <a:pt x="263" y="510"/>
                  <a:pt x="263" y="509"/>
                </a:cubicBezTo>
                <a:cubicBezTo>
                  <a:pt x="263" y="509"/>
                  <a:pt x="264" y="509"/>
                  <a:pt x="264" y="509"/>
                </a:cubicBezTo>
                <a:cubicBezTo>
                  <a:pt x="264" y="509"/>
                  <a:pt x="265" y="509"/>
                  <a:pt x="265" y="509"/>
                </a:cubicBezTo>
                <a:cubicBezTo>
                  <a:pt x="265" y="509"/>
                  <a:pt x="266" y="509"/>
                  <a:pt x="266" y="509"/>
                </a:cubicBezTo>
                <a:cubicBezTo>
                  <a:pt x="266" y="510"/>
                  <a:pt x="266" y="510"/>
                  <a:pt x="266" y="510"/>
                </a:cubicBezTo>
                <a:cubicBezTo>
                  <a:pt x="266" y="510"/>
                  <a:pt x="266" y="510"/>
                  <a:pt x="266" y="510"/>
                </a:cubicBezTo>
                <a:cubicBezTo>
                  <a:pt x="266" y="510"/>
                  <a:pt x="266" y="510"/>
                  <a:pt x="267" y="511"/>
                </a:cubicBezTo>
                <a:cubicBezTo>
                  <a:pt x="267" y="511"/>
                  <a:pt x="267" y="511"/>
                  <a:pt x="267" y="511"/>
                </a:cubicBezTo>
                <a:cubicBezTo>
                  <a:pt x="267" y="511"/>
                  <a:pt x="267" y="510"/>
                  <a:pt x="267" y="510"/>
                </a:cubicBezTo>
                <a:cubicBezTo>
                  <a:pt x="267" y="510"/>
                  <a:pt x="267" y="510"/>
                  <a:pt x="267" y="510"/>
                </a:cubicBezTo>
                <a:cubicBezTo>
                  <a:pt x="266" y="509"/>
                  <a:pt x="266" y="509"/>
                  <a:pt x="267" y="509"/>
                </a:cubicBezTo>
                <a:cubicBezTo>
                  <a:pt x="267" y="509"/>
                  <a:pt x="267" y="509"/>
                  <a:pt x="268" y="509"/>
                </a:cubicBezTo>
                <a:cubicBezTo>
                  <a:pt x="268" y="509"/>
                  <a:pt x="267" y="508"/>
                  <a:pt x="267" y="508"/>
                </a:cubicBezTo>
                <a:cubicBezTo>
                  <a:pt x="267" y="508"/>
                  <a:pt x="267" y="508"/>
                  <a:pt x="267" y="508"/>
                </a:cubicBezTo>
                <a:cubicBezTo>
                  <a:pt x="267" y="508"/>
                  <a:pt x="267" y="508"/>
                  <a:pt x="267" y="508"/>
                </a:cubicBezTo>
                <a:cubicBezTo>
                  <a:pt x="266" y="508"/>
                  <a:pt x="266" y="509"/>
                  <a:pt x="266" y="508"/>
                </a:cubicBezTo>
                <a:cubicBezTo>
                  <a:pt x="266" y="508"/>
                  <a:pt x="266" y="508"/>
                  <a:pt x="266" y="508"/>
                </a:cubicBezTo>
                <a:cubicBezTo>
                  <a:pt x="265" y="508"/>
                  <a:pt x="265" y="508"/>
                  <a:pt x="265" y="507"/>
                </a:cubicBezTo>
                <a:cubicBezTo>
                  <a:pt x="265" y="508"/>
                  <a:pt x="264" y="508"/>
                  <a:pt x="264" y="508"/>
                </a:cubicBezTo>
                <a:cubicBezTo>
                  <a:pt x="264" y="508"/>
                  <a:pt x="263" y="507"/>
                  <a:pt x="263" y="507"/>
                </a:cubicBezTo>
                <a:cubicBezTo>
                  <a:pt x="263" y="506"/>
                  <a:pt x="263" y="506"/>
                  <a:pt x="262" y="506"/>
                </a:cubicBezTo>
                <a:cubicBezTo>
                  <a:pt x="262" y="506"/>
                  <a:pt x="262" y="506"/>
                  <a:pt x="262" y="506"/>
                </a:cubicBezTo>
                <a:cubicBezTo>
                  <a:pt x="263" y="505"/>
                  <a:pt x="263" y="505"/>
                  <a:pt x="263" y="505"/>
                </a:cubicBezTo>
                <a:cubicBezTo>
                  <a:pt x="263" y="504"/>
                  <a:pt x="264" y="504"/>
                  <a:pt x="264" y="504"/>
                </a:cubicBezTo>
                <a:cubicBezTo>
                  <a:pt x="265" y="503"/>
                  <a:pt x="266" y="503"/>
                  <a:pt x="267" y="502"/>
                </a:cubicBezTo>
                <a:cubicBezTo>
                  <a:pt x="267" y="502"/>
                  <a:pt x="267" y="502"/>
                  <a:pt x="267" y="503"/>
                </a:cubicBezTo>
                <a:cubicBezTo>
                  <a:pt x="267" y="503"/>
                  <a:pt x="267" y="503"/>
                  <a:pt x="267" y="503"/>
                </a:cubicBezTo>
                <a:cubicBezTo>
                  <a:pt x="268" y="503"/>
                  <a:pt x="268" y="503"/>
                  <a:pt x="268" y="502"/>
                </a:cubicBezTo>
                <a:cubicBezTo>
                  <a:pt x="269" y="502"/>
                  <a:pt x="269" y="502"/>
                  <a:pt x="269" y="503"/>
                </a:cubicBezTo>
                <a:cubicBezTo>
                  <a:pt x="269" y="503"/>
                  <a:pt x="269" y="503"/>
                  <a:pt x="269" y="503"/>
                </a:cubicBezTo>
                <a:cubicBezTo>
                  <a:pt x="269" y="503"/>
                  <a:pt x="270" y="503"/>
                  <a:pt x="269" y="504"/>
                </a:cubicBezTo>
                <a:cubicBezTo>
                  <a:pt x="269" y="504"/>
                  <a:pt x="269" y="504"/>
                  <a:pt x="269" y="504"/>
                </a:cubicBezTo>
                <a:cubicBezTo>
                  <a:pt x="269" y="505"/>
                  <a:pt x="269" y="505"/>
                  <a:pt x="269" y="505"/>
                </a:cubicBezTo>
                <a:cubicBezTo>
                  <a:pt x="269" y="505"/>
                  <a:pt x="269" y="505"/>
                  <a:pt x="269" y="506"/>
                </a:cubicBezTo>
                <a:cubicBezTo>
                  <a:pt x="269" y="506"/>
                  <a:pt x="269" y="506"/>
                  <a:pt x="269" y="506"/>
                </a:cubicBezTo>
                <a:cubicBezTo>
                  <a:pt x="269" y="506"/>
                  <a:pt x="269" y="506"/>
                  <a:pt x="269" y="506"/>
                </a:cubicBezTo>
                <a:cubicBezTo>
                  <a:pt x="270" y="506"/>
                  <a:pt x="271" y="505"/>
                  <a:pt x="271" y="505"/>
                </a:cubicBezTo>
                <a:cubicBezTo>
                  <a:pt x="271" y="504"/>
                  <a:pt x="272" y="504"/>
                  <a:pt x="272" y="503"/>
                </a:cubicBezTo>
                <a:cubicBezTo>
                  <a:pt x="272" y="503"/>
                  <a:pt x="272" y="503"/>
                  <a:pt x="272" y="503"/>
                </a:cubicBezTo>
                <a:cubicBezTo>
                  <a:pt x="272" y="503"/>
                  <a:pt x="272" y="503"/>
                  <a:pt x="272" y="503"/>
                </a:cubicBezTo>
                <a:cubicBezTo>
                  <a:pt x="272" y="503"/>
                  <a:pt x="272" y="503"/>
                  <a:pt x="272" y="503"/>
                </a:cubicBezTo>
                <a:cubicBezTo>
                  <a:pt x="272" y="504"/>
                  <a:pt x="272" y="504"/>
                  <a:pt x="273" y="504"/>
                </a:cubicBezTo>
                <a:cubicBezTo>
                  <a:pt x="273" y="504"/>
                  <a:pt x="273" y="504"/>
                  <a:pt x="273" y="504"/>
                </a:cubicBezTo>
                <a:cubicBezTo>
                  <a:pt x="273" y="504"/>
                  <a:pt x="273" y="504"/>
                  <a:pt x="273" y="504"/>
                </a:cubicBezTo>
                <a:cubicBezTo>
                  <a:pt x="273" y="504"/>
                  <a:pt x="273" y="503"/>
                  <a:pt x="273" y="503"/>
                </a:cubicBezTo>
                <a:cubicBezTo>
                  <a:pt x="274" y="503"/>
                  <a:pt x="273" y="504"/>
                  <a:pt x="274" y="504"/>
                </a:cubicBezTo>
                <a:cubicBezTo>
                  <a:pt x="274" y="504"/>
                  <a:pt x="273" y="505"/>
                  <a:pt x="274" y="504"/>
                </a:cubicBezTo>
                <a:cubicBezTo>
                  <a:pt x="274" y="504"/>
                  <a:pt x="274" y="505"/>
                  <a:pt x="274" y="505"/>
                </a:cubicBezTo>
                <a:cubicBezTo>
                  <a:pt x="274" y="505"/>
                  <a:pt x="273" y="506"/>
                  <a:pt x="273" y="505"/>
                </a:cubicBezTo>
                <a:cubicBezTo>
                  <a:pt x="273" y="505"/>
                  <a:pt x="272" y="505"/>
                  <a:pt x="272" y="506"/>
                </a:cubicBezTo>
                <a:cubicBezTo>
                  <a:pt x="272" y="506"/>
                  <a:pt x="272" y="506"/>
                  <a:pt x="272" y="507"/>
                </a:cubicBezTo>
                <a:cubicBezTo>
                  <a:pt x="271" y="507"/>
                  <a:pt x="271" y="507"/>
                  <a:pt x="270" y="507"/>
                </a:cubicBezTo>
                <a:cubicBezTo>
                  <a:pt x="271" y="508"/>
                  <a:pt x="270" y="508"/>
                  <a:pt x="269" y="508"/>
                </a:cubicBezTo>
                <a:cubicBezTo>
                  <a:pt x="269" y="508"/>
                  <a:pt x="270" y="508"/>
                  <a:pt x="270" y="508"/>
                </a:cubicBezTo>
                <a:cubicBezTo>
                  <a:pt x="270" y="509"/>
                  <a:pt x="270" y="509"/>
                  <a:pt x="270" y="509"/>
                </a:cubicBezTo>
                <a:cubicBezTo>
                  <a:pt x="270" y="509"/>
                  <a:pt x="270" y="509"/>
                  <a:pt x="271" y="509"/>
                </a:cubicBezTo>
                <a:cubicBezTo>
                  <a:pt x="271" y="509"/>
                  <a:pt x="271" y="509"/>
                  <a:pt x="271" y="509"/>
                </a:cubicBezTo>
                <a:cubicBezTo>
                  <a:pt x="271" y="509"/>
                  <a:pt x="271" y="508"/>
                  <a:pt x="271" y="508"/>
                </a:cubicBezTo>
                <a:cubicBezTo>
                  <a:pt x="272" y="508"/>
                  <a:pt x="272" y="508"/>
                  <a:pt x="272" y="508"/>
                </a:cubicBezTo>
                <a:cubicBezTo>
                  <a:pt x="272" y="508"/>
                  <a:pt x="272" y="508"/>
                  <a:pt x="272" y="508"/>
                </a:cubicBezTo>
                <a:cubicBezTo>
                  <a:pt x="272" y="508"/>
                  <a:pt x="272" y="508"/>
                  <a:pt x="273" y="508"/>
                </a:cubicBezTo>
                <a:cubicBezTo>
                  <a:pt x="273" y="508"/>
                  <a:pt x="273" y="508"/>
                  <a:pt x="273" y="508"/>
                </a:cubicBezTo>
                <a:cubicBezTo>
                  <a:pt x="273" y="508"/>
                  <a:pt x="273" y="508"/>
                  <a:pt x="273" y="508"/>
                </a:cubicBezTo>
                <a:cubicBezTo>
                  <a:pt x="273" y="509"/>
                  <a:pt x="273" y="509"/>
                  <a:pt x="273" y="509"/>
                </a:cubicBezTo>
                <a:close/>
                <a:moveTo>
                  <a:pt x="184" y="543"/>
                </a:moveTo>
                <a:cubicBezTo>
                  <a:pt x="184" y="543"/>
                  <a:pt x="183" y="543"/>
                  <a:pt x="183" y="543"/>
                </a:cubicBezTo>
                <a:cubicBezTo>
                  <a:pt x="183" y="543"/>
                  <a:pt x="183" y="543"/>
                  <a:pt x="182" y="543"/>
                </a:cubicBezTo>
                <a:cubicBezTo>
                  <a:pt x="182" y="543"/>
                  <a:pt x="181" y="543"/>
                  <a:pt x="181" y="543"/>
                </a:cubicBezTo>
                <a:cubicBezTo>
                  <a:pt x="180" y="543"/>
                  <a:pt x="180" y="543"/>
                  <a:pt x="180" y="542"/>
                </a:cubicBezTo>
                <a:cubicBezTo>
                  <a:pt x="179" y="542"/>
                  <a:pt x="178" y="543"/>
                  <a:pt x="177" y="543"/>
                </a:cubicBezTo>
                <a:cubicBezTo>
                  <a:pt x="176" y="543"/>
                  <a:pt x="175" y="542"/>
                  <a:pt x="174" y="543"/>
                </a:cubicBezTo>
                <a:cubicBezTo>
                  <a:pt x="174" y="543"/>
                  <a:pt x="175" y="543"/>
                  <a:pt x="175" y="544"/>
                </a:cubicBezTo>
                <a:cubicBezTo>
                  <a:pt x="175" y="544"/>
                  <a:pt x="176" y="544"/>
                  <a:pt x="177" y="544"/>
                </a:cubicBezTo>
                <a:cubicBezTo>
                  <a:pt x="177" y="544"/>
                  <a:pt x="178" y="544"/>
                  <a:pt x="179" y="544"/>
                </a:cubicBezTo>
                <a:cubicBezTo>
                  <a:pt x="179" y="544"/>
                  <a:pt x="180" y="544"/>
                  <a:pt x="180" y="545"/>
                </a:cubicBezTo>
                <a:cubicBezTo>
                  <a:pt x="180" y="545"/>
                  <a:pt x="181" y="545"/>
                  <a:pt x="181" y="545"/>
                </a:cubicBezTo>
                <a:cubicBezTo>
                  <a:pt x="182" y="544"/>
                  <a:pt x="183" y="544"/>
                  <a:pt x="183" y="544"/>
                </a:cubicBezTo>
                <a:cubicBezTo>
                  <a:pt x="183" y="544"/>
                  <a:pt x="183" y="544"/>
                  <a:pt x="184" y="544"/>
                </a:cubicBezTo>
                <a:cubicBezTo>
                  <a:pt x="185" y="544"/>
                  <a:pt x="186" y="544"/>
                  <a:pt x="187" y="544"/>
                </a:cubicBezTo>
                <a:cubicBezTo>
                  <a:pt x="187" y="544"/>
                  <a:pt x="187" y="544"/>
                  <a:pt x="188" y="543"/>
                </a:cubicBezTo>
                <a:cubicBezTo>
                  <a:pt x="187" y="543"/>
                  <a:pt x="187" y="543"/>
                  <a:pt x="187" y="543"/>
                </a:cubicBezTo>
                <a:cubicBezTo>
                  <a:pt x="186" y="543"/>
                  <a:pt x="185" y="543"/>
                  <a:pt x="184" y="543"/>
                </a:cubicBezTo>
                <a:close/>
                <a:moveTo>
                  <a:pt x="174" y="538"/>
                </a:moveTo>
                <a:cubicBezTo>
                  <a:pt x="174" y="538"/>
                  <a:pt x="174" y="538"/>
                  <a:pt x="174" y="537"/>
                </a:cubicBezTo>
                <a:cubicBezTo>
                  <a:pt x="173" y="537"/>
                  <a:pt x="172" y="536"/>
                  <a:pt x="171" y="537"/>
                </a:cubicBezTo>
                <a:cubicBezTo>
                  <a:pt x="171" y="537"/>
                  <a:pt x="170" y="537"/>
                  <a:pt x="170" y="538"/>
                </a:cubicBezTo>
                <a:cubicBezTo>
                  <a:pt x="170" y="539"/>
                  <a:pt x="170" y="539"/>
                  <a:pt x="169" y="539"/>
                </a:cubicBezTo>
                <a:cubicBezTo>
                  <a:pt x="169" y="538"/>
                  <a:pt x="168" y="539"/>
                  <a:pt x="169" y="539"/>
                </a:cubicBezTo>
                <a:cubicBezTo>
                  <a:pt x="169" y="539"/>
                  <a:pt x="169" y="539"/>
                  <a:pt x="170" y="539"/>
                </a:cubicBezTo>
                <a:cubicBezTo>
                  <a:pt x="170" y="539"/>
                  <a:pt x="170" y="539"/>
                  <a:pt x="170" y="539"/>
                </a:cubicBezTo>
                <a:cubicBezTo>
                  <a:pt x="170" y="539"/>
                  <a:pt x="171" y="539"/>
                  <a:pt x="171" y="540"/>
                </a:cubicBezTo>
                <a:cubicBezTo>
                  <a:pt x="171" y="540"/>
                  <a:pt x="171" y="540"/>
                  <a:pt x="171" y="540"/>
                </a:cubicBezTo>
                <a:cubicBezTo>
                  <a:pt x="171" y="540"/>
                  <a:pt x="171" y="540"/>
                  <a:pt x="171" y="540"/>
                </a:cubicBezTo>
                <a:cubicBezTo>
                  <a:pt x="171" y="541"/>
                  <a:pt x="170" y="541"/>
                  <a:pt x="169" y="541"/>
                </a:cubicBezTo>
                <a:cubicBezTo>
                  <a:pt x="169" y="541"/>
                  <a:pt x="169" y="540"/>
                  <a:pt x="168" y="541"/>
                </a:cubicBezTo>
                <a:cubicBezTo>
                  <a:pt x="168" y="541"/>
                  <a:pt x="169" y="541"/>
                  <a:pt x="169" y="541"/>
                </a:cubicBezTo>
                <a:cubicBezTo>
                  <a:pt x="169" y="542"/>
                  <a:pt x="169" y="542"/>
                  <a:pt x="169" y="542"/>
                </a:cubicBezTo>
                <a:cubicBezTo>
                  <a:pt x="168" y="541"/>
                  <a:pt x="167" y="542"/>
                  <a:pt x="167" y="542"/>
                </a:cubicBezTo>
                <a:cubicBezTo>
                  <a:pt x="167" y="542"/>
                  <a:pt x="167" y="542"/>
                  <a:pt x="168" y="543"/>
                </a:cubicBezTo>
                <a:cubicBezTo>
                  <a:pt x="167" y="542"/>
                  <a:pt x="167" y="542"/>
                  <a:pt x="167" y="542"/>
                </a:cubicBezTo>
                <a:cubicBezTo>
                  <a:pt x="167" y="542"/>
                  <a:pt x="167" y="542"/>
                  <a:pt x="166" y="543"/>
                </a:cubicBezTo>
                <a:cubicBezTo>
                  <a:pt x="166" y="543"/>
                  <a:pt x="166" y="543"/>
                  <a:pt x="165" y="543"/>
                </a:cubicBezTo>
                <a:cubicBezTo>
                  <a:pt x="165" y="543"/>
                  <a:pt x="165" y="543"/>
                  <a:pt x="165" y="543"/>
                </a:cubicBezTo>
                <a:cubicBezTo>
                  <a:pt x="164" y="543"/>
                  <a:pt x="164" y="543"/>
                  <a:pt x="164" y="543"/>
                </a:cubicBezTo>
                <a:cubicBezTo>
                  <a:pt x="163" y="543"/>
                  <a:pt x="163" y="543"/>
                  <a:pt x="162" y="544"/>
                </a:cubicBezTo>
                <a:cubicBezTo>
                  <a:pt x="162" y="544"/>
                  <a:pt x="162" y="544"/>
                  <a:pt x="162" y="544"/>
                </a:cubicBezTo>
                <a:cubicBezTo>
                  <a:pt x="161" y="544"/>
                  <a:pt x="161" y="544"/>
                  <a:pt x="161" y="544"/>
                </a:cubicBezTo>
                <a:cubicBezTo>
                  <a:pt x="161" y="545"/>
                  <a:pt x="160" y="545"/>
                  <a:pt x="160" y="544"/>
                </a:cubicBezTo>
                <a:cubicBezTo>
                  <a:pt x="160" y="544"/>
                  <a:pt x="159" y="544"/>
                  <a:pt x="159" y="544"/>
                </a:cubicBezTo>
                <a:cubicBezTo>
                  <a:pt x="159" y="544"/>
                  <a:pt x="158" y="544"/>
                  <a:pt x="157" y="545"/>
                </a:cubicBezTo>
                <a:cubicBezTo>
                  <a:pt x="158" y="545"/>
                  <a:pt x="159" y="545"/>
                  <a:pt x="160" y="545"/>
                </a:cubicBezTo>
                <a:cubicBezTo>
                  <a:pt x="161" y="545"/>
                  <a:pt x="161" y="545"/>
                  <a:pt x="162" y="545"/>
                </a:cubicBezTo>
                <a:cubicBezTo>
                  <a:pt x="162" y="545"/>
                  <a:pt x="162" y="544"/>
                  <a:pt x="163" y="545"/>
                </a:cubicBezTo>
                <a:cubicBezTo>
                  <a:pt x="163" y="545"/>
                  <a:pt x="164" y="545"/>
                  <a:pt x="165" y="545"/>
                </a:cubicBezTo>
                <a:cubicBezTo>
                  <a:pt x="165" y="545"/>
                  <a:pt x="165" y="545"/>
                  <a:pt x="165" y="545"/>
                </a:cubicBezTo>
                <a:cubicBezTo>
                  <a:pt x="165" y="544"/>
                  <a:pt x="166" y="544"/>
                  <a:pt x="166" y="545"/>
                </a:cubicBezTo>
                <a:cubicBezTo>
                  <a:pt x="167" y="544"/>
                  <a:pt x="167" y="545"/>
                  <a:pt x="168" y="544"/>
                </a:cubicBezTo>
                <a:cubicBezTo>
                  <a:pt x="168" y="544"/>
                  <a:pt x="168" y="544"/>
                  <a:pt x="168" y="544"/>
                </a:cubicBezTo>
                <a:cubicBezTo>
                  <a:pt x="168" y="544"/>
                  <a:pt x="168" y="544"/>
                  <a:pt x="168" y="544"/>
                </a:cubicBezTo>
                <a:cubicBezTo>
                  <a:pt x="168" y="544"/>
                  <a:pt x="168" y="544"/>
                  <a:pt x="169" y="544"/>
                </a:cubicBezTo>
                <a:cubicBezTo>
                  <a:pt x="169" y="544"/>
                  <a:pt x="169" y="544"/>
                  <a:pt x="169" y="544"/>
                </a:cubicBezTo>
                <a:cubicBezTo>
                  <a:pt x="169" y="544"/>
                  <a:pt x="169" y="544"/>
                  <a:pt x="169" y="544"/>
                </a:cubicBezTo>
                <a:cubicBezTo>
                  <a:pt x="169" y="544"/>
                  <a:pt x="169" y="543"/>
                  <a:pt x="169" y="543"/>
                </a:cubicBezTo>
                <a:cubicBezTo>
                  <a:pt x="169" y="543"/>
                  <a:pt x="170" y="543"/>
                  <a:pt x="170" y="543"/>
                </a:cubicBezTo>
                <a:cubicBezTo>
                  <a:pt x="170" y="543"/>
                  <a:pt x="171" y="543"/>
                  <a:pt x="171" y="543"/>
                </a:cubicBezTo>
                <a:cubicBezTo>
                  <a:pt x="171" y="543"/>
                  <a:pt x="171" y="543"/>
                  <a:pt x="172" y="543"/>
                </a:cubicBezTo>
                <a:cubicBezTo>
                  <a:pt x="172" y="543"/>
                  <a:pt x="172" y="543"/>
                  <a:pt x="173" y="543"/>
                </a:cubicBezTo>
                <a:cubicBezTo>
                  <a:pt x="173" y="543"/>
                  <a:pt x="173" y="543"/>
                  <a:pt x="173" y="542"/>
                </a:cubicBezTo>
                <a:cubicBezTo>
                  <a:pt x="173" y="542"/>
                  <a:pt x="173" y="542"/>
                  <a:pt x="172" y="541"/>
                </a:cubicBezTo>
                <a:cubicBezTo>
                  <a:pt x="172" y="541"/>
                  <a:pt x="172" y="540"/>
                  <a:pt x="173" y="541"/>
                </a:cubicBezTo>
                <a:cubicBezTo>
                  <a:pt x="173" y="541"/>
                  <a:pt x="173" y="541"/>
                  <a:pt x="173" y="541"/>
                </a:cubicBezTo>
                <a:cubicBezTo>
                  <a:pt x="174" y="540"/>
                  <a:pt x="174" y="540"/>
                  <a:pt x="174" y="540"/>
                </a:cubicBezTo>
                <a:cubicBezTo>
                  <a:pt x="175" y="539"/>
                  <a:pt x="175" y="538"/>
                  <a:pt x="174" y="538"/>
                </a:cubicBezTo>
                <a:close/>
                <a:moveTo>
                  <a:pt x="134" y="547"/>
                </a:moveTo>
                <a:cubicBezTo>
                  <a:pt x="133" y="547"/>
                  <a:pt x="133" y="547"/>
                  <a:pt x="133" y="547"/>
                </a:cubicBezTo>
                <a:cubicBezTo>
                  <a:pt x="133" y="548"/>
                  <a:pt x="133" y="548"/>
                  <a:pt x="133" y="548"/>
                </a:cubicBezTo>
                <a:cubicBezTo>
                  <a:pt x="133" y="549"/>
                  <a:pt x="133" y="550"/>
                  <a:pt x="132" y="550"/>
                </a:cubicBezTo>
                <a:cubicBezTo>
                  <a:pt x="131" y="550"/>
                  <a:pt x="130" y="550"/>
                  <a:pt x="129" y="551"/>
                </a:cubicBezTo>
                <a:cubicBezTo>
                  <a:pt x="129" y="551"/>
                  <a:pt x="128" y="551"/>
                  <a:pt x="128" y="551"/>
                </a:cubicBezTo>
                <a:cubicBezTo>
                  <a:pt x="128" y="551"/>
                  <a:pt x="128" y="551"/>
                  <a:pt x="127" y="551"/>
                </a:cubicBezTo>
                <a:cubicBezTo>
                  <a:pt x="127" y="551"/>
                  <a:pt x="127" y="551"/>
                  <a:pt x="127" y="551"/>
                </a:cubicBezTo>
                <a:cubicBezTo>
                  <a:pt x="127" y="552"/>
                  <a:pt x="127" y="552"/>
                  <a:pt x="127" y="552"/>
                </a:cubicBezTo>
                <a:cubicBezTo>
                  <a:pt x="128" y="552"/>
                  <a:pt x="128" y="552"/>
                  <a:pt x="128" y="552"/>
                </a:cubicBezTo>
                <a:cubicBezTo>
                  <a:pt x="128" y="551"/>
                  <a:pt x="128" y="551"/>
                  <a:pt x="129" y="551"/>
                </a:cubicBezTo>
                <a:cubicBezTo>
                  <a:pt x="129" y="551"/>
                  <a:pt x="129" y="552"/>
                  <a:pt x="130" y="551"/>
                </a:cubicBezTo>
                <a:cubicBezTo>
                  <a:pt x="130" y="551"/>
                  <a:pt x="131" y="551"/>
                  <a:pt x="131" y="551"/>
                </a:cubicBezTo>
                <a:cubicBezTo>
                  <a:pt x="131" y="551"/>
                  <a:pt x="131" y="551"/>
                  <a:pt x="132" y="551"/>
                </a:cubicBezTo>
                <a:cubicBezTo>
                  <a:pt x="132" y="552"/>
                  <a:pt x="132" y="552"/>
                  <a:pt x="132" y="552"/>
                </a:cubicBezTo>
                <a:cubicBezTo>
                  <a:pt x="132" y="552"/>
                  <a:pt x="133" y="552"/>
                  <a:pt x="133" y="552"/>
                </a:cubicBezTo>
                <a:cubicBezTo>
                  <a:pt x="133" y="551"/>
                  <a:pt x="133" y="551"/>
                  <a:pt x="134" y="551"/>
                </a:cubicBezTo>
                <a:cubicBezTo>
                  <a:pt x="134" y="551"/>
                  <a:pt x="134" y="551"/>
                  <a:pt x="134" y="551"/>
                </a:cubicBezTo>
                <a:cubicBezTo>
                  <a:pt x="134" y="550"/>
                  <a:pt x="135" y="550"/>
                  <a:pt x="134" y="549"/>
                </a:cubicBezTo>
                <a:cubicBezTo>
                  <a:pt x="134" y="549"/>
                  <a:pt x="134" y="549"/>
                  <a:pt x="135" y="549"/>
                </a:cubicBezTo>
                <a:cubicBezTo>
                  <a:pt x="135" y="548"/>
                  <a:pt x="135" y="548"/>
                  <a:pt x="135" y="547"/>
                </a:cubicBezTo>
                <a:cubicBezTo>
                  <a:pt x="135" y="547"/>
                  <a:pt x="134" y="546"/>
                  <a:pt x="134" y="547"/>
                </a:cubicBezTo>
                <a:close/>
                <a:moveTo>
                  <a:pt x="66" y="546"/>
                </a:moveTo>
                <a:cubicBezTo>
                  <a:pt x="65" y="546"/>
                  <a:pt x="66" y="546"/>
                  <a:pt x="66" y="545"/>
                </a:cubicBezTo>
                <a:cubicBezTo>
                  <a:pt x="67" y="545"/>
                  <a:pt x="67" y="544"/>
                  <a:pt x="67" y="544"/>
                </a:cubicBezTo>
                <a:cubicBezTo>
                  <a:pt x="67" y="543"/>
                  <a:pt x="67" y="543"/>
                  <a:pt x="67" y="543"/>
                </a:cubicBezTo>
                <a:cubicBezTo>
                  <a:pt x="66" y="542"/>
                  <a:pt x="66" y="542"/>
                  <a:pt x="66" y="543"/>
                </a:cubicBezTo>
                <a:cubicBezTo>
                  <a:pt x="66" y="543"/>
                  <a:pt x="66" y="543"/>
                  <a:pt x="66" y="544"/>
                </a:cubicBezTo>
                <a:cubicBezTo>
                  <a:pt x="66" y="544"/>
                  <a:pt x="65" y="544"/>
                  <a:pt x="65" y="545"/>
                </a:cubicBezTo>
                <a:cubicBezTo>
                  <a:pt x="65" y="545"/>
                  <a:pt x="65" y="546"/>
                  <a:pt x="64" y="546"/>
                </a:cubicBezTo>
                <a:cubicBezTo>
                  <a:pt x="64" y="546"/>
                  <a:pt x="63" y="546"/>
                  <a:pt x="63" y="547"/>
                </a:cubicBezTo>
                <a:cubicBezTo>
                  <a:pt x="63" y="547"/>
                  <a:pt x="63" y="547"/>
                  <a:pt x="63" y="547"/>
                </a:cubicBezTo>
                <a:cubicBezTo>
                  <a:pt x="62" y="547"/>
                  <a:pt x="62" y="547"/>
                  <a:pt x="61" y="548"/>
                </a:cubicBezTo>
                <a:cubicBezTo>
                  <a:pt x="62" y="548"/>
                  <a:pt x="62" y="548"/>
                  <a:pt x="62" y="548"/>
                </a:cubicBezTo>
                <a:cubicBezTo>
                  <a:pt x="62" y="549"/>
                  <a:pt x="63" y="549"/>
                  <a:pt x="63" y="549"/>
                </a:cubicBezTo>
                <a:cubicBezTo>
                  <a:pt x="63" y="549"/>
                  <a:pt x="63" y="548"/>
                  <a:pt x="63" y="548"/>
                </a:cubicBezTo>
                <a:cubicBezTo>
                  <a:pt x="63" y="547"/>
                  <a:pt x="63" y="547"/>
                  <a:pt x="64" y="547"/>
                </a:cubicBezTo>
                <a:cubicBezTo>
                  <a:pt x="65" y="547"/>
                  <a:pt x="65" y="547"/>
                  <a:pt x="66" y="547"/>
                </a:cubicBezTo>
                <a:cubicBezTo>
                  <a:pt x="66" y="547"/>
                  <a:pt x="66" y="547"/>
                  <a:pt x="67" y="547"/>
                </a:cubicBezTo>
                <a:cubicBezTo>
                  <a:pt x="67" y="547"/>
                  <a:pt x="67" y="546"/>
                  <a:pt x="66" y="546"/>
                </a:cubicBezTo>
                <a:close/>
                <a:moveTo>
                  <a:pt x="13" y="528"/>
                </a:moveTo>
                <a:cubicBezTo>
                  <a:pt x="13" y="527"/>
                  <a:pt x="13" y="527"/>
                  <a:pt x="12" y="527"/>
                </a:cubicBezTo>
                <a:cubicBezTo>
                  <a:pt x="12" y="527"/>
                  <a:pt x="12" y="527"/>
                  <a:pt x="11" y="527"/>
                </a:cubicBezTo>
                <a:cubicBezTo>
                  <a:pt x="11" y="527"/>
                  <a:pt x="11" y="527"/>
                  <a:pt x="11" y="527"/>
                </a:cubicBezTo>
                <a:cubicBezTo>
                  <a:pt x="11" y="526"/>
                  <a:pt x="11" y="526"/>
                  <a:pt x="11" y="526"/>
                </a:cubicBezTo>
                <a:cubicBezTo>
                  <a:pt x="11" y="526"/>
                  <a:pt x="11" y="526"/>
                  <a:pt x="10" y="526"/>
                </a:cubicBezTo>
                <a:cubicBezTo>
                  <a:pt x="10" y="525"/>
                  <a:pt x="10" y="526"/>
                  <a:pt x="10" y="526"/>
                </a:cubicBezTo>
                <a:cubicBezTo>
                  <a:pt x="10" y="526"/>
                  <a:pt x="9" y="526"/>
                  <a:pt x="9" y="526"/>
                </a:cubicBezTo>
                <a:cubicBezTo>
                  <a:pt x="9" y="526"/>
                  <a:pt x="9" y="526"/>
                  <a:pt x="9" y="525"/>
                </a:cubicBezTo>
                <a:cubicBezTo>
                  <a:pt x="10" y="525"/>
                  <a:pt x="9" y="525"/>
                  <a:pt x="9" y="524"/>
                </a:cubicBezTo>
                <a:cubicBezTo>
                  <a:pt x="9" y="524"/>
                  <a:pt x="8" y="524"/>
                  <a:pt x="8" y="524"/>
                </a:cubicBezTo>
                <a:cubicBezTo>
                  <a:pt x="8" y="524"/>
                  <a:pt x="8" y="524"/>
                  <a:pt x="8" y="524"/>
                </a:cubicBezTo>
                <a:cubicBezTo>
                  <a:pt x="7" y="524"/>
                  <a:pt x="7" y="525"/>
                  <a:pt x="7" y="525"/>
                </a:cubicBezTo>
                <a:cubicBezTo>
                  <a:pt x="7" y="525"/>
                  <a:pt x="6" y="525"/>
                  <a:pt x="6" y="525"/>
                </a:cubicBezTo>
                <a:cubicBezTo>
                  <a:pt x="6" y="524"/>
                  <a:pt x="6" y="524"/>
                  <a:pt x="6" y="524"/>
                </a:cubicBezTo>
                <a:cubicBezTo>
                  <a:pt x="5" y="524"/>
                  <a:pt x="4" y="524"/>
                  <a:pt x="4" y="524"/>
                </a:cubicBezTo>
                <a:cubicBezTo>
                  <a:pt x="3" y="524"/>
                  <a:pt x="3" y="524"/>
                  <a:pt x="3" y="524"/>
                </a:cubicBezTo>
                <a:cubicBezTo>
                  <a:pt x="2" y="525"/>
                  <a:pt x="2" y="525"/>
                  <a:pt x="1" y="525"/>
                </a:cubicBezTo>
                <a:cubicBezTo>
                  <a:pt x="1" y="526"/>
                  <a:pt x="0" y="526"/>
                  <a:pt x="1" y="526"/>
                </a:cubicBezTo>
                <a:cubicBezTo>
                  <a:pt x="1" y="526"/>
                  <a:pt x="1" y="526"/>
                  <a:pt x="1" y="526"/>
                </a:cubicBezTo>
                <a:cubicBezTo>
                  <a:pt x="2" y="526"/>
                  <a:pt x="2" y="526"/>
                  <a:pt x="3" y="526"/>
                </a:cubicBezTo>
                <a:cubicBezTo>
                  <a:pt x="3" y="526"/>
                  <a:pt x="3" y="526"/>
                  <a:pt x="3" y="526"/>
                </a:cubicBezTo>
                <a:cubicBezTo>
                  <a:pt x="3" y="526"/>
                  <a:pt x="3" y="527"/>
                  <a:pt x="3" y="527"/>
                </a:cubicBezTo>
                <a:cubicBezTo>
                  <a:pt x="3" y="527"/>
                  <a:pt x="3" y="527"/>
                  <a:pt x="3" y="527"/>
                </a:cubicBezTo>
                <a:cubicBezTo>
                  <a:pt x="3" y="527"/>
                  <a:pt x="3" y="527"/>
                  <a:pt x="3" y="527"/>
                </a:cubicBezTo>
                <a:cubicBezTo>
                  <a:pt x="3" y="527"/>
                  <a:pt x="4" y="527"/>
                  <a:pt x="4" y="527"/>
                </a:cubicBezTo>
                <a:cubicBezTo>
                  <a:pt x="4" y="527"/>
                  <a:pt x="3" y="527"/>
                  <a:pt x="3" y="527"/>
                </a:cubicBezTo>
                <a:cubicBezTo>
                  <a:pt x="4" y="527"/>
                  <a:pt x="4" y="527"/>
                  <a:pt x="4" y="527"/>
                </a:cubicBezTo>
                <a:cubicBezTo>
                  <a:pt x="4" y="527"/>
                  <a:pt x="4" y="527"/>
                  <a:pt x="4" y="527"/>
                </a:cubicBezTo>
                <a:cubicBezTo>
                  <a:pt x="4" y="527"/>
                  <a:pt x="4" y="527"/>
                  <a:pt x="4" y="527"/>
                </a:cubicBezTo>
                <a:cubicBezTo>
                  <a:pt x="4" y="527"/>
                  <a:pt x="4" y="528"/>
                  <a:pt x="4" y="528"/>
                </a:cubicBezTo>
                <a:cubicBezTo>
                  <a:pt x="4" y="528"/>
                  <a:pt x="4" y="529"/>
                  <a:pt x="4" y="529"/>
                </a:cubicBezTo>
                <a:cubicBezTo>
                  <a:pt x="5" y="529"/>
                  <a:pt x="5" y="529"/>
                  <a:pt x="5" y="529"/>
                </a:cubicBezTo>
                <a:cubicBezTo>
                  <a:pt x="5" y="528"/>
                  <a:pt x="6" y="529"/>
                  <a:pt x="6" y="529"/>
                </a:cubicBezTo>
                <a:cubicBezTo>
                  <a:pt x="6" y="530"/>
                  <a:pt x="6" y="530"/>
                  <a:pt x="7" y="529"/>
                </a:cubicBezTo>
                <a:cubicBezTo>
                  <a:pt x="7" y="529"/>
                  <a:pt x="7" y="528"/>
                  <a:pt x="8" y="528"/>
                </a:cubicBezTo>
                <a:cubicBezTo>
                  <a:pt x="8" y="528"/>
                  <a:pt x="8" y="528"/>
                  <a:pt x="9" y="528"/>
                </a:cubicBezTo>
                <a:cubicBezTo>
                  <a:pt x="9" y="529"/>
                  <a:pt x="9" y="529"/>
                  <a:pt x="9" y="528"/>
                </a:cubicBezTo>
                <a:cubicBezTo>
                  <a:pt x="10" y="528"/>
                  <a:pt x="10" y="528"/>
                  <a:pt x="10" y="528"/>
                </a:cubicBezTo>
                <a:cubicBezTo>
                  <a:pt x="10" y="527"/>
                  <a:pt x="10" y="527"/>
                  <a:pt x="11" y="528"/>
                </a:cubicBezTo>
                <a:cubicBezTo>
                  <a:pt x="11" y="528"/>
                  <a:pt x="11" y="528"/>
                  <a:pt x="11" y="528"/>
                </a:cubicBezTo>
                <a:cubicBezTo>
                  <a:pt x="12" y="528"/>
                  <a:pt x="12" y="528"/>
                  <a:pt x="12" y="528"/>
                </a:cubicBezTo>
                <a:cubicBezTo>
                  <a:pt x="13" y="528"/>
                  <a:pt x="13" y="528"/>
                  <a:pt x="13" y="528"/>
                </a:cubicBezTo>
                <a:close/>
                <a:moveTo>
                  <a:pt x="17" y="535"/>
                </a:moveTo>
                <a:cubicBezTo>
                  <a:pt x="16" y="534"/>
                  <a:pt x="16" y="535"/>
                  <a:pt x="16" y="535"/>
                </a:cubicBezTo>
                <a:cubicBezTo>
                  <a:pt x="16" y="535"/>
                  <a:pt x="15" y="535"/>
                  <a:pt x="15" y="535"/>
                </a:cubicBezTo>
                <a:cubicBezTo>
                  <a:pt x="14" y="536"/>
                  <a:pt x="14" y="536"/>
                  <a:pt x="13" y="536"/>
                </a:cubicBezTo>
                <a:cubicBezTo>
                  <a:pt x="13" y="536"/>
                  <a:pt x="13" y="536"/>
                  <a:pt x="12" y="536"/>
                </a:cubicBezTo>
                <a:cubicBezTo>
                  <a:pt x="12" y="536"/>
                  <a:pt x="12" y="537"/>
                  <a:pt x="12" y="537"/>
                </a:cubicBezTo>
                <a:cubicBezTo>
                  <a:pt x="12" y="537"/>
                  <a:pt x="12" y="537"/>
                  <a:pt x="12" y="537"/>
                </a:cubicBezTo>
                <a:cubicBezTo>
                  <a:pt x="13" y="537"/>
                  <a:pt x="14" y="537"/>
                  <a:pt x="14" y="537"/>
                </a:cubicBezTo>
                <a:cubicBezTo>
                  <a:pt x="15" y="537"/>
                  <a:pt x="15" y="537"/>
                  <a:pt x="16" y="538"/>
                </a:cubicBezTo>
                <a:cubicBezTo>
                  <a:pt x="16" y="538"/>
                  <a:pt x="16" y="538"/>
                  <a:pt x="16" y="538"/>
                </a:cubicBezTo>
                <a:cubicBezTo>
                  <a:pt x="17" y="538"/>
                  <a:pt x="17" y="538"/>
                  <a:pt x="17" y="537"/>
                </a:cubicBezTo>
                <a:cubicBezTo>
                  <a:pt x="17" y="537"/>
                  <a:pt x="17" y="537"/>
                  <a:pt x="17" y="536"/>
                </a:cubicBezTo>
                <a:cubicBezTo>
                  <a:pt x="16" y="536"/>
                  <a:pt x="16" y="536"/>
                  <a:pt x="17" y="535"/>
                </a:cubicBezTo>
                <a:cubicBezTo>
                  <a:pt x="17" y="535"/>
                  <a:pt x="17" y="535"/>
                  <a:pt x="17" y="535"/>
                </a:cubicBezTo>
                <a:cubicBezTo>
                  <a:pt x="17" y="535"/>
                  <a:pt x="17" y="535"/>
                  <a:pt x="17" y="535"/>
                </a:cubicBezTo>
                <a:close/>
                <a:moveTo>
                  <a:pt x="93" y="545"/>
                </a:moveTo>
                <a:cubicBezTo>
                  <a:pt x="93" y="545"/>
                  <a:pt x="92" y="545"/>
                  <a:pt x="92" y="545"/>
                </a:cubicBezTo>
                <a:cubicBezTo>
                  <a:pt x="92" y="545"/>
                  <a:pt x="91" y="546"/>
                  <a:pt x="91" y="546"/>
                </a:cubicBezTo>
                <a:cubicBezTo>
                  <a:pt x="91" y="546"/>
                  <a:pt x="91" y="546"/>
                  <a:pt x="91" y="546"/>
                </a:cubicBezTo>
                <a:cubicBezTo>
                  <a:pt x="91" y="548"/>
                  <a:pt x="92" y="548"/>
                  <a:pt x="93" y="548"/>
                </a:cubicBezTo>
                <a:cubicBezTo>
                  <a:pt x="94" y="547"/>
                  <a:pt x="94" y="547"/>
                  <a:pt x="94" y="546"/>
                </a:cubicBezTo>
                <a:cubicBezTo>
                  <a:pt x="94" y="546"/>
                  <a:pt x="94" y="546"/>
                  <a:pt x="94" y="546"/>
                </a:cubicBezTo>
                <a:cubicBezTo>
                  <a:pt x="94" y="546"/>
                  <a:pt x="94" y="546"/>
                  <a:pt x="93" y="545"/>
                </a:cubicBezTo>
                <a:close/>
                <a:moveTo>
                  <a:pt x="195" y="537"/>
                </a:moveTo>
                <a:cubicBezTo>
                  <a:pt x="195" y="537"/>
                  <a:pt x="194" y="537"/>
                  <a:pt x="194" y="537"/>
                </a:cubicBezTo>
                <a:cubicBezTo>
                  <a:pt x="193" y="538"/>
                  <a:pt x="193" y="538"/>
                  <a:pt x="193" y="538"/>
                </a:cubicBezTo>
                <a:cubicBezTo>
                  <a:pt x="192" y="539"/>
                  <a:pt x="192" y="539"/>
                  <a:pt x="192" y="540"/>
                </a:cubicBezTo>
                <a:cubicBezTo>
                  <a:pt x="192" y="540"/>
                  <a:pt x="193" y="540"/>
                  <a:pt x="193" y="540"/>
                </a:cubicBezTo>
                <a:cubicBezTo>
                  <a:pt x="194" y="540"/>
                  <a:pt x="194" y="540"/>
                  <a:pt x="195" y="539"/>
                </a:cubicBezTo>
                <a:cubicBezTo>
                  <a:pt x="196" y="538"/>
                  <a:pt x="196" y="538"/>
                  <a:pt x="195" y="537"/>
                </a:cubicBezTo>
                <a:close/>
                <a:moveTo>
                  <a:pt x="217" y="531"/>
                </a:moveTo>
                <a:cubicBezTo>
                  <a:pt x="216" y="531"/>
                  <a:pt x="216" y="532"/>
                  <a:pt x="216" y="532"/>
                </a:cubicBezTo>
                <a:cubicBezTo>
                  <a:pt x="215" y="532"/>
                  <a:pt x="215" y="533"/>
                  <a:pt x="215" y="533"/>
                </a:cubicBezTo>
                <a:cubicBezTo>
                  <a:pt x="215" y="534"/>
                  <a:pt x="215" y="534"/>
                  <a:pt x="215" y="534"/>
                </a:cubicBezTo>
                <a:cubicBezTo>
                  <a:pt x="215" y="534"/>
                  <a:pt x="216" y="534"/>
                  <a:pt x="216" y="534"/>
                </a:cubicBezTo>
                <a:cubicBezTo>
                  <a:pt x="216" y="533"/>
                  <a:pt x="216" y="533"/>
                  <a:pt x="217" y="533"/>
                </a:cubicBezTo>
                <a:cubicBezTo>
                  <a:pt x="218" y="533"/>
                  <a:pt x="218" y="533"/>
                  <a:pt x="218" y="532"/>
                </a:cubicBezTo>
                <a:cubicBezTo>
                  <a:pt x="218" y="532"/>
                  <a:pt x="218" y="532"/>
                  <a:pt x="218" y="531"/>
                </a:cubicBezTo>
                <a:cubicBezTo>
                  <a:pt x="218" y="531"/>
                  <a:pt x="217" y="531"/>
                  <a:pt x="217" y="531"/>
                </a:cubicBezTo>
                <a:close/>
                <a:moveTo>
                  <a:pt x="285" y="498"/>
                </a:moveTo>
                <a:cubicBezTo>
                  <a:pt x="285" y="498"/>
                  <a:pt x="284" y="498"/>
                  <a:pt x="284" y="498"/>
                </a:cubicBezTo>
                <a:cubicBezTo>
                  <a:pt x="284" y="498"/>
                  <a:pt x="284" y="498"/>
                  <a:pt x="283" y="498"/>
                </a:cubicBezTo>
                <a:cubicBezTo>
                  <a:pt x="283" y="498"/>
                  <a:pt x="283" y="498"/>
                  <a:pt x="283" y="497"/>
                </a:cubicBezTo>
                <a:cubicBezTo>
                  <a:pt x="283" y="497"/>
                  <a:pt x="283" y="497"/>
                  <a:pt x="283" y="497"/>
                </a:cubicBezTo>
                <a:cubicBezTo>
                  <a:pt x="283" y="497"/>
                  <a:pt x="283" y="497"/>
                  <a:pt x="284" y="496"/>
                </a:cubicBezTo>
                <a:cubicBezTo>
                  <a:pt x="283" y="496"/>
                  <a:pt x="283" y="496"/>
                  <a:pt x="283" y="496"/>
                </a:cubicBezTo>
                <a:cubicBezTo>
                  <a:pt x="282" y="497"/>
                  <a:pt x="282" y="497"/>
                  <a:pt x="282" y="497"/>
                </a:cubicBezTo>
                <a:cubicBezTo>
                  <a:pt x="282" y="496"/>
                  <a:pt x="281" y="497"/>
                  <a:pt x="281" y="497"/>
                </a:cubicBezTo>
                <a:cubicBezTo>
                  <a:pt x="281" y="497"/>
                  <a:pt x="281" y="497"/>
                  <a:pt x="281" y="497"/>
                </a:cubicBezTo>
                <a:cubicBezTo>
                  <a:pt x="281" y="498"/>
                  <a:pt x="281" y="498"/>
                  <a:pt x="282" y="498"/>
                </a:cubicBezTo>
                <a:cubicBezTo>
                  <a:pt x="282" y="497"/>
                  <a:pt x="282" y="497"/>
                  <a:pt x="282" y="498"/>
                </a:cubicBezTo>
                <a:cubicBezTo>
                  <a:pt x="282" y="498"/>
                  <a:pt x="282" y="498"/>
                  <a:pt x="282" y="498"/>
                </a:cubicBezTo>
                <a:cubicBezTo>
                  <a:pt x="282" y="498"/>
                  <a:pt x="282" y="498"/>
                  <a:pt x="282" y="499"/>
                </a:cubicBezTo>
                <a:cubicBezTo>
                  <a:pt x="282" y="499"/>
                  <a:pt x="282" y="499"/>
                  <a:pt x="282" y="499"/>
                </a:cubicBezTo>
                <a:cubicBezTo>
                  <a:pt x="282" y="500"/>
                  <a:pt x="282" y="500"/>
                  <a:pt x="282" y="500"/>
                </a:cubicBezTo>
                <a:cubicBezTo>
                  <a:pt x="283" y="500"/>
                  <a:pt x="283" y="500"/>
                  <a:pt x="283" y="500"/>
                </a:cubicBezTo>
                <a:cubicBezTo>
                  <a:pt x="283" y="499"/>
                  <a:pt x="283" y="499"/>
                  <a:pt x="283" y="499"/>
                </a:cubicBezTo>
                <a:cubicBezTo>
                  <a:pt x="283" y="499"/>
                  <a:pt x="283" y="499"/>
                  <a:pt x="283" y="499"/>
                </a:cubicBezTo>
                <a:cubicBezTo>
                  <a:pt x="284" y="499"/>
                  <a:pt x="284" y="499"/>
                  <a:pt x="284" y="499"/>
                </a:cubicBezTo>
                <a:cubicBezTo>
                  <a:pt x="284" y="499"/>
                  <a:pt x="285" y="499"/>
                  <a:pt x="285" y="498"/>
                </a:cubicBezTo>
                <a:close/>
                <a:moveTo>
                  <a:pt x="229" y="527"/>
                </a:moveTo>
                <a:cubicBezTo>
                  <a:pt x="229" y="527"/>
                  <a:pt x="228" y="527"/>
                  <a:pt x="227" y="527"/>
                </a:cubicBezTo>
                <a:cubicBezTo>
                  <a:pt x="227" y="527"/>
                  <a:pt x="227" y="527"/>
                  <a:pt x="226" y="527"/>
                </a:cubicBezTo>
                <a:cubicBezTo>
                  <a:pt x="226" y="527"/>
                  <a:pt x="226" y="527"/>
                  <a:pt x="226" y="528"/>
                </a:cubicBezTo>
                <a:cubicBezTo>
                  <a:pt x="225" y="528"/>
                  <a:pt x="226" y="529"/>
                  <a:pt x="226" y="529"/>
                </a:cubicBezTo>
                <a:cubicBezTo>
                  <a:pt x="226" y="529"/>
                  <a:pt x="227" y="529"/>
                  <a:pt x="227" y="528"/>
                </a:cubicBezTo>
                <a:cubicBezTo>
                  <a:pt x="227" y="528"/>
                  <a:pt x="227" y="528"/>
                  <a:pt x="227" y="528"/>
                </a:cubicBezTo>
                <a:cubicBezTo>
                  <a:pt x="228" y="528"/>
                  <a:pt x="228" y="528"/>
                  <a:pt x="229" y="529"/>
                </a:cubicBezTo>
                <a:cubicBezTo>
                  <a:pt x="229" y="529"/>
                  <a:pt x="229" y="529"/>
                  <a:pt x="229" y="529"/>
                </a:cubicBezTo>
                <a:cubicBezTo>
                  <a:pt x="230" y="529"/>
                  <a:pt x="230" y="527"/>
                  <a:pt x="229" y="527"/>
                </a:cubicBezTo>
                <a:close/>
                <a:moveTo>
                  <a:pt x="147" y="545"/>
                </a:moveTo>
                <a:cubicBezTo>
                  <a:pt x="147" y="545"/>
                  <a:pt x="147" y="545"/>
                  <a:pt x="148" y="546"/>
                </a:cubicBezTo>
                <a:cubicBezTo>
                  <a:pt x="148" y="546"/>
                  <a:pt x="148" y="546"/>
                  <a:pt x="148" y="546"/>
                </a:cubicBezTo>
                <a:cubicBezTo>
                  <a:pt x="148" y="546"/>
                  <a:pt x="148" y="545"/>
                  <a:pt x="148" y="545"/>
                </a:cubicBezTo>
                <a:cubicBezTo>
                  <a:pt x="148" y="545"/>
                  <a:pt x="148" y="545"/>
                  <a:pt x="148" y="545"/>
                </a:cubicBezTo>
                <a:cubicBezTo>
                  <a:pt x="149" y="545"/>
                  <a:pt x="149" y="544"/>
                  <a:pt x="149" y="544"/>
                </a:cubicBezTo>
                <a:cubicBezTo>
                  <a:pt x="149" y="543"/>
                  <a:pt x="148" y="543"/>
                  <a:pt x="147" y="543"/>
                </a:cubicBezTo>
                <a:cubicBezTo>
                  <a:pt x="147" y="543"/>
                  <a:pt x="146" y="544"/>
                  <a:pt x="146" y="544"/>
                </a:cubicBezTo>
                <a:cubicBezTo>
                  <a:pt x="146" y="545"/>
                  <a:pt x="146" y="545"/>
                  <a:pt x="147" y="545"/>
                </a:cubicBezTo>
                <a:close/>
                <a:moveTo>
                  <a:pt x="281" y="500"/>
                </a:moveTo>
                <a:cubicBezTo>
                  <a:pt x="281" y="500"/>
                  <a:pt x="281" y="500"/>
                  <a:pt x="280" y="500"/>
                </a:cubicBezTo>
                <a:cubicBezTo>
                  <a:pt x="280" y="500"/>
                  <a:pt x="280" y="500"/>
                  <a:pt x="280" y="500"/>
                </a:cubicBezTo>
                <a:cubicBezTo>
                  <a:pt x="280" y="500"/>
                  <a:pt x="280" y="500"/>
                  <a:pt x="280" y="500"/>
                </a:cubicBezTo>
                <a:cubicBezTo>
                  <a:pt x="280" y="500"/>
                  <a:pt x="280" y="500"/>
                  <a:pt x="280" y="500"/>
                </a:cubicBezTo>
                <a:cubicBezTo>
                  <a:pt x="280" y="500"/>
                  <a:pt x="280" y="500"/>
                  <a:pt x="280" y="500"/>
                </a:cubicBezTo>
                <a:cubicBezTo>
                  <a:pt x="280" y="499"/>
                  <a:pt x="280" y="500"/>
                  <a:pt x="280" y="499"/>
                </a:cubicBezTo>
                <a:cubicBezTo>
                  <a:pt x="280" y="499"/>
                  <a:pt x="280" y="499"/>
                  <a:pt x="280" y="499"/>
                </a:cubicBezTo>
                <a:cubicBezTo>
                  <a:pt x="280" y="499"/>
                  <a:pt x="280" y="499"/>
                  <a:pt x="279" y="499"/>
                </a:cubicBezTo>
                <a:cubicBezTo>
                  <a:pt x="279" y="499"/>
                  <a:pt x="279" y="499"/>
                  <a:pt x="279" y="499"/>
                </a:cubicBezTo>
                <a:cubicBezTo>
                  <a:pt x="279" y="498"/>
                  <a:pt x="279" y="498"/>
                  <a:pt x="278" y="498"/>
                </a:cubicBezTo>
                <a:cubicBezTo>
                  <a:pt x="278" y="498"/>
                  <a:pt x="278" y="498"/>
                  <a:pt x="278" y="498"/>
                </a:cubicBezTo>
                <a:cubicBezTo>
                  <a:pt x="277" y="498"/>
                  <a:pt x="277" y="498"/>
                  <a:pt x="276" y="499"/>
                </a:cubicBezTo>
                <a:cubicBezTo>
                  <a:pt x="276" y="499"/>
                  <a:pt x="275" y="500"/>
                  <a:pt x="276" y="501"/>
                </a:cubicBezTo>
                <a:cubicBezTo>
                  <a:pt x="276" y="501"/>
                  <a:pt x="276" y="501"/>
                  <a:pt x="276" y="501"/>
                </a:cubicBezTo>
                <a:cubicBezTo>
                  <a:pt x="276" y="502"/>
                  <a:pt x="277" y="502"/>
                  <a:pt x="277" y="501"/>
                </a:cubicBezTo>
                <a:cubicBezTo>
                  <a:pt x="277" y="501"/>
                  <a:pt x="277" y="501"/>
                  <a:pt x="277" y="501"/>
                </a:cubicBezTo>
                <a:cubicBezTo>
                  <a:pt x="277" y="501"/>
                  <a:pt x="278" y="501"/>
                  <a:pt x="278" y="501"/>
                </a:cubicBezTo>
                <a:cubicBezTo>
                  <a:pt x="278" y="502"/>
                  <a:pt x="278" y="502"/>
                  <a:pt x="279" y="502"/>
                </a:cubicBezTo>
                <a:cubicBezTo>
                  <a:pt x="279" y="502"/>
                  <a:pt x="279" y="501"/>
                  <a:pt x="279" y="501"/>
                </a:cubicBezTo>
                <a:cubicBezTo>
                  <a:pt x="279" y="501"/>
                  <a:pt x="279" y="501"/>
                  <a:pt x="279" y="501"/>
                </a:cubicBezTo>
                <a:cubicBezTo>
                  <a:pt x="280" y="501"/>
                  <a:pt x="281" y="501"/>
                  <a:pt x="281" y="500"/>
                </a:cubicBezTo>
                <a:cubicBezTo>
                  <a:pt x="281" y="500"/>
                  <a:pt x="281" y="500"/>
                  <a:pt x="281" y="500"/>
                </a:cubicBezTo>
                <a:cubicBezTo>
                  <a:pt x="281" y="500"/>
                  <a:pt x="281" y="500"/>
                  <a:pt x="281" y="500"/>
                </a:cubicBezTo>
                <a:close/>
                <a:moveTo>
                  <a:pt x="145" y="549"/>
                </a:moveTo>
                <a:cubicBezTo>
                  <a:pt x="145" y="549"/>
                  <a:pt x="145" y="549"/>
                  <a:pt x="145" y="548"/>
                </a:cubicBezTo>
                <a:cubicBezTo>
                  <a:pt x="145" y="548"/>
                  <a:pt x="144" y="548"/>
                  <a:pt x="144" y="548"/>
                </a:cubicBezTo>
                <a:cubicBezTo>
                  <a:pt x="143" y="548"/>
                  <a:pt x="143" y="548"/>
                  <a:pt x="143" y="549"/>
                </a:cubicBezTo>
                <a:cubicBezTo>
                  <a:pt x="143" y="549"/>
                  <a:pt x="143" y="549"/>
                  <a:pt x="143" y="549"/>
                </a:cubicBezTo>
                <a:cubicBezTo>
                  <a:pt x="142" y="548"/>
                  <a:pt x="142" y="548"/>
                  <a:pt x="142" y="549"/>
                </a:cubicBezTo>
                <a:cubicBezTo>
                  <a:pt x="142" y="549"/>
                  <a:pt x="142" y="549"/>
                  <a:pt x="141" y="549"/>
                </a:cubicBezTo>
                <a:cubicBezTo>
                  <a:pt x="141" y="549"/>
                  <a:pt x="141" y="548"/>
                  <a:pt x="140" y="548"/>
                </a:cubicBezTo>
                <a:cubicBezTo>
                  <a:pt x="140" y="548"/>
                  <a:pt x="141" y="547"/>
                  <a:pt x="141" y="547"/>
                </a:cubicBezTo>
                <a:cubicBezTo>
                  <a:pt x="141" y="547"/>
                  <a:pt x="141" y="546"/>
                  <a:pt x="141" y="546"/>
                </a:cubicBezTo>
                <a:cubicBezTo>
                  <a:pt x="142" y="546"/>
                  <a:pt x="142" y="546"/>
                  <a:pt x="141" y="545"/>
                </a:cubicBezTo>
                <a:cubicBezTo>
                  <a:pt x="141" y="545"/>
                  <a:pt x="141" y="545"/>
                  <a:pt x="141" y="545"/>
                </a:cubicBezTo>
                <a:cubicBezTo>
                  <a:pt x="141" y="546"/>
                  <a:pt x="140" y="546"/>
                  <a:pt x="141" y="546"/>
                </a:cubicBezTo>
                <a:cubicBezTo>
                  <a:pt x="141" y="547"/>
                  <a:pt x="141" y="547"/>
                  <a:pt x="140" y="547"/>
                </a:cubicBezTo>
                <a:cubicBezTo>
                  <a:pt x="140" y="547"/>
                  <a:pt x="140" y="547"/>
                  <a:pt x="140" y="546"/>
                </a:cubicBezTo>
                <a:cubicBezTo>
                  <a:pt x="140" y="546"/>
                  <a:pt x="139" y="546"/>
                  <a:pt x="139" y="546"/>
                </a:cubicBezTo>
                <a:cubicBezTo>
                  <a:pt x="139" y="546"/>
                  <a:pt x="138" y="546"/>
                  <a:pt x="138" y="547"/>
                </a:cubicBezTo>
                <a:cubicBezTo>
                  <a:pt x="138" y="547"/>
                  <a:pt x="139" y="547"/>
                  <a:pt x="139" y="548"/>
                </a:cubicBezTo>
                <a:cubicBezTo>
                  <a:pt x="139" y="548"/>
                  <a:pt x="139" y="548"/>
                  <a:pt x="139" y="548"/>
                </a:cubicBezTo>
                <a:cubicBezTo>
                  <a:pt x="138" y="549"/>
                  <a:pt x="138" y="549"/>
                  <a:pt x="139" y="550"/>
                </a:cubicBezTo>
                <a:cubicBezTo>
                  <a:pt x="139" y="550"/>
                  <a:pt x="138" y="550"/>
                  <a:pt x="138" y="549"/>
                </a:cubicBezTo>
                <a:cubicBezTo>
                  <a:pt x="137" y="549"/>
                  <a:pt x="137" y="549"/>
                  <a:pt x="137" y="549"/>
                </a:cubicBezTo>
                <a:cubicBezTo>
                  <a:pt x="137" y="550"/>
                  <a:pt x="137" y="550"/>
                  <a:pt x="138" y="550"/>
                </a:cubicBezTo>
                <a:cubicBezTo>
                  <a:pt x="138" y="550"/>
                  <a:pt x="138" y="550"/>
                  <a:pt x="138" y="551"/>
                </a:cubicBezTo>
                <a:cubicBezTo>
                  <a:pt x="138" y="551"/>
                  <a:pt x="137" y="551"/>
                  <a:pt x="137" y="552"/>
                </a:cubicBezTo>
                <a:cubicBezTo>
                  <a:pt x="136" y="552"/>
                  <a:pt x="136" y="552"/>
                  <a:pt x="136" y="553"/>
                </a:cubicBezTo>
                <a:cubicBezTo>
                  <a:pt x="136" y="553"/>
                  <a:pt x="136" y="554"/>
                  <a:pt x="136" y="554"/>
                </a:cubicBezTo>
                <a:cubicBezTo>
                  <a:pt x="137" y="554"/>
                  <a:pt x="137" y="553"/>
                  <a:pt x="137" y="553"/>
                </a:cubicBezTo>
                <a:cubicBezTo>
                  <a:pt x="137" y="553"/>
                  <a:pt x="137" y="552"/>
                  <a:pt x="138" y="551"/>
                </a:cubicBezTo>
                <a:cubicBezTo>
                  <a:pt x="138" y="552"/>
                  <a:pt x="138" y="552"/>
                  <a:pt x="138" y="553"/>
                </a:cubicBezTo>
                <a:cubicBezTo>
                  <a:pt x="138" y="553"/>
                  <a:pt x="138" y="553"/>
                  <a:pt x="138" y="553"/>
                </a:cubicBezTo>
                <a:cubicBezTo>
                  <a:pt x="139" y="553"/>
                  <a:pt x="139" y="553"/>
                  <a:pt x="139" y="552"/>
                </a:cubicBezTo>
                <a:cubicBezTo>
                  <a:pt x="139" y="552"/>
                  <a:pt x="140" y="552"/>
                  <a:pt x="140" y="552"/>
                </a:cubicBezTo>
                <a:cubicBezTo>
                  <a:pt x="140" y="552"/>
                  <a:pt x="141" y="551"/>
                  <a:pt x="141" y="551"/>
                </a:cubicBezTo>
                <a:cubicBezTo>
                  <a:pt x="141" y="551"/>
                  <a:pt x="142" y="551"/>
                  <a:pt x="142" y="551"/>
                </a:cubicBezTo>
                <a:cubicBezTo>
                  <a:pt x="142" y="551"/>
                  <a:pt x="142" y="551"/>
                  <a:pt x="142" y="551"/>
                </a:cubicBezTo>
                <a:cubicBezTo>
                  <a:pt x="142" y="550"/>
                  <a:pt x="142" y="550"/>
                  <a:pt x="142" y="550"/>
                </a:cubicBezTo>
                <a:cubicBezTo>
                  <a:pt x="143" y="551"/>
                  <a:pt x="143" y="550"/>
                  <a:pt x="143" y="550"/>
                </a:cubicBezTo>
                <a:cubicBezTo>
                  <a:pt x="143" y="550"/>
                  <a:pt x="143" y="550"/>
                  <a:pt x="143" y="549"/>
                </a:cubicBezTo>
                <a:cubicBezTo>
                  <a:pt x="144" y="550"/>
                  <a:pt x="144" y="550"/>
                  <a:pt x="144" y="550"/>
                </a:cubicBezTo>
                <a:cubicBezTo>
                  <a:pt x="144" y="551"/>
                  <a:pt x="144" y="551"/>
                  <a:pt x="144" y="551"/>
                </a:cubicBezTo>
                <a:cubicBezTo>
                  <a:pt x="144" y="551"/>
                  <a:pt x="144" y="551"/>
                  <a:pt x="144" y="551"/>
                </a:cubicBezTo>
                <a:cubicBezTo>
                  <a:pt x="144" y="550"/>
                  <a:pt x="145" y="551"/>
                  <a:pt x="145" y="551"/>
                </a:cubicBezTo>
                <a:cubicBezTo>
                  <a:pt x="145" y="550"/>
                  <a:pt x="145" y="550"/>
                  <a:pt x="145" y="549"/>
                </a:cubicBezTo>
                <a:cubicBezTo>
                  <a:pt x="145" y="549"/>
                  <a:pt x="145" y="549"/>
                  <a:pt x="145" y="549"/>
                </a:cubicBezTo>
                <a:close/>
                <a:moveTo>
                  <a:pt x="275" y="506"/>
                </a:moveTo>
                <a:cubicBezTo>
                  <a:pt x="275" y="506"/>
                  <a:pt x="274" y="506"/>
                  <a:pt x="274" y="507"/>
                </a:cubicBezTo>
                <a:cubicBezTo>
                  <a:pt x="274" y="507"/>
                  <a:pt x="274" y="507"/>
                  <a:pt x="274" y="507"/>
                </a:cubicBezTo>
                <a:cubicBezTo>
                  <a:pt x="274" y="507"/>
                  <a:pt x="273" y="507"/>
                  <a:pt x="273" y="507"/>
                </a:cubicBezTo>
                <a:cubicBezTo>
                  <a:pt x="273" y="508"/>
                  <a:pt x="273" y="508"/>
                  <a:pt x="273" y="508"/>
                </a:cubicBezTo>
                <a:cubicBezTo>
                  <a:pt x="273" y="509"/>
                  <a:pt x="274" y="509"/>
                  <a:pt x="274" y="509"/>
                </a:cubicBezTo>
                <a:cubicBezTo>
                  <a:pt x="274" y="509"/>
                  <a:pt x="275" y="508"/>
                  <a:pt x="275" y="508"/>
                </a:cubicBezTo>
                <a:cubicBezTo>
                  <a:pt x="275" y="508"/>
                  <a:pt x="275" y="508"/>
                  <a:pt x="275" y="508"/>
                </a:cubicBezTo>
                <a:cubicBezTo>
                  <a:pt x="275" y="508"/>
                  <a:pt x="275" y="507"/>
                  <a:pt x="275" y="507"/>
                </a:cubicBezTo>
                <a:cubicBezTo>
                  <a:pt x="275" y="507"/>
                  <a:pt x="275" y="506"/>
                  <a:pt x="276" y="506"/>
                </a:cubicBezTo>
                <a:cubicBezTo>
                  <a:pt x="276" y="506"/>
                  <a:pt x="276" y="506"/>
                  <a:pt x="276" y="506"/>
                </a:cubicBezTo>
                <a:cubicBezTo>
                  <a:pt x="276" y="506"/>
                  <a:pt x="275" y="506"/>
                  <a:pt x="275" y="506"/>
                </a:cubicBezTo>
                <a:close/>
                <a:moveTo>
                  <a:pt x="290" y="500"/>
                </a:moveTo>
                <a:cubicBezTo>
                  <a:pt x="290" y="500"/>
                  <a:pt x="289" y="500"/>
                  <a:pt x="289" y="500"/>
                </a:cubicBezTo>
                <a:cubicBezTo>
                  <a:pt x="289" y="500"/>
                  <a:pt x="288" y="500"/>
                  <a:pt x="287" y="500"/>
                </a:cubicBezTo>
                <a:cubicBezTo>
                  <a:pt x="287" y="500"/>
                  <a:pt x="287" y="501"/>
                  <a:pt x="287" y="501"/>
                </a:cubicBezTo>
                <a:cubicBezTo>
                  <a:pt x="288" y="501"/>
                  <a:pt x="289" y="501"/>
                  <a:pt x="289" y="501"/>
                </a:cubicBezTo>
                <a:cubicBezTo>
                  <a:pt x="290" y="501"/>
                  <a:pt x="290" y="501"/>
                  <a:pt x="290" y="501"/>
                </a:cubicBezTo>
                <a:cubicBezTo>
                  <a:pt x="291" y="501"/>
                  <a:pt x="291" y="500"/>
                  <a:pt x="291" y="500"/>
                </a:cubicBezTo>
                <a:cubicBezTo>
                  <a:pt x="290" y="500"/>
                  <a:pt x="290" y="500"/>
                  <a:pt x="290" y="500"/>
                </a:cubicBezTo>
                <a:close/>
                <a:moveTo>
                  <a:pt x="148" y="548"/>
                </a:moveTo>
                <a:cubicBezTo>
                  <a:pt x="147" y="549"/>
                  <a:pt x="147" y="548"/>
                  <a:pt x="147" y="548"/>
                </a:cubicBezTo>
                <a:cubicBezTo>
                  <a:pt x="146" y="548"/>
                  <a:pt x="146" y="548"/>
                  <a:pt x="146" y="548"/>
                </a:cubicBezTo>
                <a:cubicBezTo>
                  <a:pt x="146" y="548"/>
                  <a:pt x="146" y="549"/>
                  <a:pt x="146" y="549"/>
                </a:cubicBezTo>
                <a:cubicBezTo>
                  <a:pt x="146" y="550"/>
                  <a:pt x="146" y="550"/>
                  <a:pt x="147" y="550"/>
                </a:cubicBezTo>
                <a:cubicBezTo>
                  <a:pt x="147" y="550"/>
                  <a:pt x="147" y="550"/>
                  <a:pt x="147" y="549"/>
                </a:cubicBezTo>
                <a:cubicBezTo>
                  <a:pt x="147" y="549"/>
                  <a:pt x="148" y="549"/>
                  <a:pt x="148" y="549"/>
                </a:cubicBezTo>
                <a:cubicBezTo>
                  <a:pt x="148" y="549"/>
                  <a:pt x="148" y="549"/>
                  <a:pt x="148" y="549"/>
                </a:cubicBezTo>
                <a:cubicBezTo>
                  <a:pt x="148" y="548"/>
                  <a:pt x="148" y="548"/>
                  <a:pt x="148" y="548"/>
                </a:cubicBezTo>
                <a:close/>
                <a:moveTo>
                  <a:pt x="78" y="546"/>
                </a:moveTo>
                <a:cubicBezTo>
                  <a:pt x="77" y="546"/>
                  <a:pt x="77" y="546"/>
                  <a:pt x="77" y="546"/>
                </a:cubicBezTo>
                <a:cubicBezTo>
                  <a:pt x="78" y="547"/>
                  <a:pt x="78" y="547"/>
                  <a:pt x="78" y="547"/>
                </a:cubicBezTo>
                <a:cubicBezTo>
                  <a:pt x="78" y="547"/>
                  <a:pt x="79" y="547"/>
                  <a:pt x="79" y="546"/>
                </a:cubicBezTo>
                <a:cubicBezTo>
                  <a:pt x="79" y="546"/>
                  <a:pt x="78" y="546"/>
                  <a:pt x="78" y="546"/>
                </a:cubicBezTo>
                <a:close/>
                <a:moveTo>
                  <a:pt x="210" y="534"/>
                </a:moveTo>
                <a:cubicBezTo>
                  <a:pt x="209" y="534"/>
                  <a:pt x="209" y="535"/>
                  <a:pt x="209" y="535"/>
                </a:cubicBezTo>
                <a:cubicBezTo>
                  <a:pt x="209" y="536"/>
                  <a:pt x="209" y="536"/>
                  <a:pt x="210" y="536"/>
                </a:cubicBezTo>
                <a:cubicBezTo>
                  <a:pt x="210" y="536"/>
                  <a:pt x="210" y="535"/>
                  <a:pt x="210" y="535"/>
                </a:cubicBezTo>
                <a:cubicBezTo>
                  <a:pt x="210" y="535"/>
                  <a:pt x="210" y="535"/>
                  <a:pt x="210" y="534"/>
                </a:cubicBezTo>
                <a:close/>
                <a:moveTo>
                  <a:pt x="229" y="524"/>
                </a:moveTo>
                <a:cubicBezTo>
                  <a:pt x="229" y="524"/>
                  <a:pt x="229" y="524"/>
                  <a:pt x="229" y="525"/>
                </a:cubicBezTo>
                <a:cubicBezTo>
                  <a:pt x="229" y="525"/>
                  <a:pt x="229" y="525"/>
                  <a:pt x="229" y="525"/>
                </a:cubicBezTo>
                <a:cubicBezTo>
                  <a:pt x="229" y="525"/>
                  <a:pt x="230" y="525"/>
                  <a:pt x="230" y="524"/>
                </a:cubicBezTo>
                <a:cubicBezTo>
                  <a:pt x="230" y="524"/>
                  <a:pt x="230" y="524"/>
                  <a:pt x="229" y="524"/>
                </a:cubicBezTo>
                <a:close/>
                <a:moveTo>
                  <a:pt x="149" y="547"/>
                </a:moveTo>
                <a:cubicBezTo>
                  <a:pt x="149" y="547"/>
                  <a:pt x="148" y="547"/>
                  <a:pt x="148" y="547"/>
                </a:cubicBezTo>
                <a:cubicBezTo>
                  <a:pt x="148" y="547"/>
                  <a:pt x="148" y="547"/>
                  <a:pt x="147" y="548"/>
                </a:cubicBezTo>
                <a:cubicBezTo>
                  <a:pt x="148" y="548"/>
                  <a:pt x="148" y="548"/>
                  <a:pt x="149" y="548"/>
                </a:cubicBezTo>
                <a:cubicBezTo>
                  <a:pt x="149" y="548"/>
                  <a:pt x="149" y="548"/>
                  <a:pt x="149" y="548"/>
                </a:cubicBezTo>
                <a:cubicBezTo>
                  <a:pt x="150" y="547"/>
                  <a:pt x="149" y="548"/>
                  <a:pt x="149" y="547"/>
                </a:cubicBezTo>
                <a:close/>
                <a:moveTo>
                  <a:pt x="286" y="501"/>
                </a:moveTo>
                <a:cubicBezTo>
                  <a:pt x="286" y="500"/>
                  <a:pt x="285" y="501"/>
                  <a:pt x="285" y="501"/>
                </a:cubicBezTo>
                <a:cubicBezTo>
                  <a:pt x="285" y="501"/>
                  <a:pt x="285" y="501"/>
                  <a:pt x="286" y="501"/>
                </a:cubicBezTo>
                <a:cubicBezTo>
                  <a:pt x="286" y="502"/>
                  <a:pt x="286" y="501"/>
                  <a:pt x="287" y="501"/>
                </a:cubicBezTo>
                <a:cubicBezTo>
                  <a:pt x="287" y="501"/>
                  <a:pt x="286" y="501"/>
                  <a:pt x="286" y="501"/>
                </a:cubicBezTo>
                <a:close/>
                <a:moveTo>
                  <a:pt x="73" y="544"/>
                </a:moveTo>
                <a:cubicBezTo>
                  <a:pt x="73" y="544"/>
                  <a:pt x="73" y="545"/>
                  <a:pt x="73" y="545"/>
                </a:cubicBezTo>
                <a:cubicBezTo>
                  <a:pt x="73" y="545"/>
                  <a:pt x="73" y="546"/>
                  <a:pt x="73" y="546"/>
                </a:cubicBezTo>
                <a:cubicBezTo>
                  <a:pt x="74" y="546"/>
                  <a:pt x="74" y="546"/>
                  <a:pt x="74" y="545"/>
                </a:cubicBezTo>
                <a:cubicBezTo>
                  <a:pt x="74" y="545"/>
                  <a:pt x="74" y="544"/>
                  <a:pt x="73" y="544"/>
                </a:cubicBezTo>
                <a:close/>
                <a:moveTo>
                  <a:pt x="226" y="526"/>
                </a:moveTo>
                <a:cubicBezTo>
                  <a:pt x="226" y="526"/>
                  <a:pt x="225" y="526"/>
                  <a:pt x="225" y="526"/>
                </a:cubicBezTo>
                <a:cubicBezTo>
                  <a:pt x="224" y="526"/>
                  <a:pt x="224" y="526"/>
                  <a:pt x="224" y="526"/>
                </a:cubicBezTo>
                <a:cubicBezTo>
                  <a:pt x="224" y="527"/>
                  <a:pt x="224" y="527"/>
                  <a:pt x="224" y="527"/>
                </a:cubicBezTo>
                <a:cubicBezTo>
                  <a:pt x="225" y="527"/>
                  <a:pt x="225" y="527"/>
                  <a:pt x="225" y="527"/>
                </a:cubicBezTo>
                <a:cubicBezTo>
                  <a:pt x="225" y="527"/>
                  <a:pt x="226" y="527"/>
                  <a:pt x="226" y="526"/>
                </a:cubicBezTo>
                <a:close/>
                <a:moveTo>
                  <a:pt x="275" y="503"/>
                </a:moveTo>
                <a:cubicBezTo>
                  <a:pt x="275" y="503"/>
                  <a:pt x="275" y="503"/>
                  <a:pt x="275" y="503"/>
                </a:cubicBezTo>
                <a:cubicBezTo>
                  <a:pt x="274" y="504"/>
                  <a:pt x="275" y="503"/>
                  <a:pt x="275" y="504"/>
                </a:cubicBezTo>
                <a:cubicBezTo>
                  <a:pt x="275" y="504"/>
                  <a:pt x="276" y="504"/>
                  <a:pt x="276" y="503"/>
                </a:cubicBezTo>
                <a:cubicBezTo>
                  <a:pt x="276" y="503"/>
                  <a:pt x="275" y="503"/>
                  <a:pt x="275" y="503"/>
                </a:cubicBezTo>
                <a:close/>
                <a:moveTo>
                  <a:pt x="223" y="529"/>
                </a:moveTo>
                <a:cubicBezTo>
                  <a:pt x="223" y="529"/>
                  <a:pt x="223" y="530"/>
                  <a:pt x="223" y="530"/>
                </a:cubicBezTo>
                <a:cubicBezTo>
                  <a:pt x="223" y="531"/>
                  <a:pt x="224" y="530"/>
                  <a:pt x="224" y="530"/>
                </a:cubicBezTo>
                <a:cubicBezTo>
                  <a:pt x="224" y="530"/>
                  <a:pt x="224" y="530"/>
                  <a:pt x="224" y="530"/>
                </a:cubicBezTo>
                <a:cubicBezTo>
                  <a:pt x="224" y="530"/>
                  <a:pt x="224" y="530"/>
                  <a:pt x="224" y="530"/>
                </a:cubicBezTo>
                <a:cubicBezTo>
                  <a:pt x="224" y="530"/>
                  <a:pt x="224" y="530"/>
                  <a:pt x="224" y="530"/>
                </a:cubicBezTo>
                <a:cubicBezTo>
                  <a:pt x="225" y="530"/>
                  <a:pt x="225" y="530"/>
                  <a:pt x="225" y="529"/>
                </a:cubicBezTo>
                <a:cubicBezTo>
                  <a:pt x="224" y="529"/>
                  <a:pt x="224" y="529"/>
                  <a:pt x="223" y="529"/>
                </a:cubicBezTo>
                <a:close/>
                <a:moveTo>
                  <a:pt x="76" y="549"/>
                </a:moveTo>
                <a:cubicBezTo>
                  <a:pt x="76" y="549"/>
                  <a:pt x="75" y="549"/>
                  <a:pt x="75" y="549"/>
                </a:cubicBezTo>
                <a:cubicBezTo>
                  <a:pt x="75" y="549"/>
                  <a:pt x="75" y="549"/>
                  <a:pt x="75" y="550"/>
                </a:cubicBezTo>
                <a:cubicBezTo>
                  <a:pt x="75" y="550"/>
                  <a:pt x="75" y="550"/>
                  <a:pt x="75" y="550"/>
                </a:cubicBezTo>
                <a:cubicBezTo>
                  <a:pt x="76" y="550"/>
                  <a:pt x="76" y="550"/>
                  <a:pt x="76" y="550"/>
                </a:cubicBezTo>
                <a:cubicBezTo>
                  <a:pt x="76" y="550"/>
                  <a:pt x="76" y="550"/>
                  <a:pt x="76" y="550"/>
                </a:cubicBezTo>
                <a:cubicBezTo>
                  <a:pt x="76" y="550"/>
                  <a:pt x="76" y="549"/>
                  <a:pt x="76" y="549"/>
                </a:cubicBezTo>
                <a:close/>
                <a:moveTo>
                  <a:pt x="45" y="538"/>
                </a:moveTo>
                <a:cubicBezTo>
                  <a:pt x="45" y="538"/>
                  <a:pt x="45" y="537"/>
                  <a:pt x="44" y="538"/>
                </a:cubicBezTo>
                <a:cubicBezTo>
                  <a:pt x="44" y="538"/>
                  <a:pt x="44" y="538"/>
                  <a:pt x="45" y="538"/>
                </a:cubicBezTo>
                <a:cubicBezTo>
                  <a:pt x="45" y="538"/>
                  <a:pt x="45" y="538"/>
                  <a:pt x="45" y="538"/>
                </a:cubicBezTo>
                <a:cubicBezTo>
                  <a:pt x="45" y="538"/>
                  <a:pt x="45" y="538"/>
                  <a:pt x="45" y="538"/>
                </a:cubicBezTo>
                <a:cubicBezTo>
                  <a:pt x="45" y="538"/>
                  <a:pt x="45" y="538"/>
                  <a:pt x="45" y="538"/>
                </a:cubicBezTo>
                <a:close/>
                <a:moveTo>
                  <a:pt x="151" y="546"/>
                </a:moveTo>
                <a:cubicBezTo>
                  <a:pt x="151" y="546"/>
                  <a:pt x="150" y="546"/>
                  <a:pt x="151" y="547"/>
                </a:cubicBezTo>
                <a:cubicBezTo>
                  <a:pt x="151" y="547"/>
                  <a:pt x="151" y="547"/>
                  <a:pt x="152" y="547"/>
                </a:cubicBezTo>
                <a:cubicBezTo>
                  <a:pt x="151" y="547"/>
                  <a:pt x="151" y="546"/>
                  <a:pt x="151" y="546"/>
                </a:cubicBezTo>
                <a:close/>
                <a:moveTo>
                  <a:pt x="150" y="545"/>
                </a:moveTo>
                <a:cubicBezTo>
                  <a:pt x="150" y="545"/>
                  <a:pt x="150" y="545"/>
                  <a:pt x="150" y="546"/>
                </a:cubicBezTo>
                <a:cubicBezTo>
                  <a:pt x="149" y="546"/>
                  <a:pt x="150" y="546"/>
                  <a:pt x="150" y="546"/>
                </a:cubicBezTo>
                <a:cubicBezTo>
                  <a:pt x="150" y="546"/>
                  <a:pt x="150" y="546"/>
                  <a:pt x="150" y="546"/>
                </a:cubicBezTo>
                <a:cubicBezTo>
                  <a:pt x="150" y="545"/>
                  <a:pt x="150" y="545"/>
                  <a:pt x="150" y="545"/>
                </a:cubicBezTo>
                <a:close/>
                <a:moveTo>
                  <a:pt x="21" y="530"/>
                </a:moveTo>
                <a:cubicBezTo>
                  <a:pt x="21" y="530"/>
                  <a:pt x="21" y="530"/>
                  <a:pt x="21" y="530"/>
                </a:cubicBezTo>
                <a:cubicBezTo>
                  <a:pt x="21" y="530"/>
                  <a:pt x="22" y="530"/>
                  <a:pt x="22" y="530"/>
                </a:cubicBezTo>
                <a:cubicBezTo>
                  <a:pt x="22" y="531"/>
                  <a:pt x="22" y="530"/>
                  <a:pt x="22" y="530"/>
                </a:cubicBezTo>
                <a:cubicBezTo>
                  <a:pt x="22" y="530"/>
                  <a:pt x="22" y="530"/>
                  <a:pt x="21" y="530"/>
                </a:cubicBezTo>
                <a:close/>
                <a:moveTo>
                  <a:pt x="283" y="501"/>
                </a:moveTo>
                <a:cubicBezTo>
                  <a:pt x="283" y="501"/>
                  <a:pt x="282" y="502"/>
                  <a:pt x="283" y="502"/>
                </a:cubicBezTo>
                <a:cubicBezTo>
                  <a:pt x="283" y="502"/>
                  <a:pt x="283" y="502"/>
                  <a:pt x="283" y="502"/>
                </a:cubicBezTo>
                <a:cubicBezTo>
                  <a:pt x="284" y="502"/>
                  <a:pt x="283" y="501"/>
                  <a:pt x="283" y="501"/>
                </a:cubicBezTo>
                <a:close/>
                <a:moveTo>
                  <a:pt x="152" y="546"/>
                </a:moveTo>
                <a:cubicBezTo>
                  <a:pt x="152" y="546"/>
                  <a:pt x="153" y="546"/>
                  <a:pt x="153" y="546"/>
                </a:cubicBezTo>
                <a:cubicBezTo>
                  <a:pt x="152" y="546"/>
                  <a:pt x="152" y="546"/>
                  <a:pt x="152" y="546"/>
                </a:cubicBezTo>
                <a:close/>
                <a:moveTo>
                  <a:pt x="109" y="560"/>
                </a:moveTo>
                <a:cubicBezTo>
                  <a:pt x="108" y="560"/>
                  <a:pt x="108" y="560"/>
                  <a:pt x="108" y="561"/>
                </a:cubicBezTo>
                <a:cubicBezTo>
                  <a:pt x="108" y="561"/>
                  <a:pt x="109" y="561"/>
                  <a:pt x="109" y="561"/>
                </a:cubicBezTo>
                <a:cubicBezTo>
                  <a:pt x="109" y="561"/>
                  <a:pt x="109" y="560"/>
                  <a:pt x="109" y="560"/>
                </a:cubicBezTo>
                <a:close/>
                <a:moveTo>
                  <a:pt x="270" y="505"/>
                </a:moveTo>
                <a:cubicBezTo>
                  <a:pt x="270" y="505"/>
                  <a:pt x="270" y="504"/>
                  <a:pt x="270" y="504"/>
                </a:cubicBezTo>
                <a:cubicBezTo>
                  <a:pt x="270" y="504"/>
                  <a:pt x="270" y="505"/>
                  <a:pt x="270" y="505"/>
                </a:cubicBezTo>
                <a:cubicBezTo>
                  <a:pt x="270" y="505"/>
                  <a:pt x="270" y="505"/>
                  <a:pt x="270" y="505"/>
                </a:cubicBezTo>
                <a:close/>
                <a:moveTo>
                  <a:pt x="211" y="533"/>
                </a:moveTo>
                <a:cubicBezTo>
                  <a:pt x="211" y="533"/>
                  <a:pt x="211" y="533"/>
                  <a:pt x="211" y="534"/>
                </a:cubicBezTo>
                <a:cubicBezTo>
                  <a:pt x="211" y="534"/>
                  <a:pt x="211" y="534"/>
                  <a:pt x="211" y="534"/>
                </a:cubicBezTo>
                <a:cubicBezTo>
                  <a:pt x="211" y="534"/>
                  <a:pt x="211" y="534"/>
                  <a:pt x="211" y="534"/>
                </a:cubicBezTo>
                <a:cubicBezTo>
                  <a:pt x="211" y="533"/>
                  <a:pt x="211" y="533"/>
                  <a:pt x="211" y="533"/>
                </a:cubicBezTo>
                <a:close/>
                <a:moveTo>
                  <a:pt x="67" y="546"/>
                </a:moveTo>
                <a:cubicBezTo>
                  <a:pt x="67" y="546"/>
                  <a:pt x="67" y="546"/>
                  <a:pt x="67" y="546"/>
                </a:cubicBezTo>
                <a:cubicBezTo>
                  <a:pt x="67" y="546"/>
                  <a:pt x="67" y="546"/>
                  <a:pt x="68" y="546"/>
                </a:cubicBezTo>
                <a:cubicBezTo>
                  <a:pt x="67" y="546"/>
                  <a:pt x="67" y="546"/>
                  <a:pt x="67" y="546"/>
                </a:cubicBezTo>
                <a:close/>
                <a:moveTo>
                  <a:pt x="113" y="555"/>
                </a:moveTo>
                <a:cubicBezTo>
                  <a:pt x="113" y="554"/>
                  <a:pt x="112" y="554"/>
                  <a:pt x="112" y="554"/>
                </a:cubicBezTo>
                <a:cubicBezTo>
                  <a:pt x="112" y="555"/>
                  <a:pt x="113" y="555"/>
                  <a:pt x="113" y="555"/>
                </a:cubicBezTo>
                <a:close/>
                <a:moveTo>
                  <a:pt x="111" y="558"/>
                </a:moveTo>
                <a:cubicBezTo>
                  <a:pt x="111" y="558"/>
                  <a:pt x="110" y="558"/>
                  <a:pt x="110" y="558"/>
                </a:cubicBezTo>
                <a:cubicBezTo>
                  <a:pt x="111" y="559"/>
                  <a:pt x="110" y="559"/>
                  <a:pt x="110" y="559"/>
                </a:cubicBezTo>
                <a:cubicBezTo>
                  <a:pt x="111" y="559"/>
                  <a:pt x="111" y="559"/>
                  <a:pt x="111" y="559"/>
                </a:cubicBezTo>
                <a:cubicBezTo>
                  <a:pt x="111" y="559"/>
                  <a:pt x="111" y="559"/>
                  <a:pt x="111" y="559"/>
                </a:cubicBezTo>
                <a:cubicBezTo>
                  <a:pt x="111" y="559"/>
                  <a:pt x="111" y="558"/>
                  <a:pt x="111" y="558"/>
                </a:cubicBezTo>
                <a:close/>
                <a:moveTo>
                  <a:pt x="291" y="498"/>
                </a:moveTo>
                <a:cubicBezTo>
                  <a:pt x="292" y="498"/>
                  <a:pt x="292" y="498"/>
                  <a:pt x="292" y="498"/>
                </a:cubicBezTo>
                <a:cubicBezTo>
                  <a:pt x="292" y="498"/>
                  <a:pt x="292" y="498"/>
                  <a:pt x="291" y="498"/>
                </a:cubicBezTo>
                <a:close/>
                <a:moveTo>
                  <a:pt x="20" y="530"/>
                </a:moveTo>
                <a:cubicBezTo>
                  <a:pt x="20" y="530"/>
                  <a:pt x="20" y="530"/>
                  <a:pt x="20" y="530"/>
                </a:cubicBezTo>
                <a:cubicBezTo>
                  <a:pt x="20" y="530"/>
                  <a:pt x="20" y="530"/>
                  <a:pt x="20" y="530"/>
                </a:cubicBezTo>
                <a:close/>
                <a:moveTo>
                  <a:pt x="113" y="549"/>
                </a:moveTo>
                <a:cubicBezTo>
                  <a:pt x="113" y="550"/>
                  <a:pt x="113" y="550"/>
                  <a:pt x="113" y="550"/>
                </a:cubicBezTo>
                <a:cubicBezTo>
                  <a:pt x="113" y="550"/>
                  <a:pt x="113" y="550"/>
                  <a:pt x="113" y="550"/>
                </a:cubicBezTo>
                <a:cubicBezTo>
                  <a:pt x="113" y="551"/>
                  <a:pt x="112" y="551"/>
                  <a:pt x="112" y="550"/>
                </a:cubicBezTo>
                <a:cubicBezTo>
                  <a:pt x="112" y="550"/>
                  <a:pt x="112" y="549"/>
                  <a:pt x="112" y="549"/>
                </a:cubicBezTo>
                <a:cubicBezTo>
                  <a:pt x="113" y="548"/>
                  <a:pt x="113" y="549"/>
                  <a:pt x="113" y="549"/>
                </a:cubicBezTo>
                <a:cubicBezTo>
                  <a:pt x="113" y="549"/>
                  <a:pt x="113" y="549"/>
                  <a:pt x="113" y="549"/>
                </a:cubicBezTo>
                <a:close/>
                <a:moveTo>
                  <a:pt x="113" y="549"/>
                </a:moveTo>
                <a:cubicBezTo>
                  <a:pt x="113" y="549"/>
                  <a:pt x="113" y="549"/>
                  <a:pt x="113" y="549"/>
                </a:cubicBezTo>
                <a:cubicBezTo>
                  <a:pt x="113" y="549"/>
                  <a:pt x="113" y="549"/>
                  <a:pt x="113" y="549"/>
                </a:cubicBezTo>
                <a:close/>
                <a:moveTo>
                  <a:pt x="115" y="553"/>
                </a:moveTo>
                <a:cubicBezTo>
                  <a:pt x="115" y="553"/>
                  <a:pt x="114" y="553"/>
                  <a:pt x="114" y="554"/>
                </a:cubicBezTo>
                <a:cubicBezTo>
                  <a:pt x="114" y="554"/>
                  <a:pt x="114" y="554"/>
                  <a:pt x="115" y="554"/>
                </a:cubicBezTo>
                <a:cubicBezTo>
                  <a:pt x="115" y="554"/>
                  <a:pt x="115" y="554"/>
                  <a:pt x="115" y="553"/>
                </a:cubicBezTo>
                <a:cubicBezTo>
                  <a:pt x="115" y="553"/>
                  <a:pt x="115" y="553"/>
                  <a:pt x="115" y="553"/>
                </a:cubicBezTo>
                <a:close/>
                <a:moveTo>
                  <a:pt x="229" y="523"/>
                </a:moveTo>
                <a:cubicBezTo>
                  <a:pt x="229" y="523"/>
                  <a:pt x="229" y="523"/>
                  <a:pt x="228" y="523"/>
                </a:cubicBezTo>
                <a:cubicBezTo>
                  <a:pt x="228" y="523"/>
                  <a:pt x="228" y="523"/>
                  <a:pt x="228" y="523"/>
                </a:cubicBezTo>
                <a:cubicBezTo>
                  <a:pt x="228" y="523"/>
                  <a:pt x="229" y="523"/>
                  <a:pt x="229" y="523"/>
                </a:cubicBezTo>
                <a:close/>
                <a:moveTo>
                  <a:pt x="88" y="558"/>
                </a:moveTo>
                <a:cubicBezTo>
                  <a:pt x="88" y="558"/>
                  <a:pt x="88" y="558"/>
                  <a:pt x="88" y="558"/>
                </a:cubicBezTo>
                <a:cubicBezTo>
                  <a:pt x="88" y="557"/>
                  <a:pt x="88" y="558"/>
                  <a:pt x="87" y="557"/>
                </a:cubicBezTo>
                <a:cubicBezTo>
                  <a:pt x="87" y="557"/>
                  <a:pt x="87" y="557"/>
                  <a:pt x="87" y="557"/>
                </a:cubicBezTo>
                <a:cubicBezTo>
                  <a:pt x="87" y="556"/>
                  <a:pt x="86" y="556"/>
                  <a:pt x="86" y="556"/>
                </a:cubicBezTo>
                <a:cubicBezTo>
                  <a:pt x="86" y="556"/>
                  <a:pt x="86" y="556"/>
                  <a:pt x="86" y="556"/>
                </a:cubicBezTo>
                <a:cubicBezTo>
                  <a:pt x="86" y="556"/>
                  <a:pt x="85" y="555"/>
                  <a:pt x="85" y="555"/>
                </a:cubicBezTo>
                <a:cubicBezTo>
                  <a:pt x="85" y="555"/>
                  <a:pt x="84" y="554"/>
                  <a:pt x="84" y="554"/>
                </a:cubicBezTo>
                <a:cubicBezTo>
                  <a:pt x="84" y="554"/>
                  <a:pt x="83" y="554"/>
                  <a:pt x="83" y="553"/>
                </a:cubicBezTo>
                <a:cubicBezTo>
                  <a:pt x="83" y="553"/>
                  <a:pt x="83" y="553"/>
                  <a:pt x="82" y="553"/>
                </a:cubicBezTo>
                <a:cubicBezTo>
                  <a:pt x="82" y="553"/>
                  <a:pt x="81" y="553"/>
                  <a:pt x="80" y="552"/>
                </a:cubicBezTo>
                <a:cubicBezTo>
                  <a:pt x="80" y="552"/>
                  <a:pt x="80" y="552"/>
                  <a:pt x="80" y="553"/>
                </a:cubicBezTo>
                <a:cubicBezTo>
                  <a:pt x="80" y="553"/>
                  <a:pt x="80" y="553"/>
                  <a:pt x="80" y="553"/>
                </a:cubicBezTo>
                <a:cubicBezTo>
                  <a:pt x="80" y="553"/>
                  <a:pt x="80" y="554"/>
                  <a:pt x="80" y="554"/>
                </a:cubicBezTo>
                <a:cubicBezTo>
                  <a:pt x="81" y="554"/>
                  <a:pt x="82" y="554"/>
                  <a:pt x="83" y="554"/>
                </a:cubicBezTo>
                <a:cubicBezTo>
                  <a:pt x="83" y="555"/>
                  <a:pt x="83" y="555"/>
                  <a:pt x="84" y="555"/>
                </a:cubicBezTo>
                <a:cubicBezTo>
                  <a:pt x="84" y="555"/>
                  <a:pt x="85" y="556"/>
                  <a:pt x="85" y="556"/>
                </a:cubicBezTo>
                <a:cubicBezTo>
                  <a:pt x="85" y="557"/>
                  <a:pt x="86" y="557"/>
                  <a:pt x="87" y="558"/>
                </a:cubicBezTo>
                <a:cubicBezTo>
                  <a:pt x="87" y="558"/>
                  <a:pt x="87" y="558"/>
                  <a:pt x="87" y="558"/>
                </a:cubicBezTo>
                <a:cubicBezTo>
                  <a:pt x="87" y="559"/>
                  <a:pt x="87" y="559"/>
                  <a:pt x="88" y="559"/>
                </a:cubicBezTo>
                <a:cubicBezTo>
                  <a:pt x="88" y="559"/>
                  <a:pt x="89" y="559"/>
                  <a:pt x="89" y="558"/>
                </a:cubicBezTo>
                <a:cubicBezTo>
                  <a:pt x="89" y="558"/>
                  <a:pt x="90" y="558"/>
                  <a:pt x="90" y="558"/>
                </a:cubicBezTo>
                <a:cubicBezTo>
                  <a:pt x="90" y="559"/>
                  <a:pt x="90" y="558"/>
                  <a:pt x="90" y="558"/>
                </a:cubicBezTo>
                <a:cubicBezTo>
                  <a:pt x="90" y="558"/>
                  <a:pt x="90" y="558"/>
                  <a:pt x="90" y="558"/>
                </a:cubicBezTo>
                <a:cubicBezTo>
                  <a:pt x="90" y="558"/>
                  <a:pt x="89" y="557"/>
                  <a:pt x="88" y="558"/>
                </a:cubicBezTo>
                <a:close/>
                <a:moveTo>
                  <a:pt x="148" y="547"/>
                </a:moveTo>
                <a:cubicBezTo>
                  <a:pt x="148" y="547"/>
                  <a:pt x="148" y="547"/>
                  <a:pt x="148" y="547"/>
                </a:cubicBezTo>
                <a:cubicBezTo>
                  <a:pt x="148" y="547"/>
                  <a:pt x="148" y="547"/>
                  <a:pt x="148" y="547"/>
                </a:cubicBezTo>
                <a:cubicBezTo>
                  <a:pt x="148" y="546"/>
                  <a:pt x="148" y="546"/>
                  <a:pt x="148" y="546"/>
                </a:cubicBezTo>
                <a:cubicBezTo>
                  <a:pt x="148" y="546"/>
                  <a:pt x="148" y="547"/>
                  <a:pt x="148" y="547"/>
                </a:cubicBezTo>
                <a:close/>
                <a:moveTo>
                  <a:pt x="321" y="494"/>
                </a:moveTo>
                <a:cubicBezTo>
                  <a:pt x="321" y="493"/>
                  <a:pt x="321" y="493"/>
                  <a:pt x="321" y="492"/>
                </a:cubicBezTo>
                <a:cubicBezTo>
                  <a:pt x="321" y="492"/>
                  <a:pt x="321" y="492"/>
                  <a:pt x="321" y="492"/>
                </a:cubicBezTo>
                <a:cubicBezTo>
                  <a:pt x="321" y="492"/>
                  <a:pt x="321" y="492"/>
                  <a:pt x="321" y="492"/>
                </a:cubicBezTo>
                <a:cubicBezTo>
                  <a:pt x="320" y="492"/>
                  <a:pt x="319" y="492"/>
                  <a:pt x="319" y="492"/>
                </a:cubicBezTo>
                <a:cubicBezTo>
                  <a:pt x="319" y="492"/>
                  <a:pt x="318" y="492"/>
                  <a:pt x="318" y="492"/>
                </a:cubicBezTo>
                <a:cubicBezTo>
                  <a:pt x="318" y="492"/>
                  <a:pt x="318" y="492"/>
                  <a:pt x="318" y="492"/>
                </a:cubicBezTo>
                <a:cubicBezTo>
                  <a:pt x="318" y="493"/>
                  <a:pt x="319" y="493"/>
                  <a:pt x="319" y="493"/>
                </a:cubicBezTo>
                <a:cubicBezTo>
                  <a:pt x="319" y="494"/>
                  <a:pt x="320" y="494"/>
                  <a:pt x="320" y="494"/>
                </a:cubicBezTo>
                <a:cubicBezTo>
                  <a:pt x="320" y="494"/>
                  <a:pt x="320" y="494"/>
                  <a:pt x="320" y="494"/>
                </a:cubicBezTo>
                <a:cubicBezTo>
                  <a:pt x="320" y="495"/>
                  <a:pt x="320" y="494"/>
                  <a:pt x="320" y="494"/>
                </a:cubicBezTo>
                <a:cubicBezTo>
                  <a:pt x="320" y="494"/>
                  <a:pt x="320" y="494"/>
                  <a:pt x="321" y="494"/>
                </a:cubicBezTo>
                <a:cubicBezTo>
                  <a:pt x="321" y="494"/>
                  <a:pt x="321" y="494"/>
                  <a:pt x="321" y="494"/>
                </a:cubicBezTo>
                <a:close/>
                <a:moveTo>
                  <a:pt x="323" y="481"/>
                </a:moveTo>
                <a:cubicBezTo>
                  <a:pt x="323" y="481"/>
                  <a:pt x="323" y="481"/>
                  <a:pt x="323" y="481"/>
                </a:cubicBezTo>
                <a:cubicBezTo>
                  <a:pt x="323" y="482"/>
                  <a:pt x="323" y="482"/>
                  <a:pt x="323" y="482"/>
                </a:cubicBezTo>
                <a:cubicBezTo>
                  <a:pt x="323" y="482"/>
                  <a:pt x="323" y="483"/>
                  <a:pt x="323" y="483"/>
                </a:cubicBezTo>
                <a:cubicBezTo>
                  <a:pt x="324" y="483"/>
                  <a:pt x="324" y="483"/>
                  <a:pt x="324" y="483"/>
                </a:cubicBezTo>
                <a:cubicBezTo>
                  <a:pt x="324" y="484"/>
                  <a:pt x="325" y="484"/>
                  <a:pt x="325" y="484"/>
                </a:cubicBezTo>
                <a:cubicBezTo>
                  <a:pt x="325" y="484"/>
                  <a:pt x="325" y="483"/>
                  <a:pt x="325" y="483"/>
                </a:cubicBezTo>
                <a:cubicBezTo>
                  <a:pt x="325" y="483"/>
                  <a:pt x="326" y="482"/>
                  <a:pt x="326" y="481"/>
                </a:cubicBezTo>
                <a:cubicBezTo>
                  <a:pt x="326" y="481"/>
                  <a:pt x="326" y="481"/>
                  <a:pt x="326" y="481"/>
                </a:cubicBezTo>
                <a:cubicBezTo>
                  <a:pt x="326" y="481"/>
                  <a:pt x="325" y="481"/>
                  <a:pt x="325" y="481"/>
                </a:cubicBezTo>
                <a:cubicBezTo>
                  <a:pt x="325" y="481"/>
                  <a:pt x="325" y="481"/>
                  <a:pt x="324" y="481"/>
                </a:cubicBezTo>
                <a:cubicBezTo>
                  <a:pt x="324" y="481"/>
                  <a:pt x="324" y="481"/>
                  <a:pt x="323" y="481"/>
                </a:cubicBezTo>
                <a:close/>
                <a:moveTo>
                  <a:pt x="333" y="477"/>
                </a:moveTo>
                <a:cubicBezTo>
                  <a:pt x="333" y="477"/>
                  <a:pt x="332" y="477"/>
                  <a:pt x="332" y="477"/>
                </a:cubicBezTo>
                <a:cubicBezTo>
                  <a:pt x="332" y="477"/>
                  <a:pt x="332" y="477"/>
                  <a:pt x="332" y="477"/>
                </a:cubicBezTo>
                <a:cubicBezTo>
                  <a:pt x="331" y="477"/>
                  <a:pt x="331" y="477"/>
                  <a:pt x="330" y="477"/>
                </a:cubicBezTo>
                <a:cubicBezTo>
                  <a:pt x="330" y="477"/>
                  <a:pt x="330" y="477"/>
                  <a:pt x="330" y="477"/>
                </a:cubicBezTo>
                <a:cubicBezTo>
                  <a:pt x="330" y="477"/>
                  <a:pt x="330" y="477"/>
                  <a:pt x="330" y="477"/>
                </a:cubicBezTo>
                <a:cubicBezTo>
                  <a:pt x="330" y="477"/>
                  <a:pt x="330" y="477"/>
                  <a:pt x="331" y="478"/>
                </a:cubicBezTo>
                <a:cubicBezTo>
                  <a:pt x="331" y="478"/>
                  <a:pt x="331" y="478"/>
                  <a:pt x="331" y="478"/>
                </a:cubicBezTo>
                <a:cubicBezTo>
                  <a:pt x="331" y="478"/>
                  <a:pt x="331" y="478"/>
                  <a:pt x="332" y="479"/>
                </a:cubicBezTo>
                <a:cubicBezTo>
                  <a:pt x="332" y="479"/>
                  <a:pt x="332" y="479"/>
                  <a:pt x="332" y="479"/>
                </a:cubicBezTo>
                <a:cubicBezTo>
                  <a:pt x="332" y="479"/>
                  <a:pt x="332" y="479"/>
                  <a:pt x="332" y="479"/>
                </a:cubicBezTo>
                <a:cubicBezTo>
                  <a:pt x="333" y="479"/>
                  <a:pt x="333" y="479"/>
                  <a:pt x="333" y="479"/>
                </a:cubicBezTo>
                <a:cubicBezTo>
                  <a:pt x="333" y="478"/>
                  <a:pt x="333" y="478"/>
                  <a:pt x="333" y="478"/>
                </a:cubicBezTo>
                <a:cubicBezTo>
                  <a:pt x="333" y="478"/>
                  <a:pt x="333" y="478"/>
                  <a:pt x="333" y="477"/>
                </a:cubicBezTo>
                <a:close/>
                <a:moveTo>
                  <a:pt x="344" y="472"/>
                </a:moveTo>
                <a:cubicBezTo>
                  <a:pt x="344" y="472"/>
                  <a:pt x="344" y="472"/>
                  <a:pt x="343" y="473"/>
                </a:cubicBezTo>
                <a:cubicBezTo>
                  <a:pt x="343" y="473"/>
                  <a:pt x="343" y="474"/>
                  <a:pt x="343" y="474"/>
                </a:cubicBezTo>
                <a:cubicBezTo>
                  <a:pt x="343" y="475"/>
                  <a:pt x="343" y="476"/>
                  <a:pt x="343" y="476"/>
                </a:cubicBezTo>
                <a:cubicBezTo>
                  <a:pt x="344" y="477"/>
                  <a:pt x="344" y="477"/>
                  <a:pt x="344" y="477"/>
                </a:cubicBezTo>
                <a:cubicBezTo>
                  <a:pt x="344" y="477"/>
                  <a:pt x="344" y="476"/>
                  <a:pt x="344" y="476"/>
                </a:cubicBezTo>
                <a:cubicBezTo>
                  <a:pt x="345" y="476"/>
                  <a:pt x="345" y="476"/>
                  <a:pt x="346" y="476"/>
                </a:cubicBezTo>
                <a:cubicBezTo>
                  <a:pt x="346" y="476"/>
                  <a:pt x="347" y="477"/>
                  <a:pt x="347" y="477"/>
                </a:cubicBezTo>
                <a:cubicBezTo>
                  <a:pt x="347" y="477"/>
                  <a:pt x="347" y="477"/>
                  <a:pt x="347" y="477"/>
                </a:cubicBezTo>
                <a:cubicBezTo>
                  <a:pt x="347" y="477"/>
                  <a:pt x="347" y="477"/>
                  <a:pt x="347" y="477"/>
                </a:cubicBezTo>
                <a:cubicBezTo>
                  <a:pt x="348" y="477"/>
                  <a:pt x="348" y="476"/>
                  <a:pt x="348" y="476"/>
                </a:cubicBezTo>
                <a:cubicBezTo>
                  <a:pt x="347" y="476"/>
                  <a:pt x="347" y="475"/>
                  <a:pt x="347" y="475"/>
                </a:cubicBezTo>
                <a:cubicBezTo>
                  <a:pt x="347" y="475"/>
                  <a:pt x="347" y="475"/>
                  <a:pt x="347" y="474"/>
                </a:cubicBezTo>
                <a:cubicBezTo>
                  <a:pt x="347" y="474"/>
                  <a:pt x="348" y="474"/>
                  <a:pt x="348" y="474"/>
                </a:cubicBezTo>
                <a:cubicBezTo>
                  <a:pt x="349" y="474"/>
                  <a:pt x="350" y="474"/>
                  <a:pt x="350" y="474"/>
                </a:cubicBezTo>
                <a:cubicBezTo>
                  <a:pt x="350" y="473"/>
                  <a:pt x="350" y="473"/>
                  <a:pt x="349" y="473"/>
                </a:cubicBezTo>
                <a:cubicBezTo>
                  <a:pt x="349" y="473"/>
                  <a:pt x="349" y="473"/>
                  <a:pt x="348" y="473"/>
                </a:cubicBezTo>
                <a:cubicBezTo>
                  <a:pt x="348" y="473"/>
                  <a:pt x="347" y="472"/>
                  <a:pt x="348" y="472"/>
                </a:cubicBezTo>
                <a:cubicBezTo>
                  <a:pt x="347" y="472"/>
                  <a:pt x="347" y="472"/>
                  <a:pt x="347" y="472"/>
                </a:cubicBezTo>
                <a:cubicBezTo>
                  <a:pt x="346" y="472"/>
                  <a:pt x="346" y="472"/>
                  <a:pt x="346" y="472"/>
                </a:cubicBezTo>
                <a:cubicBezTo>
                  <a:pt x="346" y="472"/>
                  <a:pt x="346" y="472"/>
                  <a:pt x="346" y="472"/>
                </a:cubicBezTo>
                <a:cubicBezTo>
                  <a:pt x="345" y="471"/>
                  <a:pt x="345" y="472"/>
                  <a:pt x="344" y="472"/>
                </a:cubicBezTo>
                <a:close/>
                <a:moveTo>
                  <a:pt x="352" y="471"/>
                </a:moveTo>
                <a:cubicBezTo>
                  <a:pt x="352" y="471"/>
                  <a:pt x="352" y="471"/>
                  <a:pt x="352" y="471"/>
                </a:cubicBezTo>
                <a:cubicBezTo>
                  <a:pt x="352" y="470"/>
                  <a:pt x="352" y="470"/>
                  <a:pt x="352" y="470"/>
                </a:cubicBezTo>
                <a:cubicBezTo>
                  <a:pt x="351" y="470"/>
                  <a:pt x="351" y="470"/>
                  <a:pt x="351" y="470"/>
                </a:cubicBezTo>
                <a:cubicBezTo>
                  <a:pt x="351" y="470"/>
                  <a:pt x="351" y="470"/>
                  <a:pt x="350" y="471"/>
                </a:cubicBezTo>
                <a:cubicBezTo>
                  <a:pt x="350" y="471"/>
                  <a:pt x="350" y="471"/>
                  <a:pt x="350" y="471"/>
                </a:cubicBezTo>
                <a:cubicBezTo>
                  <a:pt x="350" y="471"/>
                  <a:pt x="350" y="471"/>
                  <a:pt x="350" y="471"/>
                </a:cubicBezTo>
                <a:cubicBezTo>
                  <a:pt x="351" y="471"/>
                  <a:pt x="351" y="471"/>
                  <a:pt x="351" y="471"/>
                </a:cubicBezTo>
                <a:cubicBezTo>
                  <a:pt x="351" y="471"/>
                  <a:pt x="351" y="471"/>
                  <a:pt x="351" y="471"/>
                </a:cubicBezTo>
                <a:cubicBezTo>
                  <a:pt x="351" y="471"/>
                  <a:pt x="352" y="471"/>
                  <a:pt x="352" y="471"/>
                </a:cubicBezTo>
                <a:close/>
                <a:moveTo>
                  <a:pt x="356" y="476"/>
                </a:moveTo>
                <a:cubicBezTo>
                  <a:pt x="356" y="476"/>
                  <a:pt x="356" y="476"/>
                  <a:pt x="356" y="475"/>
                </a:cubicBezTo>
                <a:cubicBezTo>
                  <a:pt x="356" y="475"/>
                  <a:pt x="356" y="475"/>
                  <a:pt x="356" y="474"/>
                </a:cubicBezTo>
                <a:cubicBezTo>
                  <a:pt x="356" y="474"/>
                  <a:pt x="356" y="474"/>
                  <a:pt x="355" y="474"/>
                </a:cubicBezTo>
                <a:cubicBezTo>
                  <a:pt x="355" y="474"/>
                  <a:pt x="355" y="474"/>
                  <a:pt x="355" y="475"/>
                </a:cubicBezTo>
                <a:cubicBezTo>
                  <a:pt x="355" y="475"/>
                  <a:pt x="355" y="476"/>
                  <a:pt x="354" y="477"/>
                </a:cubicBezTo>
                <a:cubicBezTo>
                  <a:pt x="354" y="477"/>
                  <a:pt x="354" y="477"/>
                  <a:pt x="353" y="477"/>
                </a:cubicBezTo>
                <a:cubicBezTo>
                  <a:pt x="353" y="477"/>
                  <a:pt x="353" y="477"/>
                  <a:pt x="353" y="478"/>
                </a:cubicBezTo>
                <a:cubicBezTo>
                  <a:pt x="353" y="478"/>
                  <a:pt x="353" y="478"/>
                  <a:pt x="353" y="478"/>
                </a:cubicBezTo>
                <a:cubicBezTo>
                  <a:pt x="353" y="478"/>
                  <a:pt x="353" y="478"/>
                  <a:pt x="353" y="478"/>
                </a:cubicBezTo>
                <a:cubicBezTo>
                  <a:pt x="353" y="479"/>
                  <a:pt x="352" y="479"/>
                  <a:pt x="352" y="479"/>
                </a:cubicBezTo>
                <a:cubicBezTo>
                  <a:pt x="352" y="479"/>
                  <a:pt x="353" y="479"/>
                  <a:pt x="353" y="480"/>
                </a:cubicBezTo>
                <a:cubicBezTo>
                  <a:pt x="353" y="480"/>
                  <a:pt x="353" y="480"/>
                  <a:pt x="353" y="480"/>
                </a:cubicBezTo>
                <a:cubicBezTo>
                  <a:pt x="352" y="480"/>
                  <a:pt x="352" y="481"/>
                  <a:pt x="352" y="481"/>
                </a:cubicBezTo>
                <a:cubicBezTo>
                  <a:pt x="353" y="481"/>
                  <a:pt x="353" y="481"/>
                  <a:pt x="354" y="481"/>
                </a:cubicBezTo>
                <a:cubicBezTo>
                  <a:pt x="354" y="480"/>
                  <a:pt x="354" y="480"/>
                  <a:pt x="355" y="479"/>
                </a:cubicBezTo>
                <a:cubicBezTo>
                  <a:pt x="355" y="479"/>
                  <a:pt x="355" y="478"/>
                  <a:pt x="356" y="478"/>
                </a:cubicBezTo>
                <a:cubicBezTo>
                  <a:pt x="356" y="478"/>
                  <a:pt x="356" y="478"/>
                  <a:pt x="356" y="477"/>
                </a:cubicBezTo>
                <a:cubicBezTo>
                  <a:pt x="356" y="477"/>
                  <a:pt x="356" y="477"/>
                  <a:pt x="356" y="477"/>
                </a:cubicBezTo>
                <a:cubicBezTo>
                  <a:pt x="356" y="477"/>
                  <a:pt x="356" y="477"/>
                  <a:pt x="356" y="476"/>
                </a:cubicBezTo>
                <a:close/>
                <a:moveTo>
                  <a:pt x="360" y="478"/>
                </a:moveTo>
                <a:cubicBezTo>
                  <a:pt x="359" y="478"/>
                  <a:pt x="359" y="478"/>
                  <a:pt x="359" y="479"/>
                </a:cubicBezTo>
                <a:cubicBezTo>
                  <a:pt x="359" y="479"/>
                  <a:pt x="360" y="479"/>
                  <a:pt x="360" y="479"/>
                </a:cubicBezTo>
                <a:cubicBezTo>
                  <a:pt x="360" y="479"/>
                  <a:pt x="360" y="479"/>
                  <a:pt x="360" y="479"/>
                </a:cubicBezTo>
                <a:cubicBezTo>
                  <a:pt x="360" y="479"/>
                  <a:pt x="360" y="478"/>
                  <a:pt x="360" y="478"/>
                </a:cubicBezTo>
                <a:cubicBezTo>
                  <a:pt x="360" y="478"/>
                  <a:pt x="360" y="477"/>
                  <a:pt x="360" y="477"/>
                </a:cubicBezTo>
                <a:cubicBezTo>
                  <a:pt x="361" y="476"/>
                  <a:pt x="361" y="476"/>
                  <a:pt x="361" y="476"/>
                </a:cubicBezTo>
                <a:cubicBezTo>
                  <a:pt x="360" y="476"/>
                  <a:pt x="360" y="476"/>
                  <a:pt x="360" y="476"/>
                </a:cubicBezTo>
                <a:cubicBezTo>
                  <a:pt x="360" y="477"/>
                  <a:pt x="360" y="477"/>
                  <a:pt x="360" y="477"/>
                </a:cubicBezTo>
                <a:cubicBezTo>
                  <a:pt x="360" y="477"/>
                  <a:pt x="360" y="477"/>
                  <a:pt x="360" y="478"/>
                </a:cubicBezTo>
                <a:close/>
                <a:moveTo>
                  <a:pt x="362" y="481"/>
                </a:moveTo>
                <a:cubicBezTo>
                  <a:pt x="362" y="481"/>
                  <a:pt x="362" y="481"/>
                  <a:pt x="362" y="481"/>
                </a:cubicBezTo>
                <a:cubicBezTo>
                  <a:pt x="362" y="481"/>
                  <a:pt x="362" y="481"/>
                  <a:pt x="362" y="481"/>
                </a:cubicBezTo>
                <a:cubicBezTo>
                  <a:pt x="362" y="481"/>
                  <a:pt x="362" y="481"/>
                  <a:pt x="363" y="481"/>
                </a:cubicBezTo>
                <a:cubicBezTo>
                  <a:pt x="363" y="481"/>
                  <a:pt x="363" y="481"/>
                  <a:pt x="363" y="481"/>
                </a:cubicBezTo>
                <a:cubicBezTo>
                  <a:pt x="363" y="481"/>
                  <a:pt x="363" y="481"/>
                  <a:pt x="362" y="481"/>
                </a:cubicBezTo>
                <a:cubicBezTo>
                  <a:pt x="362" y="480"/>
                  <a:pt x="362" y="480"/>
                  <a:pt x="362" y="480"/>
                </a:cubicBezTo>
                <a:cubicBezTo>
                  <a:pt x="362" y="480"/>
                  <a:pt x="362" y="480"/>
                  <a:pt x="362" y="479"/>
                </a:cubicBezTo>
                <a:cubicBezTo>
                  <a:pt x="362" y="479"/>
                  <a:pt x="362" y="479"/>
                  <a:pt x="362" y="479"/>
                </a:cubicBezTo>
                <a:cubicBezTo>
                  <a:pt x="362" y="480"/>
                  <a:pt x="362" y="480"/>
                  <a:pt x="362" y="480"/>
                </a:cubicBezTo>
                <a:moveTo>
                  <a:pt x="275" y="350"/>
                </a:moveTo>
                <a:cubicBezTo>
                  <a:pt x="275" y="350"/>
                  <a:pt x="274" y="350"/>
                  <a:pt x="274" y="350"/>
                </a:cubicBezTo>
                <a:cubicBezTo>
                  <a:pt x="274" y="350"/>
                  <a:pt x="273" y="350"/>
                  <a:pt x="273" y="351"/>
                </a:cubicBezTo>
                <a:cubicBezTo>
                  <a:pt x="272" y="351"/>
                  <a:pt x="272" y="351"/>
                  <a:pt x="272" y="351"/>
                </a:cubicBezTo>
                <a:cubicBezTo>
                  <a:pt x="271" y="351"/>
                  <a:pt x="271" y="350"/>
                  <a:pt x="271" y="350"/>
                </a:cubicBezTo>
                <a:cubicBezTo>
                  <a:pt x="271" y="350"/>
                  <a:pt x="271" y="351"/>
                  <a:pt x="271" y="351"/>
                </a:cubicBezTo>
                <a:cubicBezTo>
                  <a:pt x="270" y="352"/>
                  <a:pt x="269" y="352"/>
                  <a:pt x="268" y="352"/>
                </a:cubicBezTo>
                <a:cubicBezTo>
                  <a:pt x="267" y="353"/>
                  <a:pt x="267" y="353"/>
                  <a:pt x="267" y="354"/>
                </a:cubicBezTo>
                <a:cubicBezTo>
                  <a:pt x="267" y="354"/>
                  <a:pt x="267" y="354"/>
                  <a:pt x="267" y="354"/>
                </a:cubicBezTo>
                <a:cubicBezTo>
                  <a:pt x="267" y="354"/>
                  <a:pt x="267" y="354"/>
                  <a:pt x="267" y="354"/>
                </a:cubicBezTo>
                <a:cubicBezTo>
                  <a:pt x="266" y="355"/>
                  <a:pt x="265" y="355"/>
                  <a:pt x="265" y="355"/>
                </a:cubicBezTo>
                <a:cubicBezTo>
                  <a:pt x="265" y="354"/>
                  <a:pt x="264" y="354"/>
                  <a:pt x="264" y="354"/>
                </a:cubicBezTo>
                <a:cubicBezTo>
                  <a:pt x="264" y="354"/>
                  <a:pt x="264" y="354"/>
                  <a:pt x="263" y="354"/>
                </a:cubicBezTo>
                <a:cubicBezTo>
                  <a:pt x="263" y="355"/>
                  <a:pt x="262" y="355"/>
                  <a:pt x="261" y="355"/>
                </a:cubicBezTo>
                <a:cubicBezTo>
                  <a:pt x="260" y="355"/>
                  <a:pt x="260" y="355"/>
                  <a:pt x="260" y="355"/>
                </a:cubicBezTo>
                <a:cubicBezTo>
                  <a:pt x="259" y="355"/>
                  <a:pt x="259" y="355"/>
                  <a:pt x="259" y="355"/>
                </a:cubicBezTo>
                <a:cubicBezTo>
                  <a:pt x="259" y="356"/>
                  <a:pt x="259" y="356"/>
                  <a:pt x="259" y="356"/>
                </a:cubicBezTo>
                <a:cubicBezTo>
                  <a:pt x="260" y="357"/>
                  <a:pt x="260" y="358"/>
                  <a:pt x="260" y="358"/>
                </a:cubicBezTo>
                <a:cubicBezTo>
                  <a:pt x="261" y="359"/>
                  <a:pt x="261" y="359"/>
                  <a:pt x="261" y="360"/>
                </a:cubicBezTo>
                <a:cubicBezTo>
                  <a:pt x="262" y="360"/>
                  <a:pt x="262" y="360"/>
                  <a:pt x="262" y="361"/>
                </a:cubicBezTo>
                <a:cubicBezTo>
                  <a:pt x="262" y="361"/>
                  <a:pt x="263" y="361"/>
                  <a:pt x="263" y="361"/>
                </a:cubicBezTo>
                <a:cubicBezTo>
                  <a:pt x="265" y="361"/>
                  <a:pt x="266" y="362"/>
                  <a:pt x="268" y="363"/>
                </a:cubicBezTo>
                <a:cubicBezTo>
                  <a:pt x="268" y="363"/>
                  <a:pt x="268" y="363"/>
                  <a:pt x="268" y="363"/>
                </a:cubicBezTo>
                <a:cubicBezTo>
                  <a:pt x="269" y="364"/>
                  <a:pt x="271" y="364"/>
                  <a:pt x="272" y="364"/>
                </a:cubicBezTo>
                <a:cubicBezTo>
                  <a:pt x="272" y="364"/>
                  <a:pt x="273" y="364"/>
                  <a:pt x="273" y="364"/>
                </a:cubicBezTo>
                <a:cubicBezTo>
                  <a:pt x="273" y="365"/>
                  <a:pt x="274" y="365"/>
                  <a:pt x="274" y="366"/>
                </a:cubicBezTo>
                <a:cubicBezTo>
                  <a:pt x="274" y="366"/>
                  <a:pt x="274" y="366"/>
                  <a:pt x="274" y="366"/>
                </a:cubicBezTo>
                <a:cubicBezTo>
                  <a:pt x="274" y="366"/>
                  <a:pt x="274" y="366"/>
                  <a:pt x="275" y="366"/>
                </a:cubicBezTo>
                <a:cubicBezTo>
                  <a:pt x="275" y="366"/>
                  <a:pt x="275" y="366"/>
                  <a:pt x="275" y="366"/>
                </a:cubicBezTo>
                <a:cubicBezTo>
                  <a:pt x="275" y="365"/>
                  <a:pt x="275" y="365"/>
                  <a:pt x="274" y="365"/>
                </a:cubicBezTo>
                <a:cubicBezTo>
                  <a:pt x="274" y="365"/>
                  <a:pt x="274" y="365"/>
                  <a:pt x="274" y="364"/>
                </a:cubicBezTo>
                <a:cubicBezTo>
                  <a:pt x="274" y="364"/>
                  <a:pt x="274" y="364"/>
                  <a:pt x="274" y="364"/>
                </a:cubicBezTo>
                <a:cubicBezTo>
                  <a:pt x="274" y="364"/>
                  <a:pt x="275" y="365"/>
                  <a:pt x="276" y="364"/>
                </a:cubicBezTo>
                <a:cubicBezTo>
                  <a:pt x="276" y="364"/>
                  <a:pt x="277" y="364"/>
                  <a:pt x="277" y="364"/>
                </a:cubicBezTo>
                <a:cubicBezTo>
                  <a:pt x="278" y="363"/>
                  <a:pt x="278" y="363"/>
                  <a:pt x="279" y="363"/>
                </a:cubicBezTo>
                <a:cubicBezTo>
                  <a:pt x="279" y="363"/>
                  <a:pt x="279" y="363"/>
                  <a:pt x="279" y="363"/>
                </a:cubicBezTo>
                <a:cubicBezTo>
                  <a:pt x="279" y="362"/>
                  <a:pt x="280" y="363"/>
                  <a:pt x="280" y="363"/>
                </a:cubicBezTo>
                <a:cubicBezTo>
                  <a:pt x="280" y="363"/>
                  <a:pt x="281" y="363"/>
                  <a:pt x="282" y="362"/>
                </a:cubicBezTo>
                <a:cubicBezTo>
                  <a:pt x="282" y="362"/>
                  <a:pt x="282" y="362"/>
                  <a:pt x="283" y="362"/>
                </a:cubicBezTo>
                <a:cubicBezTo>
                  <a:pt x="283" y="361"/>
                  <a:pt x="283" y="361"/>
                  <a:pt x="282" y="361"/>
                </a:cubicBezTo>
                <a:cubicBezTo>
                  <a:pt x="282" y="361"/>
                  <a:pt x="282" y="361"/>
                  <a:pt x="282" y="361"/>
                </a:cubicBezTo>
                <a:cubicBezTo>
                  <a:pt x="282" y="360"/>
                  <a:pt x="282" y="360"/>
                  <a:pt x="282" y="360"/>
                </a:cubicBezTo>
                <a:cubicBezTo>
                  <a:pt x="282" y="360"/>
                  <a:pt x="281" y="360"/>
                  <a:pt x="281" y="359"/>
                </a:cubicBezTo>
                <a:cubicBezTo>
                  <a:pt x="281" y="359"/>
                  <a:pt x="281" y="358"/>
                  <a:pt x="281" y="358"/>
                </a:cubicBezTo>
                <a:cubicBezTo>
                  <a:pt x="281" y="357"/>
                  <a:pt x="281" y="357"/>
                  <a:pt x="281" y="357"/>
                </a:cubicBezTo>
                <a:cubicBezTo>
                  <a:pt x="281" y="357"/>
                  <a:pt x="281" y="356"/>
                  <a:pt x="281" y="356"/>
                </a:cubicBezTo>
                <a:cubicBezTo>
                  <a:pt x="281" y="356"/>
                  <a:pt x="281" y="355"/>
                  <a:pt x="281" y="355"/>
                </a:cubicBezTo>
                <a:cubicBezTo>
                  <a:pt x="281" y="354"/>
                  <a:pt x="281" y="354"/>
                  <a:pt x="281" y="354"/>
                </a:cubicBezTo>
                <a:cubicBezTo>
                  <a:pt x="281" y="353"/>
                  <a:pt x="280" y="353"/>
                  <a:pt x="280" y="353"/>
                </a:cubicBezTo>
                <a:cubicBezTo>
                  <a:pt x="280" y="352"/>
                  <a:pt x="280" y="352"/>
                  <a:pt x="280" y="352"/>
                </a:cubicBezTo>
                <a:cubicBezTo>
                  <a:pt x="280" y="352"/>
                  <a:pt x="279" y="351"/>
                  <a:pt x="279" y="351"/>
                </a:cubicBezTo>
                <a:cubicBezTo>
                  <a:pt x="278" y="351"/>
                  <a:pt x="278" y="352"/>
                  <a:pt x="277" y="352"/>
                </a:cubicBezTo>
                <a:cubicBezTo>
                  <a:pt x="276" y="352"/>
                  <a:pt x="276" y="351"/>
                  <a:pt x="275" y="351"/>
                </a:cubicBezTo>
                <a:cubicBezTo>
                  <a:pt x="275" y="351"/>
                  <a:pt x="275" y="350"/>
                  <a:pt x="275" y="350"/>
                </a:cubicBezTo>
                <a:close/>
                <a:moveTo>
                  <a:pt x="512" y="362"/>
                </a:moveTo>
                <a:cubicBezTo>
                  <a:pt x="512" y="363"/>
                  <a:pt x="512" y="363"/>
                  <a:pt x="512" y="363"/>
                </a:cubicBezTo>
                <a:cubicBezTo>
                  <a:pt x="512" y="363"/>
                  <a:pt x="512" y="363"/>
                  <a:pt x="512" y="363"/>
                </a:cubicBezTo>
                <a:cubicBezTo>
                  <a:pt x="511" y="364"/>
                  <a:pt x="510" y="365"/>
                  <a:pt x="511" y="366"/>
                </a:cubicBezTo>
                <a:cubicBezTo>
                  <a:pt x="512" y="366"/>
                  <a:pt x="513" y="364"/>
                  <a:pt x="514" y="364"/>
                </a:cubicBezTo>
                <a:cubicBezTo>
                  <a:pt x="515" y="364"/>
                  <a:pt x="515" y="364"/>
                  <a:pt x="515" y="364"/>
                </a:cubicBezTo>
                <a:cubicBezTo>
                  <a:pt x="515" y="364"/>
                  <a:pt x="516" y="364"/>
                  <a:pt x="516" y="363"/>
                </a:cubicBezTo>
                <a:cubicBezTo>
                  <a:pt x="516" y="363"/>
                  <a:pt x="515" y="362"/>
                  <a:pt x="515" y="362"/>
                </a:cubicBezTo>
                <a:cubicBezTo>
                  <a:pt x="516" y="361"/>
                  <a:pt x="516" y="361"/>
                  <a:pt x="517" y="361"/>
                </a:cubicBezTo>
                <a:cubicBezTo>
                  <a:pt x="517" y="361"/>
                  <a:pt x="517" y="360"/>
                  <a:pt x="517" y="360"/>
                </a:cubicBezTo>
                <a:cubicBezTo>
                  <a:pt x="517" y="359"/>
                  <a:pt x="517" y="359"/>
                  <a:pt x="518" y="358"/>
                </a:cubicBezTo>
                <a:cubicBezTo>
                  <a:pt x="519" y="357"/>
                  <a:pt x="520" y="355"/>
                  <a:pt x="522" y="354"/>
                </a:cubicBezTo>
                <a:cubicBezTo>
                  <a:pt x="522" y="354"/>
                  <a:pt x="523" y="353"/>
                  <a:pt x="523" y="353"/>
                </a:cubicBezTo>
                <a:cubicBezTo>
                  <a:pt x="523" y="353"/>
                  <a:pt x="522" y="352"/>
                  <a:pt x="522" y="352"/>
                </a:cubicBezTo>
                <a:cubicBezTo>
                  <a:pt x="522" y="353"/>
                  <a:pt x="522" y="353"/>
                  <a:pt x="522" y="353"/>
                </a:cubicBezTo>
                <a:cubicBezTo>
                  <a:pt x="521" y="353"/>
                  <a:pt x="521" y="353"/>
                  <a:pt x="521" y="352"/>
                </a:cubicBezTo>
                <a:cubicBezTo>
                  <a:pt x="521" y="352"/>
                  <a:pt x="521" y="352"/>
                  <a:pt x="521" y="352"/>
                </a:cubicBezTo>
                <a:cubicBezTo>
                  <a:pt x="521" y="352"/>
                  <a:pt x="520" y="351"/>
                  <a:pt x="520" y="351"/>
                </a:cubicBezTo>
                <a:cubicBezTo>
                  <a:pt x="519" y="351"/>
                  <a:pt x="520" y="352"/>
                  <a:pt x="519" y="352"/>
                </a:cubicBezTo>
                <a:cubicBezTo>
                  <a:pt x="519" y="353"/>
                  <a:pt x="519" y="353"/>
                  <a:pt x="519" y="354"/>
                </a:cubicBezTo>
                <a:cubicBezTo>
                  <a:pt x="519" y="354"/>
                  <a:pt x="519" y="354"/>
                  <a:pt x="519" y="354"/>
                </a:cubicBezTo>
                <a:cubicBezTo>
                  <a:pt x="519" y="355"/>
                  <a:pt x="518" y="355"/>
                  <a:pt x="518" y="355"/>
                </a:cubicBezTo>
                <a:cubicBezTo>
                  <a:pt x="517" y="356"/>
                  <a:pt x="516" y="357"/>
                  <a:pt x="515" y="358"/>
                </a:cubicBezTo>
                <a:cubicBezTo>
                  <a:pt x="515" y="359"/>
                  <a:pt x="514" y="360"/>
                  <a:pt x="513" y="361"/>
                </a:cubicBezTo>
                <a:cubicBezTo>
                  <a:pt x="513" y="361"/>
                  <a:pt x="512" y="361"/>
                  <a:pt x="512" y="361"/>
                </a:cubicBezTo>
                <a:cubicBezTo>
                  <a:pt x="512" y="362"/>
                  <a:pt x="512" y="362"/>
                  <a:pt x="512" y="362"/>
                </a:cubicBezTo>
                <a:cubicBezTo>
                  <a:pt x="512" y="362"/>
                  <a:pt x="512" y="362"/>
                  <a:pt x="512" y="362"/>
                </a:cubicBezTo>
                <a:close/>
                <a:moveTo>
                  <a:pt x="510" y="361"/>
                </a:moveTo>
                <a:cubicBezTo>
                  <a:pt x="510" y="361"/>
                  <a:pt x="510" y="361"/>
                  <a:pt x="510" y="361"/>
                </a:cubicBezTo>
                <a:cubicBezTo>
                  <a:pt x="511" y="360"/>
                  <a:pt x="511" y="360"/>
                  <a:pt x="511" y="360"/>
                </a:cubicBezTo>
                <a:cubicBezTo>
                  <a:pt x="511" y="360"/>
                  <a:pt x="511" y="359"/>
                  <a:pt x="511" y="359"/>
                </a:cubicBezTo>
                <a:cubicBezTo>
                  <a:pt x="511" y="359"/>
                  <a:pt x="511" y="359"/>
                  <a:pt x="511" y="359"/>
                </a:cubicBezTo>
                <a:cubicBezTo>
                  <a:pt x="511" y="358"/>
                  <a:pt x="510" y="358"/>
                  <a:pt x="510" y="358"/>
                </a:cubicBezTo>
                <a:cubicBezTo>
                  <a:pt x="510" y="358"/>
                  <a:pt x="510" y="359"/>
                  <a:pt x="510" y="359"/>
                </a:cubicBezTo>
                <a:cubicBezTo>
                  <a:pt x="510" y="359"/>
                  <a:pt x="510" y="359"/>
                  <a:pt x="510" y="360"/>
                </a:cubicBezTo>
                <a:cubicBezTo>
                  <a:pt x="509" y="360"/>
                  <a:pt x="509" y="360"/>
                  <a:pt x="509" y="360"/>
                </a:cubicBezTo>
                <a:cubicBezTo>
                  <a:pt x="509" y="361"/>
                  <a:pt x="508" y="361"/>
                  <a:pt x="508" y="361"/>
                </a:cubicBezTo>
                <a:cubicBezTo>
                  <a:pt x="509" y="361"/>
                  <a:pt x="509" y="362"/>
                  <a:pt x="510" y="361"/>
                </a:cubicBezTo>
                <a:cubicBezTo>
                  <a:pt x="510" y="361"/>
                  <a:pt x="510" y="361"/>
                  <a:pt x="510" y="361"/>
                </a:cubicBezTo>
                <a:close/>
                <a:moveTo>
                  <a:pt x="510" y="354"/>
                </a:moveTo>
                <a:cubicBezTo>
                  <a:pt x="511" y="355"/>
                  <a:pt x="512" y="354"/>
                  <a:pt x="512" y="355"/>
                </a:cubicBezTo>
                <a:cubicBezTo>
                  <a:pt x="512" y="355"/>
                  <a:pt x="512" y="355"/>
                  <a:pt x="512" y="354"/>
                </a:cubicBezTo>
                <a:cubicBezTo>
                  <a:pt x="512" y="354"/>
                  <a:pt x="512" y="353"/>
                  <a:pt x="512" y="353"/>
                </a:cubicBezTo>
                <a:cubicBezTo>
                  <a:pt x="512" y="353"/>
                  <a:pt x="512" y="353"/>
                  <a:pt x="513" y="352"/>
                </a:cubicBezTo>
                <a:cubicBezTo>
                  <a:pt x="513" y="352"/>
                  <a:pt x="513" y="352"/>
                  <a:pt x="513" y="352"/>
                </a:cubicBezTo>
                <a:cubicBezTo>
                  <a:pt x="513" y="351"/>
                  <a:pt x="514" y="351"/>
                  <a:pt x="513" y="351"/>
                </a:cubicBezTo>
                <a:cubicBezTo>
                  <a:pt x="513" y="350"/>
                  <a:pt x="513" y="350"/>
                  <a:pt x="513" y="350"/>
                </a:cubicBezTo>
                <a:cubicBezTo>
                  <a:pt x="513" y="350"/>
                  <a:pt x="513" y="350"/>
                  <a:pt x="513" y="350"/>
                </a:cubicBezTo>
                <a:cubicBezTo>
                  <a:pt x="513" y="350"/>
                  <a:pt x="513" y="349"/>
                  <a:pt x="513" y="349"/>
                </a:cubicBezTo>
                <a:cubicBezTo>
                  <a:pt x="513" y="349"/>
                  <a:pt x="513" y="349"/>
                  <a:pt x="513" y="349"/>
                </a:cubicBezTo>
                <a:cubicBezTo>
                  <a:pt x="513" y="349"/>
                  <a:pt x="513" y="348"/>
                  <a:pt x="513" y="348"/>
                </a:cubicBezTo>
                <a:cubicBezTo>
                  <a:pt x="513" y="348"/>
                  <a:pt x="513" y="348"/>
                  <a:pt x="513" y="348"/>
                </a:cubicBezTo>
                <a:cubicBezTo>
                  <a:pt x="513" y="348"/>
                  <a:pt x="513" y="348"/>
                  <a:pt x="512" y="348"/>
                </a:cubicBezTo>
                <a:cubicBezTo>
                  <a:pt x="512" y="349"/>
                  <a:pt x="511" y="349"/>
                  <a:pt x="511" y="350"/>
                </a:cubicBezTo>
                <a:cubicBezTo>
                  <a:pt x="511" y="350"/>
                  <a:pt x="511" y="350"/>
                  <a:pt x="511" y="350"/>
                </a:cubicBezTo>
                <a:cubicBezTo>
                  <a:pt x="511" y="351"/>
                  <a:pt x="511" y="352"/>
                  <a:pt x="510" y="353"/>
                </a:cubicBezTo>
                <a:cubicBezTo>
                  <a:pt x="510" y="353"/>
                  <a:pt x="510" y="354"/>
                  <a:pt x="510" y="354"/>
                </a:cubicBezTo>
                <a:close/>
                <a:moveTo>
                  <a:pt x="533" y="350"/>
                </a:moveTo>
                <a:cubicBezTo>
                  <a:pt x="534" y="350"/>
                  <a:pt x="533" y="350"/>
                  <a:pt x="533" y="349"/>
                </a:cubicBezTo>
                <a:cubicBezTo>
                  <a:pt x="533" y="349"/>
                  <a:pt x="532" y="349"/>
                  <a:pt x="532" y="349"/>
                </a:cubicBezTo>
                <a:cubicBezTo>
                  <a:pt x="532" y="349"/>
                  <a:pt x="531" y="349"/>
                  <a:pt x="531" y="349"/>
                </a:cubicBezTo>
                <a:cubicBezTo>
                  <a:pt x="531" y="350"/>
                  <a:pt x="530" y="349"/>
                  <a:pt x="530" y="349"/>
                </a:cubicBezTo>
                <a:cubicBezTo>
                  <a:pt x="530" y="349"/>
                  <a:pt x="530" y="349"/>
                  <a:pt x="530" y="348"/>
                </a:cubicBezTo>
                <a:cubicBezTo>
                  <a:pt x="530" y="348"/>
                  <a:pt x="530" y="348"/>
                  <a:pt x="529" y="348"/>
                </a:cubicBezTo>
                <a:cubicBezTo>
                  <a:pt x="529" y="348"/>
                  <a:pt x="529" y="348"/>
                  <a:pt x="528" y="348"/>
                </a:cubicBezTo>
                <a:cubicBezTo>
                  <a:pt x="528" y="348"/>
                  <a:pt x="528" y="348"/>
                  <a:pt x="528" y="348"/>
                </a:cubicBezTo>
                <a:cubicBezTo>
                  <a:pt x="527" y="347"/>
                  <a:pt x="527" y="347"/>
                  <a:pt x="527" y="347"/>
                </a:cubicBezTo>
                <a:cubicBezTo>
                  <a:pt x="526" y="348"/>
                  <a:pt x="526" y="348"/>
                  <a:pt x="526" y="349"/>
                </a:cubicBezTo>
                <a:cubicBezTo>
                  <a:pt x="526" y="349"/>
                  <a:pt x="526" y="350"/>
                  <a:pt x="526" y="350"/>
                </a:cubicBezTo>
                <a:cubicBezTo>
                  <a:pt x="525" y="350"/>
                  <a:pt x="525" y="351"/>
                  <a:pt x="525" y="351"/>
                </a:cubicBezTo>
                <a:cubicBezTo>
                  <a:pt x="526" y="351"/>
                  <a:pt x="526" y="351"/>
                  <a:pt x="526" y="351"/>
                </a:cubicBezTo>
                <a:cubicBezTo>
                  <a:pt x="526" y="351"/>
                  <a:pt x="526" y="351"/>
                  <a:pt x="526" y="351"/>
                </a:cubicBezTo>
                <a:cubicBezTo>
                  <a:pt x="526" y="351"/>
                  <a:pt x="527" y="350"/>
                  <a:pt x="527" y="351"/>
                </a:cubicBezTo>
                <a:cubicBezTo>
                  <a:pt x="527" y="351"/>
                  <a:pt x="528" y="351"/>
                  <a:pt x="528" y="351"/>
                </a:cubicBezTo>
                <a:cubicBezTo>
                  <a:pt x="528" y="351"/>
                  <a:pt x="528" y="351"/>
                  <a:pt x="528" y="351"/>
                </a:cubicBezTo>
                <a:cubicBezTo>
                  <a:pt x="528" y="351"/>
                  <a:pt x="527" y="352"/>
                  <a:pt x="527" y="352"/>
                </a:cubicBezTo>
                <a:cubicBezTo>
                  <a:pt x="527" y="352"/>
                  <a:pt x="527" y="353"/>
                  <a:pt x="526" y="353"/>
                </a:cubicBezTo>
                <a:cubicBezTo>
                  <a:pt x="526" y="353"/>
                  <a:pt x="526" y="353"/>
                  <a:pt x="526" y="353"/>
                </a:cubicBezTo>
                <a:cubicBezTo>
                  <a:pt x="526" y="354"/>
                  <a:pt x="527" y="354"/>
                  <a:pt x="527" y="354"/>
                </a:cubicBezTo>
                <a:cubicBezTo>
                  <a:pt x="528" y="354"/>
                  <a:pt x="529" y="352"/>
                  <a:pt x="530" y="351"/>
                </a:cubicBezTo>
                <a:cubicBezTo>
                  <a:pt x="531" y="351"/>
                  <a:pt x="532" y="351"/>
                  <a:pt x="532" y="351"/>
                </a:cubicBezTo>
                <a:cubicBezTo>
                  <a:pt x="533" y="351"/>
                  <a:pt x="533" y="351"/>
                  <a:pt x="533" y="350"/>
                </a:cubicBezTo>
                <a:close/>
                <a:moveTo>
                  <a:pt x="531" y="348"/>
                </a:moveTo>
                <a:cubicBezTo>
                  <a:pt x="531" y="348"/>
                  <a:pt x="531" y="348"/>
                  <a:pt x="531" y="348"/>
                </a:cubicBezTo>
                <a:cubicBezTo>
                  <a:pt x="532" y="348"/>
                  <a:pt x="534" y="348"/>
                  <a:pt x="534" y="347"/>
                </a:cubicBezTo>
                <a:cubicBezTo>
                  <a:pt x="535" y="346"/>
                  <a:pt x="536" y="346"/>
                  <a:pt x="537" y="345"/>
                </a:cubicBezTo>
                <a:cubicBezTo>
                  <a:pt x="537" y="345"/>
                  <a:pt x="537" y="345"/>
                  <a:pt x="537" y="345"/>
                </a:cubicBezTo>
                <a:cubicBezTo>
                  <a:pt x="537" y="345"/>
                  <a:pt x="536" y="345"/>
                  <a:pt x="536" y="345"/>
                </a:cubicBezTo>
                <a:cubicBezTo>
                  <a:pt x="535" y="345"/>
                  <a:pt x="534" y="346"/>
                  <a:pt x="533" y="346"/>
                </a:cubicBezTo>
                <a:cubicBezTo>
                  <a:pt x="533" y="347"/>
                  <a:pt x="532" y="347"/>
                  <a:pt x="532" y="347"/>
                </a:cubicBezTo>
                <a:cubicBezTo>
                  <a:pt x="532" y="347"/>
                  <a:pt x="531" y="347"/>
                  <a:pt x="531" y="347"/>
                </a:cubicBezTo>
                <a:cubicBezTo>
                  <a:pt x="531" y="347"/>
                  <a:pt x="531" y="347"/>
                  <a:pt x="531" y="348"/>
                </a:cubicBezTo>
                <a:close/>
                <a:moveTo>
                  <a:pt x="690" y="436"/>
                </a:moveTo>
                <a:cubicBezTo>
                  <a:pt x="691" y="436"/>
                  <a:pt x="691" y="437"/>
                  <a:pt x="692" y="437"/>
                </a:cubicBezTo>
                <a:cubicBezTo>
                  <a:pt x="692" y="437"/>
                  <a:pt x="691" y="437"/>
                  <a:pt x="691" y="437"/>
                </a:cubicBezTo>
                <a:cubicBezTo>
                  <a:pt x="690" y="437"/>
                  <a:pt x="690" y="437"/>
                  <a:pt x="690" y="437"/>
                </a:cubicBezTo>
                <a:cubicBezTo>
                  <a:pt x="690" y="437"/>
                  <a:pt x="690" y="437"/>
                  <a:pt x="690" y="437"/>
                </a:cubicBezTo>
                <a:cubicBezTo>
                  <a:pt x="691" y="437"/>
                  <a:pt x="691" y="438"/>
                  <a:pt x="691" y="438"/>
                </a:cubicBezTo>
                <a:cubicBezTo>
                  <a:pt x="691" y="439"/>
                  <a:pt x="692" y="439"/>
                  <a:pt x="693" y="438"/>
                </a:cubicBezTo>
                <a:cubicBezTo>
                  <a:pt x="693" y="439"/>
                  <a:pt x="693" y="439"/>
                  <a:pt x="693" y="439"/>
                </a:cubicBezTo>
                <a:cubicBezTo>
                  <a:pt x="693" y="440"/>
                  <a:pt x="693" y="440"/>
                  <a:pt x="693" y="440"/>
                </a:cubicBezTo>
                <a:cubicBezTo>
                  <a:pt x="693" y="440"/>
                  <a:pt x="693" y="441"/>
                  <a:pt x="692" y="441"/>
                </a:cubicBezTo>
                <a:cubicBezTo>
                  <a:pt x="692" y="442"/>
                  <a:pt x="692" y="442"/>
                  <a:pt x="693" y="443"/>
                </a:cubicBezTo>
                <a:cubicBezTo>
                  <a:pt x="693" y="443"/>
                  <a:pt x="693" y="444"/>
                  <a:pt x="693" y="445"/>
                </a:cubicBezTo>
                <a:cubicBezTo>
                  <a:pt x="693" y="445"/>
                  <a:pt x="693" y="446"/>
                  <a:pt x="693" y="447"/>
                </a:cubicBezTo>
                <a:cubicBezTo>
                  <a:pt x="693" y="447"/>
                  <a:pt x="693" y="447"/>
                  <a:pt x="694" y="447"/>
                </a:cubicBezTo>
                <a:cubicBezTo>
                  <a:pt x="694" y="447"/>
                  <a:pt x="695" y="447"/>
                  <a:pt x="695" y="447"/>
                </a:cubicBezTo>
                <a:cubicBezTo>
                  <a:pt x="696" y="447"/>
                  <a:pt x="696" y="447"/>
                  <a:pt x="696" y="447"/>
                </a:cubicBezTo>
                <a:cubicBezTo>
                  <a:pt x="696" y="446"/>
                  <a:pt x="696" y="446"/>
                  <a:pt x="696" y="446"/>
                </a:cubicBezTo>
                <a:cubicBezTo>
                  <a:pt x="696" y="446"/>
                  <a:pt x="697" y="446"/>
                  <a:pt x="697" y="446"/>
                </a:cubicBezTo>
                <a:cubicBezTo>
                  <a:pt x="697" y="446"/>
                  <a:pt x="697" y="447"/>
                  <a:pt x="697" y="447"/>
                </a:cubicBezTo>
                <a:cubicBezTo>
                  <a:pt x="698" y="446"/>
                  <a:pt x="698" y="447"/>
                  <a:pt x="699" y="447"/>
                </a:cubicBezTo>
                <a:cubicBezTo>
                  <a:pt x="699" y="447"/>
                  <a:pt x="700" y="447"/>
                  <a:pt x="700" y="446"/>
                </a:cubicBezTo>
                <a:cubicBezTo>
                  <a:pt x="700" y="446"/>
                  <a:pt x="700" y="445"/>
                  <a:pt x="700" y="445"/>
                </a:cubicBezTo>
                <a:cubicBezTo>
                  <a:pt x="700" y="445"/>
                  <a:pt x="700" y="445"/>
                  <a:pt x="700" y="445"/>
                </a:cubicBezTo>
                <a:cubicBezTo>
                  <a:pt x="700" y="445"/>
                  <a:pt x="700" y="444"/>
                  <a:pt x="700" y="444"/>
                </a:cubicBezTo>
                <a:cubicBezTo>
                  <a:pt x="700" y="444"/>
                  <a:pt x="700" y="444"/>
                  <a:pt x="700" y="444"/>
                </a:cubicBezTo>
                <a:cubicBezTo>
                  <a:pt x="700" y="443"/>
                  <a:pt x="700" y="443"/>
                  <a:pt x="700" y="443"/>
                </a:cubicBezTo>
                <a:cubicBezTo>
                  <a:pt x="700" y="443"/>
                  <a:pt x="699" y="443"/>
                  <a:pt x="699" y="443"/>
                </a:cubicBezTo>
                <a:cubicBezTo>
                  <a:pt x="699" y="442"/>
                  <a:pt x="699" y="442"/>
                  <a:pt x="698" y="443"/>
                </a:cubicBezTo>
                <a:cubicBezTo>
                  <a:pt x="698" y="442"/>
                  <a:pt x="698" y="442"/>
                  <a:pt x="698" y="442"/>
                </a:cubicBezTo>
                <a:cubicBezTo>
                  <a:pt x="698" y="442"/>
                  <a:pt x="699" y="442"/>
                  <a:pt x="699" y="441"/>
                </a:cubicBezTo>
                <a:cubicBezTo>
                  <a:pt x="699" y="441"/>
                  <a:pt x="699" y="440"/>
                  <a:pt x="698" y="440"/>
                </a:cubicBezTo>
                <a:cubicBezTo>
                  <a:pt x="697" y="440"/>
                  <a:pt x="697" y="440"/>
                  <a:pt x="697" y="440"/>
                </a:cubicBezTo>
                <a:cubicBezTo>
                  <a:pt x="697" y="439"/>
                  <a:pt x="697" y="439"/>
                  <a:pt x="697" y="439"/>
                </a:cubicBezTo>
                <a:cubicBezTo>
                  <a:pt x="697" y="439"/>
                  <a:pt x="697" y="438"/>
                  <a:pt x="697" y="438"/>
                </a:cubicBezTo>
                <a:cubicBezTo>
                  <a:pt x="697" y="439"/>
                  <a:pt x="698" y="438"/>
                  <a:pt x="698" y="439"/>
                </a:cubicBezTo>
                <a:cubicBezTo>
                  <a:pt x="698" y="439"/>
                  <a:pt x="698" y="439"/>
                  <a:pt x="698" y="439"/>
                </a:cubicBezTo>
                <a:cubicBezTo>
                  <a:pt x="698" y="440"/>
                  <a:pt x="699" y="440"/>
                  <a:pt x="699" y="441"/>
                </a:cubicBezTo>
                <a:cubicBezTo>
                  <a:pt x="699" y="441"/>
                  <a:pt x="699" y="441"/>
                  <a:pt x="699" y="441"/>
                </a:cubicBezTo>
                <a:cubicBezTo>
                  <a:pt x="700" y="442"/>
                  <a:pt x="701" y="442"/>
                  <a:pt x="701" y="443"/>
                </a:cubicBezTo>
                <a:cubicBezTo>
                  <a:pt x="701" y="443"/>
                  <a:pt x="701" y="444"/>
                  <a:pt x="702" y="443"/>
                </a:cubicBezTo>
                <a:cubicBezTo>
                  <a:pt x="702" y="443"/>
                  <a:pt x="702" y="442"/>
                  <a:pt x="702" y="442"/>
                </a:cubicBezTo>
                <a:cubicBezTo>
                  <a:pt x="702" y="441"/>
                  <a:pt x="702" y="441"/>
                  <a:pt x="702" y="441"/>
                </a:cubicBezTo>
                <a:cubicBezTo>
                  <a:pt x="702" y="441"/>
                  <a:pt x="702" y="441"/>
                  <a:pt x="702" y="441"/>
                </a:cubicBezTo>
                <a:cubicBezTo>
                  <a:pt x="702" y="440"/>
                  <a:pt x="702" y="440"/>
                  <a:pt x="702" y="440"/>
                </a:cubicBezTo>
                <a:cubicBezTo>
                  <a:pt x="702" y="440"/>
                  <a:pt x="703" y="441"/>
                  <a:pt x="702" y="441"/>
                </a:cubicBezTo>
                <a:cubicBezTo>
                  <a:pt x="702" y="442"/>
                  <a:pt x="703" y="442"/>
                  <a:pt x="703" y="443"/>
                </a:cubicBezTo>
                <a:cubicBezTo>
                  <a:pt x="702" y="443"/>
                  <a:pt x="702" y="443"/>
                  <a:pt x="702" y="444"/>
                </a:cubicBezTo>
                <a:cubicBezTo>
                  <a:pt x="702" y="444"/>
                  <a:pt x="702" y="444"/>
                  <a:pt x="701" y="444"/>
                </a:cubicBezTo>
                <a:cubicBezTo>
                  <a:pt x="701" y="444"/>
                  <a:pt x="701" y="444"/>
                  <a:pt x="701" y="444"/>
                </a:cubicBezTo>
                <a:cubicBezTo>
                  <a:pt x="701" y="444"/>
                  <a:pt x="701" y="445"/>
                  <a:pt x="701" y="446"/>
                </a:cubicBezTo>
                <a:cubicBezTo>
                  <a:pt x="701" y="446"/>
                  <a:pt x="702" y="446"/>
                  <a:pt x="702" y="445"/>
                </a:cubicBezTo>
                <a:cubicBezTo>
                  <a:pt x="702" y="445"/>
                  <a:pt x="702" y="445"/>
                  <a:pt x="702" y="444"/>
                </a:cubicBezTo>
                <a:cubicBezTo>
                  <a:pt x="702" y="445"/>
                  <a:pt x="702" y="445"/>
                  <a:pt x="702" y="445"/>
                </a:cubicBezTo>
                <a:cubicBezTo>
                  <a:pt x="702" y="446"/>
                  <a:pt x="702" y="446"/>
                  <a:pt x="703" y="446"/>
                </a:cubicBezTo>
                <a:cubicBezTo>
                  <a:pt x="703" y="446"/>
                  <a:pt x="704" y="446"/>
                  <a:pt x="704" y="446"/>
                </a:cubicBezTo>
                <a:cubicBezTo>
                  <a:pt x="704" y="446"/>
                  <a:pt x="705" y="446"/>
                  <a:pt x="705" y="446"/>
                </a:cubicBezTo>
                <a:cubicBezTo>
                  <a:pt x="705" y="445"/>
                  <a:pt x="705" y="445"/>
                  <a:pt x="705" y="445"/>
                </a:cubicBezTo>
                <a:cubicBezTo>
                  <a:pt x="705" y="445"/>
                  <a:pt x="705" y="445"/>
                  <a:pt x="705" y="445"/>
                </a:cubicBezTo>
                <a:cubicBezTo>
                  <a:pt x="705" y="444"/>
                  <a:pt x="705" y="445"/>
                  <a:pt x="705" y="445"/>
                </a:cubicBezTo>
                <a:cubicBezTo>
                  <a:pt x="705" y="445"/>
                  <a:pt x="705" y="445"/>
                  <a:pt x="706" y="445"/>
                </a:cubicBezTo>
                <a:cubicBezTo>
                  <a:pt x="706" y="445"/>
                  <a:pt x="707" y="445"/>
                  <a:pt x="707" y="444"/>
                </a:cubicBezTo>
                <a:cubicBezTo>
                  <a:pt x="707" y="444"/>
                  <a:pt x="708" y="444"/>
                  <a:pt x="707" y="443"/>
                </a:cubicBezTo>
                <a:cubicBezTo>
                  <a:pt x="707" y="443"/>
                  <a:pt x="706" y="443"/>
                  <a:pt x="706" y="442"/>
                </a:cubicBezTo>
                <a:cubicBezTo>
                  <a:pt x="706" y="442"/>
                  <a:pt x="706" y="442"/>
                  <a:pt x="706" y="442"/>
                </a:cubicBezTo>
                <a:cubicBezTo>
                  <a:pt x="705" y="442"/>
                  <a:pt x="705" y="441"/>
                  <a:pt x="705" y="440"/>
                </a:cubicBezTo>
                <a:cubicBezTo>
                  <a:pt x="704" y="440"/>
                  <a:pt x="704" y="439"/>
                  <a:pt x="703" y="439"/>
                </a:cubicBezTo>
                <a:cubicBezTo>
                  <a:pt x="702" y="439"/>
                  <a:pt x="702" y="439"/>
                  <a:pt x="702" y="440"/>
                </a:cubicBezTo>
                <a:cubicBezTo>
                  <a:pt x="702" y="439"/>
                  <a:pt x="702" y="439"/>
                  <a:pt x="702" y="439"/>
                </a:cubicBezTo>
                <a:cubicBezTo>
                  <a:pt x="701" y="439"/>
                  <a:pt x="702" y="438"/>
                  <a:pt x="702" y="438"/>
                </a:cubicBezTo>
                <a:cubicBezTo>
                  <a:pt x="703" y="438"/>
                  <a:pt x="702" y="438"/>
                  <a:pt x="702" y="437"/>
                </a:cubicBezTo>
                <a:cubicBezTo>
                  <a:pt x="702" y="437"/>
                  <a:pt x="702" y="437"/>
                  <a:pt x="702" y="436"/>
                </a:cubicBezTo>
                <a:cubicBezTo>
                  <a:pt x="702" y="436"/>
                  <a:pt x="702" y="436"/>
                  <a:pt x="702" y="436"/>
                </a:cubicBezTo>
                <a:cubicBezTo>
                  <a:pt x="701" y="435"/>
                  <a:pt x="701" y="435"/>
                  <a:pt x="700" y="434"/>
                </a:cubicBezTo>
                <a:cubicBezTo>
                  <a:pt x="700" y="434"/>
                  <a:pt x="700" y="434"/>
                  <a:pt x="700" y="434"/>
                </a:cubicBezTo>
                <a:cubicBezTo>
                  <a:pt x="699" y="434"/>
                  <a:pt x="699" y="434"/>
                  <a:pt x="698" y="434"/>
                </a:cubicBezTo>
                <a:cubicBezTo>
                  <a:pt x="697" y="434"/>
                  <a:pt x="697" y="434"/>
                  <a:pt x="698" y="435"/>
                </a:cubicBezTo>
                <a:cubicBezTo>
                  <a:pt x="698" y="435"/>
                  <a:pt x="698" y="435"/>
                  <a:pt x="698" y="436"/>
                </a:cubicBezTo>
                <a:cubicBezTo>
                  <a:pt x="697" y="435"/>
                  <a:pt x="697" y="434"/>
                  <a:pt x="696" y="434"/>
                </a:cubicBezTo>
                <a:cubicBezTo>
                  <a:pt x="696" y="434"/>
                  <a:pt x="696" y="434"/>
                  <a:pt x="696" y="434"/>
                </a:cubicBezTo>
                <a:cubicBezTo>
                  <a:pt x="696" y="434"/>
                  <a:pt x="695" y="433"/>
                  <a:pt x="695" y="433"/>
                </a:cubicBezTo>
                <a:cubicBezTo>
                  <a:pt x="694" y="433"/>
                  <a:pt x="694" y="433"/>
                  <a:pt x="693" y="433"/>
                </a:cubicBezTo>
                <a:cubicBezTo>
                  <a:pt x="692" y="433"/>
                  <a:pt x="692" y="433"/>
                  <a:pt x="692" y="432"/>
                </a:cubicBezTo>
                <a:cubicBezTo>
                  <a:pt x="691" y="432"/>
                  <a:pt x="690" y="432"/>
                  <a:pt x="689" y="433"/>
                </a:cubicBezTo>
                <a:cubicBezTo>
                  <a:pt x="688" y="433"/>
                  <a:pt x="688" y="433"/>
                  <a:pt x="689" y="434"/>
                </a:cubicBezTo>
                <a:cubicBezTo>
                  <a:pt x="689" y="435"/>
                  <a:pt x="690" y="435"/>
                  <a:pt x="690" y="436"/>
                </a:cubicBezTo>
                <a:close/>
                <a:moveTo>
                  <a:pt x="690" y="449"/>
                </a:moveTo>
                <a:cubicBezTo>
                  <a:pt x="690" y="449"/>
                  <a:pt x="690" y="449"/>
                  <a:pt x="690" y="448"/>
                </a:cubicBezTo>
                <a:cubicBezTo>
                  <a:pt x="690" y="448"/>
                  <a:pt x="690" y="448"/>
                  <a:pt x="690" y="448"/>
                </a:cubicBezTo>
                <a:cubicBezTo>
                  <a:pt x="690" y="448"/>
                  <a:pt x="690" y="448"/>
                  <a:pt x="689" y="447"/>
                </a:cubicBezTo>
                <a:cubicBezTo>
                  <a:pt x="690" y="447"/>
                  <a:pt x="690" y="447"/>
                  <a:pt x="690" y="447"/>
                </a:cubicBezTo>
                <a:cubicBezTo>
                  <a:pt x="691" y="447"/>
                  <a:pt x="691" y="447"/>
                  <a:pt x="690" y="447"/>
                </a:cubicBezTo>
                <a:cubicBezTo>
                  <a:pt x="690" y="446"/>
                  <a:pt x="690" y="446"/>
                  <a:pt x="690" y="446"/>
                </a:cubicBezTo>
                <a:cubicBezTo>
                  <a:pt x="690" y="446"/>
                  <a:pt x="689" y="446"/>
                  <a:pt x="689" y="446"/>
                </a:cubicBezTo>
                <a:cubicBezTo>
                  <a:pt x="690" y="446"/>
                  <a:pt x="690" y="445"/>
                  <a:pt x="690" y="445"/>
                </a:cubicBezTo>
                <a:cubicBezTo>
                  <a:pt x="691" y="444"/>
                  <a:pt x="691" y="444"/>
                  <a:pt x="690" y="444"/>
                </a:cubicBezTo>
                <a:cubicBezTo>
                  <a:pt x="690" y="444"/>
                  <a:pt x="690" y="444"/>
                  <a:pt x="690" y="443"/>
                </a:cubicBezTo>
                <a:cubicBezTo>
                  <a:pt x="691" y="443"/>
                  <a:pt x="691" y="443"/>
                  <a:pt x="692" y="444"/>
                </a:cubicBezTo>
                <a:cubicBezTo>
                  <a:pt x="692" y="444"/>
                  <a:pt x="692" y="445"/>
                  <a:pt x="692" y="444"/>
                </a:cubicBezTo>
                <a:cubicBezTo>
                  <a:pt x="692" y="444"/>
                  <a:pt x="693" y="444"/>
                  <a:pt x="692" y="443"/>
                </a:cubicBezTo>
                <a:cubicBezTo>
                  <a:pt x="692" y="443"/>
                  <a:pt x="693" y="442"/>
                  <a:pt x="692" y="442"/>
                </a:cubicBezTo>
                <a:cubicBezTo>
                  <a:pt x="692" y="442"/>
                  <a:pt x="692" y="442"/>
                  <a:pt x="692" y="442"/>
                </a:cubicBezTo>
                <a:cubicBezTo>
                  <a:pt x="692" y="441"/>
                  <a:pt x="692" y="441"/>
                  <a:pt x="692" y="440"/>
                </a:cubicBezTo>
                <a:cubicBezTo>
                  <a:pt x="692" y="440"/>
                  <a:pt x="692" y="439"/>
                  <a:pt x="692" y="439"/>
                </a:cubicBezTo>
                <a:cubicBezTo>
                  <a:pt x="692" y="439"/>
                  <a:pt x="691" y="439"/>
                  <a:pt x="691" y="439"/>
                </a:cubicBezTo>
                <a:cubicBezTo>
                  <a:pt x="691" y="439"/>
                  <a:pt x="691" y="439"/>
                  <a:pt x="690" y="439"/>
                </a:cubicBezTo>
                <a:cubicBezTo>
                  <a:pt x="690" y="439"/>
                  <a:pt x="690" y="439"/>
                  <a:pt x="690" y="440"/>
                </a:cubicBezTo>
                <a:cubicBezTo>
                  <a:pt x="691" y="440"/>
                  <a:pt x="690" y="441"/>
                  <a:pt x="690" y="441"/>
                </a:cubicBezTo>
                <a:cubicBezTo>
                  <a:pt x="690" y="441"/>
                  <a:pt x="690" y="441"/>
                  <a:pt x="690" y="441"/>
                </a:cubicBezTo>
                <a:cubicBezTo>
                  <a:pt x="690" y="442"/>
                  <a:pt x="690" y="442"/>
                  <a:pt x="689" y="442"/>
                </a:cubicBezTo>
                <a:cubicBezTo>
                  <a:pt x="689" y="443"/>
                  <a:pt x="689" y="443"/>
                  <a:pt x="689" y="442"/>
                </a:cubicBezTo>
                <a:cubicBezTo>
                  <a:pt x="689" y="442"/>
                  <a:pt x="689" y="442"/>
                  <a:pt x="689" y="442"/>
                </a:cubicBezTo>
                <a:cubicBezTo>
                  <a:pt x="689" y="442"/>
                  <a:pt x="690" y="440"/>
                  <a:pt x="690" y="440"/>
                </a:cubicBezTo>
                <a:cubicBezTo>
                  <a:pt x="689" y="439"/>
                  <a:pt x="689" y="439"/>
                  <a:pt x="689" y="438"/>
                </a:cubicBezTo>
                <a:cubicBezTo>
                  <a:pt x="689" y="438"/>
                  <a:pt x="689" y="438"/>
                  <a:pt x="689" y="438"/>
                </a:cubicBezTo>
                <a:cubicBezTo>
                  <a:pt x="688" y="438"/>
                  <a:pt x="689" y="438"/>
                  <a:pt x="689" y="437"/>
                </a:cubicBezTo>
                <a:cubicBezTo>
                  <a:pt x="689" y="437"/>
                  <a:pt x="688" y="437"/>
                  <a:pt x="688" y="437"/>
                </a:cubicBezTo>
                <a:cubicBezTo>
                  <a:pt x="688" y="437"/>
                  <a:pt x="687" y="437"/>
                  <a:pt x="687" y="436"/>
                </a:cubicBezTo>
                <a:cubicBezTo>
                  <a:pt x="687" y="436"/>
                  <a:pt x="686" y="436"/>
                  <a:pt x="686" y="436"/>
                </a:cubicBezTo>
                <a:cubicBezTo>
                  <a:pt x="686" y="437"/>
                  <a:pt x="687" y="437"/>
                  <a:pt x="687" y="438"/>
                </a:cubicBezTo>
                <a:cubicBezTo>
                  <a:pt x="686" y="438"/>
                  <a:pt x="686" y="437"/>
                  <a:pt x="686" y="437"/>
                </a:cubicBezTo>
                <a:cubicBezTo>
                  <a:pt x="685" y="437"/>
                  <a:pt x="685" y="436"/>
                  <a:pt x="685" y="437"/>
                </a:cubicBezTo>
                <a:cubicBezTo>
                  <a:pt x="684" y="437"/>
                  <a:pt x="685" y="438"/>
                  <a:pt x="685" y="438"/>
                </a:cubicBezTo>
                <a:cubicBezTo>
                  <a:pt x="685" y="438"/>
                  <a:pt x="685" y="438"/>
                  <a:pt x="685" y="439"/>
                </a:cubicBezTo>
                <a:cubicBezTo>
                  <a:pt x="685" y="439"/>
                  <a:pt x="685" y="438"/>
                  <a:pt x="685" y="438"/>
                </a:cubicBezTo>
                <a:cubicBezTo>
                  <a:pt x="685" y="438"/>
                  <a:pt x="684" y="438"/>
                  <a:pt x="684" y="438"/>
                </a:cubicBezTo>
                <a:cubicBezTo>
                  <a:pt x="684" y="438"/>
                  <a:pt x="685" y="438"/>
                  <a:pt x="685" y="438"/>
                </a:cubicBezTo>
                <a:cubicBezTo>
                  <a:pt x="684" y="438"/>
                  <a:pt x="684" y="438"/>
                  <a:pt x="684" y="438"/>
                </a:cubicBezTo>
                <a:cubicBezTo>
                  <a:pt x="684" y="438"/>
                  <a:pt x="684" y="438"/>
                  <a:pt x="684" y="438"/>
                </a:cubicBezTo>
                <a:cubicBezTo>
                  <a:pt x="683" y="438"/>
                  <a:pt x="683" y="438"/>
                  <a:pt x="683" y="438"/>
                </a:cubicBezTo>
                <a:cubicBezTo>
                  <a:pt x="683" y="438"/>
                  <a:pt x="683" y="439"/>
                  <a:pt x="684" y="439"/>
                </a:cubicBezTo>
                <a:cubicBezTo>
                  <a:pt x="684" y="439"/>
                  <a:pt x="684" y="439"/>
                  <a:pt x="684" y="439"/>
                </a:cubicBezTo>
                <a:cubicBezTo>
                  <a:pt x="684" y="440"/>
                  <a:pt x="684" y="440"/>
                  <a:pt x="684" y="441"/>
                </a:cubicBezTo>
                <a:cubicBezTo>
                  <a:pt x="684" y="441"/>
                  <a:pt x="684" y="442"/>
                  <a:pt x="684" y="442"/>
                </a:cubicBezTo>
                <a:cubicBezTo>
                  <a:pt x="685" y="443"/>
                  <a:pt x="685" y="443"/>
                  <a:pt x="685" y="442"/>
                </a:cubicBezTo>
                <a:cubicBezTo>
                  <a:pt x="686" y="442"/>
                  <a:pt x="686" y="442"/>
                  <a:pt x="686" y="442"/>
                </a:cubicBezTo>
                <a:cubicBezTo>
                  <a:pt x="686" y="442"/>
                  <a:pt x="686" y="442"/>
                  <a:pt x="685" y="443"/>
                </a:cubicBezTo>
                <a:cubicBezTo>
                  <a:pt x="685" y="443"/>
                  <a:pt x="685" y="443"/>
                  <a:pt x="685" y="443"/>
                </a:cubicBezTo>
                <a:cubicBezTo>
                  <a:pt x="685" y="443"/>
                  <a:pt x="686" y="443"/>
                  <a:pt x="686" y="443"/>
                </a:cubicBezTo>
                <a:cubicBezTo>
                  <a:pt x="686" y="443"/>
                  <a:pt x="686" y="443"/>
                  <a:pt x="686" y="443"/>
                </a:cubicBezTo>
                <a:cubicBezTo>
                  <a:pt x="686" y="443"/>
                  <a:pt x="686" y="443"/>
                  <a:pt x="686" y="444"/>
                </a:cubicBezTo>
                <a:cubicBezTo>
                  <a:pt x="685" y="444"/>
                  <a:pt x="685" y="444"/>
                  <a:pt x="685" y="445"/>
                </a:cubicBezTo>
                <a:cubicBezTo>
                  <a:pt x="686" y="444"/>
                  <a:pt x="686" y="445"/>
                  <a:pt x="686" y="445"/>
                </a:cubicBezTo>
                <a:cubicBezTo>
                  <a:pt x="686" y="445"/>
                  <a:pt x="686" y="445"/>
                  <a:pt x="686" y="445"/>
                </a:cubicBezTo>
                <a:cubicBezTo>
                  <a:pt x="687" y="446"/>
                  <a:pt x="687" y="446"/>
                  <a:pt x="687" y="446"/>
                </a:cubicBezTo>
                <a:cubicBezTo>
                  <a:pt x="687" y="446"/>
                  <a:pt x="687" y="445"/>
                  <a:pt x="687" y="445"/>
                </a:cubicBezTo>
                <a:cubicBezTo>
                  <a:pt x="688" y="445"/>
                  <a:pt x="688" y="445"/>
                  <a:pt x="688" y="445"/>
                </a:cubicBezTo>
                <a:cubicBezTo>
                  <a:pt x="688" y="445"/>
                  <a:pt x="688" y="445"/>
                  <a:pt x="688" y="445"/>
                </a:cubicBezTo>
                <a:cubicBezTo>
                  <a:pt x="688" y="446"/>
                  <a:pt x="688" y="446"/>
                  <a:pt x="688" y="447"/>
                </a:cubicBezTo>
                <a:cubicBezTo>
                  <a:pt x="688" y="447"/>
                  <a:pt x="688" y="447"/>
                  <a:pt x="688" y="447"/>
                </a:cubicBezTo>
                <a:cubicBezTo>
                  <a:pt x="688" y="448"/>
                  <a:pt x="688" y="448"/>
                  <a:pt x="688" y="449"/>
                </a:cubicBezTo>
                <a:cubicBezTo>
                  <a:pt x="688" y="449"/>
                  <a:pt x="688" y="448"/>
                  <a:pt x="687" y="448"/>
                </a:cubicBezTo>
                <a:cubicBezTo>
                  <a:pt x="687" y="448"/>
                  <a:pt x="686" y="448"/>
                  <a:pt x="686" y="448"/>
                </a:cubicBezTo>
                <a:cubicBezTo>
                  <a:pt x="686" y="448"/>
                  <a:pt x="686" y="448"/>
                  <a:pt x="686" y="449"/>
                </a:cubicBezTo>
                <a:cubicBezTo>
                  <a:pt x="685" y="449"/>
                  <a:pt x="685" y="449"/>
                  <a:pt x="685" y="450"/>
                </a:cubicBezTo>
                <a:cubicBezTo>
                  <a:pt x="685" y="450"/>
                  <a:pt x="685" y="450"/>
                  <a:pt x="685" y="450"/>
                </a:cubicBezTo>
                <a:cubicBezTo>
                  <a:pt x="685" y="451"/>
                  <a:pt x="685" y="451"/>
                  <a:pt x="685" y="451"/>
                </a:cubicBezTo>
                <a:cubicBezTo>
                  <a:pt x="685" y="451"/>
                  <a:pt x="686" y="451"/>
                  <a:pt x="686" y="451"/>
                </a:cubicBezTo>
                <a:cubicBezTo>
                  <a:pt x="686" y="450"/>
                  <a:pt x="686" y="450"/>
                  <a:pt x="686" y="450"/>
                </a:cubicBezTo>
                <a:cubicBezTo>
                  <a:pt x="686" y="450"/>
                  <a:pt x="686" y="450"/>
                  <a:pt x="686" y="450"/>
                </a:cubicBezTo>
                <a:cubicBezTo>
                  <a:pt x="686" y="451"/>
                  <a:pt x="685" y="452"/>
                  <a:pt x="686" y="453"/>
                </a:cubicBezTo>
                <a:cubicBezTo>
                  <a:pt x="686" y="453"/>
                  <a:pt x="686" y="453"/>
                  <a:pt x="686" y="453"/>
                </a:cubicBezTo>
                <a:cubicBezTo>
                  <a:pt x="685" y="453"/>
                  <a:pt x="686" y="454"/>
                  <a:pt x="686" y="454"/>
                </a:cubicBezTo>
                <a:cubicBezTo>
                  <a:pt x="686" y="454"/>
                  <a:pt x="686" y="454"/>
                  <a:pt x="686" y="454"/>
                </a:cubicBezTo>
                <a:cubicBezTo>
                  <a:pt x="685" y="455"/>
                  <a:pt x="686" y="455"/>
                  <a:pt x="686" y="455"/>
                </a:cubicBezTo>
                <a:cubicBezTo>
                  <a:pt x="686" y="455"/>
                  <a:pt x="686" y="456"/>
                  <a:pt x="686" y="456"/>
                </a:cubicBezTo>
                <a:cubicBezTo>
                  <a:pt x="686" y="456"/>
                  <a:pt x="687" y="456"/>
                  <a:pt x="687" y="457"/>
                </a:cubicBezTo>
                <a:cubicBezTo>
                  <a:pt x="687" y="457"/>
                  <a:pt x="687" y="457"/>
                  <a:pt x="687" y="457"/>
                </a:cubicBezTo>
                <a:cubicBezTo>
                  <a:pt x="687" y="457"/>
                  <a:pt x="687" y="457"/>
                  <a:pt x="687" y="457"/>
                </a:cubicBezTo>
                <a:cubicBezTo>
                  <a:pt x="687" y="456"/>
                  <a:pt x="687" y="456"/>
                  <a:pt x="688" y="455"/>
                </a:cubicBezTo>
                <a:cubicBezTo>
                  <a:pt x="688" y="455"/>
                  <a:pt x="688" y="454"/>
                  <a:pt x="687" y="454"/>
                </a:cubicBezTo>
                <a:cubicBezTo>
                  <a:pt x="687" y="454"/>
                  <a:pt x="686" y="454"/>
                  <a:pt x="686" y="454"/>
                </a:cubicBezTo>
                <a:cubicBezTo>
                  <a:pt x="686" y="453"/>
                  <a:pt x="687" y="453"/>
                  <a:pt x="687" y="454"/>
                </a:cubicBezTo>
                <a:cubicBezTo>
                  <a:pt x="687" y="454"/>
                  <a:pt x="688" y="453"/>
                  <a:pt x="688" y="453"/>
                </a:cubicBezTo>
                <a:cubicBezTo>
                  <a:pt x="688" y="453"/>
                  <a:pt x="687" y="452"/>
                  <a:pt x="688" y="452"/>
                </a:cubicBezTo>
                <a:cubicBezTo>
                  <a:pt x="688" y="452"/>
                  <a:pt x="688" y="451"/>
                  <a:pt x="688" y="451"/>
                </a:cubicBezTo>
                <a:cubicBezTo>
                  <a:pt x="688" y="451"/>
                  <a:pt x="688" y="450"/>
                  <a:pt x="688" y="450"/>
                </a:cubicBezTo>
                <a:cubicBezTo>
                  <a:pt x="688" y="450"/>
                  <a:pt x="688" y="451"/>
                  <a:pt x="688" y="451"/>
                </a:cubicBezTo>
                <a:cubicBezTo>
                  <a:pt x="688" y="451"/>
                  <a:pt x="688" y="451"/>
                  <a:pt x="688" y="451"/>
                </a:cubicBezTo>
                <a:cubicBezTo>
                  <a:pt x="688" y="452"/>
                  <a:pt x="688" y="453"/>
                  <a:pt x="688" y="455"/>
                </a:cubicBezTo>
                <a:cubicBezTo>
                  <a:pt x="688" y="455"/>
                  <a:pt x="689" y="455"/>
                  <a:pt x="689" y="455"/>
                </a:cubicBezTo>
                <a:cubicBezTo>
                  <a:pt x="689" y="456"/>
                  <a:pt x="689" y="455"/>
                  <a:pt x="689" y="455"/>
                </a:cubicBezTo>
                <a:cubicBezTo>
                  <a:pt x="690" y="454"/>
                  <a:pt x="690" y="454"/>
                  <a:pt x="689" y="453"/>
                </a:cubicBezTo>
                <a:cubicBezTo>
                  <a:pt x="689" y="453"/>
                  <a:pt x="689" y="453"/>
                  <a:pt x="690" y="452"/>
                </a:cubicBezTo>
                <a:cubicBezTo>
                  <a:pt x="690" y="452"/>
                  <a:pt x="690" y="452"/>
                  <a:pt x="690" y="452"/>
                </a:cubicBezTo>
                <a:cubicBezTo>
                  <a:pt x="690" y="452"/>
                  <a:pt x="690" y="451"/>
                  <a:pt x="690" y="451"/>
                </a:cubicBezTo>
                <a:cubicBezTo>
                  <a:pt x="689" y="451"/>
                  <a:pt x="689" y="451"/>
                  <a:pt x="689" y="451"/>
                </a:cubicBezTo>
                <a:cubicBezTo>
                  <a:pt x="689" y="451"/>
                  <a:pt x="689" y="451"/>
                  <a:pt x="689" y="451"/>
                </a:cubicBezTo>
                <a:cubicBezTo>
                  <a:pt x="689" y="450"/>
                  <a:pt x="689" y="450"/>
                  <a:pt x="689" y="450"/>
                </a:cubicBezTo>
                <a:cubicBezTo>
                  <a:pt x="689" y="450"/>
                  <a:pt x="689" y="450"/>
                  <a:pt x="689" y="450"/>
                </a:cubicBezTo>
                <a:cubicBezTo>
                  <a:pt x="689" y="450"/>
                  <a:pt x="690" y="450"/>
                  <a:pt x="690" y="450"/>
                </a:cubicBezTo>
                <a:cubicBezTo>
                  <a:pt x="690" y="450"/>
                  <a:pt x="690" y="451"/>
                  <a:pt x="690" y="451"/>
                </a:cubicBezTo>
                <a:cubicBezTo>
                  <a:pt x="690" y="451"/>
                  <a:pt x="690" y="451"/>
                  <a:pt x="691" y="450"/>
                </a:cubicBezTo>
                <a:cubicBezTo>
                  <a:pt x="691" y="450"/>
                  <a:pt x="691" y="450"/>
                  <a:pt x="690" y="449"/>
                </a:cubicBezTo>
                <a:close/>
                <a:moveTo>
                  <a:pt x="705" y="487"/>
                </a:moveTo>
                <a:cubicBezTo>
                  <a:pt x="705" y="486"/>
                  <a:pt x="705" y="486"/>
                  <a:pt x="705" y="486"/>
                </a:cubicBezTo>
                <a:cubicBezTo>
                  <a:pt x="705" y="486"/>
                  <a:pt x="705" y="485"/>
                  <a:pt x="705" y="485"/>
                </a:cubicBezTo>
                <a:cubicBezTo>
                  <a:pt x="705" y="485"/>
                  <a:pt x="705" y="484"/>
                  <a:pt x="705" y="484"/>
                </a:cubicBezTo>
                <a:cubicBezTo>
                  <a:pt x="704" y="484"/>
                  <a:pt x="704" y="483"/>
                  <a:pt x="704" y="484"/>
                </a:cubicBezTo>
                <a:cubicBezTo>
                  <a:pt x="704" y="483"/>
                  <a:pt x="704" y="482"/>
                  <a:pt x="703" y="482"/>
                </a:cubicBezTo>
                <a:cubicBezTo>
                  <a:pt x="703" y="482"/>
                  <a:pt x="703" y="481"/>
                  <a:pt x="702" y="481"/>
                </a:cubicBezTo>
                <a:cubicBezTo>
                  <a:pt x="702" y="481"/>
                  <a:pt x="702" y="481"/>
                  <a:pt x="702" y="481"/>
                </a:cubicBezTo>
                <a:cubicBezTo>
                  <a:pt x="702" y="480"/>
                  <a:pt x="702" y="480"/>
                  <a:pt x="702" y="480"/>
                </a:cubicBezTo>
                <a:cubicBezTo>
                  <a:pt x="702" y="479"/>
                  <a:pt x="701" y="479"/>
                  <a:pt x="701" y="479"/>
                </a:cubicBezTo>
                <a:cubicBezTo>
                  <a:pt x="701" y="479"/>
                  <a:pt x="701" y="479"/>
                  <a:pt x="701" y="479"/>
                </a:cubicBezTo>
                <a:cubicBezTo>
                  <a:pt x="701" y="478"/>
                  <a:pt x="701" y="478"/>
                  <a:pt x="701" y="478"/>
                </a:cubicBezTo>
                <a:cubicBezTo>
                  <a:pt x="701" y="478"/>
                  <a:pt x="700" y="478"/>
                  <a:pt x="700" y="478"/>
                </a:cubicBezTo>
                <a:cubicBezTo>
                  <a:pt x="701" y="478"/>
                  <a:pt x="701" y="478"/>
                  <a:pt x="701" y="478"/>
                </a:cubicBezTo>
                <a:cubicBezTo>
                  <a:pt x="701" y="478"/>
                  <a:pt x="701" y="478"/>
                  <a:pt x="701" y="478"/>
                </a:cubicBezTo>
                <a:cubicBezTo>
                  <a:pt x="702" y="478"/>
                  <a:pt x="701" y="477"/>
                  <a:pt x="701" y="477"/>
                </a:cubicBezTo>
                <a:cubicBezTo>
                  <a:pt x="701" y="477"/>
                  <a:pt x="701" y="477"/>
                  <a:pt x="701" y="477"/>
                </a:cubicBezTo>
                <a:cubicBezTo>
                  <a:pt x="701" y="477"/>
                  <a:pt x="700" y="476"/>
                  <a:pt x="700" y="476"/>
                </a:cubicBezTo>
                <a:cubicBezTo>
                  <a:pt x="701" y="476"/>
                  <a:pt x="700" y="476"/>
                  <a:pt x="700" y="476"/>
                </a:cubicBezTo>
                <a:cubicBezTo>
                  <a:pt x="700" y="475"/>
                  <a:pt x="700" y="475"/>
                  <a:pt x="700" y="475"/>
                </a:cubicBezTo>
                <a:cubicBezTo>
                  <a:pt x="700" y="475"/>
                  <a:pt x="700" y="474"/>
                  <a:pt x="700" y="474"/>
                </a:cubicBezTo>
                <a:cubicBezTo>
                  <a:pt x="699" y="474"/>
                  <a:pt x="699" y="474"/>
                  <a:pt x="699" y="475"/>
                </a:cubicBezTo>
                <a:cubicBezTo>
                  <a:pt x="699" y="475"/>
                  <a:pt x="699" y="475"/>
                  <a:pt x="699" y="475"/>
                </a:cubicBezTo>
                <a:cubicBezTo>
                  <a:pt x="699" y="476"/>
                  <a:pt x="699" y="476"/>
                  <a:pt x="699" y="476"/>
                </a:cubicBezTo>
                <a:cubicBezTo>
                  <a:pt x="699" y="476"/>
                  <a:pt x="699" y="477"/>
                  <a:pt x="699" y="477"/>
                </a:cubicBezTo>
                <a:cubicBezTo>
                  <a:pt x="699" y="477"/>
                  <a:pt x="699" y="477"/>
                  <a:pt x="700" y="478"/>
                </a:cubicBezTo>
                <a:cubicBezTo>
                  <a:pt x="699" y="478"/>
                  <a:pt x="699" y="478"/>
                  <a:pt x="699" y="478"/>
                </a:cubicBezTo>
                <a:cubicBezTo>
                  <a:pt x="699" y="478"/>
                  <a:pt x="699" y="478"/>
                  <a:pt x="699" y="478"/>
                </a:cubicBezTo>
                <a:cubicBezTo>
                  <a:pt x="699" y="478"/>
                  <a:pt x="699" y="479"/>
                  <a:pt x="699" y="479"/>
                </a:cubicBezTo>
                <a:cubicBezTo>
                  <a:pt x="698" y="479"/>
                  <a:pt x="699" y="479"/>
                  <a:pt x="699" y="480"/>
                </a:cubicBezTo>
                <a:cubicBezTo>
                  <a:pt x="699" y="480"/>
                  <a:pt x="700" y="480"/>
                  <a:pt x="700" y="480"/>
                </a:cubicBezTo>
                <a:cubicBezTo>
                  <a:pt x="699" y="481"/>
                  <a:pt x="700" y="481"/>
                  <a:pt x="701" y="481"/>
                </a:cubicBezTo>
                <a:cubicBezTo>
                  <a:pt x="701" y="481"/>
                  <a:pt x="701" y="481"/>
                  <a:pt x="701" y="481"/>
                </a:cubicBezTo>
                <a:cubicBezTo>
                  <a:pt x="701" y="482"/>
                  <a:pt x="700" y="481"/>
                  <a:pt x="700" y="482"/>
                </a:cubicBezTo>
                <a:cubicBezTo>
                  <a:pt x="700" y="482"/>
                  <a:pt x="701" y="482"/>
                  <a:pt x="701" y="482"/>
                </a:cubicBezTo>
                <a:cubicBezTo>
                  <a:pt x="701" y="482"/>
                  <a:pt x="701" y="482"/>
                  <a:pt x="701" y="482"/>
                </a:cubicBezTo>
                <a:cubicBezTo>
                  <a:pt x="701" y="483"/>
                  <a:pt x="701" y="483"/>
                  <a:pt x="701" y="483"/>
                </a:cubicBezTo>
                <a:cubicBezTo>
                  <a:pt x="701" y="484"/>
                  <a:pt x="702" y="484"/>
                  <a:pt x="702" y="484"/>
                </a:cubicBezTo>
                <a:cubicBezTo>
                  <a:pt x="702" y="484"/>
                  <a:pt x="702" y="483"/>
                  <a:pt x="703" y="483"/>
                </a:cubicBezTo>
                <a:cubicBezTo>
                  <a:pt x="703" y="484"/>
                  <a:pt x="702" y="484"/>
                  <a:pt x="702" y="484"/>
                </a:cubicBezTo>
                <a:cubicBezTo>
                  <a:pt x="702" y="485"/>
                  <a:pt x="703" y="485"/>
                  <a:pt x="703" y="485"/>
                </a:cubicBezTo>
                <a:cubicBezTo>
                  <a:pt x="703" y="485"/>
                  <a:pt x="703" y="486"/>
                  <a:pt x="704" y="486"/>
                </a:cubicBezTo>
                <a:cubicBezTo>
                  <a:pt x="704" y="486"/>
                  <a:pt x="703" y="486"/>
                  <a:pt x="703" y="486"/>
                </a:cubicBezTo>
                <a:cubicBezTo>
                  <a:pt x="703" y="486"/>
                  <a:pt x="703" y="487"/>
                  <a:pt x="704" y="487"/>
                </a:cubicBezTo>
                <a:cubicBezTo>
                  <a:pt x="704" y="487"/>
                  <a:pt x="704" y="486"/>
                  <a:pt x="704" y="487"/>
                </a:cubicBezTo>
                <a:cubicBezTo>
                  <a:pt x="704" y="487"/>
                  <a:pt x="705" y="487"/>
                  <a:pt x="706" y="487"/>
                </a:cubicBezTo>
                <a:cubicBezTo>
                  <a:pt x="705" y="487"/>
                  <a:pt x="705" y="487"/>
                  <a:pt x="705" y="487"/>
                </a:cubicBezTo>
                <a:close/>
                <a:moveTo>
                  <a:pt x="704" y="452"/>
                </a:moveTo>
                <a:cubicBezTo>
                  <a:pt x="704" y="452"/>
                  <a:pt x="705" y="452"/>
                  <a:pt x="705" y="451"/>
                </a:cubicBezTo>
                <a:cubicBezTo>
                  <a:pt x="706" y="451"/>
                  <a:pt x="706" y="451"/>
                  <a:pt x="706" y="450"/>
                </a:cubicBezTo>
                <a:cubicBezTo>
                  <a:pt x="706" y="450"/>
                  <a:pt x="706" y="449"/>
                  <a:pt x="706" y="449"/>
                </a:cubicBezTo>
                <a:cubicBezTo>
                  <a:pt x="707" y="448"/>
                  <a:pt x="706" y="448"/>
                  <a:pt x="706" y="447"/>
                </a:cubicBezTo>
                <a:cubicBezTo>
                  <a:pt x="706" y="447"/>
                  <a:pt x="705" y="447"/>
                  <a:pt x="705" y="447"/>
                </a:cubicBezTo>
                <a:cubicBezTo>
                  <a:pt x="704" y="447"/>
                  <a:pt x="704" y="447"/>
                  <a:pt x="703" y="447"/>
                </a:cubicBezTo>
                <a:cubicBezTo>
                  <a:pt x="702" y="447"/>
                  <a:pt x="702" y="447"/>
                  <a:pt x="701" y="448"/>
                </a:cubicBezTo>
                <a:cubicBezTo>
                  <a:pt x="701" y="448"/>
                  <a:pt x="701" y="449"/>
                  <a:pt x="701" y="449"/>
                </a:cubicBezTo>
                <a:cubicBezTo>
                  <a:pt x="701" y="449"/>
                  <a:pt x="701" y="450"/>
                  <a:pt x="701" y="450"/>
                </a:cubicBezTo>
                <a:cubicBezTo>
                  <a:pt x="702" y="451"/>
                  <a:pt x="702" y="451"/>
                  <a:pt x="703" y="452"/>
                </a:cubicBezTo>
                <a:cubicBezTo>
                  <a:pt x="703" y="452"/>
                  <a:pt x="703" y="452"/>
                  <a:pt x="704" y="452"/>
                </a:cubicBezTo>
                <a:close/>
                <a:moveTo>
                  <a:pt x="697" y="462"/>
                </a:moveTo>
                <a:cubicBezTo>
                  <a:pt x="696" y="462"/>
                  <a:pt x="695" y="462"/>
                  <a:pt x="695" y="462"/>
                </a:cubicBezTo>
                <a:cubicBezTo>
                  <a:pt x="695" y="461"/>
                  <a:pt x="695" y="461"/>
                  <a:pt x="694" y="461"/>
                </a:cubicBezTo>
                <a:cubicBezTo>
                  <a:pt x="694" y="461"/>
                  <a:pt x="694" y="462"/>
                  <a:pt x="694" y="462"/>
                </a:cubicBezTo>
                <a:cubicBezTo>
                  <a:pt x="694" y="462"/>
                  <a:pt x="694" y="461"/>
                  <a:pt x="693" y="461"/>
                </a:cubicBezTo>
                <a:cubicBezTo>
                  <a:pt x="693" y="462"/>
                  <a:pt x="693" y="462"/>
                  <a:pt x="693" y="463"/>
                </a:cubicBezTo>
                <a:cubicBezTo>
                  <a:pt x="693" y="463"/>
                  <a:pt x="693" y="463"/>
                  <a:pt x="693" y="463"/>
                </a:cubicBezTo>
                <a:cubicBezTo>
                  <a:pt x="693" y="464"/>
                  <a:pt x="694" y="464"/>
                  <a:pt x="694" y="464"/>
                </a:cubicBezTo>
                <a:cubicBezTo>
                  <a:pt x="695" y="464"/>
                  <a:pt x="695" y="464"/>
                  <a:pt x="695" y="464"/>
                </a:cubicBezTo>
                <a:cubicBezTo>
                  <a:pt x="695" y="464"/>
                  <a:pt x="695" y="464"/>
                  <a:pt x="695" y="463"/>
                </a:cubicBezTo>
                <a:cubicBezTo>
                  <a:pt x="695" y="463"/>
                  <a:pt x="695" y="463"/>
                  <a:pt x="695" y="463"/>
                </a:cubicBezTo>
                <a:cubicBezTo>
                  <a:pt x="696" y="463"/>
                  <a:pt x="696" y="464"/>
                  <a:pt x="697" y="463"/>
                </a:cubicBezTo>
                <a:cubicBezTo>
                  <a:pt x="697" y="463"/>
                  <a:pt x="697" y="463"/>
                  <a:pt x="697" y="462"/>
                </a:cubicBezTo>
                <a:cubicBezTo>
                  <a:pt x="697" y="462"/>
                  <a:pt x="697" y="462"/>
                  <a:pt x="697" y="462"/>
                </a:cubicBezTo>
                <a:close/>
                <a:moveTo>
                  <a:pt x="705" y="477"/>
                </a:moveTo>
                <a:cubicBezTo>
                  <a:pt x="705" y="477"/>
                  <a:pt x="704" y="476"/>
                  <a:pt x="704" y="476"/>
                </a:cubicBezTo>
                <a:cubicBezTo>
                  <a:pt x="704" y="476"/>
                  <a:pt x="704" y="476"/>
                  <a:pt x="704" y="476"/>
                </a:cubicBezTo>
                <a:cubicBezTo>
                  <a:pt x="703" y="476"/>
                  <a:pt x="703" y="476"/>
                  <a:pt x="703" y="477"/>
                </a:cubicBezTo>
                <a:cubicBezTo>
                  <a:pt x="703" y="477"/>
                  <a:pt x="703" y="478"/>
                  <a:pt x="703" y="478"/>
                </a:cubicBezTo>
                <a:cubicBezTo>
                  <a:pt x="704" y="478"/>
                  <a:pt x="704" y="478"/>
                  <a:pt x="703" y="479"/>
                </a:cubicBezTo>
                <a:cubicBezTo>
                  <a:pt x="703" y="479"/>
                  <a:pt x="703" y="479"/>
                  <a:pt x="703" y="479"/>
                </a:cubicBezTo>
                <a:cubicBezTo>
                  <a:pt x="703" y="479"/>
                  <a:pt x="704" y="480"/>
                  <a:pt x="704" y="480"/>
                </a:cubicBezTo>
                <a:cubicBezTo>
                  <a:pt x="704" y="479"/>
                  <a:pt x="704" y="480"/>
                  <a:pt x="704" y="480"/>
                </a:cubicBezTo>
                <a:cubicBezTo>
                  <a:pt x="704" y="480"/>
                  <a:pt x="705" y="480"/>
                  <a:pt x="705" y="480"/>
                </a:cubicBezTo>
                <a:cubicBezTo>
                  <a:pt x="705" y="480"/>
                  <a:pt x="705" y="480"/>
                  <a:pt x="705" y="480"/>
                </a:cubicBezTo>
                <a:cubicBezTo>
                  <a:pt x="706" y="479"/>
                  <a:pt x="706" y="479"/>
                  <a:pt x="705" y="479"/>
                </a:cubicBezTo>
                <a:cubicBezTo>
                  <a:pt x="705" y="478"/>
                  <a:pt x="705" y="478"/>
                  <a:pt x="705" y="478"/>
                </a:cubicBezTo>
                <a:cubicBezTo>
                  <a:pt x="706" y="477"/>
                  <a:pt x="705" y="477"/>
                  <a:pt x="705" y="477"/>
                </a:cubicBezTo>
                <a:close/>
                <a:moveTo>
                  <a:pt x="681" y="444"/>
                </a:moveTo>
                <a:cubicBezTo>
                  <a:pt x="681" y="444"/>
                  <a:pt x="681" y="444"/>
                  <a:pt x="681" y="445"/>
                </a:cubicBezTo>
                <a:cubicBezTo>
                  <a:pt x="680" y="444"/>
                  <a:pt x="680" y="444"/>
                  <a:pt x="680" y="444"/>
                </a:cubicBezTo>
                <a:cubicBezTo>
                  <a:pt x="680" y="444"/>
                  <a:pt x="680" y="444"/>
                  <a:pt x="680" y="444"/>
                </a:cubicBezTo>
                <a:cubicBezTo>
                  <a:pt x="680" y="445"/>
                  <a:pt x="680" y="445"/>
                  <a:pt x="680" y="445"/>
                </a:cubicBezTo>
                <a:cubicBezTo>
                  <a:pt x="679" y="445"/>
                  <a:pt x="680" y="445"/>
                  <a:pt x="680" y="445"/>
                </a:cubicBezTo>
                <a:cubicBezTo>
                  <a:pt x="680" y="445"/>
                  <a:pt x="680" y="445"/>
                  <a:pt x="680" y="445"/>
                </a:cubicBezTo>
                <a:cubicBezTo>
                  <a:pt x="680" y="445"/>
                  <a:pt x="680" y="445"/>
                  <a:pt x="680" y="445"/>
                </a:cubicBezTo>
                <a:cubicBezTo>
                  <a:pt x="680" y="446"/>
                  <a:pt x="681" y="446"/>
                  <a:pt x="680" y="447"/>
                </a:cubicBezTo>
                <a:cubicBezTo>
                  <a:pt x="681" y="447"/>
                  <a:pt x="680" y="447"/>
                  <a:pt x="680" y="448"/>
                </a:cubicBezTo>
                <a:cubicBezTo>
                  <a:pt x="681" y="448"/>
                  <a:pt x="681" y="448"/>
                  <a:pt x="680" y="449"/>
                </a:cubicBezTo>
                <a:cubicBezTo>
                  <a:pt x="680" y="449"/>
                  <a:pt x="681" y="449"/>
                  <a:pt x="681" y="449"/>
                </a:cubicBezTo>
                <a:cubicBezTo>
                  <a:pt x="681" y="449"/>
                  <a:pt x="681" y="450"/>
                  <a:pt x="680" y="450"/>
                </a:cubicBezTo>
                <a:cubicBezTo>
                  <a:pt x="680" y="450"/>
                  <a:pt x="680" y="450"/>
                  <a:pt x="680" y="450"/>
                </a:cubicBezTo>
                <a:cubicBezTo>
                  <a:pt x="680" y="450"/>
                  <a:pt x="680" y="450"/>
                  <a:pt x="680" y="450"/>
                </a:cubicBezTo>
                <a:cubicBezTo>
                  <a:pt x="680" y="451"/>
                  <a:pt x="680" y="451"/>
                  <a:pt x="680" y="452"/>
                </a:cubicBezTo>
                <a:cubicBezTo>
                  <a:pt x="681" y="452"/>
                  <a:pt x="680" y="453"/>
                  <a:pt x="680" y="454"/>
                </a:cubicBezTo>
                <a:cubicBezTo>
                  <a:pt x="680" y="453"/>
                  <a:pt x="679" y="454"/>
                  <a:pt x="680" y="453"/>
                </a:cubicBezTo>
                <a:cubicBezTo>
                  <a:pt x="680" y="453"/>
                  <a:pt x="680" y="453"/>
                  <a:pt x="680" y="452"/>
                </a:cubicBezTo>
                <a:cubicBezTo>
                  <a:pt x="680" y="452"/>
                  <a:pt x="680" y="452"/>
                  <a:pt x="679" y="452"/>
                </a:cubicBezTo>
                <a:cubicBezTo>
                  <a:pt x="679" y="453"/>
                  <a:pt x="679" y="452"/>
                  <a:pt x="679" y="452"/>
                </a:cubicBezTo>
                <a:cubicBezTo>
                  <a:pt x="679" y="452"/>
                  <a:pt x="678" y="451"/>
                  <a:pt x="678" y="450"/>
                </a:cubicBezTo>
                <a:cubicBezTo>
                  <a:pt x="678" y="450"/>
                  <a:pt x="678" y="450"/>
                  <a:pt x="678" y="450"/>
                </a:cubicBezTo>
                <a:cubicBezTo>
                  <a:pt x="678" y="450"/>
                  <a:pt x="678" y="450"/>
                  <a:pt x="678" y="450"/>
                </a:cubicBezTo>
                <a:cubicBezTo>
                  <a:pt x="677" y="450"/>
                  <a:pt x="677" y="450"/>
                  <a:pt x="677" y="449"/>
                </a:cubicBezTo>
                <a:cubicBezTo>
                  <a:pt x="677" y="449"/>
                  <a:pt x="677" y="448"/>
                  <a:pt x="676" y="447"/>
                </a:cubicBezTo>
                <a:cubicBezTo>
                  <a:pt x="676" y="447"/>
                  <a:pt x="676" y="447"/>
                  <a:pt x="677" y="447"/>
                </a:cubicBezTo>
                <a:cubicBezTo>
                  <a:pt x="676" y="446"/>
                  <a:pt x="676" y="447"/>
                  <a:pt x="676" y="446"/>
                </a:cubicBezTo>
                <a:cubicBezTo>
                  <a:pt x="676" y="446"/>
                  <a:pt x="676" y="445"/>
                  <a:pt x="675" y="445"/>
                </a:cubicBezTo>
                <a:cubicBezTo>
                  <a:pt x="675" y="445"/>
                  <a:pt x="676" y="445"/>
                  <a:pt x="675" y="444"/>
                </a:cubicBezTo>
                <a:cubicBezTo>
                  <a:pt x="675" y="444"/>
                  <a:pt x="676" y="444"/>
                  <a:pt x="676" y="444"/>
                </a:cubicBezTo>
                <a:cubicBezTo>
                  <a:pt x="677" y="443"/>
                  <a:pt x="677" y="443"/>
                  <a:pt x="677" y="443"/>
                </a:cubicBezTo>
                <a:cubicBezTo>
                  <a:pt x="676" y="443"/>
                  <a:pt x="676" y="443"/>
                  <a:pt x="676" y="442"/>
                </a:cubicBezTo>
                <a:cubicBezTo>
                  <a:pt x="676" y="442"/>
                  <a:pt x="676" y="442"/>
                  <a:pt x="676" y="442"/>
                </a:cubicBezTo>
                <a:cubicBezTo>
                  <a:pt x="676" y="442"/>
                  <a:pt x="676" y="442"/>
                  <a:pt x="676" y="442"/>
                </a:cubicBezTo>
                <a:cubicBezTo>
                  <a:pt x="676" y="442"/>
                  <a:pt x="676" y="442"/>
                  <a:pt x="676" y="442"/>
                </a:cubicBezTo>
                <a:cubicBezTo>
                  <a:pt x="676" y="442"/>
                  <a:pt x="676" y="443"/>
                  <a:pt x="675" y="443"/>
                </a:cubicBezTo>
                <a:cubicBezTo>
                  <a:pt x="675" y="444"/>
                  <a:pt x="675" y="444"/>
                  <a:pt x="674" y="444"/>
                </a:cubicBezTo>
                <a:cubicBezTo>
                  <a:pt x="674" y="443"/>
                  <a:pt x="674" y="443"/>
                  <a:pt x="674" y="443"/>
                </a:cubicBezTo>
                <a:cubicBezTo>
                  <a:pt x="674" y="443"/>
                  <a:pt x="674" y="443"/>
                  <a:pt x="674" y="443"/>
                </a:cubicBezTo>
                <a:cubicBezTo>
                  <a:pt x="674" y="442"/>
                  <a:pt x="674" y="441"/>
                  <a:pt x="675" y="441"/>
                </a:cubicBezTo>
                <a:cubicBezTo>
                  <a:pt x="675" y="441"/>
                  <a:pt x="675" y="440"/>
                  <a:pt x="676" y="440"/>
                </a:cubicBezTo>
                <a:cubicBezTo>
                  <a:pt x="675" y="440"/>
                  <a:pt x="675" y="440"/>
                  <a:pt x="675" y="440"/>
                </a:cubicBezTo>
                <a:cubicBezTo>
                  <a:pt x="675" y="440"/>
                  <a:pt x="675" y="441"/>
                  <a:pt x="674" y="441"/>
                </a:cubicBezTo>
                <a:cubicBezTo>
                  <a:pt x="674" y="441"/>
                  <a:pt x="674" y="442"/>
                  <a:pt x="674" y="442"/>
                </a:cubicBezTo>
                <a:cubicBezTo>
                  <a:pt x="674" y="442"/>
                  <a:pt x="673" y="442"/>
                  <a:pt x="673" y="442"/>
                </a:cubicBezTo>
                <a:cubicBezTo>
                  <a:pt x="673" y="442"/>
                  <a:pt x="673" y="441"/>
                  <a:pt x="673" y="441"/>
                </a:cubicBezTo>
                <a:cubicBezTo>
                  <a:pt x="673" y="441"/>
                  <a:pt x="674" y="441"/>
                  <a:pt x="674" y="441"/>
                </a:cubicBezTo>
                <a:cubicBezTo>
                  <a:pt x="673" y="441"/>
                  <a:pt x="674" y="440"/>
                  <a:pt x="674" y="439"/>
                </a:cubicBezTo>
                <a:cubicBezTo>
                  <a:pt x="673" y="440"/>
                  <a:pt x="673" y="440"/>
                  <a:pt x="673" y="441"/>
                </a:cubicBezTo>
                <a:cubicBezTo>
                  <a:pt x="673" y="441"/>
                  <a:pt x="673" y="441"/>
                  <a:pt x="673" y="441"/>
                </a:cubicBezTo>
                <a:cubicBezTo>
                  <a:pt x="673" y="441"/>
                  <a:pt x="673" y="441"/>
                  <a:pt x="673" y="441"/>
                </a:cubicBezTo>
                <a:cubicBezTo>
                  <a:pt x="672" y="441"/>
                  <a:pt x="673" y="441"/>
                  <a:pt x="673" y="441"/>
                </a:cubicBezTo>
                <a:cubicBezTo>
                  <a:pt x="673" y="441"/>
                  <a:pt x="673" y="440"/>
                  <a:pt x="673" y="440"/>
                </a:cubicBezTo>
                <a:cubicBezTo>
                  <a:pt x="672" y="440"/>
                  <a:pt x="673" y="440"/>
                  <a:pt x="673" y="439"/>
                </a:cubicBezTo>
                <a:cubicBezTo>
                  <a:pt x="673" y="439"/>
                  <a:pt x="673" y="439"/>
                  <a:pt x="673" y="439"/>
                </a:cubicBezTo>
                <a:cubicBezTo>
                  <a:pt x="672" y="439"/>
                  <a:pt x="672" y="439"/>
                  <a:pt x="671" y="439"/>
                </a:cubicBezTo>
                <a:cubicBezTo>
                  <a:pt x="671" y="438"/>
                  <a:pt x="671" y="438"/>
                  <a:pt x="671" y="437"/>
                </a:cubicBezTo>
                <a:cubicBezTo>
                  <a:pt x="671" y="437"/>
                  <a:pt x="671" y="437"/>
                  <a:pt x="671" y="437"/>
                </a:cubicBezTo>
                <a:cubicBezTo>
                  <a:pt x="672" y="437"/>
                  <a:pt x="672" y="437"/>
                  <a:pt x="672" y="437"/>
                </a:cubicBezTo>
                <a:cubicBezTo>
                  <a:pt x="672" y="436"/>
                  <a:pt x="672" y="436"/>
                  <a:pt x="671" y="435"/>
                </a:cubicBezTo>
                <a:cubicBezTo>
                  <a:pt x="671" y="435"/>
                  <a:pt x="671" y="435"/>
                  <a:pt x="671" y="435"/>
                </a:cubicBezTo>
                <a:cubicBezTo>
                  <a:pt x="672" y="435"/>
                  <a:pt x="672" y="434"/>
                  <a:pt x="673" y="434"/>
                </a:cubicBezTo>
                <a:cubicBezTo>
                  <a:pt x="673" y="434"/>
                  <a:pt x="673" y="434"/>
                  <a:pt x="673" y="434"/>
                </a:cubicBezTo>
                <a:cubicBezTo>
                  <a:pt x="673" y="434"/>
                  <a:pt x="674" y="434"/>
                  <a:pt x="674" y="433"/>
                </a:cubicBezTo>
                <a:cubicBezTo>
                  <a:pt x="674" y="433"/>
                  <a:pt x="674" y="433"/>
                  <a:pt x="674" y="433"/>
                </a:cubicBezTo>
                <a:cubicBezTo>
                  <a:pt x="674" y="433"/>
                  <a:pt x="673" y="433"/>
                  <a:pt x="673" y="433"/>
                </a:cubicBezTo>
                <a:cubicBezTo>
                  <a:pt x="672" y="434"/>
                  <a:pt x="671" y="433"/>
                  <a:pt x="671" y="432"/>
                </a:cubicBezTo>
                <a:cubicBezTo>
                  <a:pt x="671" y="432"/>
                  <a:pt x="671" y="431"/>
                  <a:pt x="672" y="431"/>
                </a:cubicBezTo>
                <a:cubicBezTo>
                  <a:pt x="672" y="431"/>
                  <a:pt x="672" y="430"/>
                  <a:pt x="672" y="430"/>
                </a:cubicBezTo>
                <a:cubicBezTo>
                  <a:pt x="672" y="430"/>
                  <a:pt x="672" y="430"/>
                  <a:pt x="672" y="430"/>
                </a:cubicBezTo>
                <a:cubicBezTo>
                  <a:pt x="672" y="430"/>
                  <a:pt x="672" y="430"/>
                  <a:pt x="672" y="430"/>
                </a:cubicBezTo>
                <a:cubicBezTo>
                  <a:pt x="672" y="430"/>
                  <a:pt x="672" y="430"/>
                  <a:pt x="671" y="430"/>
                </a:cubicBezTo>
                <a:cubicBezTo>
                  <a:pt x="671" y="430"/>
                  <a:pt x="671" y="431"/>
                  <a:pt x="671" y="431"/>
                </a:cubicBezTo>
                <a:cubicBezTo>
                  <a:pt x="671" y="431"/>
                  <a:pt x="671" y="430"/>
                  <a:pt x="671" y="430"/>
                </a:cubicBezTo>
                <a:cubicBezTo>
                  <a:pt x="672" y="430"/>
                  <a:pt x="671" y="429"/>
                  <a:pt x="672" y="428"/>
                </a:cubicBezTo>
                <a:cubicBezTo>
                  <a:pt x="671" y="428"/>
                  <a:pt x="670" y="428"/>
                  <a:pt x="669" y="429"/>
                </a:cubicBezTo>
                <a:cubicBezTo>
                  <a:pt x="669" y="429"/>
                  <a:pt x="669" y="428"/>
                  <a:pt x="669" y="428"/>
                </a:cubicBezTo>
                <a:cubicBezTo>
                  <a:pt x="669" y="428"/>
                  <a:pt x="669" y="428"/>
                  <a:pt x="669" y="428"/>
                </a:cubicBezTo>
                <a:cubicBezTo>
                  <a:pt x="669" y="429"/>
                  <a:pt x="668" y="428"/>
                  <a:pt x="668" y="429"/>
                </a:cubicBezTo>
                <a:cubicBezTo>
                  <a:pt x="668" y="429"/>
                  <a:pt x="668" y="430"/>
                  <a:pt x="668" y="430"/>
                </a:cubicBezTo>
                <a:cubicBezTo>
                  <a:pt x="668" y="431"/>
                  <a:pt x="669" y="431"/>
                  <a:pt x="669" y="431"/>
                </a:cubicBezTo>
                <a:cubicBezTo>
                  <a:pt x="669" y="432"/>
                  <a:pt x="668" y="433"/>
                  <a:pt x="668" y="434"/>
                </a:cubicBezTo>
                <a:cubicBezTo>
                  <a:pt x="668" y="434"/>
                  <a:pt x="667" y="434"/>
                  <a:pt x="666" y="434"/>
                </a:cubicBezTo>
                <a:cubicBezTo>
                  <a:pt x="666" y="434"/>
                  <a:pt x="666" y="435"/>
                  <a:pt x="665" y="434"/>
                </a:cubicBezTo>
                <a:cubicBezTo>
                  <a:pt x="665" y="434"/>
                  <a:pt x="665" y="434"/>
                  <a:pt x="665" y="433"/>
                </a:cubicBezTo>
                <a:cubicBezTo>
                  <a:pt x="665" y="432"/>
                  <a:pt x="665" y="432"/>
                  <a:pt x="666" y="432"/>
                </a:cubicBezTo>
                <a:cubicBezTo>
                  <a:pt x="667" y="431"/>
                  <a:pt x="666" y="431"/>
                  <a:pt x="666" y="430"/>
                </a:cubicBezTo>
                <a:cubicBezTo>
                  <a:pt x="666" y="430"/>
                  <a:pt x="666" y="430"/>
                  <a:pt x="666" y="430"/>
                </a:cubicBezTo>
                <a:cubicBezTo>
                  <a:pt x="665" y="430"/>
                  <a:pt x="665" y="430"/>
                  <a:pt x="665" y="430"/>
                </a:cubicBezTo>
                <a:cubicBezTo>
                  <a:pt x="666" y="430"/>
                  <a:pt x="665" y="429"/>
                  <a:pt x="666" y="429"/>
                </a:cubicBezTo>
                <a:cubicBezTo>
                  <a:pt x="665" y="429"/>
                  <a:pt x="665" y="428"/>
                  <a:pt x="665" y="428"/>
                </a:cubicBezTo>
                <a:cubicBezTo>
                  <a:pt x="665" y="428"/>
                  <a:pt x="665" y="428"/>
                  <a:pt x="665" y="428"/>
                </a:cubicBezTo>
                <a:cubicBezTo>
                  <a:pt x="665" y="427"/>
                  <a:pt x="666" y="427"/>
                  <a:pt x="665" y="427"/>
                </a:cubicBezTo>
                <a:cubicBezTo>
                  <a:pt x="665" y="427"/>
                  <a:pt x="665" y="426"/>
                  <a:pt x="665" y="426"/>
                </a:cubicBezTo>
                <a:cubicBezTo>
                  <a:pt x="667" y="426"/>
                  <a:pt x="667" y="426"/>
                  <a:pt x="667" y="428"/>
                </a:cubicBezTo>
                <a:cubicBezTo>
                  <a:pt x="667" y="428"/>
                  <a:pt x="667" y="428"/>
                  <a:pt x="667" y="428"/>
                </a:cubicBezTo>
                <a:cubicBezTo>
                  <a:pt x="668" y="428"/>
                  <a:pt x="667" y="427"/>
                  <a:pt x="668" y="427"/>
                </a:cubicBezTo>
                <a:cubicBezTo>
                  <a:pt x="668" y="427"/>
                  <a:pt x="668" y="427"/>
                  <a:pt x="668" y="427"/>
                </a:cubicBezTo>
                <a:cubicBezTo>
                  <a:pt x="668" y="427"/>
                  <a:pt x="668" y="427"/>
                  <a:pt x="668" y="427"/>
                </a:cubicBezTo>
                <a:cubicBezTo>
                  <a:pt x="668" y="426"/>
                  <a:pt x="667" y="426"/>
                  <a:pt x="667" y="426"/>
                </a:cubicBezTo>
                <a:cubicBezTo>
                  <a:pt x="667" y="426"/>
                  <a:pt x="667" y="426"/>
                  <a:pt x="668" y="426"/>
                </a:cubicBezTo>
                <a:cubicBezTo>
                  <a:pt x="668" y="426"/>
                  <a:pt x="669" y="426"/>
                  <a:pt x="669" y="426"/>
                </a:cubicBezTo>
                <a:cubicBezTo>
                  <a:pt x="669" y="426"/>
                  <a:pt x="670" y="426"/>
                  <a:pt x="670" y="426"/>
                </a:cubicBezTo>
                <a:cubicBezTo>
                  <a:pt x="669" y="425"/>
                  <a:pt x="669" y="425"/>
                  <a:pt x="669" y="425"/>
                </a:cubicBezTo>
                <a:cubicBezTo>
                  <a:pt x="668" y="425"/>
                  <a:pt x="668" y="425"/>
                  <a:pt x="669" y="425"/>
                </a:cubicBezTo>
                <a:cubicBezTo>
                  <a:pt x="669" y="424"/>
                  <a:pt x="669" y="424"/>
                  <a:pt x="669" y="423"/>
                </a:cubicBezTo>
                <a:cubicBezTo>
                  <a:pt x="669" y="423"/>
                  <a:pt x="669" y="424"/>
                  <a:pt x="668" y="424"/>
                </a:cubicBezTo>
                <a:cubicBezTo>
                  <a:pt x="668" y="424"/>
                  <a:pt x="668" y="424"/>
                  <a:pt x="668" y="424"/>
                </a:cubicBezTo>
                <a:cubicBezTo>
                  <a:pt x="668" y="424"/>
                  <a:pt x="668" y="424"/>
                  <a:pt x="668" y="425"/>
                </a:cubicBezTo>
                <a:cubicBezTo>
                  <a:pt x="667" y="425"/>
                  <a:pt x="667" y="425"/>
                  <a:pt x="667" y="425"/>
                </a:cubicBezTo>
                <a:cubicBezTo>
                  <a:pt x="667" y="425"/>
                  <a:pt x="667" y="426"/>
                  <a:pt x="666" y="425"/>
                </a:cubicBezTo>
                <a:cubicBezTo>
                  <a:pt x="666" y="425"/>
                  <a:pt x="666" y="425"/>
                  <a:pt x="666" y="425"/>
                </a:cubicBezTo>
                <a:cubicBezTo>
                  <a:pt x="665" y="425"/>
                  <a:pt x="665" y="425"/>
                  <a:pt x="665" y="424"/>
                </a:cubicBezTo>
                <a:cubicBezTo>
                  <a:pt x="665" y="424"/>
                  <a:pt x="664" y="424"/>
                  <a:pt x="664" y="423"/>
                </a:cubicBezTo>
                <a:cubicBezTo>
                  <a:pt x="664" y="423"/>
                  <a:pt x="663" y="423"/>
                  <a:pt x="663" y="422"/>
                </a:cubicBezTo>
                <a:cubicBezTo>
                  <a:pt x="663" y="422"/>
                  <a:pt x="663" y="422"/>
                  <a:pt x="663" y="422"/>
                </a:cubicBezTo>
                <a:cubicBezTo>
                  <a:pt x="663" y="422"/>
                  <a:pt x="663" y="422"/>
                  <a:pt x="663" y="422"/>
                </a:cubicBezTo>
                <a:cubicBezTo>
                  <a:pt x="663" y="422"/>
                  <a:pt x="664" y="422"/>
                  <a:pt x="664" y="422"/>
                </a:cubicBezTo>
                <a:cubicBezTo>
                  <a:pt x="664" y="423"/>
                  <a:pt x="665" y="423"/>
                  <a:pt x="665" y="424"/>
                </a:cubicBezTo>
                <a:cubicBezTo>
                  <a:pt x="665" y="423"/>
                  <a:pt x="665" y="423"/>
                  <a:pt x="664" y="422"/>
                </a:cubicBezTo>
                <a:cubicBezTo>
                  <a:pt x="664" y="422"/>
                  <a:pt x="664" y="422"/>
                  <a:pt x="663" y="421"/>
                </a:cubicBezTo>
                <a:cubicBezTo>
                  <a:pt x="663" y="421"/>
                  <a:pt x="663" y="421"/>
                  <a:pt x="663" y="421"/>
                </a:cubicBezTo>
                <a:cubicBezTo>
                  <a:pt x="663" y="421"/>
                  <a:pt x="662" y="421"/>
                  <a:pt x="663" y="419"/>
                </a:cubicBezTo>
                <a:cubicBezTo>
                  <a:pt x="662" y="419"/>
                  <a:pt x="663" y="420"/>
                  <a:pt x="662" y="420"/>
                </a:cubicBezTo>
                <a:cubicBezTo>
                  <a:pt x="662" y="419"/>
                  <a:pt x="662" y="419"/>
                  <a:pt x="662" y="419"/>
                </a:cubicBezTo>
                <a:cubicBezTo>
                  <a:pt x="662" y="419"/>
                  <a:pt x="662" y="420"/>
                  <a:pt x="662" y="419"/>
                </a:cubicBezTo>
                <a:cubicBezTo>
                  <a:pt x="661" y="419"/>
                  <a:pt x="661" y="419"/>
                  <a:pt x="661" y="419"/>
                </a:cubicBezTo>
                <a:cubicBezTo>
                  <a:pt x="661" y="419"/>
                  <a:pt x="661" y="419"/>
                  <a:pt x="661" y="419"/>
                </a:cubicBezTo>
                <a:cubicBezTo>
                  <a:pt x="660" y="419"/>
                  <a:pt x="660" y="418"/>
                  <a:pt x="660" y="418"/>
                </a:cubicBezTo>
                <a:cubicBezTo>
                  <a:pt x="660" y="418"/>
                  <a:pt x="661" y="417"/>
                  <a:pt x="661" y="418"/>
                </a:cubicBezTo>
                <a:cubicBezTo>
                  <a:pt x="661" y="417"/>
                  <a:pt x="660" y="417"/>
                  <a:pt x="661" y="416"/>
                </a:cubicBezTo>
                <a:cubicBezTo>
                  <a:pt x="661" y="416"/>
                  <a:pt x="660" y="416"/>
                  <a:pt x="660" y="416"/>
                </a:cubicBezTo>
                <a:cubicBezTo>
                  <a:pt x="660" y="416"/>
                  <a:pt x="660" y="416"/>
                  <a:pt x="660" y="416"/>
                </a:cubicBezTo>
                <a:cubicBezTo>
                  <a:pt x="660" y="416"/>
                  <a:pt x="660" y="417"/>
                  <a:pt x="660" y="417"/>
                </a:cubicBezTo>
                <a:cubicBezTo>
                  <a:pt x="659" y="417"/>
                  <a:pt x="659" y="416"/>
                  <a:pt x="659" y="416"/>
                </a:cubicBezTo>
                <a:cubicBezTo>
                  <a:pt x="659" y="415"/>
                  <a:pt x="659" y="415"/>
                  <a:pt x="658" y="415"/>
                </a:cubicBezTo>
                <a:cubicBezTo>
                  <a:pt x="658" y="414"/>
                  <a:pt x="658" y="414"/>
                  <a:pt x="658" y="414"/>
                </a:cubicBezTo>
                <a:cubicBezTo>
                  <a:pt x="658" y="414"/>
                  <a:pt x="658" y="414"/>
                  <a:pt x="658" y="414"/>
                </a:cubicBezTo>
                <a:cubicBezTo>
                  <a:pt x="658" y="414"/>
                  <a:pt x="658" y="414"/>
                  <a:pt x="657" y="414"/>
                </a:cubicBezTo>
                <a:cubicBezTo>
                  <a:pt x="657" y="414"/>
                  <a:pt x="657" y="413"/>
                  <a:pt x="657" y="413"/>
                </a:cubicBezTo>
                <a:cubicBezTo>
                  <a:pt x="657" y="413"/>
                  <a:pt x="657" y="413"/>
                  <a:pt x="657" y="413"/>
                </a:cubicBezTo>
                <a:cubicBezTo>
                  <a:pt x="656" y="412"/>
                  <a:pt x="656" y="412"/>
                  <a:pt x="656" y="411"/>
                </a:cubicBezTo>
                <a:cubicBezTo>
                  <a:pt x="656" y="411"/>
                  <a:pt x="657" y="410"/>
                  <a:pt x="656" y="410"/>
                </a:cubicBezTo>
                <a:cubicBezTo>
                  <a:pt x="656" y="410"/>
                  <a:pt x="656" y="408"/>
                  <a:pt x="657" y="408"/>
                </a:cubicBezTo>
                <a:cubicBezTo>
                  <a:pt x="657" y="408"/>
                  <a:pt x="657" y="408"/>
                  <a:pt x="657" y="408"/>
                </a:cubicBezTo>
                <a:cubicBezTo>
                  <a:pt x="658" y="409"/>
                  <a:pt x="658" y="409"/>
                  <a:pt x="658" y="410"/>
                </a:cubicBezTo>
                <a:cubicBezTo>
                  <a:pt x="659" y="410"/>
                  <a:pt x="659" y="410"/>
                  <a:pt x="659" y="410"/>
                </a:cubicBezTo>
                <a:cubicBezTo>
                  <a:pt x="659" y="410"/>
                  <a:pt x="659" y="411"/>
                  <a:pt x="659" y="411"/>
                </a:cubicBezTo>
                <a:cubicBezTo>
                  <a:pt x="660" y="411"/>
                  <a:pt x="661" y="412"/>
                  <a:pt x="662" y="413"/>
                </a:cubicBezTo>
                <a:cubicBezTo>
                  <a:pt x="662" y="414"/>
                  <a:pt x="662" y="414"/>
                  <a:pt x="662" y="414"/>
                </a:cubicBezTo>
                <a:cubicBezTo>
                  <a:pt x="662" y="414"/>
                  <a:pt x="662" y="414"/>
                  <a:pt x="663" y="414"/>
                </a:cubicBezTo>
                <a:cubicBezTo>
                  <a:pt x="663" y="414"/>
                  <a:pt x="663" y="414"/>
                  <a:pt x="663" y="414"/>
                </a:cubicBezTo>
                <a:cubicBezTo>
                  <a:pt x="662" y="414"/>
                  <a:pt x="662" y="414"/>
                  <a:pt x="662" y="414"/>
                </a:cubicBezTo>
                <a:cubicBezTo>
                  <a:pt x="662" y="414"/>
                  <a:pt x="662" y="414"/>
                  <a:pt x="662" y="414"/>
                </a:cubicBezTo>
                <a:cubicBezTo>
                  <a:pt x="662" y="413"/>
                  <a:pt x="661" y="413"/>
                  <a:pt x="661" y="412"/>
                </a:cubicBezTo>
                <a:cubicBezTo>
                  <a:pt x="660" y="412"/>
                  <a:pt x="660" y="411"/>
                  <a:pt x="659" y="410"/>
                </a:cubicBezTo>
                <a:cubicBezTo>
                  <a:pt x="659" y="410"/>
                  <a:pt x="659" y="409"/>
                  <a:pt x="658" y="409"/>
                </a:cubicBezTo>
                <a:cubicBezTo>
                  <a:pt x="658" y="409"/>
                  <a:pt x="658" y="408"/>
                  <a:pt x="658" y="408"/>
                </a:cubicBezTo>
                <a:cubicBezTo>
                  <a:pt x="657" y="407"/>
                  <a:pt x="658" y="407"/>
                  <a:pt x="658" y="407"/>
                </a:cubicBezTo>
                <a:cubicBezTo>
                  <a:pt x="658" y="407"/>
                  <a:pt x="658" y="407"/>
                  <a:pt x="659" y="407"/>
                </a:cubicBezTo>
                <a:cubicBezTo>
                  <a:pt x="659" y="407"/>
                  <a:pt x="659" y="407"/>
                  <a:pt x="659" y="408"/>
                </a:cubicBezTo>
                <a:cubicBezTo>
                  <a:pt x="659" y="408"/>
                  <a:pt x="659" y="408"/>
                  <a:pt x="660" y="408"/>
                </a:cubicBezTo>
                <a:cubicBezTo>
                  <a:pt x="659" y="407"/>
                  <a:pt x="659" y="407"/>
                  <a:pt x="659" y="406"/>
                </a:cubicBezTo>
                <a:cubicBezTo>
                  <a:pt x="659" y="405"/>
                  <a:pt x="659" y="405"/>
                  <a:pt x="659" y="405"/>
                </a:cubicBezTo>
                <a:cubicBezTo>
                  <a:pt x="659" y="405"/>
                  <a:pt x="659" y="405"/>
                  <a:pt x="660" y="405"/>
                </a:cubicBezTo>
                <a:cubicBezTo>
                  <a:pt x="660" y="406"/>
                  <a:pt x="660" y="406"/>
                  <a:pt x="660" y="406"/>
                </a:cubicBezTo>
                <a:cubicBezTo>
                  <a:pt x="660" y="407"/>
                  <a:pt x="661" y="407"/>
                  <a:pt x="661" y="408"/>
                </a:cubicBezTo>
                <a:cubicBezTo>
                  <a:pt x="661" y="408"/>
                  <a:pt x="661" y="409"/>
                  <a:pt x="662" y="409"/>
                </a:cubicBezTo>
                <a:cubicBezTo>
                  <a:pt x="662" y="409"/>
                  <a:pt x="662" y="409"/>
                  <a:pt x="662" y="409"/>
                </a:cubicBezTo>
                <a:cubicBezTo>
                  <a:pt x="662" y="409"/>
                  <a:pt x="662" y="409"/>
                  <a:pt x="662" y="409"/>
                </a:cubicBezTo>
                <a:cubicBezTo>
                  <a:pt x="661" y="408"/>
                  <a:pt x="661" y="408"/>
                  <a:pt x="661" y="407"/>
                </a:cubicBezTo>
                <a:cubicBezTo>
                  <a:pt x="661" y="407"/>
                  <a:pt x="661" y="407"/>
                  <a:pt x="661" y="407"/>
                </a:cubicBezTo>
                <a:cubicBezTo>
                  <a:pt x="661" y="406"/>
                  <a:pt x="661" y="406"/>
                  <a:pt x="661" y="405"/>
                </a:cubicBezTo>
                <a:cubicBezTo>
                  <a:pt x="662" y="405"/>
                  <a:pt x="662" y="405"/>
                  <a:pt x="663" y="405"/>
                </a:cubicBezTo>
                <a:cubicBezTo>
                  <a:pt x="663" y="406"/>
                  <a:pt x="663" y="406"/>
                  <a:pt x="663" y="406"/>
                </a:cubicBezTo>
                <a:cubicBezTo>
                  <a:pt x="663" y="406"/>
                  <a:pt x="664" y="406"/>
                  <a:pt x="664" y="406"/>
                </a:cubicBezTo>
                <a:cubicBezTo>
                  <a:pt x="664" y="405"/>
                  <a:pt x="664" y="405"/>
                  <a:pt x="664" y="405"/>
                </a:cubicBezTo>
                <a:cubicBezTo>
                  <a:pt x="665" y="404"/>
                  <a:pt x="665" y="404"/>
                  <a:pt x="666" y="404"/>
                </a:cubicBezTo>
                <a:cubicBezTo>
                  <a:pt x="666" y="404"/>
                  <a:pt x="666" y="404"/>
                  <a:pt x="666" y="404"/>
                </a:cubicBezTo>
                <a:cubicBezTo>
                  <a:pt x="667" y="404"/>
                  <a:pt x="667" y="405"/>
                  <a:pt x="668" y="405"/>
                </a:cubicBezTo>
                <a:cubicBezTo>
                  <a:pt x="668" y="405"/>
                  <a:pt x="668" y="405"/>
                  <a:pt x="669" y="406"/>
                </a:cubicBezTo>
                <a:cubicBezTo>
                  <a:pt x="669" y="406"/>
                  <a:pt x="669" y="406"/>
                  <a:pt x="669" y="406"/>
                </a:cubicBezTo>
                <a:cubicBezTo>
                  <a:pt x="670" y="407"/>
                  <a:pt x="669" y="407"/>
                  <a:pt x="669" y="407"/>
                </a:cubicBezTo>
                <a:cubicBezTo>
                  <a:pt x="669" y="408"/>
                  <a:pt x="669" y="409"/>
                  <a:pt x="668" y="409"/>
                </a:cubicBezTo>
                <a:cubicBezTo>
                  <a:pt x="668" y="409"/>
                  <a:pt x="667" y="409"/>
                  <a:pt x="667" y="409"/>
                </a:cubicBezTo>
                <a:cubicBezTo>
                  <a:pt x="667" y="409"/>
                  <a:pt x="666" y="409"/>
                  <a:pt x="666" y="409"/>
                </a:cubicBezTo>
                <a:cubicBezTo>
                  <a:pt x="666" y="410"/>
                  <a:pt x="666" y="409"/>
                  <a:pt x="667" y="409"/>
                </a:cubicBezTo>
                <a:cubicBezTo>
                  <a:pt x="667" y="409"/>
                  <a:pt x="667" y="409"/>
                  <a:pt x="667" y="410"/>
                </a:cubicBezTo>
                <a:cubicBezTo>
                  <a:pt x="667" y="410"/>
                  <a:pt x="667" y="410"/>
                  <a:pt x="668" y="410"/>
                </a:cubicBezTo>
                <a:cubicBezTo>
                  <a:pt x="668" y="410"/>
                  <a:pt x="668" y="410"/>
                  <a:pt x="668" y="410"/>
                </a:cubicBezTo>
                <a:cubicBezTo>
                  <a:pt x="668" y="411"/>
                  <a:pt x="667" y="411"/>
                  <a:pt x="667" y="411"/>
                </a:cubicBezTo>
                <a:cubicBezTo>
                  <a:pt x="667" y="410"/>
                  <a:pt x="666" y="410"/>
                  <a:pt x="666" y="411"/>
                </a:cubicBezTo>
                <a:cubicBezTo>
                  <a:pt x="666" y="411"/>
                  <a:pt x="667" y="411"/>
                  <a:pt x="667" y="411"/>
                </a:cubicBezTo>
                <a:cubicBezTo>
                  <a:pt x="667" y="411"/>
                  <a:pt x="668" y="411"/>
                  <a:pt x="668" y="411"/>
                </a:cubicBezTo>
                <a:cubicBezTo>
                  <a:pt x="668" y="411"/>
                  <a:pt x="668" y="411"/>
                  <a:pt x="668" y="411"/>
                </a:cubicBezTo>
                <a:cubicBezTo>
                  <a:pt x="669" y="411"/>
                  <a:pt x="669" y="410"/>
                  <a:pt x="669" y="410"/>
                </a:cubicBezTo>
                <a:cubicBezTo>
                  <a:pt x="669" y="409"/>
                  <a:pt x="670" y="409"/>
                  <a:pt x="670" y="408"/>
                </a:cubicBezTo>
                <a:cubicBezTo>
                  <a:pt x="671" y="408"/>
                  <a:pt x="671" y="408"/>
                  <a:pt x="670" y="408"/>
                </a:cubicBezTo>
                <a:cubicBezTo>
                  <a:pt x="670" y="408"/>
                  <a:pt x="670" y="408"/>
                  <a:pt x="670" y="407"/>
                </a:cubicBezTo>
                <a:cubicBezTo>
                  <a:pt x="670" y="407"/>
                  <a:pt x="671" y="407"/>
                  <a:pt x="671" y="407"/>
                </a:cubicBezTo>
                <a:cubicBezTo>
                  <a:pt x="671" y="407"/>
                  <a:pt x="672" y="407"/>
                  <a:pt x="672" y="408"/>
                </a:cubicBezTo>
                <a:cubicBezTo>
                  <a:pt x="672" y="409"/>
                  <a:pt x="673" y="408"/>
                  <a:pt x="674" y="408"/>
                </a:cubicBezTo>
                <a:cubicBezTo>
                  <a:pt x="674" y="408"/>
                  <a:pt x="674" y="408"/>
                  <a:pt x="674" y="408"/>
                </a:cubicBezTo>
                <a:cubicBezTo>
                  <a:pt x="675" y="408"/>
                  <a:pt x="675" y="408"/>
                  <a:pt x="675" y="409"/>
                </a:cubicBezTo>
                <a:cubicBezTo>
                  <a:pt x="675" y="409"/>
                  <a:pt x="675" y="409"/>
                  <a:pt x="674" y="409"/>
                </a:cubicBezTo>
                <a:cubicBezTo>
                  <a:pt x="675" y="409"/>
                  <a:pt x="676" y="409"/>
                  <a:pt x="677" y="410"/>
                </a:cubicBezTo>
                <a:cubicBezTo>
                  <a:pt x="677" y="410"/>
                  <a:pt x="677" y="411"/>
                  <a:pt x="677" y="411"/>
                </a:cubicBezTo>
                <a:cubicBezTo>
                  <a:pt x="677" y="412"/>
                  <a:pt x="677" y="413"/>
                  <a:pt x="676" y="413"/>
                </a:cubicBezTo>
                <a:cubicBezTo>
                  <a:pt x="676" y="413"/>
                  <a:pt x="676" y="413"/>
                  <a:pt x="676" y="413"/>
                </a:cubicBezTo>
                <a:cubicBezTo>
                  <a:pt x="675" y="413"/>
                  <a:pt x="675" y="413"/>
                  <a:pt x="674" y="412"/>
                </a:cubicBezTo>
                <a:cubicBezTo>
                  <a:pt x="674" y="412"/>
                  <a:pt x="674" y="412"/>
                  <a:pt x="674" y="412"/>
                </a:cubicBezTo>
                <a:cubicBezTo>
                  <a:pt x="673" y="412"/>
                  <a:pt x="673" y="412"/>
                  <a:pt x="673" y="412"/>
                </a:cubicBezTo>
                <a:cubicBezTo>
                  <a:pt x="673" y="412"/>
                  <a:pt x="673" y="412"/>
                  <a:pt x="674" y="412"/>
                </a:cubicBezTo>
                <a:cubicBezTo>
                  <a:pt x="674" y="412"/>
                  <a:pt x="674" y="412"/>
                  <a:pt x="674" y="412"/>
                </a:cubicBezTo>
                <a:cubicBezTo>
                  <a:pt x="674" y="413"/>
                  <a:pt x="674" y="413"/>
                  <a:pt x="675" y="413"/>
                </a:cubicBezTo>
                <a:cubicBezTo>
                  <a:pt x="675" y="414"/>
                  <a:pt x="676" y="414"/>
                  <a:pt x="676" y="414"/>
                </a:cubicBezTo>
                <a:cubicBezTo>
                  <a:pt x="676" y="414"/>
                  <a:pt x="676" y="414"/>
                  <a:pt x="676" y="415"/>
                </a:cubicBezTo>
                <a:cubicBezTo>
                  <a:pt x="676" y="415"/>
                  <a:pt x="677" y="415"/>
                  <a:pt x="676" y="415"/>
                </a:cubicBezTo>
                <a:cubicBezTo>
                  <a:pt x="676" y="415"/>
                  <a:pt x="676" y="416"/>
                  <a:pt x="675" y="416"/>
                </a:cubicBezTo>
                <a:cubicBezTo>
                  <a:pt x="675" y="416"/>
                  <a:pt x="674" y="416"/>
                  <a:pt x="674" y="416"/>
                </a:cubicBezTo>
                <a:cubicBezTo>
                  <a:pt x="673" y="416"/>
                  <a:pt x="673" y="416"/>
                  <a:pt x="672" y="415"/>
                </a:cubicBezTo>
                <a:cubicBezTo>
                  <a:pt x="672" y="415"/>
                  <a:pt x="671" y="414"/>
                  <a:pt x="671" y="414"/>
                </a:cubicBezTo>
                <a:cubicBezTo>
                  <a:pt x="670" y="414"/>
                  <a:pt x="670" y="414"/>
                  <a:pt x="670" y="413"/>
                </a:cubicBezTo>
                <a:cubicBezTo>
                  <a:pt x="668" y="413"/>
                  <a:pt x="667" y="412"/>
                  <a:pt x="666" y="411"/>
                </a:cubicBezTo>
                <a:cubicBezTo>
                  <a:pt x="666" y="411"/>
                  <a:pt x="665" y="411"/>
                  <a:pt x="665" y="411"/>
                </a:cubicBezTo>
                <a:cubicBezTo>
                  <a:pt x="666" y="412"/>
                  <a:pt x="667" y="412"/>
                  <a:pt x="667" y="412"/>
                </a:cubicBezTo>
                <a:cubicBezTo>
                  <a:pt x="668" y="413"/>
                  <a:pt x="668" y="413"/>
                  <a:pt x="668" y="413"/>
                </a:cubicBezTo>
                <a:cubicBezTo>
                  <a:pt x="668" y="414"/>
                  <a:pt x="668" y="414"/>
                  <a:pt x="668" y="414"/>
                </a:cubicBezTo>
                <a:cubicBezTo>
                  <a:pt x="668" y="414"/>
                  <a:pt x="668" y="414"/>
                  <a:pt x="669" y="414"/>
                </a:cubicBezTo>
                <a:cubicBezTo>
                  <a:pt x="669" y="414"/>
                  <a:pt x="669" y="414"/>
                  <a:pt x="669" y="414"/>
                </a:cubicBezTo>
                <a:cubicBezTo>
                  <a:pt x="669" y="414"/>
                  <a:pt x="669" y="414"/>
                  <a:pt x="669" y="415"/>
                </a:cubicBezTo>
                <a:cubicBezTo>
                  <a:pt x="669" y="414"/>
                  <a:pt x="670" y="414"/>
                  <a:pt x="670" y="415"/>
                </a:cubicBezTo>
                <a:cubicBezTo>
                  <a:pt x="671" y="415"/>
                  <a:pt x="671" y="415"/>
                  <a:pt x="671" y="416"/>
                </a:cubicBezTo>
                <a:cubicBezTo>
                  <a:pt x="671" y="416"/>
                  <a:pt x="671" y="416"/>
                  <a:pt x="671" y="416"/>
                </a:cubicBezTo>
                <a:cubicBezTo>
                  <a:pt x="671" y="416"/>
                  <a:pt x="672" y="416"/>
                  <a:pt x="672" y="416"/>
                </a:cubicBezTo>
                <a:cubicBezTo>
                  <a:pt x="671" y="417"/>
                  <a:pt x="671" y="417"/>
                  <a:pt x="671" y="417"/>
                </a:cubicBezTo>
                <a:cubicBezTo>
                  <a:pt x="671" y="417"/>
                  <a:pt x="671" y="417"/>
                  <a:pt x="671" y="417"/>
                </a:cubicBezTo>
                <a:cubicBezTo>
                  <a:pt x="671" y="417"/>
                  <a:pt x="671" y="417"/>
                  <a:pt x="672" y="417"/>
                </a:cubicBezTo>
                <a:cubicBezTo>
                  <a:pt x="672" y="417"/>
                  <a:pt x="673" y="417"/>
                  <a:pt x="673" y="417"/>
                </a:cubicBezTo>
                <a:cubicBezTo>
                  <a:pt x="673" y="417"/>
                  <a:pt x="673" y="417"/>
                  <a:pt x="673" y="417"/>
                </a:cubicBezTo>
                <a:cubicBezTo>
                  <a:pt x="673" y="417"/>
                  <a:pt x="674" y="417"/>
                  <a:pt x="674" y="417"/>
                </a:cubicBezTo>
                <a:cubicBezTo>
                  <a:pt x="674" y="417"/>
                  <a:pt x="674" y="417"/>
                  <a:pt x="675" y="417"/>
                </a:cubicBezTo>
                <a:cubicBezTo>
                  <a:pt x="675" y="416"/>
                  <a:pt x="675" y="416"/>
                  <a:pt x="675" y="416"/>
                </a:cubicBezTo>
                <a:cubicBezTo>
                  <a:pt x="676" y="417"/>
                  <a:pt x="676" y="417"/>
                  <a:pt x="676" y="416"/>
                </a:cubicBezTo>
                <a:cubicBezTo>
                  <a:pt x="677" y="416"/>
                  <a:pt x="677" y="416"/>
                  <a:pt x="677" y="417"/>
                </a:cubicBezTo>
                <a:cubicBezTo>
                  <a:pt x="677" y="417"/>
                  <a:pt x="678" y="418"/>
                  <a:pt x="677" y="418"/>
                </a:cubicBezTo>
                <a:cubicBezTo>
                  <a:pt x="677" y="418"/>
                  <a:pt x="677" y="419"/>
                  <a:pt x="677" y="419"/>
                </a:cubicBezTo>
                <a:cubicBezTo>
                  <a:pt x="677" y="419"/>
                  <a:pt x="677" y="419"/>
                  <a:pt x="677" y="419"/>
                </a:cubicBezTo>
                <a:cubicBezTo>
                  <a:pt x="677" y="419"/>
                  <a:pt x="677" y="419"/>
                  <a:pt x="677" y="419"/>
                </a:cubicBezTo>
                <a:cubicBezTo>
                  <a:pt x="678" y="419"/>
                  <a:pt x="678" y="420"/>
                  <a:pt x="678" y="420"/>
                </a:cubicBezTo>
                <a:cubicBezTo>
                  <a:pt x="678" y="420"/>
                  <a:pt x="678" y="421"/>
                  <a:pt x="678" y="421"/>
                </a:cubicBezTo>
                <a:cubicBezTo>
                  <a:pt x="678" y="421"/>
                  <a:pt x="678" y="421"/>
                  <a:pt x="678" y="421"/>
                </a:cubicBezTo>
                <a:cubicBezTo>
                  <a:pt x="678" y="421"/>
                  <a:pt x="678" y="421"/>
                  <a:pt x="678" y="422"/>
                </a:cubicBezTo>
                <a:cubicBezTo>
                  <a:pt x="678" y="422"/>
                  <a:pt x="678" y="422"/>
                  <a:pt x="678" y="423"/>
                </a:cubicBezTo>
                <a:cubicBezTo>
                  <a:pt x="678" y="423"/>
                  <a:pt x="677" y="422"/>
                  <a:pt x="677" y="422"/>
                </a:cubicBezTo>
                <a:cubicBezTo>
                  <a:pt x="677" y="422"/>
                  <a:pt x="677" y="422"/>
                  <a:pt x="676" y="421"/>
                </a:cubicBezTo>
                <a:cubicBezTo>
                  <a:pt x="677" y="422"/>
                  <a:pt x="677" y="422"/>
                  <a:pt x="677" y="423"/>
                </a:cubicBezTo>
                <a:cubicBezTo>
                  <a:pt x="678" y="423"/>
                  <a:pt x="677" y="423"/>
                  <a:pt x="677" y="423"/>
                </a:cubicBezTo>
                <a:cubicBezTo>
                  <a:pt x="676" y="423"/>
                  <a:pt x="676" y="424"/>
                  <a:pt x="675" y="423"/>
                </a:cubicBezTo>
                <a:cubicBezTo>
                  <a:pt x="675" y="423"/>
                  <a:pt x="675" y="423"/>
                  <a:pt x="675" y="423"/>
                </a:cubicBezTo>
                <a:cubicBezTo>
                  <a:pt x="674" y="423"/>
                  <a:pt x="674" y="422"/>
                  <a:pt x="674" y="422"/>
                </a:cubicBezTo>
                <a:cubicBezTo>
                  <a:pt x="673" y="422"/>
                  <a:pt x="673" y="421"/>
                  <a:pt x="673" y="421"/>
                </a:cubicBezTo>
                <a:cubicBezTo>
                  <a:pt x="672" y="421"/>
                  <a:pt x="672" y="421"/>
                  <a:pt x="672" y="421"/>
                </a:cubicBezTo>
                <a:cubicBezTo>
                  <a:pt x="671" y="420"/>
                  <a:pt x="670" y="419"/>
                  <a:pt x="669" y="419"/>
                </a:cubicBezTo>
                <a:cubicBezTo>
                  <a:pt x="669" y="418"/>
                  <a:pt x="669" y="418"/>
                  <a:pt x="669" y="418"/>
                </a:cubicBezTo>
                <a:cubicBezTo>
                  <a:pt x="668" y="418"/>
                  <a:pt x="668" y="418"/>
                  <a:pt x="668" y="418"/>
                </a:cubicBezTo>
                <a:cubicBezTo>
                  <a:pt x="668" y="418"/>
                  <a:pt x="667" y="417"/>
                  <a:pt x="667" y="417"/>
                </a:cubicBezTo>
                <a:cubicBezTo>
                  <a:pt x="667" y="417"/>
                  <a:pt x="667" y="417"/>
                  <a:pt x="666" y="417"/>
                </a:cubicBezTo>
                <a:cubicBezTo>
                  <a:pt x="666" y="416"/>
                  <a:pt x="666" y="416"/>
                  <a:pt x="666" y="416"/>
                </a:cubicBezTo>
                <a:cubicBezTo>
                  <a:pt x="666" y="416"/>
                  <a:pt x="666" y="416"/>
                  <a:pt x="666" y="416"/>
                </a:cubicBezTo>
                <a:cubicBezTo>
                  <a:pt x="665" y="416"/>
                  <a:pt x="666" y="416"/>
                  <a:pt x="666" y="417"/>
                </a:cubicBezTo>
                <a:cubicBezTo>
                  <a:pt x="666" y="417"/>
                  <a:pt x="666" y="417"/>
                  <a:pt x="666" y="417"/>
                </a:cubicBezTo>
                <a:cubicBezTo>
                  <a:pt x="667" y="418"/>
                  <a:pt x="667" y="418"/>
                  <a:pt x="666" y="419"/>
                </a:cubicBezTo>
                <a:cubicBezTo>
                  <a:pt x="666" y="419"/>
                  <a:pt x="666" y="419"/>
                  <a:pt x="667" y="419"/>
                </a:cubicBezTo>
                <a:cubicBezTo>
                  <a:pt x="667" y="419"/>
                  <a:pt x="667" y="419"/>
                  <a:pt x="667" y="419"/>
                </a:cubicBezTo>
                <a:cubicBezTo>
                  <a:pt x="668" y="419"/>
                  <a:pt x="668" y="420"/>
                  <a:pt x="668" y="420"/>
                </a:cubicBezTo>
                <a:cubicBezTo>
                  <a:pt x="669" y="420"/>
                  <a:pt x="669" y="420"/>
                  <a:pt x="669" y="420"/>
                </a:cubicBezTo>
                <a:cubicBezTo>
                  <a:pt x="669" y="421"/>
                  <a:pt x="668" y="421"/>
                  <a:pt x="668" y="421"/>
                </a:cubicBezTo>
                <a:cubicBezTo>
                  <a:pt x="668" y="421"/>
                  <a:pt x="668" y="421"/>
                  <a:pt x="668" y="421"/>
                </a:cubicBezTo>
                <a:cubicBezTo>
                  <a:pt x="668" y="421"/>
                  <a:pt x="668" y="421"/>
                  <a:pt x="668" y="421"/>
                </a:cubicBezTo>
                <a:cubicBezTo>
                  <a:pt x="668" y="421"/>
                  <a:pt x="669" y="421"/>
                  <a:pt x="669" y="422"/>
                </a:cubicBezTo>
                <a:cubicBezTo>
                  <a:pt x="669" y="422"/>
                  <a:pt x="669" y="422"/>
                  <a:pt x="669" y="423"/>
                </a:cubicBezTo>
                <a:cubicBezTo>
                  <a:pt x="669" y="422"/>
                  <a:pt x="669" y="422"/>
                  <a:pt x="669" y="422"/>
                </a:cubicBezTo>
                <a:cubicBezTo>
                  <a:pt x="670" y="422"/>
                  <a:pt x="670" y="422"/>
                  <a:pt x="670" y="421"/>
                </a:cubicBezTo>
                <a:cubicBezTo>
                  <a:pt x="670" y="421"/>
                  <a:pt x="671" y="421"/>
                  <a:pt x="671" y="421"/>
                </a:cubicBezTo>
                <a:cubicBezTo>
                  <a:pt x="672" y="421"/>
                  <a:pt x="672" y="422"/>
                  <a:pt x="672" y="422"/>
                </a:cubicBezTo>
                <a:cubicBezTo>
                  <a:pt x="672" y="422"/>
                  <a:pt x="672" y="423"/>
                  <a:pt x="672" y="423"/>
                </a:cubicBezTo>
                <a:cubicBezTo>
                  <a:pt x="672" y="423"/>
                  <a:pt x="671" y="423"/>
                  <a:pt x="671" y="423"/>
                </a:cubicBezTo>
                <a:cubicBezTo>
                  <a:pt x="671" y="424"/>
                  <a:pt x="671" y="424"/>
                  <a:pt x="671" y="424"/>
                </a:cubicBezTo>
                <a:cubicBezTo>
                  <a:pt x="671" y="423"/>
                  <a:pt x="671" y="423"/>
                  <a:pt x="672" y="423"/>
                </a:cubicBezTo>
                <a:cubicBezTo>
                  <a:pt x="672" y="423"/>
                  <a:pt x="672" y="423"/>
                  <a:pt x="672" y="423"/>
                </a:cubicBezTo>
                <a:cubicBezTo>
                  <a:pt x="672" y="423"/>
                  <a:pt x="673" y="423"/>
                  <a:pt x="673" y="423"/>
                </a:cubicBezTo>
                <a:cubicBezTo>
                  <a:pt x="673" y="423"/>
                  <a:pt x="674" y="423"/>
                  <a:pt x="674" y="423"/>
                </a:cubicBezTo>
                <a:cubicBezTo>
                  <a:pt x="674" y="423"/>
                  <a:pt x="674" y="423"/>
                  <a:pt x="674" y="424"/>
                </a:cubicBezTo>
                <a:cubicBezTo>
                  <a:pt x="674" y="424"/>
                  <a:pt x="674" y="424"/>
                  <a:pt x="673" y="424"/>
                </a:cubicBezTo>
                <a:cubicBezTo>
                  <a:pt x="674" y="424"/>
                  <a:pt x="675" y="424"/>
                  <a:pt x="676" y="425"/>
                </a:cubicBezTo>
                <a:cubicBezTo>
                  <a:pt x="676" y="425"/>
                  <a:pt x="676" y="425"/>
                  <a:pt x="676" y="425"/>
                </a:cubicBezTo>
                <a:cubicBezTo>
                  <a:pt x="677" y="424"/>
                  <a:pt x="678" y="424"/>
                  <a:pt x="678" y="425"/>
                </a:cubicBezTo>
                <a:cubicBezTo>
                  <a:pt x="678" y="426"/>
                  <a:pt x="678" y="426"/>
                  <a:pt x="678" y="427"/>
                </a:cubicBezTo>
                <a:cubicBezTo>
                  <a:pt x="678" y="427"/>
                  <a:pt x="678" y="427"/>
                  <a:pt x="678" y="427"/>
                </a:cubicBezTo>
                <a:cubicBezTo>
                  <a:pt x="677" y="426"/>
                  <a:pt x="677" y="426"/>
                  <a:pt x="676" y="426"/>
                </a:cubicBezTo>
                <a:cubicBezTo>
                  <a:pt x="676" y="426"/>
                  <a:pt x="676" y="426"/>
                  <a:pt x="676" y="426"/>
                </a:cubicBezTo>
                <a:cubicBezTo>
                  <a:pt x="676" y="426"/>
                  <a:pt x="677" y="426"/>
                  <a:pt x="676" y="427"/>
                </a:cubicBezTo>
                <a:cubicBezTo>
                  <a:pt x="676" y="427"/>
                  <a:pt x="676" y="427"/>
                  <a:pt x="676" y="427"/>
                </a:cubicBezTo>
                <a:cubicBezTo>
                  <a:pt x="677" y="427"/>
                  <a:pt x="677" y="429"/>
                  <a:pt x="678" y="428"/>
                </a:cubicBezTo>
                <a:cubicBezTo>
                  <a:pt x="678" y="428"/>
                  <a:pt x="678" y="428"/>
                  <a:pt x="678" y="428"/>
                </a:cubicBezTo>
                <a:cubicBezTo>
                  <a:pt x="678" y="428"/>
                  <a:pt x="678" y="429"/>
                  <a:pt x="678" y="429"/>
                </a:cubicBezTo>
                <a:cubicBezTo>
                  <a:pt x="678" y="429"/>
                  <a:pt x="678" y="429"/>
                  <a:pt x="678" y="429"/>
                </a:cubicBezTo>
                <a:cubicBezTo>
                  <a:pt x="678" y="429"/>
                  <a:pt x="678" y="429"/>
                  <a:pt x="678" y="429"/>
                </a:cubicBezTo>
                <a:cubicBezTo>
                  <a:pt x="678" y="430"/>
                  <a:pt x="678" y="430"/>
                  <a:pt x="678" y="430"/>
                </a:cubicBezTo>
                <a:cubicBezTo>
                  <a:pt x="679" y="430"/>
                  <a:pt x="679" y="431"/>
                  <a:pt x="678" y="431"/>
                </a:cubicBezTo>
                <a:cubicBezTo>
                  <a:pt x="678" y="431"/>
                  <a:pt x="678" y="431"/>
                  <a:pt x="678" y="431"/>
                </a:cubicBezTo>
                <a:cubicBezTo>
                  <a:pt x="679" y="431"/>
                  <a:pt x="679" y="432"/>
                  <a:pt x="679" y="432"/>
                </a:cubicBezTo>
                <a:cubicBezTo>
                  <a:pt x="679" y="432"/>
                  <a:pt x="678" y="432"/>
                  <a:pt x="678" y="432"/>
                </a:cubicBezTo>
                <a:cubicBezTo>
                  <a:pt x="679" y="432"/>
                  <a:pt x="679" y="432"/>
                  <a:pt x="679" y="433"/>
                </a:cubicBezTo>
                <a:cubicBezTo>
                  <a:pt x="679" y="433"/>
                  <a:pt x="679" y="433"/>
                  <a:pt x="679" y="433"/>
                </a:cubicBezTo>
                <a:cubicBezTo>
                  <a:pt x="679" y="434"/>
                  <a:pt x="679" y="434"/>
                  <a:pt x="679" y="435"/>
                </a:cubicBezTo>
                <a:cubicBezTo>
                  <a:pt x="679" y="435"/>
                  <a:pt x="679" y="435"/>
                  <a:pt x="679" y="435"/>
                </a:cubicBezTo>
                <a:cubicBezTo>
                  <a:pt x="680" y="436"/>
                  <a:pt x="680" y="437"/>
                  <a:pt x="680" y="438"/>
                </a:cubicBezTo>
                <a:cubicBezTo>
                  <a:pt x="680" y="438"/>
                  <a:pt x="680" y="438"/>
                  <a:pt x="680" y="438"/>
                </a:cubicBezTo>
                <a:cubicBezTo>
                  <a:pt x="680" y="439"/>
                  <a:pt x="680" y="439"/>
                  <a:pt x="680" y="440"/>
                </a:cubicBezTo>
                <a:cubicBezTo>
                  <a:pt x="680" y="440"/>
                  <a:pt x="680" y="440"/>
                  <a:pt x="680" y="440"/>
                </a:cubicBezTo>
                <a:cubicBezTo>
                  <a:pt x="681" y="440"/>
                  <a:pt x="681" y="441"/>
                  <a:pt x="681" y="441"/>
                </a:cubicBezTo>
                <a:cubicBezTo>
                  <a:pt x="681" y="441"/>
                  <a:pt x="681" y="441"/>
                  <a:pt x="681" y="441"/>
                </a:cubicBezTo>
                <a:cubicBezTo>
                  <a:pt x="681" y="441"/>
                  <a:pt x="681" y="441"/>
                  <a:pt x="681" y="441"/>
                </a:cubicBezTo>
                <a:cubicBezTo>
                  <a:pt x="681" y="442"/>
                  <a:pt x="681" y="443"/>
                  <a:pt x="681" y="444"/>
                </a:cubicBezTo>
                <a:close/>
                <a:moveTo>
                  <a:pt x="680" y="447"/>
                </a:moveTo>
                <a:cubicBezTo>
                  <a:pt x="680" y="447"/>
                  <a:pt x="680" y="447"/>
                  <a:pt x="680" y="447"/>
                </a:cubicBezTo>
                <a:close/>
                <a:moveTo>
                  <a:pt x="697" y="474"/>
                </a:moveTo>
                <a:cubicBezTo>
                  <a:pt x="697" y="473"/>
                  <a:pt x="697" y="473"/>
                  <a:pt x="697" y="473"/>
                </a:cubicBezTo>
                <a:cubicBezTo>
                  <a:pt x="698" y="473"/>
                  <a:pt x="698" y="473"/>
                  <a:pt x="697" y="473"/>
                </a:cubicBezTo>
                <a:cubicBezTo>
                  <a:pt x="697" y="472"/>
                  <a:pt x="697" y="472"/>
                  <a:pt x="697" y="473"/>
                </a:cubicBezTo>
                <a:cubicBezTo>
                  <a:pt x="697" y="473"/>
                  <a:pt x="696" y="473"/>
                  <a:pt x="696" y="473"/>
                </a:cubicBezTo>
                <a:cubicBezTo>
                  <a:pt x="696" y="473"/>
                  <a:pt x="696" y="473"/>
                  <a:pt x="696" y="474"/>
                </a:cubicBezTo>
                <a:cubicBezTo>
                  <a:pt x="696" y="474"/>
                  <a:pt x="696" y="474"/>
                  <a:pt x="696" y="474"/>
                </a:cubicBezTo>
                <a:cubicBezTo>
                  <a:pt x="695" y="474"/>
                  <a:pt x="696" y="475"/>
                  <a:pt x="696" y="475"/>
                </a:cubicBezTo>
                <a:cubicBezTo>
                  <a:pt x="696" y="475"/>
                  <a:pt x="696" y="475"/>
                  <a:pt x="696" y="475"/>
                </a:cubicBezTo>
                <a:cubicBezTo>
                  <a:pt x="697" y="475"/>
                  <a:pt x="697" y="475"/>
                  <a:pt x="697" y="475"/>
                </a:cubicBezTo>
                <a:cubicBezTo>
                  <a:pt x="697" y="476"/>
                  <a:pt x="698" y="475"/>
                  <a:pt x="698" y="475"/>
                </a:cubicBezTo>
                <a:cubicBezTo>
                  <a:pt x="698" y="475"/>
                  <a:pt x="699" y="474"/>
                  <a:pt x="698" y="474"/>
                </a:cubicBezTo>
                <a:cubicBezTo>
                  <a:pt x="698" y="473"/>
                  <a:pt x="698" y="473"/>
                  <a:pt x="697" y="474"/>
                </a:cubicBezTo>
                <a:close/>
                <a:moveTo>
                  <a:pt x="694" y="471"/>
                </a:moveTo>
                <a:cubicBezTo>
                  <a:pt x="694" y="470"/>
                  <a:pt x="694" y="471"/>
                  <a:pt x="694" y="471"/>
                </a:cubicBezTo>
                <a:cubicBezTo>
                  <a:pt x="694" y="471"/>
                  <a:pt x="694" y="471"/>
                  <a:pt x="693" y="471"/>
                </a:cubicBezTo>
                <a:cubicBezTo>
                  <a:pt x="693" y="471"/>
                  <a:pt x="693" y="472"/>
                  <a:pt x="693" y="472"/>
                </a:cubicBezTo>
                <a:cubicBezTo>
                  <a:pt x="694" y="472"/>
                  <a:pt x="693" y="473"/>
                  <a:pt x="693" y="473"/>
                </a:cubicBezTo>
                <a:cubicBezTo>
                  <a:pt x="693" y="474"/>
                  <a:pt x="693" y="474"/>
                  <a:pt x="694" y="475"/>
                </a:cubicBezTo>
                <a:cubicBezTo>
                  <a:pt x="694" y="474"/>
                  <a:pt x="694" y="473"/>
                  <a:pt x="694" y="472"/>
                </a:cubicBezTo>
                <a:cubicBezTo>
                  <a:pt x="695" y="472"/>
                  <a:pt x="695" y="472"/>
                  <a:pt x="695" y="471"/>
                </a:cubicBezTo>
                <a:cubicBezTo>
                  <a:pt x="695" y="472"/>
                  <a:pt x="696" y="472"/>
                  <a:pt x="696" y="471"/>
                </a:cubicBezTo>
                <a:cubicBezTo>
                  <a:pt x="695" y="470"/>
                  <a:pt x="695" y="471"/>
                  <a:pt x="694" y="471"/>
                </a:cubicBezTo>
                <a:close/>
                <a:moveTo>
                  <a:pt x="706" y="484"/>
                </a:moveTo>
                <a:cubicBezTo>
                  <a:pt x="706" y="484"/>
                  <a:pt x="705" y="484"/>
                  <a:pt x="706" y="483"/>
                </a:cubicBezTo>
                <a:cubicBezTo>
                  <a:pt x="706" y="483"/>
                  <a:pt x="706" y="483"/>
                  <a:pt x="706" y="483"/>
                </a:cubicBezTo>
                <a:cubicBezTo>
                  <a:pt x="706" y="483"/>
                  <a:pt x="706" y="482"/>
                  <a:pt x="706" y="482"/>
                </a:cubicBezTo>
                <a:cubicBezTo>
                  <a:pt x="706" y="483"/>
                  <a:pt x="706" y="481"/>
                  <a:pt x="705" y="482"/>
                </a:cubicBezTo>
                <a:cubicBezTo>
                  <a:pt x="705" y="482"/>
                  <a:pt x="705" y="482"/>
                  <a:pt x="705" y="482"/>
                </a:cubicBezTo>
                <a:cubicBezTo>
                  <a:pt x="705" y="481"/>
                  <a:pt x="704" y="481"/>
                  <a:pt x="704" y="482"/>
                </a:cubicBezTo>
                <a:cubicBezTo>
                  <a:pt x="704" y="482"/>
                  <a:pt x="704" y="483"/>
                  <a:pt x="704" y="483"/>
                </a:cubicBezTo>
                <a:cubicBezTo>
                  <a:pt x="705" y="484"/>
                  <a:pt x="706" y="484"/>
                  <a:pt x="706" y="485"/>
                </a:cubicBezTo>
                <a:cubicBezTo>
                  <a:pt x="706" y="485"/>
                  <a:pt x="706" y="486"/>
                  <a:pt x="706" y="485"/>
                </a:cubicBezTo>
                <a:cubicBezTo>
                  <a:pt x="706" y="485"/>
                  <a:pt x="707" y="485"/>
                  <a:pt x="706" y="485"/>
                </a:cubicBezTo>
                <a:cubicBezTo>
                  <a:pt x="706" y="484"/>
                  <a:pt x="706" y="484"/>
                  <a:pt x="706" y="484"/>
                </a:cubicBezTo>
                <a:close/>
                <a:moveTo>
                  <a:pt x="694" y="469"/>
                </a:moveTo>
                <a:cubicBezTo>
                  <a:pt x="694" y="469"/>
                  <a:pt x="694" y="469"/>
                  <a:pt x="694" y="469"/>
                </a:cubicBezTo>
                <a:cubicBezTo>
                  <a:pt x="694" y="468"/>
                  <a:pt x="694" y="468"/>
                  <a:pt x="694" y="468"/>
                </a:cubicBezTo>
                <a:cubicBezTo>
                  <a:pt x="693" y="468"/>
                  <a:pt x="693" y="468"/>
                  <a:pt x="692" y="468"/>
                </a:cubicBezTo>
                <a:cubicBezTo>
                  <a:pt x="692" y="468"/>
                  <a:pt x="692" y="468"/>
                  <a:pt x="692" y="468"/>
                </a:cubicBezTo>
                <a:cubicBezTo>
                  <a:pt x="692" y="468"/>
                  <a:pt x="692" y="468"/>
                  <a:pt x="692" y="468"/>
                </a:cubicBezTo>
                <a:cubicBezTo>
                  <a:pt x="692" y="468"/>
                  <a:pt x="692" y="468"/>
                  <a:pt x="692" y="468"/>
                </a:cubicBezTo>
                <a:cubicBezTo>
                  <a:pt x="692" y="469"/>
                  <a:pt x="692" y="469"/>
                  <a:pt x="691" y="470"/>
                </a:cubicBezTo>
                <a:cubicBezTo>
                  <a:pt x="692" y="470"/>
                  <a:pt x="692" y="469"/>
                  <a:pt x="692" y="470"/>
                </a:cubicBezTo>
                <a:cubicBezTo>
                  <a:pt x="693" y="470"/>
                  <a:pt x="693" y="470"/>
                  <a:pt x="694" y="469"/>
                </a:cubicBezTo>
                <a:close/>
                <a:moveTo>
                  <a:pt x="696" y="467"/>
                </a:moveTo>
                <a:cubicBezTo>
                  <a:pt x="696" y="467"/>
                  <a:pt x="696" y="467"/>
                  <a:pt x="696" y="468"/>
                </a:cubicBezTo>
                <a:cubicBezTo>
                  <a:pt x="696" y="468"/>
                  <a:pt x="696" y="468"/>
                  <a:pt x="696" y="468"/>
                </a:cubicBezTo>
                <a:cubicBezTo>
                  <a:pt x="696" y="469"/>
                  <a:pt x="696" y="469"/>
                  <a:pt x="697" y="470"/>
                </a:cubicBezTo>
                <a:cubicBezTo>
                  <a:pt x="697" y="470"/>
                  <a:pt x="697" y="470"/>
                  <a:pt x="697" y="470"/>
                </a:cubicBezTo>
                <a:cubicBezTo>
                  <a:pt x="698" y="469"/>
                  <a:pt x="698" y="469"/>
                  <a:pt x="698" y="468"/>
                </a:cubicBezTo>
                <a:cubicBezTo>
                  <a:pt x="698" y="468"/>
                  <a:pt x="697" y="467"/>
                  <a:pt x="696" y="467"/>
                </a:cubicBezTo>
                <a:close/>
                <a:moveTo>
                  <a:pt x="671" y="429"/>
                </a:moveTo>
                <a:cubicBezTo>
                  <a:pt x="671" y="429"/>
                  <a:pt x="671" y="429"/>
                  <a:pt x="671" y="428"/>
                </a:cubicBezTo>
                <a:cubicBezTo>
                  <a:pt x="670" y="428"/>
                  <a:pt x="670" y="428"/>
                  <a:pt x="670" y="429"/>
                </a:cubicBezTo>
                <a:cubicBezTo>
                  <a:pt x="670" y="429"/>
                  <a:pt x="669" y="429"/>
                  <a:pt x="669" y="429"/>
                </a:cubicBezTo>
                <a:cubicBezTo>
                  <a:pt x="669" y="429"/>
                  <a:pt x="669" y="430"/>
                  <a:pt x="669" y="430"/>
                </a:cubicBezTo>
                <a:cubicBezTo>
                  <a:pt x="669" y="431"/>
                  <a:pt x="669" y="431"/>
                  <a:pt x="669" y="431"/>
                </a:cubicBezTo>
                <a:cubicBezTo>
                  <a:pt x="669" y="431"/>
                  <a:pt x="670" y="431"/>
                  <a:pt x="670" y="431"/>
                </a:cubicBezTo>
                <a:cubicBezTo>
                  <a:pt x="670" y="430"/>
                  <a:pt x="670" y="430"/>
                  <a:pt x="670" y="430"/>
                </a:cubicBezTo>
                <a:cubicBezTo>
                  <a:pt x="670" y="430"/>
                  <a:pt x="670" y="430"/>
                  <a:pt x="671" y="430"/>
                </a:cubicBezTo>
                <a:cubicBezTo>
                  <a:pt x="671" y="430"/>
                  <a:pt x="671" y="429"/>
                  <a:pt x="671" y="429"/>
                </a:cubicBezTo>
                <a:close/>
                <a:moveTo>
                  <a:pt x="698" y="462"/>
                </a:moveTo>
                <a:cubicBezTo>
                  <a:pt x="698" y="462"/>
                  <a:pt x="698" y="462"/>
                  <a:pt x="698" y="462"/>
                </a:cubicBezTo>
                <a:cubicBezTo>
                  <a:pt x="699" y="462"/>
                  <a:pt x="699" y="462"/>
                  <a:pt x="699" y="461"/>
                </a:cubicBezTo>
                <a:cubicBezTo>
                  <a:pt x="699" y="461"/>
                  <a:pt x="699" y="461"/>
                  <a:pt x="699" y="461"/>
                </a:cubicBezTo>
                <a:cubicBezTo>
                  <a:pt x="699" y="460"/>
                  <a:pt x="698" y="460"/>
                  <a:pt x="698" y="460"/>
                </a:cubicBezTo>
                <a:cubicBezTo>
                  <a:pt x="698" y="461"/>
                  <a:pt x="698" y="460"/>
                  <a:pt x="698" y="460"/>
                </a:cubicBezTo>
                <a:cubicBezTo>
                  <a:pt x="698" y="460"/>
                  <a:pt x="698" y="460"/>
                  <a:pt x="698" y="460"/>
                </a:cubicBezTo>
                <a:cubicBezTo>
                  <a:pt x="697" y="460"/>
                  <a:pt x="697" y="461"/>
                  <a:pt x="698" y="462"/>
                </a:cubicBezTo>
                <a:close/>
                <a:moveTo>
                  <a:pt x="687" y="459"/>
                </a:moveTo>
                <a:cubicBezTo>
                  <a:pt x="686" y="459"/>
                  <a:pt x="686" y="460"/>
                  <a:pt x="686" y="460"/>
                </a:cubicBezTo>
                <a:cubicBezTo>
                  <a:pt x="686" y="460"/>
                  <a:pt x="686" y="460"/>
                  <a:pt x="686" y="460"/>
                </a:cubicBezTo>
                <a:cubicBezTo>
                  <a:pt x="685" y="459"/>
                  <a:pt x="685" y="459"/>
                  <a:pt x="685" y="459"/>
                </a:cubicBezTo>
                <a:cubicBezTo>
                  <a:pt x="685" y="460"/>
                  <a:pt x="685" y="459"/>
                  <a:pt x="684" y="459"/>
                </a:cubicBezTo>
                <a:cubicBezTo>
                  <a:pt x="684" y="460"/>
                  <a:pt x="684" y="460"/>
                  <a:pt x="685" y="460"/>
                </a:cubicBezTo>
                <a:cubicBezTo>
                  <a:pt x="685" y="460"/>
                  <a:pt x="685" y="461"/>
                  <a:pt x="684" y="461"/>
                </a:cubicBezTo>
                <a:cubicBezTo>
                  <a:pt x="685" y="461"/>
                  <a:pt x="685" y="461"/>
                  <a:pt x="685" y="461"/>
                </a:cubicBezTo>
                <a:cubicBezTo>
                  <a:pt x="686" y="461"/>
                  <a:pt x="686" y="460"/>
                  <a:pt x="687" y="460"/>
                </a:cubicBezTo>
                <a:cubicBezTo>
                  <a:pt x="687" y="460"/>
                  <a:pt x="687" y="459"/>
                  <a:pt x="687" y="459"/>
                </a:cubicBezTo>
                <a:cubicBezTo>
                  <a:pt x="687" y="459"/>
                  <a:pt x="687" y="459"/>
                  <a:pt x="687" y="459"/>
                </a:cubicBezTo>
                <a:close/>
                <a:moveTo>
                  <a:pt x="694" y="470"/>
                </a:moveTo>
                <a:cubicBezTo>
                  <a:pt x="694" y="470"/>
                  <a:pt x="694" y="470"/>
                  <a:pt x="695" y="470"/>
                </a:cubicBezTo>
                <a:cubicBezTo>
                  <a:pt x="695" y="470"/>
                  <a:pt x="695" y="470"/>
                  <a:pt x="695" y="470"/>
                </a:cubicBezTo>
                <a:cubicBezTo>
                  <a:pt x="696" y="470"/>
                  <a:pt x="696" y="470"/>
                  <a:pt x="696" y="470"/>
                </a:cubicBezTo>
                <a:cubicBezTo>
                  <a:pt x="696" y="469"/>
                  <a:pt x="696" y="468"/>
                  <a:pt x="695" y="468"/>
                </a:cubicBezTo>
                <a:cubicBezTo>
                  <a:pt x="695" y="468"/>
                  <a:pt x="695" y="469"/>
                  <a:pt x="695" y="469"/>
                </a:cubicBezTo>
                <a:cubicBezTo>
                  <a:pt x="694" y="469"/>
                  <a:pt x="694" y="469"/>
                  <a:pt x="694" y="469"/>
                </a:cubicBezTo>
                <a:cubicBezTo>
                  <a:pt x="694" y="470"/>
                  <a:pt x="694" y="470"/>
                  <a:pt x="694" y="470"/>
                </a:cubicBezTo>
                <a:close/>
                <a:moveTo>
                  <a:pt x="690" y="459"/>
                </a:moveTo>
                <a:cubicBezTo>
                  <a:pt x="690" y="459"/>
                  <a:pt x="690" y="459"/>
                  <a:pt x="690" y="460"/>
                </a:cubicBezTo>
                <a:cubicBezTo>
                  <a:pt x="690" y="460"/>
                  <a:pt x="690" y="460"/>
                  <a:pt x="690" y="461"/>
                </a:cubicBezTo>
                <a:cubicBezTo>
                  <a:pt x="690" y="461"/>
                  <a:pt x="690" y="461"/>
                  <a:pt x="690" y="461"/>
                </a:cubicBezTo>
                <a:cubicBezTo>
                  <a:pt x="691" y="461"/>
                  <a:pt x="691" y="461"/>
                  <a:pt x="691" y="461"/>
                </a:cubicBezTo>
                <a:cubicBezTo>
                  <a:pt x="691" y="460"/>
                  <a:pt x="690" y="460"/>
                  <a:pt x="691" y="460"/>
                </a:cubicBezTo>
                <a:cubicBezTo>
                  <a:pt x="691" y="460"/>
                  <a:pt x="691" y="459"/>
                  <a:pt x="691" y="459"/>
                </a:cubicBezTo>
                <a:cubicBezTo>
                  <a:pt x="690" y="459"/>
                  <a:pt x="690" y="459"/>
                  <a:pt x="690" y="459"/>
                </a:cubicBezTo>
                <a:close/>
                <a:moveTo>
                  <a:pt x="662" y="404"/>
                </a:moveTo>
                <a:cubicBezTo>
                  <a:pt x="663" y="404"/>
                  <a:pt x="663" y="404"/>
                  <a:pt x="663" y="403"/>
                </a:cubicBezTo>
                <a:cubicBezTo>
                  <a:pt x="663" y="403"/>
                  <a:pt x="663" y="403"/>
                  <a:pt x="663" y="403"/>
                </a:cubicBezTo>
                <a:cubicBezTo>
                  <a:pt x="662" y="403"/>
                  <a:pt x="661" y="404"/>
                  <a:pt x="661" y="404"/>
                </a:cubicBezTo>
                <a:cubicBezTo>
                  <a:pt x="662" y="404"/>
                  <a:pt x="662" y="404"/>
                  <a:pt x="662" y="404"/>
                </a:cubicBezTo>
                <a:close/>
                <a:moveTo>
                  <a:pt x="701" y="455"/>
                </a:moveTo>
                <a:cubicBezTo>
                  <a:pt x="701" y="455"/>
                  <a:pt x="701" y="455"/>
                  <a:pt x="701" y="455"/>
                </a:cubicBezTo>
                <a:cubicBezTo>
                  <a:pt x="701" y="456"/>
                  <a:pt x="701" y="456"/>
                  <a:pt x="701" y="456"/>
                </a:cubicBezTo>
                <a:cubicBezTo>
                  <a:pt x="702" y="456"/>
                  <a:pt x="702" y="456"/>
                  <a:pt x="702" y="456"/>
                </a:cubicBezTo>
                <a:cubicBezTo>
                  <a:pt x="702" y="455"/>
                  <a:pt x="702" y="455"/>
                  <a:pt x="701" y="455"/>
                </a:cubicBezTo>
                <a:close/>
                <a:moveTo>
                  <a:pt x="667" y="418"/>
                </a:moveTo>
                <a:cubicBezTo>
                  <a:pt x="667" y="418"/>
                  <a:pt x="668" y="419"/>
                  <a:pt x="668" y="419"/>
                </a:cubicBezTo>
                <a:cubicBezTo>
                  <a:pt x="668" y="419"/>
                  <a:pt x="668" y="419"/>
                  <a:pt x="668" y="419"/>
                </a:cubicBezTo>
                <a:cubicBezTo>
                  <a:pt x="668" y="418"/>
                  <a:pt x="667" y="418"/>
                  <a:pt x="667" y="418"/>
                </a:cubicBezTo>
                <a:cubicBezTo>
                  <a:pt x="667" y="418"/>
                  <a:pt x="667" y="418"/>
                  <a:pt x="667" y="418"/>
                </a:cubicBezTo>
                <a:close/>
                <a:moveTo>
                  <a:pt x="714" y="484"/>
                </a:moveTo>
                <a:cubicBezTo>
                  <a:pt x="714" y="484"/>
                  <a:pt x="714" y="484"/>
                  <a:pt x="715" y="483"/>
                </a:cubicBezTo>
                <a:cubicBezTo>
                  <a:pt x="715" y="483"/>
                  <a:pt x="714" y="483"/>
                  <a:pt x="714" y="483"/>
                </a:cubicBezTo>
                <a:cubicBezTo>
                  <a:pt x="713" y="483"/>
                  <a:pt x="713" y="483"/>
                  <a:pt x="713" y="482"/>
                </a:cubicBezTo>
                <a:cubicBezTo>
                  <a:pt x="714" y="482"/>
                  <a:pt x="714" y="482"/>
                  <a:pt x="715" y="481"/>
                </a:cubicBezTo>
                <a:cubicBezTo>
                  <a:pt x="715" y="481"/>
                  <a:pt x="715" y="480"/>
                  <a:pt x="714" y="481"/>
                </a:cubicBezTo>
                <a:cubicBezTo>
                  <a:pt x="714" y="481"/>
                  <a:pt x="714" y="481"/>
                  <a:pt x="714" y="481"/>
                </a:cubicBezTo>
                <a:cubicBezTo>
                  <a:pt x="714" y="481"/>
                  <a:pt x="714" y="480"/>
                  <a:pt x="714" y="480"/>
                </a:cubicBezTo>
                <a:cubicBezTo>
                  <a:pt x="715" y="480"/>
                  <a:pt x="714" y="480"/>
                  <a:pt x="714" y="480"/>
                </a:cubicBezTo>
                <a:cubicBezTo>
                  <a:pt x="714" y="479"/>
                  <a:pt x="714" y="479"/>
                  <a:pt x="714" y="480"/>
                </a:cubicBezTo>
                <a:cubicBezTo>
                  <a:pt x="713" y="480"/>
                  <a:pt x="713" y="480"/>
                  <a:pt x="713" y="480"/>
                </a:cubicBezTo>
                <a:cubicBezTo>
                  <a:pt x="713" y="481"/>
                  <a:pt x="712" y="481"/>
                  <a:pt x="712" y="481"/>
                </a:cubicBezTo>
                <a:cubicBezTo>
                  <a:pt x="712" y="481"/>
                  <a:pt x="712" y="481"/>
                  <a:pt x="712" y="481"/>
                </a:cubicBezTo>
                <a:cubicBezTo>
                  <a:pt x="712" y="480"/>
                  <a:pt x="712" y="480"/>
                  <a:pt x="712" y="480"/>
                </a:cubicBezTo>
                <a:cubicBezTo>
                  <a:pt x="711" y="480"/>
                  <a:pt x="711" y="480"/>
                  <a:pt x="711" y="480"/>
                </a:cubicBezTo>
                <a:cubicBezTo>
                  <a:pt x="712" y="480"/>
                  <a:pt x="712" y="480"/>
                  <a:pt x="713" y="479"/>
                </a:cubicBezTo>
                <a:cubicBezTo>
                  <a:pt x="713" y="479"/>
                  <a:pt x="713" y="479"/>
                  <a:pt x="713" y="478"/>
                </a:cubicBezTo>
                <a:cubicBezTo>
                  <a:pt x="713" y="478"/>
                  <a:pt x="713" y="478"/>
                  <a:pt x="713" y="477"/>
                </a:cubicBezTo>
                <a:cubicBezTo>
                  <a:pt x="713" y="477"/>
                  <a:pt x="713" y="478"/>
                  <a:pt x="713" y="478"/>
                </a:cubicBezTo>
                <a:cubicBezTo>
                  <a:pt x="713" y="478"/>
                  <a:pt x="714" y="478"/>
                  <a:pt x="714" y="478"/>
                </a:cubicBezTo>
                <a:cubicBezTo>
                  <a:pt x="714" y="478"/>
                  <a:pt x="714" y="478"/>
                  <a:pt x="714" y="478"/>
                </a:cubicBezTo>
                <a:cubicBezTo>
                  <a:pt x="714" y="477"/>
                  <a:pt x="714" y="478"/>
                  <a:pt x="714" y="477"/>
                </a:cubicBezTo>
                <a:cubicBezTo>
                  <a:pt x="714" y="477"/>
                  <a:pt x="714" y="477"/>
                  <a:pt x="714" y="477"/>
                </a:cubicBezTo>
                <a:cubicBezTo>
                  <a:pt x="715" y="476"/>
                  <a:pt x="715" y="475"/>
                  <a:pt x="714" y="474"/>
                </a:cubicBezTo>
                <a:cubicBezTo>
                  <a:pt x="714" y="474"/>
                  <a:pt x="714" y="474"/>
                  <a:pt x="714" y="474"/>
                </a:cubicBezTo>
                <a:cubicBezTo>
                  <a:pt x="714" y="474"/>
                  <a:pt x="714" y="474"/>
                  <a:pt x="714" y="474"/>
                </a:cubicBezTo>
                <a:cubicBezTo>
                  <a:pt x="713" y="475"/>
                  <a:pt x="713" y="476"/>
                  <a:pt x="712" y="476"/>
                </a:cubicBezTo>
                <a:cubicBezTo>
                  <a:pt x="712" y="475"/>
                  <a:pt x="712" y="475"/>
                  <a:pt x="711" y="475"/>
                </a:cubicBezTo>
                <a:cubicBezTo>
                  <a:pt x="711" y="475"/>
                  <a:pt x="711" y="475"/>
                  <a:pt x="711" y="475"/>
                </a:cubicBezTo>
                <a:cubicBezTo>
                  <a:pt x="711" y="475"/>
                  <a:pt x="711" y="475"/>
                  <a:pt x="711" y="475"/>
                </a:cubicBezTo>
                <a:cubicBezTo>
                  <a:pt x="710" y="476"/>
                  <a:pt x="710" y="476"/>
                  <a:pt x="710" y="477"/>
                </a:cubicBezTo>
                <a:cubicBezTo>
                  <a:pt x="710" y="476"/>
                  <a:pt x="710" y="476"/>
                  <a:pt x="710" y="476"/>
                </a:cubicBezTo>
                <a:cubicBezTo>
                  <a:pt x="710" y="476"/>
                  <a:pt x="710" y="475"/>
                  <a:pt x="710" y="475"/>
                </a:cubicBezTo>
                <a:cubicBezTo>
                  <a:pt x="711" y="475"/>
                  <a:pt x="711" y="475"/>
                  <a:pt x="710" y="474"/>
                </a:cubicBezTo>
                <a:cubicBezTo>
                  <a:pt x="711" y="474"/>
                  <a:pt x="711" y="474"/>
                  <a:pt x="711" y="474"/>
                </a:cubicBezTo>
                <a:cubicBezTo>
                  <a:pt x="712" y="475"/>
                  <a:pt x="712" y="475"/>
                  <a:pt x="713" y="474"/>
                </a:cubicBezTo>
                <a:cubicBezTo>
                  <a:pt x="713" y="474"/>
                  <a:pt x="713" y="474"/>
                  <a:pt x="713" y="473"/>
                </a:cubicBezTo>
                <a:cubicBezTo>
                  <a:pt x="713" y="473"/>
                  <a:pt x="712" y="474"/>
                  <a:pt x="712" y="473"/>
                </a:cubicBezTo>
                <a:cubicBezTo>
                  <a:pt x="713" y="472"/>
                  <a:pt x="712" y="472"/>
                  <a:pt x="712" y="472"/>
                </a:cubicBezTo>
                <a:cubicBezTo>
                  <a:pt x="711" y="471"/>
                  <a:pt x="711" y="471"/>
                  <a:pt x="711" y="471"/>
                </a:cubicBezTo>
                <a:cubicBezTo>
                  <a:pt x="711" y="471"/>
                  <a:pt x="710" y="471"/>
                  <a:pt x="710" y="471"/>
                </a:cubicBezTo>
                <a:cubicBezTo>
                  <a:pt x="710" y="471"/>
                  <a:pt x="710" y="471"/>
                  <a:pt x="710" y="471"/>
                </a:cubicBezTo>
                <a:cubicBezTo>
                  <a:pt x="710" y="472"/>
                  <a:pt x="710" y="472"/>
                  <a:pt x="710" y="473"/>
                </a:cubicBezTo>
                <a:cubicBezTo>
                  <a:pt x="710" y="472"/>
                  <a:pt x="710" y="472"/>
                  <a:pt x="709" y="471"/>
                </a:cubicBezTo>
                <a:cubicBezTo>
                  <a:pt x="710" y="471"/>
                  <a:pt x="709" y="471"/>
                  <a:pt x="709" y="471"/>
                </a:cubicBezTo>
                <a:cubicBezTo>
                  <a:pt x="709" y="470"/>
                  <a:pt x="709" y="471"/>
                  <a:pt x="709" y="470"/>
                </a:cubicBezTo>
                <a:cubicBezTo>
                  <a:pt x="710" y="470"/>
                  <a:pt x="710" y="470"/>
                  <a:pt x="711" y="470"/>
                </a:cubicBezTo>
                <a:cubicBezTo>
                  <a:pt x="710" y="470"/>
                  <a:pt x="710" y="469"/>
                  <a:pt x="710" y="469"/>
                </a:cubicBezTo>
                <a:cubicBezTo>
                  <a:pt x="709" y="469"/>
                  <a:pt x="709" y="469"/>
                  <a:pt x="709" y="469"/>
                </a:cubicBezTo>
                <a:cubicBezTo>
                  <a:pt x="709" y="469"/>
                  <a:pt x="709" y="468"/>
                  <a:pt x="709" y="469"/>
                </a:cubicBezTo>
                <a:cubicBezTo>
                  <a:pt x="709" y="469"/>
                  <a:pt x="708" y="469"/>
                  <a:pt x="708" y="469"/>
                </a:cubicBezTo>
                <a:cubicBezTo>
                  <a:pt x="708" y="469"/>
                  <a:pt x="707" y="469"/>
                  <a:pt x="707" y="469"/>
                </a:cubicBezTo>
                <a:cubicBezTo>
                  <a:pt x="707" y="470"/>
                  <a:pt x="706" y="470"/>
                  <a:pt x="706" y="470"/>
                </a:cubicBezTo>
                <a:cubicBezTo>
                  <a:pt x="706" y="470"/>
                  <a:pt x="706" y="469"/>
                  <a:pt x="706" y="469"/>
                </a:cubicBezTo>
                <a:cubicBezTo>
                  <a:pt x="707" y="469"/>
                  <a:pt x="707" y="469"/>
                  <a:pt x="707" y="469"/>
                </a:cubicBezTo>
                <a:cubicBezTo>
                  <a:pt x="707" y="469"/>
                  <a:pt x="707" y="468"/>
                  <a:pt x="707" y="468"/>
                </a:cubicBezTo>
                <a:cubicBezTo>
                  <a:pt x="707" y="468"/>
                  <a:pt x="708" y="468"/>
                  <a:pt x="707" y="467"/>
                </a:cubicBezTo>
                <a:cubicBezTo>
                  <a:pt x="707" y="467"/>
                  <a:pt x="707" y="467"/>
                  <a:pt x="707" y="467"/>
                </a:cubicBezTo>
                <a:cubicBezTo>
                  <a:pt x="707" y="466"/>
                  <a:pt x="708" y="466"/>
                  <a:pt x="708" y="467"/>
                </a:cubicBezTo>
                <a:cubicBezTo>
                  <a:pt x="708" y="467"/>
                  <a:pt x="708" y="467"/>
                  <a:pt x="708" y="467"/>
                </a:cubicBezTo>
                <a:cubicBezTo>
                  <a:pt x="708" y="467"/>
                  <a:pt x="709" y="468"/>
                  <a:pt x="709" y="468"/>
                </a:cubicBezTo>
                <a:cubicBezTo>
                  <a:pt x="710" y="468"/>
                  <a:pt x="711" y="469"/>
                  <a:pt x="712" y="470"/>
                </a:cubicBezTo>
                <a:cubicBezTo>
                  <a:pt x="712" y="470"/>
                  <a:pt x="712" y="470"/>
                  <a:pt x="712" y="470"/>
                </a:cubicBezTo>
                <a:cubicBezTo>
                  <a:pt x="712" y="470"/>
                  <a:pt x="712" y="469"/>
                  <a:pt x="712" y="469"/>
                </a:cubicBezTo>
                <a:cubicBezTo>
                  <a:pt x="712" y="469"/>
                  <a:pt x="712" y="469"/>
                  <a:pt x="712" y="468"/>
                </a:cubicBezTo>
                <a:cubicBezTo>
                  <a:pt x="711" y="468"/>
                  <a:pt x="710" y="467"/>
                  <a:pt x="710" y="467"/>
                </a:cubicBezTo>
                <a:cubicBezTo>
                  <a:pt x="710" y="466"/>
                  <a:pt x="710" y="466"/>
                  <a:pt x="710" y="466"/>
                </a:cubicBezTo>
                <a:cubicBezTo>
                  <a:pt x="710" y="465"/>
                  <a:pt x="710" y="465"/>
                  <a:pt x="709" y="465"/>
                </a:cubicBezTo>
                <a:cubicBezTo>
                  <a:pt x="709" y="465"/>
                  <a:pt x="709" y="465"/>
                  <a:pt x="709" y="466"/>
                </a:cubicBezTo>
                <a:cubicBezTo>
                  <a:pt x="709" y="466"/>
                  <a:pt x="709" y="466"/>
                  <a:pt x="708" y="466"/>
                </a:cubicBezTo>
                <a:cubicBezTo>
                  <a:pt x="709" y="465"/>
                  <a:pt x="708" y="465"/>
                  <a:pt x="708" y="465"/>
                </a:cubicBezTo>
                <a:cubicBezTo>
                  <a:pt x="708" y="465"/>
                  <a:pt x="709" y="465"/>
                  <a:pt x="708" y="464"/>
                </a:cubicBezTo>
                <a:cubicBezTo>
                  <a:pt x="708" y="464"/>
                  <a:pt x="708" y="464"/>
                  <a:pt x="708" y="464"/>
                </a:cubicBezTo>
                <a:cubicBezTo>
                  <a:pt x="709" y="464"/>
                  <a:pt x="708" y="464"/>
                  <a:pt x="708" y="463"/>
                </a:cubicBezTo>
                <a:cubicBezTo>
                  <a:pt x="708" y="463"/>
                  <a:pt x="708" y="463"/>
                  <a:pt x="708" y="463"/>
                </a:cubicBezTo>
                <a:cubicBezTo>
                  <a:pt x="709" y="462"/>
                  <a:pt x="708" y="462"/>
                  <a:pt x="708" y="462"/>
                </a:cubicBezTo>
                <a:cubicBezTo>
                  <a:pt x="707" y="461"/>
                  <a:pt x="707" y="460"/>
                  <a:pt x="707" y="460"/>
                </a:cubicBezTo>
                <a:cubicBezTo>
                  <a:pt x="706" y="460"/>
                  <a:pt x="706" y="460"/>
                  <a:pt x="706" y="460"/>
                </a:cubicBezTo>
                <a:cubicBezTo>
                  <a:pt x="707" y="459"/>
                  <a:pt x="706" y="459"/>
                  <a:pt x="706" y="459"/>
                </a:cubicBezTo>
                <a:cubicBezTo>
                  <a:pt x="706" y="459"/>
                  <a:pt x="705" y="459"/>
                  <a:pt x="705" y="458"/>
                </a:cubicBezTo>
                <a:cubicBezTo>
                  <a:pt x="705" y="458"/>
                  <a:pt x="704" y="457"/>
                  <a:pt x="704" y="457"/>
                </a:cubicBezTo>
                <a:cubicBezTo>
                  <a:pt x="703" y="457"/>
                  <a:pt x="702" y="457"/>
                  <a:pt x="702" y="456"/>
                </a:cubicBezTo>
                <a:cubicBezTo>
                  <a:pt x="702" y="457"/>
                  <a:pt x="701" y="456"/>
                  <a:pt x="701" y="457"/>
                </a:cubicBezTo>
                <a:cubicBezTo>
                  <a:pt x="701" y="457"/>
                  <a:pt x="700" y="457"/>
                  <a:pt x="700" y="456"/>
                </a:cubicBezTo>
                <a:cubicBezTo>
                  <a:pt x="700" y="456"/>
                  <a:pt x="700" y="455"/>
                  <a:pt x="700" y="454"/>
                </a:cubicBezTo>
                <a:cubicBezTo>
                  <a:pt x="700" y="455"/>
                  <a:pt x="700" y="455"/>
                  <a:pt x="701" y="454"/>
                </a:cubicBezTo>
                <a:cubicBezTo>
                  <a:pt x="701" y="454"/>
                  <a:pt x="701" y="453"/>
                  <a:pt x="701" y="453"/>
                </a:cubicBezTo>
                <a:cubicBezTo>
                  <a:pt x="700" y="453"/>
                  <a:pt x="701" y="453"/>
                  <a:pt x="701" y="453"/>
                </a:cubicBezTo>
                <a:cubicBezTo>
                  <a:pt x="701" y="452"/>
                  <a:pt x="701" y="452"/>
                  <a:pt x="700" y="452"/>
                </a:cubicBezTo>
                <a:cubicBezTo>
                  <a:pt x="700" y="452"/>
                  <a:pt x="700" y="451"/>
                  <a:pt x="700" y="450"/>
                </a:cubicBezTo>
                <a:cubicBezTo>
                  <a:pt x="700" y="450"/>
                  <a:pt x="699" y="450"/>
                  <a:pt x="699" y="450"/>
                </a:cubicBezTo>
                <a:cubicBezTo>
                  <a:pt x="699" y="450"/>
                  <a:pt x="699" y="450"/>
                  <a:pt x="698" y="450"/>
                </a:cubicBezTo>
                <a:cubicBezTo>
                  <a:pt x="698" y="450"/>
                  <a:pt x="698" y="450"/>
                  <a:pt x="698" y="450"/>
                </a:cubicBezTo>
                <a:cubicBezTo>
                  <a:pt x="698" y="450"/>
                  <a:pt x="697" y="451"/>
                  <a:pt x="698" y="451"/>
                </a:cubicBezTo>
                <a:cubicBezTo>
                  <a:pt x="698" y="451"/>
                  <a:pt x="697" y="451"/>
                  <a:pt x="697" y="451"/>
                </a:cubicBezTo>
                <a:cubicBezTo>
                  <a:pt x="697" y="451"/>
                  <a:pt x="697" y="451"/>
                  <a:pt x="697" y="451"/>
                </a:cubicBezTo>
                <a:cubicBezTo>
                  <a:pt x="697" y="451"/>
                  <a:pt x="697" y="451"/>
                  <a:pt x="697" y="450"/>
                </a:cubicBezTo>
                <a:cubicBezTo>
                  <a:pt x="698" y="450"/>
                  <a:pt x="697" y="450"/>
                  <a:pt x="697" y="450"/>
                </a:cubicBezTo>
                <a:cubicBezTo>
                  <a:pt x="697" y="450"/>
                  <a:pt x="696" y="450"/>
                  <a:pt x="696" y="450"/>
                </a:cubicBezTo>
                <a:cubicBezTo>
                  <a:pt x="695" y="449"/>
                  <a:pt x="695" y="450"/>
                  <a:pt x="694" y="449"/>
                </a:cubicBezTo>
                <a:cubicBezTo>
                  <a:pt x="694" y="449"/>
                  <a:pt x="694" y="449"/>
                  <a:pt x="694" y="449"/>
                </a:cubicBezTo>
                <a:cubicBezTo>
                  <a:pt x="693" y="450"/>
                  <a:pt x="694" y="450"/>
                  <a:pt x="694" y="450"/>
                </a:cubicBezTo>
                <a:cubicBezTo>
                  <a:pt x="694" y="450"/>
                  <a:pt x="693" y="450"/>
                  <a:pt x="693" y="450"/>
                </a:cubicBezTo>
                <a:cubicBezTo>
                  <a:pt x="693" y="450"/>
                  <a:pt x="693" y="450"/>
                  <a:pt x="693" y="451"/>
                </a:cubicBezTo>
                <a:cubicBezTo>
                  <a:pt x="693" y="451"/>
                  <a:pt x="693" y="451"/>
                  <a:pt x="693" y="451"/>
                </a:cubicBezTo>
                <a:cubicBezTo>
                  <a:pt x="693" y="451"/>
                  <a:pt x="693" y="452"/>
                  <a:pt x="693" y="452"/>
                </a:cubicBezTo>
                <a:cubicBezTo>
                  <a:pt x="693" y="453"/>
                  <a:pt x="694" y="453"/>
                  <a:pt x="695" y="453"/>
                </a:cubicBezTo>
                <a:cubicBezTo>
                  <a:pt x="695" y="453"/>
                  <a:pt x="695" y="453"/>
                  <a:pt x="695" y="453"/>
                </a:cubicBezTo>
                <a:cubicBezTo>
                  <a:pt x="695" y="454"/>
                  <a:pt x="696" y="454"/>
                  <a:pt x="696" y="454"/>
                </a:cubicBezTo>
                <a:cubicBezTo>
                  <a:pt x="696" y="454"/>
                  <a:pt x="696" y="454"/>
                  <a:pt x="695" y="454"/>
                </a:cubicBezTo>
                <a:cubicBezTo>
                  <a:pt x="695" y="455"/>
                  <a:pt x="695" y="455"/>
                  <a:pt x="694" y="454"/>
                </a:cubicBezTo>
                <a:cubicBezTo>
                  <a:pt x="694" y="454"/>
                  <a:pt x="694" y="454"/>
                  <a:pt x="694" y="455"/>
                </a:cubicBezTo>
                <a:cubicBezTo>
                  <a:pt x="694" y="455"/>
                  <a:pt x="694" y="455"/>
                  <a:pt x="694" y="455"/>
                </a:cubicBezTo>
                <a:cubicBezTo>
                  <a:pt x="694" y="455"/>
                  <a:pt x="694" y="455"/>
                  <a:pt x="695" y="455"/>
                </a:cubicBezTo>
                <a:cubicBezTo>
                  <a:pt x="695" y="455"/>
                  <a:pt x="695" y="455"/>
                  <a:pt x="695" y="456"/>
                </a:cubicBezTo>
                <a:cubicBezTo>
                  <a:pt x="695" y="456"/>
                  <a:pt x="695" y="456"/>
                  <a:pt x="695" y="456"/>
                </a:cubicBezTo>
                <a:cubicBezTo>
                  <a:pt x="694" y="456"/>
                  <a:pt x="694" y="456"/>
                  <a:pt x="694" y="456"/>
                </a:cubicBezTo>
                <a:cubicBezTo>
                  <a:pt x="693" y="456"/>
                  <a:pt x="693" y="455"/>
                  <a:pt x="693" y="456"/>
                </a:cubicBezTo>
                <a:cubicBezTo>
                  <a:pt x="692" y="457"/>
                  <a:pt x="692" y="457"/>
                  <a:pt x="692" y="457"/>
                </a:cubicBezTo>
                <a:cubicBezTo>
                  <a:pt x="692" y="458"/>
                  <a:pt x="691" y="458"/>
                  <a:pt x="691" y="459"/>
                </a:cubicBezTo>
                <a:cubicBezTo>
                  <a:pt x="691" y="459"/>
                  <a:pt x="692" y="459"/>
                  <a:pt x="692" y="459"/>
                </a:cubicBezTo>
                <a:cubicBezTo>
                  <a:pt x="693" y="460"/>
                  <a:pt x="693" y="459"/>
                  <a:pt x="693" y="459"/>
                </a:cubicBezTo>
                <a:cubicBezTo>
                  <a:pt x="693" y="458"/>
                  <a:pt x="694" y="458"/>
                  <a:pt x="694" y="458"/>
                </a:cubicBezTo>
                <a:cubicBezTo>
                  <a:pt x="694" y="458"/>
                  <a:pt x="695" y="458"/>
                  <a:pt x="695" y="457"/>
                </a:cubicBezTo>
                <a:cubicBezTo>
                  <a:pt x="695" y="457"/>
                  <a:pt x="695" y="457"/>
                  <a:pt x="695" y="457"/>
                </a:cubicBezTo>
                <a:cubicBezTo>
                  <a:pt x="696" y="457"/>
                  <a:pt x="696" y="457"/>
                  <a:pt x="696" y="457"/>
                </a:cubicBezTo>
                <a:cubicBezTo>
                  <a:pt x="697" y="457"/>
                  <a:pt x="697" y="457"/>
                  <a:pt x="697" y="457"/>
                </a:cubicBezTo>
                <a:cubicBezTo>
                  <a:pt x="697" y="458"/>
                  <a:pt x="696" y="458"/>
                  <a:pt x="696" y="458"/>
                </a:cubicBezTo>
                <a:cubicBezTo>
                  <a:pt x="696" y="458"/>
                  <a:pt x="696" y="458"/>
                  <a:pt x="696" y="458"/>
                </a:cubicBezTo>
                <a:cubicBezTo>
                  <a:pt x="696" y="458"/>
                  <a:pt x="695" y="458"/>
                  <a:pt x="696" y="458"/>
                </a:cubicBezTo>
                <a:cubicBezTo>
                  <a:pt x="696" y="458"/>
                  <a:pt x="695" y="459"/>
                  <a:pt x="696" y="459"/>
                </a:cubicBezTo>
                <a:cubicBezTo>
                  <a:pt x="696" y="459"/>
                  <a:pt x="696" y="459"/>
                  <a:pt x="696" y="459"/>
                </a:cubicBezTo>
                <a:cubicBezTo>
                  <a:pt x="696" y="459"/>
                  <a:pt x="696" y="459"/>
                  <a:pt x="697" y="460"/>
                </a:cubicBezTo>
                <a:cubicBezTo>
                  <a:pt x="697" y="459"/>
                  <a:pt x="696" y="459"/>
                  <a:pt x="697" y="458"/>
                </a:cubicBezTo>
                <a:cubicBezTo>
                  <a:pt x="698" y="458"/>
                  <a:pt x="698" y="457"/>
                  <a:pt x="698" y="456"/>
                </a:cubicBezTo>
                <a:cubicBezTo>
                  <a:pt x="698" y="456"/>
                  <a:pt x="698" y="455"/>
                  <a:pt x="698" y="455"/>
                </a:cubicBezTo>
                <a:cubicBezTo>
                  <a:pt x="698" y="454"/>
                  <a:pt x="698" y="454"/>
                  <a:pt x="697" y="454"/>
                </a:cubicBezTo>
                <a:cubicBezTo>
                  <a:pt x="697" y="454"/>
                  <a:pt x="697" y="454"/>
                  <a:pt x="697" y="454"/>
                </a:cubicBezTo>
                <a:cubicBezTo>
                  <a:pt x="698" y="454"/>
                  <a:pt x="698" y="454"/>
                  <a:pt x="698" y="454"/>
                </a:cubicBezTo>
                <a:cubicBezTo>
                  <a:pt x="698" y="455"/>
                  <a:pt x="698" y="456"/>
                  <a:pt x="698" y="457"/>
                </a:cubicBezTo>
                <a:cubicBezTo>
                  <a:pt x="698" y="457"/>
                  <a:pt x="698" y="457"/>
                  <a:pt x="698" y="457"/>
                </a:cubicBezTo>
                <a:cubicBezTo>
                  <a:pt x="698" y="458"/>
                  <a:pt x="698" y="459"/>
                  <a:pt x="698" y="460"/>
                </a:cubicBezTo>
                <a:cubicBezTo>
                  <a:pt x="698" y="460"/>
                  <a:pt x="699" y="460"/>
                  <a:pt x="699" y="461"/>
                </a:cubicBezTo>
                <a:cubicBezTo>
                  <a:pt x="699" y="461"/>
                  <a:pt x="699" y="460"/>
                  <a:pt x="699" y="460"/>
                </a:cubicBezTo>
                <a:cubicBezTo>
                  <a:pt x="699" y="460"/>
                  <a:pt x="699" y="460"/>
                  <a:pt x="700" y="460"/>
                </a:cubicBezTo>
                <a:cubicBezTo>
                  <a:pt x="700" y="460"/>
                  <a:pt x="700" y="460"/>
                  <a:pt x="700" y="460"/>
                </a:cubicBezTo>
                <a:cubicBezTo>
                  <a:pt x="700" y="461"/>
                  <a:pt x="699" y="461"/>
                  <a:pt x="699" y="461"/>
                </a:cubicBezTo>
                <a:cubicBezTo>
                  <a:pt x="700" y="461"/>
                  <a:pt x="699" y="462"/>
                  <a:pt x="699" y="462"/>
                </a:cubicBezTo>
                <a:cubicBezTo>
                  <a:pt x="699" y="462"/>
                  <a:pt x="699" y="462"/>
                  <a:pt x="699" y="462"/>
                </a:cubicBezTo>
                <a:cubicBezTo>
                  <a:pt x="699" y="463"/>
                  <a:pt x="698" y="463"/>
                  <a:pt x="698" y="463"/>
                </a:cubicBezTo>
                <a:cubicBezTo>
                  <a:pt x="698" y="463"/>
                  <a:pt x="697" y="464"/>
                  <a:pt x="697" y="464"/>
                </a:cubicBezTo>
                <a:cubicBezTo>
                  <a:pt x="697" y="464"/>
                  <a:pt x="697" y="464"/>
                  <a:pt x="697" y="464"/>
                </a:cubicBezTo>
                <a:cubicBezTo>
                  <a:pt x="696" y="465"/>
                  <a:pt x="697" y="466"/>
                  <a:pt x="698" y="467"/>
                </a:cubicBezTo>
                <a:cubicBezTo>
                  <a:pt x="698" y="467"/>
                  <a:pt x="698" y="467"/>
                  <a:pt x="698" y="467"/>
                </a:cubicBezTo>
                <a:cubicBezTo>
                  <a:pt x="699" y="467"/>
                  <a:pt x="699" y="467"/>
                  <a:pt x="700" y="466"/>
                </a:cubicBezTo>
                <a:cubicBezTo>
                  <a:pt x="700" y="466"/>
                  <a:pt x="700" y="466"/>
                  <a:pt x="701" y="466"/>
                </a:cubicBezTo>
                <a:cubicBezTo>
                  <a:pt x="701" y="466"/>
                  <a:pt x="701" y="466"/>
                  <a:pt x="701" y="466"/>
                </a:cubicBezTo>
                <a:cubicBezTo>
                  <a:pt x="701" y="466"/>
                  <a:pt x="701" y="466"/>
                  <a:pt x="701" y="466"/>
                </a:cubicBezTo>
                <a:cubicBezTo>
                  <a:pt x="700" y="467"/>
                  <a:pt x="701" y="467"/>
                  <a:pt x="700" y="468"/>
                </a:cubicBezTo>
                <a:cubicBezTo>
                  <a:pt x="700" y="468"/>
                  <a:pt x="700" y="469"/>
                  <a:pt x="700" y="469"/>
                </a:cubicBezTo>
                <a:cubicBezTo>
                  <a:pt x="700" y="470"/>
                  <a:pt x="700" y="470"/>
                  <a:pt x="701" y="470"/>
                </a:cubicBezTo>
                <a:cubicBezTo>
                  <a:pt x="701" y="470"/>
                  <a:pt x="701" y="470"/>
                  <a:pt x="702" y="470"/>
                </a:cubicBezTo>
                <a:cubicBezTo>
                  <a:pt x="701" y="470"/>
                  <a:pt x="701" y="470"/>
                  <a:pt x="701" y="470"/>
                </a:cubicBezTo>
                <a:cubicBezTo>
                  <a:pt x="701" y="471"/>
                  <a:pt x="701" y="471"/>
                  <a:pt x="701" y="471"/>
                </a:cubicBezTo>
                <a:cubicBezTo>
                  <a:pt x="701" y="471"/>
                  <a:pt x="702" y="472"/>
                  <a:pt x="702" y="472"/>
                </a:cubicBezTo>
                <a:cubicBezTo>
                  <a:pt x="702" y="472"/>
                  <a:pt x="703" y="472"/>
                  <a:pt x="703" y="472"/>
                </a:cubicBezTo>
                <a:cubicBezTo>
                  <a:pt x="702" y="472"/>
                  <a:pt x="701" y="472"/>
                  <a:pt x="701" y="472"/>
                </a:cubicBezTo>
                <a:cubicBezTo>
                  <a:pt x="700" y="472"/>
                  <a:pt x="700" y="471"/>
                  <a:pt x="700" y="472"/>
                </a:cubicBezTo>
                <a:cubicBezTo>
                  <a:pt x="700" y="472"/>
                  <a:pt x="700" y="472"/>
                  <a:pt x="699" y="472"/>
                </a:cubicBezTo>
                <a:cubicBezTo>
                  <a:pt x="699" y="471"/>
                  <a:pt x="698" y="472"/>
                  <a:pt x="698" y="472"/>
                </a:cubicBezTo>
                <a:cubicBezTo>
                  <a:pt x="698" y="473"/>
                  <a:pt x="699" y="474"/>
                  <a:pt x="699" y="474"/>
                </a:cubicBezTo>
                <a:cubicBezTo>
                  <a:pt x="700" y="474"/>
                  <a:pt x="701" y="474"/>
                  <a:pt x="702" y="474"/>
                </a:cubicBezTo>
                <a:cubicBezTo>
                  <a:pt x="702" y="474"/>
                  <a:pt x="702" y="474"/>
                  <a:pt x="702" y="474"/>
                </a:cubicBezTo>
                <a:cubicBezTo>
                  <a:pt x="702" y="474"/>
                  <a:pt x="702" y="474"/>
                  <a:pt x="702" y="474"/>
                </a:cubicBezTo>
                <a:cubicBezTo>
                  <a:pt x="702" y="474"/>
                  <a:pt x="701" y="475"/>
                  <a:pt x="701" y="475"/>
                </a:cubicBezTo>
                <a:cubicBezTo>
                  <a:pt x="701" y="475"/>
                  <a:pt x="701" y="475"/>
                  <a:pt x="701" y="475"/>
                </a:cubicBezTo>
                <a:cubicBezTo>
                  <a:pt x="701" y="475"/>
                  <a:pt x="701" y="475"/>
                  <a:pt x="702" y="475"/>
                </a:cubicBezTo>
                <a:cubicBezTo>
                  <a:pt x="702" y="475"/>
                  <a:pt x="702" y="475"/>
                  <a:pt x="702" y="476"/>
                </a:cubicBezTo>
                <a:cubicBezTo>
                  <a:pt x="702" y="476"/>
                  <a:pt x="702" y="476"/>
                  <a:pt x="703" y="476"/>
                </a:cubicBezTo>
                <a:cubicBezTo>
                  <a:pt x="703" y="476"/>
                  <a:pt x="703" y="476"/>
                  <a:pt x="703" y="476"/>
                </a:cubicBezTo>
                <a:cubicBezTo>
                  <a:pt x="703" y="475"/>
                  <a:pt x="703" y="475"/>
                  <a:pt x="703" y="475"/>
                </a:cubicBezTo>
                <a:cubicBezTo>
                  <a:pt x="703" y="475"/>
                  <a:pt x="703" y="475"/>
                  <a:pt x="703" y="475"/>
                </a:cubicBezTo>
                <a:cubicBezTo>
                  <a:pt x="703" y="475"/>
                  <a:pt x="703" y="474"/>
                  <a:pt x="703" y="474"/>
                </a:cubicBezTo>
                <a:cubicBezTo>
                  <a:pt x="704" y="474"/>
                  <a:pt x="704" y="475"/>
                  <a:pt x="704" y="475"/>
                </a:cubicBezTo>
                <a:cubicBezTo>
                  <a:pt x="704" y="475"/>
                  <a:pt x="704" y="475"/>
                  <a:pt x="704" y="475"/>
                </a:cubicBezTo>
                <a:cubicBezTo>
                  <a:pt x="704" y="476"/>
                  <a:pt x="705" y="476"/>
                  <a:pt x="705" y="476"/>
                </a:cubicBezTo>
                <a:cubicBezTo>
                  <a:pt x="705" y="477"/>
                  <a:pt x="706" y="477"/>
                  <a:pt x="706" y="477"/>
                </a:cubicBezTo>
                <a:cubicBezTo>
                  <a:pt x="706" y="476"/>
                  <a:pt x="706" y="476"/>
                  <a:pt x="706" y="476"/>
                </a:cubicBezTo>
                <a:cubicBezTo>
                  <a:pt x="706" y="475"/>
                  <a:pt x="706" y="475"/>
                  <a:pt x="706" y="474"/>
                </a:cubicBezTo>
                <a:cubicBezTo>
                  <a:pt x="706" y="474"/>
                  <a:pt x="706" y="474"/>
                  <a:pt x="706" y="474"/>
                </a:cubicBezTo>
                <a:cubicBezTo>
                  <a:pt x="706" y="474"/>
                  <a:pt x="706" y="475"/>
                  <a:pt x="706" y="475"/>
                </a:cubicBezTo>
                <a:cubicBezTo>
                  <a:pt x="707" y="476"/>
                  <a:pt x="707" y="476"/>
                  <a:pt x="707" y="477"/>
                </a:cubicBezTo>
                <a:cubicBezTo>
                  <a:pt x="706" y="477"/>
                  <a:pt x="706" y="478"/>
                  <a:pt x="706" y="478"/>
                </a:cubicBezTo>
                <a:cubicBezTo>
                  <a:pt x="707" y="478"/>
                  <a:pt x="707" y="478"/>
                  <a:pt x="707" y="477"/>
                </a:cubicBezTo>
                <a:cubicBezTo>
                  <a:pt x="707" y="478"/>
                  <a:pt x="707" y="478"/>
                  <a:pt x="707" y="478"/>
                </a:cubicBezTo>
                <a:cubicBezTo>
                  <a:pt x="707" y="478"/>
                  <a:pt x="707" y="479"/>
                  <a:pt x="707" y="479"/>
                </a:cubicBezTo>
                <a:cubicBezTo>
                  <a:pt x="708" y="479"/>
                  <a:pt x="708" y="479"/>
                  <a:pt x="708" y="479"/>
                </a:cubicBezTo>
                <a:cubicBezTo>
                  <a:pt x="708" y="479"/>
                  <a:pt x="708" y="479"/>
                  <a:pt x="707" y="479"/>
                </a:cubicBezTo>
                <a:cubicBezTo>
                  <a:pt x="707" y="479"/>
                  <a:pt x="707" y="479"/>
                  <a:pt x="707" y="479"/>
                </a:cubicBezTo>
                <a:cubicBezTo>
                  <a:pt x="707" y="480"/>
                  <a:pt x="707" y="480"/>
                  <a:pt x="707" y="480"/>
                </a:cubicBezTo>
                <a:cubicBezTo>
                  <a:pt x="707" y="480"/>
                  <a:pt x="707" y="480"/>
                  <a:pt x="707" y="480"/>
                </a:cubicBezTo>
                <a:cubicBezTo>
                  <a:pt x="707" y="481"/>
                  <a:pt x="707" y="481"/>
                  <a:pt x="707" y="481"/>
                </a:cubicBezTo>
                <a:cubicBezTo>
                  <a:pt x="707" y="481"/>
                  <a:pt x="707" y="481"/>
                  <a:pt x="707" y="481"/>
                </a:cubicBezTo>
                <a:cubicBezTo>
                  <a:pt x="708" y="481"/>
                  <a:pt x="708" y="481"/>
                  <a:pt x="708" y="480"/>
                </a:cubicBezTo>
                <a:cubicBezTo>
                  <a:pt x="709" y="481"/>
                  <a:pt x="709" y="481"/>
                  <a:pt x="708" y="482"/>
                </a:cubicBezTo>
                <a:cubicBezTo>
                  <a:pt x="708" y="482"/>
                  <a:pt x="708" y="482"/>
                  <a:pt x="708" y="482"/>
                </a:cubicBezTo>
                <a:cubicBezTo>
                  <a:pt x="708" y="482"/>
                  <a:pt x="708" y="482"/>
                  <a:pt x="708" y="482"/>
                </a:cubicBezTo>
                <a:cubicBezTo>
                  <a:pt x="709" y="482"/>
                  <a:pt x="709" y="482"/>
                  <a:pt x="709" y="481"/>
                </a:cubicBezTo>
                <a:cubicBezTo>
                  <a:pt x="709" y="481"/>
                  <a:pt x="709" y="479"/>
                  <a:pt x="709" y="479"/>
                </a:cubicBezTo>
                <a:cubicBezTo>
                  <a:pt x="709" y="479"/>
                  <a:pt x="709" y="479"/>
                  <a:pt x="709" y="479"/>
                </a:cubicBezTo>
                <a:cubicBezTo>
                  <a:pt x="709" y="480"/>
                  <a:pt x="709" y="481"/>
                  <a:pt x="710" y="481"/>
                </a:cubicBezTo>
                <a:cubicBezTo>
                  <a:pt x="710" y="481"/>
                  <a:pt x="710" y="481"/>
                  <a:pt x="710" y="482"/>
                </a:cubicBezTo>
                <a:cubicBezTo>
                  <a:pt x="710" y="481"/>
                  <a:pt x="709" y="481"/>
                  <a:pt x="709" y="481"/>
                </a:cubicBezTo>
                <a:cubicBezTo>
                  <a:pt x="709" y="482"/>
                  <a:pt x="709" y="482"/>
                  <a:pt x="709" y="482"/>
                </a:cubicBezTo>
                <a:cubicBezTo>
                  <a:pt x="710" y="482"/>
                  <a:pt x="710" y="482"/>
                  <a:pt x="710" y="483"/>
                </a:cubicBezTo>
                <a:cubicBezTo>
                  <a:pt x="710" y="483"/>
                  <a:pt x="710" y="484"/>
                  <a:pt x="710" y="484"/>
                </a:cubicBezTo>
                <a:cubicBezTo>
                  <a:pt x="710" y="484"/>
                  <a:pt x="711" y="485"/>
                  <a:pt x="710" y="486"/>
                </a:cubicBezTo>
                <a:cubicBezTo>
                  <a:pt x="710" y="486"/>
                  <a:pt x="710" y="486"/>
                  <a:pt x="711" y="486"/>
                </a:cubicBezTo>
                <a:cubicBezTo>
                  <a:pt x="711" y="486"/>
                  <a:pt x="711" y="486"/>
                  <a:pt x="711" y="486"/>
                </a:cubicBezTo>
                <a:cubicBezTo>
                  <a:pt x="711" y="486"/>
                  <a:pt x="712" y="486"/>
                  <a:pt x="712" y="487"/>
                </a:cubicBezTo>
                <a:cubicBezTo>
                  <a:pt x="712" y="487"/>
                  <a:pt x="712" y="487"/>
                  <a:pt x="712" y="487"/>
                </a:cubicBezTo>
                <a:cubicBezTo>
                  <a:pt x="713" y="487"/>
                  <a:pt x="713" y="486"/>
                  <a:pt x="712" y="486"/>
                </a:cubicBezTo>
                <a:cubicBezTo>
                  <a:pt x="713" y="486"/>
                  <a:pt x="713" y="486"/>
                  <a:pt x="713" y="486"/>
                </a:cubicBezTo>
                <a:cubicBezTo>
                  <a:pt x="713" y="487"/>
                  <a:pt x="714" y="487"/>
                  <a:pt x="714" y="487"/>
                </a:cubicBezTo>
                <a:cubicBezTo>
                  <a:pt x="714" y="486"/>
                  <a:pt x="714" y="486"/>
                  <a:pt x="714" y="486"/>
                </a:cubicBezTo>
                <a:cubicBezTo>
                  <a:pt x="714" y="485"/>
                  <a:pt x="714" y="485"/>
                  <a:pt x="714" y="485"/>
                </a:cubicBezTo>
                <a:cubicBezTo>
                  <a:pt x="714" y="485"/>
                  <a:pt x="714" y="485"/>
                  <a:pt x="714" y="485"/>
                </a:cubicBezTo>
                <a:cubicBezTo>
                  <a:pt x="714" y="484"/>
                  <a:pt x="714" y="484"/>
                  <a:pt x="714" y="484"/>
                </a:cubicBezTo>
                <a:cubicBezTo>
                  <a:pt x="714" y="485"/>
                  <a:pt x="714" y="484"/>
                  <a:pt x="715" y="484"/>
                </a:cubicBezTo>
                <a:cubicBezTo>
                  <a:pt x="715" y="484"/>
                  <a:pt x="715" y="484"/>
                  <a:pt x="714" y="484"/>
                </a:cubicBezTo>
                <a:close/>
                <a:moveTo>
                  <a:pt x="698" y="471"/>
                </a:moveTo>
                <a:cubicBezTo>
                  <a:pt x="698" y="471"/>
                  <a:pt x="698" y="471"/>
                  <a:pt x="699" y="470"/>
                </a:cubicBezTo>
                <a:cubicBezTo>
                  <a:pt x="699" y="470"/>
                  <a:pt x="698" y="470"/>
                  <a:pt x="698" y="470"/>
                </a:cubicBezTo>
                <a:cubicBezTo>
                  <a:pt x="698" y="470"/>
                  <a:pt x="698" y="470"/>
                  <a:pt x="698" y="471"/>
                </a:cubicBezTo>
                <a:cubicBezTo>
                  <a:pt x="698" y="471"/>
                  <a:pt x="697" y="471"/>
                  <a:pt x="698" y="471"/>
                </a:cubicBezTo>
                <a:close/>
                <a:moveTo>
                  <a:pt x="659" y="405"/>
                </a:moveTo>
                <a:cubicBezTo>
                  <a:pt x="659" y="405"/>
                  <a:pt x="660" y="405"/>
                  <a:pt x="659" y="405"/>
                </a:cubicBezTo>
                <a:cubicBezTo>
                  <a:pt x="659" y="404"/>
                  <a:pt x="659" y="404"/>
                  <a:pt x="659" y="404"/>
                </a:cubicBezTo>
                <a:cubicBezTo>
                  <a:pt x="659" y="404"/>
                  <a:pt x="659" y="404"/>
                  <a:pt x="659" y="404"/>
                </a:cubicBezTo>
                <a:cubicBezTo>
                  <a:pt x="659" y="405"/>
                  <a:pt x="659" y="405"/>
                  <a:pt x="659" y="405"/>
                </a:cubicBezTo>
                <a:close/>
                <a:moveTo>
                  <a:pt x="702" y="453"/>
                </a:moveTo>
                <a:cubicBezTo>
                  <a:pt x="702" y="453"/>
                  <a:pt x="703" y="453"/>
                  <a:pt x="703" y="452"/>
                </a:cubicBezTo>
                <a:cubicBezTo>
                  <a:pt x="702" y="452"/>
                  <a:pt x="702" y="452"/>
                  <a:pt x="702" y="452"/>
                </a:cubicBezTo>
                <a:cubicBezTo>
                  <a:pt x="702" y="452"/>
                  <a:pt x="702" y="452"/>
                  <a:pt x="702" y="452"/>
                </a:cubicBezTo>
                <a:cubicBezTo>
                  <a:pt x="702" y="453"/>
                  <a:pt x="702" y="453"/>
                  <a:pt x="702" y="453"/>
                </a:cubicBezTo>
                <a:close/>
                <a:moveTo>
                  <a:pt x="703" y="454"/>
                </a:moveTo>
                <a:cubicBezTo>
                  <a:pt x="703" y="455"/>
                  <a:pt x="703" y="455"/>
                  <a:pt x="703" y="455"/>
                </a:cubicBezTo>
                <a:cubicBezTo>
                  <a:pt x="703" y="455"/>
                  <a:pt x="703" y="455"/>
                  <a:pt x="703" y="455"/>
                </a:cubicBezTo>
                <a:cubicBezTo>
                  <a:pt x="703" y="454"/>
                  <a:pt x="703" y="454"/>
                  <a:pt x="703" y="454"/>
                </a:cubicBezTo>
                <a:cubicBezTo>
                  <a:pt x="703" y="454"/>
                  <a:pt x="703" y="454"/>
                  <a:pt x="703" y="454"/>
                </a:cubicBezTo>
                <a:close/>
                <a:moveTo>
                  <a:pt x="694" y="466"/>
                </a:moveTo>
                <a:cubicBezTo>
                  <a:pt x="694" y="466"/>
                  <a:pt x="694" y="466"/>
                  <a:pt x="694" y="466"/>
                </a:cubicBezTo>
                <a:cubicBezTo>
                  <a:pt x="694" y="466"/>
                  <a:pt x="694" y="466"/>
                  <a:pt x="694" y="466"/>
                </a:cubicBezTo>
                <a:cubicBezTo>
                  <a:pt x="695" y="466"/>
                  <a:pt x="695" y="465"/>
                  <a:pt x="695" y="465"/>
                </a:cubicBezTo>
                <a:cubicBezTo>
                  <a:pt x="695" y="465"/>
                  <a:pt x="694" y="465"/>
                  <a:pt x="694" y="465"/>
                </a:cubicBezTo>
                <a:cubicBezTo>
                  <a:pt x="694" y="465"/>
                  <a:pt x="695" y="465"/>
                  <a:pt x="694" y="466"/>
                </a:cubicBezTo>
                <a:close/>
                <a:moveTo>
                  <a:pt x="692" y="447"/>
                </a:moveTo>
                <a:cubicBezTo>
                  <a:pt x="692" y="446"/>
                  <a:pt x="691" y="446"/>
                  <a:pt x="691" y="446"/>
                </a:cubicBezTo>
                <a:cubicBezTo>
                  <a:pt x="691" y="446"/>
                  <a:pt x="691" y="447"/>
                  <a:pt x="691" y="447"/>
                </a:cubicBezTo>
                <a:cubicBezTo>
                  <a:pt x="692" y="447"/>
                  <a:pt x="692" y="447"/>
                  <a:pt x="692" y="447"/>
                </a:cubicBezTo>
                <a:close/>
                <a:moveTo>
                  <a:pt x="696" y="471"/>
                </a:moveTo>
                <a:cubicBezTo>
                  <a:pt x="696" y="471"/>
                  <a:pt x="696" y="471"/>
                  <a:pt x="696" y="471"/>
                </a:cubicBezTo>
                <a:cubicBezTo>
                  <a:pt x="696" y="471"/>
                  <a:pt x="696" y="471"/>
                  <a:pt x="696" y="471"/>
                </a:cubicBezTo>
                <a:cubicBezTo>
                  <a:pt x="696" y="471"/>
                  <a:pt x="696" y="470"/>
                  <a:pt x="696" y="471"/>
                </a:cubicBezTo>
                <a:cubicBezTo>
                  <a:pt x="696" y="471"/>
                  <a:pt x="696" y="471"/>
                  <a:pt x="696" y="471"/>
                </a:cubicBezTo>
                <a:cubicBezTo>
                  <a:pt x="696" y="471"/>
                  <a:pt x="696" y="471"/>
                  <a:pt x="696" y="471"/>
                </a:cubicBezTo>
                <a:close/>
                <a:moveTo>
                  <a:pt x="706" y="446"/>
                </a:moveTo>
                <a:cubicBezTo>
                  <a:pt x="706" y="447"/>
                  <a:pt x="706" y="447"/>
                  <a:pt x="707" y="447"/>
                </a:cubicBezTo>
                <a:cubicBezTo>
                  <a:pt x="707" y="447"/>
                  <a:pt x="707" y="447"/>
                  <a:pt x="707" y="447"/>
                </a:cubicBezTo>
                <a:cubicBezTo>
                  <a:pt x="707" y="447"/>
                  <a:pt x="707" y="446"/>
                  <a:pt x="706" y="446"/>
                </a:cubicBezTo>
                <a:cubicBezTo>
                  <a:pt x="706" y="446"/>
                  <a:pt x="706" y="446"/>
                  <a:pt x="706" y="446"/>
                </a:cubicBezTo>
                <a:close/>
                <a:moveTo>
                  <a:pt x="708" y="445"/>
                </a:moveTo>
                <a:cubicBezTo>
                  <a:pt x="708" y="445"/>
                  <a:pt x="708" y="445"/>
                  <a:pt x="707" y="445"/>
                </a:cubicBezTo>
                <a:cubicBezTo>
                  <a:pt x="707" y="445"/>
                  <a:pt x="707" y="445"/>
                  <a:pt x="707" y="445"/>
                </a:cubicBezTo>
                <a:cubicBezTo>
                  <a:pt x="707" y="445"/>
                  <a:pt x="708" y="445"/>
                  <a:pt x="708" y="445"/>
                </a:cubicBezTo>
                <a:close/>
                <a:moveTo>
                  <a:pt x="695" y="454"/>
                </a:moveTo>
                <a:cubicBezTo>
                  <a:pt x="695" y="454"/>
                  <a:pt x="695" y="454"/>
                  <a:pt x="695" y="454"/>
                </a:cubicBezTo>
                <a:cubicBezTo>
                  <a:pt x="695" y="454"/>
                  <a:pt x="695" y="454"/>
                  <a:pt x="694" y="454"/>
                </a:cubicBezTo>
                <a:cubicBezTo>
                  <a:pt x="695" y="454"/>
                  <a:pt x="695" y="455"/>
                  <a:pt x="695" y="454"/>
                </a:cubicBezTo>
                <a:close/>
                <a:moveTo>
                  <a:pt x="697" y="459"/>
                </a:moveTo>
                <a:cubicBezTo>
                  <a:pt x="698" y="459"/>
                  <a:pt x="698" y="459"/>
                  <a:pt x="697" y="459"/>
                </a:cubicBezTo>
                <a:cubicBezTo>
                  <a:pt x="697" y="459"/>
                  <a:pt x="697" y="459"/>
                  <a:pt x="697" y="459"/>
                </a:cubicBezTo>
                <a:close/>
                <a:moveTo>
                  <a:pt x="707" y="446"/>
                </a:moveTo>
                <a:cubicBezTo>
                  <a:pt x="707" y="446"/>
                  <a:pt x="707" y="446"/>
                  <a:pt x="707" y="446"/>
                </a:cubicBezTo>
                <a:cubicBezTo>
                  <a:pt x="707" y="446"/>
                  <a:pt x="707" y="446"/>
                  <a:pt x="707" y="446"/>
                </a:cubicBezTo>
                <a:cubicBezTo>
                  <a:pt x="707" y="446"/>
                  <a:pt x="707" y="446"/>
                  <a:pt x="707" y="446"/>
                </a:cubicBezTo>
                <a:cubicBezTo>
                  <a:pt x="707" y="446"/>
                  <a:pt x="707" y="446"/>
                  <a:pt x="707" y="446"/>
                </a:cubicBezTo>
                <a:close/>
                <a:moveTo>
                  <a:pt x="702" y="451"/>
                </a:moveTo>
                <a:cubicBezTo>
                  <a:pt x="702" y="451"/>
                  <a:pt x="702" y="451"/>
                  <a:pt x="702" y="451"/>
                </a:cubicBezTo>
                <a:cubicBezTo>
                  <a:pt x="702" y="451"/>
                  <a:pt x="702" y="451"/>
                  <a:pt x="702" y="452"/>
                </a:cubicBezTo>
                <a:cubicBezTo>
                  <a:pt x="702" y="452"/>
                  <a:pt x="702" y="452"/>
                  <a:pt x="702" y="451"/>
                </a:cubicBezTo>
                <a:close/>
                <a:moveTo>
                  <a:pt x="709" y="445"/>
                </a:moveTo>
                <a:cubicBezTo>
                  <a:pt x="709" y="445"/>
                  <a:pt x="709" y="445"/>
                  <a:pt x="709" y="445"/>
                </a:cubicBezTo>
                <a:cubicBezTo>
                  <a:pt x="709" y="445"/>
                  <a:pt x="708" y="445"/>
                  <a:pt x="708" y="445"/>
                </a:cubicBezTo>
                <a:cubicBezTo>
                  <a:pt x="708" y="445"/>
                  <a:pt x="708" y="445"/>
                  <a:pt x="709" y="445"/>
                </a:cubicBezTo>
                <a:close/>
                <a:moveTo>
                  <a:pt x="701" y="474"/>
                </a:moveTo>
                <a:cubicBezTo>
                  <a:pt x="701" y="474"/>
                  <a:pt x="701" y="474"/>
                  <a:pt x="701" y="474"/>
                </a:cubicBezTo>
                <a:cubicBezTo>
                  <a:pt x="701" y="474"/>
                  <a:pt x="701" y="474"/>
                  <a:pt x="701" y="474"/>
                </a:cubicBezTo>
                <a:cubicBezTo>
                  <a:pt x="701" y="474"/>
                  <a:pt x="701" y="474"/>
                  <a:pt x="701" y="474"/>
                </a:cubicBezTo>
                <a:cubicBezTo>
                  <a:pt x="701" y="474"/>
                  <a:pt x="701" y="474"/>
                  <a:pt x="701" y="474"/>
                </a:cubicBezTo>
                <a:close/>
                <a:moveTo>
                  <a:pt x="660" y="417"/>
                </a:moveTo>
                <a:cubicBezTo>
                  <a:pt x="660" y="417"/>
                  <a:pt x="660" y="417"/>
                  <a:pt x="660" y="418"/>
                </a:cubicBezTo>
                <a:cubicBezTo>
                  <a:pt x="660" y="418"/>
                  <a:pt x="660" y="418"/>
                  <a:pt x="660" y="418"/>
                </a:cubicBezTo>
                <a:cubicBezTo>
                  <a:pt x="660" y="418"/>
                  <a:pt x="660" y="418"/>
                  <a:pt x="660" y="418"/>
                </a:cubicBezTo>
                <a:cubicBezTo>
                  <a:pt x="660" y="417"/>
                  <a:pt x="660" y="417"/>
                  <a:pt x="660" y="417"/>
                </a:cubicBezTo>
                <a:close/>
                <a:moveTo>
                  <a:pt x="700" y="467"/>
                </a:moveTo>
                <a:cubicBezTo>
                  <a:pt x="700" y="468"/>
                  <a:pt x="700" y="468"/>
                  <a:pt x="699" y="468"/>
                </a:cubicBezTo>
                <a:cubicBezTo>
                  <a:pt x="700" y="468"/>
                  <a:pt x="700" y="468"/>
                  <a:pt x="700" y="467"/>
                </a:cubicBezTo>
                <a:close/>
                <a:moveTo>
                  <a:pt x="691" y="420"/>
                </a:moveTo>
                <a:cubicBezTo>
                  <a:pt x="691" y="420"/>
                  <a:pt x="691" y="420"/>
                  <a:pt x="691" y="420"/>
                </a:cubicBezTo>
                <a:cubicBezTo>
                  <a:pt x="691" y="420"/>
                  <a:pt x="691" y="420"/>
                  <a:pt x="691" y="420"/>
                </a:cubicBezTo>
                <a:cubicBezTo>
                  <a:pt x="691" y="419"/>
                  <a:pt x="690" y="418"/>
                  <a:pt x="689" y="418"/>
                </a:cubicBezTo>
                <a:cubicBezTo>
                  <a:pt x="689" y="417"/>
                  <a:pt x="689" y="416"/>
                  <a:pt x="689" y="415"/>
                </a:cubicBezTo>
                <a:cubicBezTo>
                  <a:pt x="689" y="415"/>
                  <a:pt x="689" y="415"/>
                  <a:pt x="688" y="414"/>
                </a:cubicBezTo>
                <a:cubicBezTo>
                  <a:pt x="687" y="414"/>
                  <a:pt x="687" y="413"/>
                  <a:pt x="687" y="412"/>
                </a:cubicBezTo>
                <a:cubicBezTo>
                  <a:pt x="687" y="412"/>
                  <a:pt x="687" y="411"/>
                  <a:pt x="687" y="411"/>
                </a:cubicBezTo>
                <a:cubicBezTo>
                  <a:pt x="686" y="411"/>
                  <a:pt x="686" y="410"/>
                  <a:pt x="686" y="410"/>
                </a:cubicBezTo>
                <a:cubicBezTo>
                  <a:pt x="686" y="409"/>
                  <a:pt x="686" y="409"/>
                  <a:pt x="685" y="409"/>
                </a:cubicBezTo>
                <a:cubicBezTo>
                  <a:pt x="685" y="409"/>
                  <a:pt x="686" y="410"/>
                  <a:pt x="685" y="410"/>
                </a:cubicBezTo>
                <a:cubicBezTo>
                  <a:pt x="685" y="410"/>
                  <a:pt x="685" y="410"/>
                  <a:pt x="686" y="410"/>
                </a:cubicBezTo>
                <a:cubicBezTo>
                  <a:pt x="686" y="411"/>
                  <a:pt x="686" y="411"/>
                  <a:pt x="686" y="411"/>
                </a:cubicBezTo>
                <a:cubicBezTo>
                  <a:pt x="686" y="411"/>
                  <a:pt x="685" y="411"/>
                  <a:pt x="685" y="411"/>
                </a:cubicBezTo>
                <a:cubicBezTo>
                  <a:pt x="685" y="411"/>
                  <a:pt x="685" y="411"/>
                  <a:pt x="685" y="412"/>
                </a:cubicBezTo>
                <a:cubicBezTo>
                  <a:pt x="685" y="412"/>
                  <a:pt x="685" y="412"/>
                  <a:pt x="685" y="412"/>
                </a:cubicBezTo>
                <a:cubicBezTo>
                  <a:pt x="686" y="412"/>
                  <a:pt x="686" y="413"/>
                  <a:pt x="685" y="413"/>
                </a:cubicBezTo>
                <a:cubicBezTo>
                  <a:pt x="685" y="414"/>
                  <a:pt x="685" y="414"/>
                  <a:pt x="685" y="414"/>
                </a:cubicBezTo>
                <a:cubicBezTo>
                  <a:pt x="685" y="414"/>
                  <a:pt x="685" y="414"/>
                  <a:pt x="685" y="414"/>
                </a:cubicBezTo>
                <a:cubicBezTo>
                  <a:pt x="686" y="414"/>
                  <a:pt x="686" y="413"/>
                  <a:pt x="686" y="414"/>
                </a:cubicBezTo>
                <a:cubicBezTo>
                  <a:pt x="687" y="415"/>
                  <a:pt x="687" y="416"/>
                  <a:pt x="688" y="418"/>
                </a:cubicBezTo>
                <a:cubicBezTo>
                  <a:pt x="688" y="418"/>
                  <a:pt x="688" y="418"/>
                  <a:pt x="689" y="419"/>
                </a:cubicBezTo>
                <a:cubicBezTo>
                  <a:pt x="689" y="419"/>
                  <a:pt x="689" y="419"/>
                  <a:pt x="689" y="419"/>
                </a:cubicBezTo>
                <a:cubicBezTo>
                  <a:pt x="690" y="419"/>
                  <a:pt x="690" y="419"/>
                  <a:pt x="690" y="420"/>
                </a:cubicBezTo>
                <a:cubicBezTo>
                  <a:pt x="689" y="421"/>
                  <a:pt x="690" y="421"/>
                  <a:pt x="690" y="422"/>
                </a:cubicBezTo>
                <a:cubicBezTo>
                  <a:pt x="690" y="422"/>
                  <a:pt x="690" y="422"/>
                  <a:pt x="690" y="423"/>
                </a:cubicBezTo>
                <a:cubicBezTo>
                  <a:pt x="690" y="422"/>
                  <a:pt x="690" y="422"/>
                  <a:pt x="690" y="422"/>
                </a:cubicBezTo>
                <a:cubicBezTo>
                  <a:pt x="689" y="423"/>
                  <a:pt x="689" y="422"/>
                  <a:pt x="689" y="422"/>
                </a:cubicBezTo>
                <a:cubicBezTo>
                  <a:pt x="688" y="422"/>
                  <a:pt x="688" y="422"/>
                  <a:pt x="688" y="423"/>
                </a:cubicBezTo>
                <a:cubicBezTo>
                  <a:pt x="688" y="423"/>
                  <a:pt x="688" y="423"/>
                  <a:pt x="688" y="423"/>
                </a:cubicBezTo>
                <a:cubicBezTo>
                  <a:pt x="688" y="423"/>
                  <a:pt x="688" y="423"/>
                  <a:pt x="688" y="423"/>
                </a:cubicBezTo>
                <a:cubicBezTo>
                  <a:pt x="689" y="423"/>
                  <a:pt x="689" y="423"/>
                  <a:pt x="689" y="424"/>
                </a:cubicBezTo>
                <a:cubicBezTo>
                  <a:pt x="689" y="424"/>
                  <a:pt x="689" y="424"/>
                  <a:pt x="690" y="424"/>
                </a:cubicBezTo>
                <a:cubicBezTo>
                  <a:pt x="690" y="424"/>
                  <a:pt x="690" y="424"/>
                  <a:pt x="690" y="424"/>
                </a:cubicBezTo>
                <a:cubicBezTo>
                  <a:pt x="691" y="425"/>
                  <a:pt x="691" y="425"/>
                  <a:pt x="690" y="426"/>
                </a:cubicBezTo>
                <a:cubicBezTo>
                  <a:pt x="690" y="426"/>
                  <a:pt x="690" y="426"/>
                  <a:pt x="689" y="426"/>
                </a:cubicBezTo>
                <a:cubicBezTo>
                  <a:pt x="689" y="427"/>
                  <a:pt x="689" y="427"/>
                  <a:pt x="689" y="426"/>
                </a:cubicBezTo>
                <a:cubicBezTo>
                  <a:pt x="689" y="426"/>
                  <a:pt x="688" y="426"/>
                  <a:pt x="688" y="425"/>
                </a:cubicBezTo>
                <a:cubicBezTo>
                  <a:pt x="688" y="425"/>
                  <a:pt x="688" y="426"/>
                  <a:pt x="688" y="426"/>
                </a:cubicBezTo>
                <a:cubicBezTo>
                  <a:pt x="688" y="426"/>
                  <a:pt x="688" y="426"/>
                  <a:pt x="688" y="426"/>
                </a:cubicBezTo>
                <a:cubicBezTo>
                  <a:pt x="687" y="425"/>
                  <a:pt x="687" y="425"/>
                  <a:pt x="687" y="425"/>
                </a:cubicBezTo>
                <a:cubicBezTo>
                  <a:pt x="687" y="425"/>
                  <a:pt x="687" y="425"/>
                  <a:pt x="687" y="425"/>
                </a:cubicBezTo>
                <a:cubicBezTo>
                  <a:pt x="687" y="425"/>
                  <a:pt x="687" y="425"/>
                  <a:pt x="687" y="425"/>
                </a:cubicBezTo>
                <a:cubicBezTo>
                  <a:pt x="687" y="426"/>
                  <a:pt x="687" y="426"/>
                  <a:pt x="687" y="427"/>
                </a:cubicBezTo>
                <a:cubicBezTo>
                  <a:pt x="688" y="427"/>
                  <a:pt x="688" y="427"/>
                  <a:pt x="688" y="428"/>
                </a:cubicBezTo>
                <a:cubicBezTo>
                  <a:pt x="688" y="428"/>
                  <a:pt x="688" y="428"/>
                  <a:pt x="687" y="428"/>
                </a:cubicBezTo>
                <a:cubicBezTo>
                  <a:pt x="687" y="427"/>
                  <a:pt x="687" y="428"/>
                  <a:pt x="687" y="428"/>
                </a:cubicBezTo>
                <a:cubicBezTo>
                  <a:pt x="687" y="428"/>
                  <a:pt x="687" y="429"/>
                  <a:pt x="687" y="429"/>
                </a:cubicBezTo>
                <a:cubicBezTo>
                  <a:pt x="687" y="429"/>
                  <a:pt x="687" y="429"/>
                  <a:pt x="686" y="429"/>
                </a:cubicBezTo>
                <a:cubicBezTo>
                  <a:pt x="686" y="430"/>
                  <a:pt x="686" y="429"/>
                  <a:pt x="686" y="429"/>
                </a:cubicBezTo>
                <a:cubicBezTo>
                  <a:pt x="685" y="430"/>
                  <a:pt x="685" y="429"/>
                  <a:pt x="685" y="429"/>
                </a:cubicBezTo>
                <a:cubicBezTo>
                  <a:pt x="685" y="429"/>
                  <a:pt x="686" y="428"/>
                  <a:pt x="685" y="428"/>
                </a:cubicBezTo>
                <a:cubicBezTo>
                  <a:pt x="685" y="429"/>
                  <a:pt x="685" y="429"/>
                  <a:pt x="685" y="430"/>
                </a:cubicBezTo>
                <a:cubicBezTo>
                  <a:pt x="685" y="430"/>
                  <a:pt x="685" y="430"/>
                  <a:pt x="685" y="430"/>
                </a:cubicBezTo>
                <a:cubicBezTo>
                  <a:pt x="685" y="430"/>
                  <a:pt x="685" y="431"/>
                  <a:pt x="684" y="431"/>
                </a:cubicBezTo>
                <a:cubicBezTo>
                  <a:pt x="684" y="431"/>
                  <a:pt x="684" y="431"/>
                  <a:pt x="684" y="431"/>
                </a:cubicBezTo>
                <a:cubicBezTo>
                  <a:pt x="684" y="432"/>
                  <a:pt x="684" y="432"/>
                  <a:pt x="684" y="432"/>
                </a:cubicBezTo>
                <a:cubicBezTo>
                  <a:pt x="683" y="432"/>
                  <a:pt x="683" y="432"/>
                  <a:pt x="683" y="433"/>
                </a:cubicBezTo>
                <a:cubicBezTo>
                  <a:pt x="683" y="433"/>
                  <a:pt x="683" y="433"/>
                  <a:pt x="683" y="433"/>
                </a:cubicBezTo>
                <a:cubicBezTo>
                  <a:pt x="682" y="433"/>
                  <a:pt x="682" y="433"/>
                  <a:pt x="681" y="433"/>
                </a:cubicBezTo>
                <a:cubicBezTo>
                  <a:pt x="681" y="432"/>
                  <a:pt x="681" y="432"/>
                  <a:pt x="681" y="431"/>
                </a:cubicBezTo>
                <a:cubicBezTo>
                  <a:pt x="681" y="431"/>
                  <a:pt x="681" y="431"/>
                  <a:pt x="681" y="431"/>
                </a:cubicBezTo>
                <a:cubicBezTo>
                  <a:pt x="681" y="430"/>
                  <a:pt x="681" y="430"/>
                  <a:pt x="681" y="429"/>
                </a:cubicBezTo>
                <a:cubicBezTo>
                  <a:pt x="681" y="429"/>
                  <a:pt x="681" y="428"/>
                  <a:pt x="681" y="428"/>
                </a:cubicBezTo>
                <a:cubicBezTo>
                  <a:pt x="681" y="428"/>
                  <a:pt x="681" y="428"/>
                  <a:pt x="681" y="428"/>
                </a:cubicBezTo>
                <a:cubicBezTo>
                  <a:pt x="682" y="428"/>
                  <a:pt x="682" y="428"/>
                  <a:pt x="682" y="428"/>
                </a:cubicBezTo>
                <a:cubicBezTo>
                  <a:pt x="682" y="428"/>
                  <a:pt x="682" y="428"/>
                  <a:pt x="682" y="428"/>
                </a:cubicBezTo>
                <a:cubicBezTo>
                  <a:pt x="681" y="427"/>
                  <a:pt x="681" y="427"/>
                  <a:pt x="682" y="427"/>
                </a:cubicBezTo>
                <a:cubicBezTo>
                  <a:pt x="682" y="427"/>
                  <a:pt x="682" y="427"/>
                  <a:pt x="682" y="426"/>
                </a:cubicBezTo>
                <a:cubicBezTo>
                  <a:pt x="683" y="426"/>
                  <a:pt x="683" y="426"/>
                  <a:pt x="683" y="426"/>
                </a:cubicBezTo>
                <a:cubicBezTo>
                  <a:pt x="683" y="426"/>
                  <a:pt x="683" y="426"/>
                  <a:pt x="682" y="426"/>
                </a:cubicBezTo>
                <a:cubicBezTo>
                  <a:pt x="682" y="426"/>
                  <a:pt x="682" y="425"/>
                  <a:pt x="682" y="425"/>
                </a:cubicBezTo>
                <a:cubicBezTo>
                  <a:pt x="682" y="424"/>
                  <a:pt x="682" y="424"/>
                  <a:pt x="682" y="425"/>
                </a:cubicBezTo>
                <a:cubicBezTo>
                  <a:pt x="683" y="425"/>
                  <a:pt x="683" y="425"/>
                  <a:pt x="684" y="425"/>
                </a:cubicBezTo>
                <a:cubicBezTo>
                  <a:pt x="684" y="425"/>
                  <a:pt x="684" y="425"/>
                  <a:pt x="684" y="426"/>
                </a:cubicBezTo>
                <a:cubicBezTo>
                  <a:pt x="684" y="426"/>
                  <a:pt x="684" y="426"/>
                  <a:pt x="685" y="426"/>
                </a:cubicBezTo>
                <a:cubicBezTo>
                  <a:pt x="685" y="426"/>
                  <a:pt x="685" y="425"/>
                  <a:pt x="684" y="425"/>
                </a:cubicBezTo>
                <a:cubicBezTo>
                  <a:pt x="684" y="425"/>
                  <a:pt x="684" y="425"/>
                  <a:pt x="683" y="425"/>
                </a:cubicBezTo>
                <a:cubicBezTo>
                  <a:pt x="683" y="425"/>
                  <a:pt x="683" y="425"/>
                  <a:pt x="683" y="425"/>
                </a:cubicBezTo>
                <a:cubicBezTo>
                  <a:pt x="683" y="424"/>
                  <a:pt x="683" y="424"/>
                  <a:pt x="683" y="424"/>
                </a:cubicBezTo>
                <a:cubicBezTo>
                  <a:pt x="682" y="424"/>
                  <a:pt x="682" y="423"/>
                  <a:pt x="682" y="423"/>
                </a:cubicBezTo>
                <a:cubicBezTo>
                  <a:pt x="682" y="423"/>
                  <a:pt x="682" y="423"/>
                  <a:pt x="682" y="422"/>
                </a:cubicBezTo>
                <a:cubicBezTo>
                  <a:pt x="682" y="421"/>
                  <a:pt x="681" y="421"/>
                  <a:pt x="681" y="420"/>
                </a:cubicBezTo>
                <a:cubicBezTo>
                  <a:pt x="680" y="419"/>
                  <a:pt x="680" y="419"/>
                  <a:pt x="680" y="418"/>
                </a:cubicBezTo>
                <a:cubicBezTo>
                  <a:pt x="680" y="418"/>
                  <a:pt x="680" y="418"/>
                  <a:pt x="680" y="418"/>
                </a:cubicBezTo>
                <a:cubicBezTo>
                  <a:pt x="679" y="417"/>
                  <a:pt x="681" y="415"/>
                  <a:pt x="680" y="414"/>
                </a:cubicBezTo>
                <a:cubicBezTo>
                  <a:pt x="679" y="412"/>
                  <a:pt x="680" y="411"/>
                  <a:pt x="679" y="410"/>
                </a:cubicBezTo>
                <a:cubicBezTo>
                  <a:pt x="679" y="409"/>
                  <a:pt x="679" y="409"/>
                  <a:pt x="679" y="409"/>
                </a:cubicBezTo>
                <a:cubicBezTo>
                  <a:pt x="679" y="408"/>
                  <a:pt x="679" y="408"/>
                  <a:pt x="679" y="407"/>
                </a:cubicBezTo>
                <a:cubicBezTo>
                  <a:pt x="679" y="408"/>
                  <a:pt x="679" y="408"/>
                  <a:pt x="679" y="408"/>
                </a:cubicBezTo>
                <a:cubicBezTo>
                  <a:pt x="679" y="408"/>
                  <a:pt x="679" y="407"/>
                  <a:pt x="679" y="407"/>
                </a:cubicBezTo>
                <a:cubicBezTo>
                  <a:pt x="678" y="407"/>
                  <a:pt x="678" y="406"/>
                  <a:pt x="678" y="406"/>
                </a:cubicBezTo>
                <a:cubicBezTo>
                  <a:pt x="678" y="405"/>
                  <a:pt x="677" y="405"/>
                  <a:pt x="678" y="405"/>
                </a:cubicBezTo>
                <a:cubicBezTo>
                  <a:pt x="678" y="405"/>
                  <a:pt x="678" y="405"/>
                  <a:pt x="678" y="404"/>
                </a:cubicBezTo>
                <a:cubicBezTo>
                  <a:pt x="678" y="405"/>
                  <a:pt x="677" y="405"/>
                  <a:pt x="677" y="404"/>
                </a:cubicBezTo>
                <a:cubicBezTo>
                  <a:pt x="677" y="403"/>
                  <a:pt x="677" y="402"/>
                  <a:pt x="677" y="401"/>
                </a:cubicBezTo>
                <a:cubicBezTo>
                  <a:pt x="677" y="401"/>
                  <a:pt x="677" y="401"/>
                  <a:pt x="677" y="401"/>
                </a:cubicBezTo>
                <a:cubicBezTo>
                  <a:pt x="677" y="401"/>
                  <a:pt x="677" y="401"/>
                  <a:pt x="677" y="401"/>
                </a:cubicBezTo>
                <a:cubicBezTo>
                  <a:pt x="678" y="402"/>
                  <a:pt x="678" y="402"/>
                  <a:pt x="679" y="403"/>
                </a:cubicBezTo>
                <a:cubicBezTo>
                  <a:pt x="679" y="403"/>
                  <a:pt x="679" y="404"/>
                  <a:pt x="680" y="404"/>
                </a:cubicBezTo>
                <a:cubicBezTo>
                  <a:pt x="680" y="405"/>
                  <a:pt x="680" y="405"/>
                  <a:pt x="680" y="406"/>
                </a:cubicBezTo>
                <a:cubicBezTo>
                  <a:pt x="680" y="407"/>
                  <a:pt x="680" y="407"/>
                  <a:pt x="681" y="407"/>
                </a:cubicBezTo>
                <a:cubicBezTo>
                  <a:pt x="681" y="406"/>
                  <a:pt x="681" y="406"/>
                  <a:pt x="682" y="406"/>
                </a:cubicBezTo>
                <a:cubicBezTo>
                  <a:pt x="682" y="406"/>
                  <a:pt x="682" y="406"/>
                  <a:pt x="682" y="406"/>
                </a:cubicBezTo>
                <a:cubicBezTo>
                  <a:pt x="683" y="407"/>
                  <a:pt x="683" y="406"/>
                  <a:pt x="684" y="407"/>
                </a:cubicBezTo>
                <a:cubicBezTo>
                  <a:pt x="684" y="407"/>
                  <a:pt x="685" y="407"/>
                  <a:pt x="686" y="407"/>
                </a:cubicBezTo>
                <a:cubicBezTo>
                  <a:pt x="686" y="407"/>
                  <a:pt x="686" y="407"/>
                  <a:pt x="687" y="407"/>
                </a:cubicBezTo>
                <a:cubicBezTo>
                  <a:pt x="687" y="407"/>
                  <a:pt x="687" y="407"/>
                  <a:pt x="686" y="408"/>
                </a:cubicBezTo>
                <a:cubicBezTo>
                  <a:pt x="686" y="408"/>
                  <a:pt x="686" y="408"/>
                  <a:pt x="687" y="409"/>
                </a:cubicBezTo>
                <a:cubicBezTo>
                  <a:pt x="687" y="409"/>
                  <a:pt x="688" y="410"/>
                  <a:pt x="688" y="411"/>
                </a:cubicBezTo>
                <a:cubicBezTo>
                  <a:pt x="688" y="411"/>
                  <a:pt x="688" y="411"/>
                  <a:pt x="688" y="411"/>
                </a:cubicBezTo>
                <a:cubicBezTo>
                  <a:pt x="689" y="412"/>
                  <a:pt x="689" y="412"/>
                  <a:pt x="689" y="413"/>
                </a:cubicBezTo>
                <a:cubicBezTo>
                  <a:pt x="689" y="414"/>
                  <a:pt x="690" y="414"/>
                  <a:pt x="690" y="414"/>
                </a:cubicBezTo>
                <a:cubicBezTo>
                  <a:pt x="690" y="415"/>
                  <a:pt x="690" y="415"/>
                  <a:pt x="690" y="415"/>
                </a:cubicBezTo>
                <a:cubicBezTo>
                  <a:pt x="690" y="416"/>
                  <a:pt x="690" y="416"/>
                  <a:pt x="690" y="416"/>
                </a:cubicBezTo>
                <a:cubicBezTo>
                  <a:pt x="690" y="417"/>
                  <a:pt x="690" y="417"/>
                  <a:pt x="690" y="417"/>
                </a:cubicBezTo>
                <a:cubicBezTo>
                  <a:pt x="690" y="418"/>
                  <a:pt x="690" y="418"/>
                  <a:pt x="691" y="419"/>
                </a:cubicBezTo>
                <a:cubicBezTo>
                  <a:pt x="691" y="419"/>
                  <a:pt x="691" y="420"/>
                  <a:pt x="691" y="420"/>
                </a:cubicBezTo>
                <a:close/>
                <a:moveTo>
                  <a:pt x="687" y="415"/>
                </a:moveTo>
                <a:cubicBezTo>
                  <a:pt x="687" y="416"/>
                  <a:pt x="687" y="416"/>
                  <a:pt x="688" y="416"/>
                </a:cubicBezTo>
                <a:cubicBezTo>
                  <a:pt x="688" y="416"/>
                  <a:pt x="688" y="415"/>
                  <a:pt x="688" y="415"/>
                </a:cubicBezTo>
                <a:cubicBezTo>
                  <a:pt x="687" y="415"/>
                  <a:pt x="687" y="414"/>
                  <a:pt x="687" y="414"/>
                </a:cubicBezTo>
                <a:cubicBezTo>
                  <a:pt x="687" y="414"/>
                  <a:pt x="687" y="414"/>
                  <a:pt x="686" y="413"/>
                </a:cubicBezTo>
                <a:cubicBezTo>
                  <a:pt x="687" y="414"/>
                  <a:pt x="687" y="414"/>
                  <a:pt x="687" y="414"/>
                </a:cubicBezTo>
                <a:cubicBezTo>
                  <a:pt x="686" y="415"/>
                  <a:pt x="687" y="415"/>
                  <a:pt x="687" y="415"/>
                </a:cubicBezTo>
                <a:close/>
                <a:moveTo>
                  <a:pt x="686" y="412"/>
                </a:moveTo>
                <a:cubicBezTo>
                  <a:pt x="686" y="412"/>
                  <a:pt x="686" y="412"/>
                  <a:pt x="686" y="412"/>
                </a:cubicBezTo>
                <a:cubicBezTo>
                  <a:pt x="686" y="412"/>
                  <a:pt x="686" y="412"/>
                  <a:pt x="685" y="412"/>
                </a:cubicBezTo>
                <a:cubicBezTo>
                  <a:pt x="686" y="412"/>
                  <a:pt x="686" y="412"/>
                  <a:pt x="686" y="412"/>
                </a:cubicBezTo>
                <a:cubicBezTo>
                  <a:pt x="686" y="412"/>
                  <a:pt x="686" y="412"/>
                  <a:pt x="686" y="413"/>
                </a:cubicBezTo>
                <a:cubicBezTo>
                  <a:pt x="686" y="413"/>
                  <a:pt x="686" y="412"/>
                  <a:pt x="686" y="412"/>
                </a:cubicBezTo>
                <a:close/>
                <a:moveTo>
                  <a:pt x="686" y="413"/>
                </a:moveTo>
                <a:cubicBezTo>
                  <a:pt x="687" y="413"/>
                  <a:pt x="687" y="413"/>
                  <a:pt x="686" y="413"/>
                </a:cubicBezTo>
                <a:cubicBezTo>
                  <a:pt x="686" y="413"/>
                  <a:pt x="686" y="413"/>
                  <a:pt x="686" y="413"/>
                </a:cubicBezTo>
                <a:cubicBezTo>
                  <a:pt x="686" y="413"/>
                  <a:pt x="686" y="413"/>
                  <a:pt x="686" y="413"/>
                </a:cubicBezTo>
                <a:close/>
                <a:moveTo>
                  <a:pt x="721" y="475"/>
                </a:moveTo>
                <a:cubicBezTo>
                  <a:pt x="721" y="475"/>
                  <a:pt x="721" y="475"/>
                  <a:pt x="721" y="475"/>
                </a:cubicBezTo>
                <a:cubicBezTo>
                  <a:pt x="720" y="475"/>
                  <a:pt x="720" y="475"/>
                  <a:pt x="720" y="476"/>
                </a:cubicBezTo>
                <a:cubicBezTo>
                  <a:pt x="720" y="476"/>
                  <a:pt x="720" y="476"/>
                  <a:pt x="720" y="476"/>
                </a:cubicBezTo>
                <a:cubicBezTo>
                  <a:pt x="720" y="477"/>
                  <a:pt x="720" y="477"/>
                  <a:pt x="720" y="478"/>
                </a:cubicBezTo>
                <a:cubicBezTo>
                  <a:pt x="720" y="478"/>
                  <a:pt x="719" y="478"/>
                  <a:pt x="719" y="479"/>
                </a:cubicBezTo>
                <a:cubicBezTo>
                  <a:pt x="719" y="479"/>
                  <a:pt x="719" y="480"/>
                  <a:pt x="720" y="480"/>
                </a:cubicBezTo>
                <a:cubicBezTo>
                  <a:pt x="720" y="480"/>
                  <a:pt x="720" y="480"/>
                  <a:pt x="720" y="480"/>
                </a:cubicBezTo>
                <a:cubicBezTo>
                  <a:pt x="720" y="480"/>
                  <a:pt x="720" y="480"/>
                  <a:pt x="720" y="480"/>
                </a:cubicBezTo>
                <a:cubicBezTo>
                  <a:pt x="720" y="480"/>
                  <a:pt x="720" y="479"/>
                  <a:pt x="721" y="479"/>
                </a:cubicBezTo>
                <a:cubicBezTo>
                  <a:pt x="721" y="479"/>
                  <a:pt x="721" y="479"/>
                  <a:pt x="721" y="479"/>
                </a:cubicBezTo>
                <a:cubicBezTo>
                  <a:pt x="721" y="480"/>
                  <a:pt x="722" y="480"/>
                  <a:pt x="722" y="480"/>
                </a:cubicBezTo>
                <a:cubicBezTo>
                  <a:pt x="722" y="479"/>
                  <a:pt x="723" y="479"/>
                  <a:pt x="723" y="479"/>
                </a:cubicBezTo>
                <a:cubicBezTo>
                  <a:pt x="723" y="479"/>
                  <a:pt x="722" y="479"/>
                  <a:pt x="722" y="479"/>
                </a:cubicBezTo>
                <a:cubicBezTo>
                  <a:pt x="722" y="479"/>
                  <a:pt x="723" y="478"/>
                  <a:pt x="723" y="478"/>
                </a:cubicBezTo>
                <a:cubicBezTo>
                  <a:pt x="723" y="478"/>
                  <a:pt x="722" y="478"/>
                  <a:pt x="722" y="478"/>
                </a:cubicBezTo>
                <a:cubicBezTo>
                  <a:pt x="722" y="477"/>
                  <a:pt x="722" y="477"/>
                  <a:pt x="722" y="477"/>
                </a:cubicBezTo>
                <a:cubicBezTo>
                  <a:pt x="722" y="476"/>
                  <a:pt x="722" y="476"/>
                  <a:pt x="722" y="476"/>
                </a:cubicBezTo>
                <a:cubicBezTo>
                  <a:pt x="722" y="476"/>
                  <a:pt x="722" y="476"/>
                  <a:pt x="722" y="476"/>
                </a:cubicBezTo>
                <a:cubicBezTo>
                  <a:pt x="722" y="476"/>
                  <a:pt x="721" y="476"/>
                  <a:pt x="721" y="475"/>
                </a:cubicBezTo>
                <a:cubicBezTo>
                  <a:pt x="721" y="475"/>
                  <a:pt x="721" y="475"/>
                  <a:pt x="721" y="475"/>
                </a:cubicBezTo>
                <a:close/>
                <a:moveTo>
                  <a:pt x="722" y="483"/>
                </a:moveTo>
                <a:cubicBezTo>
                  <a:pt x="722" y="483"/>
                  <a:pt x="723" y="483"/>
                  <a:pt x="723" y="483"/>
                </a:cubicBezTo>
                <a:cubicBezTo>
                  <a:pt x="723" y="483"/>
                  <a:pt x="723" y="483"/>
                  <a:pt x="723" y="483"/>
                </a:cubicBezTo>
                <a:cubicBezTo>
                  <a:pt x="723" y="483"/>
                  <a:pt x="723" y="483"/>
                  <a:pt x="724" y="483"/>
                </a:cubicBezTo>
                <a:cubicBezTo>
                  <a:pt x="724" y="483"/>
                  <a:pt x="724" y="483"/>
                  <a:pt x="724" y="483"/>
                </a:cubicBezTo>
                <a:cubicBezTo>
                  <a:pt x="724" y="483"/>
                  <a:pt x="724" y="483"/>
                  <a:pt x="724" y="483"/>
                </a:cubicBezTo>
                <a:cubicBezTo>
                  <a:pt x="724" y="483"/>
                  <a:pt x="724" y="483"/>
                  <a:pt x="724" y="483"/>
                </a:cubicBezTo>
                <a:cubicBezTo>
                  <a:pt x="724" y="482"/>
                  <a:pt x="724" y="482"/>
                  <a:pt x="724" y="482"/>
                </a:cubicBezTo>
                <a:cubicBezTo>
                  <a:pt x="724" y="481"/>
                  <a:pt x="724" y="481"/>
                  <a:pt x="724" y="481"/>
                </a:cubicBezTo>
                <a:cubicBezTo>
                  <a:pt x="724" y="481"/>
                  <a:pt x="724" y="481"/>
                  <a:pt x="724" y="481"/>
                </a:cubicBezTo>
                <a:cubicBezTo>
                  <a:pt x="724" y="481"/>
                  <a:pt x="724" y="481"/>
                  <a:pt x="723" y="481"/>
                </a:cubicBezTo>
                <a:cubicBezTo>
                  <a:pt x="723" y="481"/>
                  <a:pt x="723" y="481"/>
                  <a:pt x="723" y="481"/>
                </a:cubicBezTo>
                <a:cubicBezTo>
                  <a:pt x="723" y="481"/>
                  <a:pt x="723" y="481"/>
                  <a:pt x="723" y="481"/>
                </a:cubicBezTo>
                <a:cubicBezTo>
                  <a:pt x="723" y="481"/>
                  <a:pt x="722" y="481"/>
                  <a:pt x="722" y="481"/>
                </a:cubicBezTo>
                <a:cubicBezTo>
                  <a:pt x="722" y="481"/>
                  <a:pt x="722" y="481"/>
                  <a:pt x="722" y="482"/>
                </a:cubicBezTo>
                <a:cubicBezTo>
                  <a:pt x="722" y="482"/>
                  <a:pt x="722" y="482"/>
                  <a:pt x="722" y="482"/>
                </a:cubicBezTo>
                <a:cubicBezTo>
                  <a:pt x="722" y="482"/>
                  <a:pt x="722" y="482"/>
                  <a:pt x="722" y="483"/>
                </a:cubicBezTo>
                <a:close/>
                <a:moveTo>
                  <a:pt x="740" y="458"/>
                </a:moveTo>
                <a:cubicBezTo>
                  <a:pt x="740" y="458"/>
                  <a:pt x="739" y="455"/>
                  <a:pt x="739" y="455"/>
                </a:cubicBezTo>
                <a:cubicBezTo>
                  <a:pt x="738" y="455"/>
                  <a:pt x="738" y="455"/>
                  <a:pt x="738" y="455"/>
                </a:cubicBezTo>
                <a:cubicBezTo>
                  <a:pt x="736" y="455"/>
                  <a:pt x="736" y="455"/>
                  <a:pt x="736" y="455"/>
                </a:cubicBezTo>
                <a:cubicBezTo>
                  <a:pt x="735" y="454"/>
                  <a:pt x="735" y="454"/>
                  <a:pt x="735" y="454"/>
                </a:cubicBezTo>
                <a:cubicBezTo>
                  <a:pt x="734" y="452"/>
                  <a:pt x="734" y="452"/>
                  <a:pt x="734" y="452"/>
                </a:cubicBezTo>
                <a:cubicBezTo>
                  <a:pt x="734" y="452"/>
                  <a:pt x="733" y="451"/>
                  <a:pt x="733" y="451"/>
                </a:cubicBezTo>
                <a:cubicBezTo>
                  <a:pt x="732" y="451"/>
                  <a:pt x="730" y="449"/>
                  <a:pt x="730" y="449"/>
                </a:cubicBezTo>
                <a:cubicBezTo>
                  <a:pt x="728" y="448"/>
                  <a:pt x="728" y="448"/>
                  <a:pt x="728" y="448"/>
                </a:cubicBezTo>
                <a:cubicBezTo>
                  <a:pt x="726" y="448"/>
                  <a:pt x="726" y="448"/>
                  <a:pt x="726" y="448"/>
                </a:cubicBezTo>
                <a:cubicBezTo>
                  <a:pt x="726" y="448"/>
                  <a:pt x="720" y="443"/>
                  <a:pt x="720" y="443"/>
                </a:cubicBezTo>
                <a:cubicBezTo>
                  <a:pt x="720" y="443"/>
                  <a:pt x="716" y="443"/>
                  <a:pt x="716" y="443"/>
                </a:cubicBezTo>
                <a:cubicBezTo>
                  <a:pt x="716" y="439"/>
                  <a:pt x="716" y="439"/>
                  <a:pt x="716" y="439"/>
                </a:cubicBezTo>
                <a:cubicBezTo>
                  <a:pt x="713" y="437"/>
                  <a:pt x="713" y="437"/>
                  <a:pt x="713" y="437"/>
                </a:cubicBezTo>
                <a:cubicBezTo>
                  <a:pt x="713" y="435"/>
                  <a:pt x="713" y="435"/>
                  <a:pt x="713" y="435"/>
                </a:cubicBezTo>
                <a:cubicBezTo>
                  <a:pt x="714" y="434"/>
                  <a:pt x="714" y="434"/>
                  <a:pt x="714" y="434"/>
                </a:cubicBezTo>
                <a:cubicBezTo>
                  <a:pt x="714" y="432"/>
                  <a:pt x="714" y="432"/>
                  <a:pt x="714" y="432"/>
                </a:cubicBezTo>
                <a:cubicBezTo>
                  <a:pt x="710" y="432"/>
                  <a:pt x="710" y="432"/>
                  <a:pt x="710" y="432"/>
                </a:cubicBezTo>
                <a:cubicBezTo>
                  <a:pt x="710" y="432"/>
                  <a:pt x="710" y="430"/>
                  <a:pt x="710" y="430"/>
                </a:cubicBezTo>
                <a:cubicBezTo>
                  <a:pt x="711" y="430"/>
                  <a:pt x="711" y="429"/>
                  <a:pt x="711" y="429"/>
                </a:cubicBezTo>
                <a:cubicBezTo>
                  <a:pt x="696" y="401"/>
                  <a:pt x="696" y="401"/>
                  <a:pt x="696" y="401"/>
                </a:cubicBezTo>
                <a:cubicBezTo>
                  <a:pt x="697" y="399"/>
                  <a:pt x="697" y="399"/>
                  <a:pt x="697" y="399"/>
                </a:cubicBezTo>
                <a:cubicBezTo>
                  <a:pt x="691" y="392"/>
                  <a:pt x="691" y="392"/>
                  <a:pt x="691" y="392"/>
                </a:cubicBezTo>
                <a:cubicBezTo>
                  <a:pt x="686" y="389"/>
                  <a:pt x="686" y="389"/>
                  <a:pt x="686" y="389"/>
                </a:cubicBezTo>
                <a:cubicBezTo>
                  <a:pt x="685" y="388"/>
                  <a:pt x="685" y="388"/>
                  <a:pt x="685" y="388"/>
                </a:cubicBezTo>
                <a:cubicBezTo>
                  <a:pt x="684" y="386"/>
                  <a:pt x="684" y="386"/>
                  <a:pt x="684" y="386"/>
                </a:cubicBezTo>
                <a:cubicBezTo>
                  <a:pt x="684" y="384"/>
                  <a:pt x="684" y="384"/>
                  <a:pt x="684" y="384"/>
                </a:cubicBezTo>
                <a:cubicBezTo>
                  <a:pt x="680" y="380"/>
                  <a:pt x="680" y="380"/>
                  <a:pt x="680" y="380"/>
                </a:cubicBezTo>
                <a:cubicBezTo>
                  <a:pt x="680" y="379"/>
                  <a:pt x="680" y="379"/>
                  <a:pt x="680" y="379"/>
                </a:cubicBezTo>
                <a:cubicBezTo>
                  <a:pt x="676" y="377"/>
                  <a:pt x="676" y="377"/>
                  <a:pt x="676" y="377"/>
                </a:cubicBezTo>
                <a:cubicBezTo>
                  <a:pt x="676" y="375"/>
                  <a:pt x="676" y="375"/>
                  <a:pt x="676" y="375"/>
                </a:cubicBezTo>
                <a:cubicBezTo>
                  <a:pt x="675" y="375"/>
                  <a:pt x="675" y="375"/>
                  <a:pt x="675" y="375"/>
                </a:cubicBezTo>
                <a:cubicBezTo>
                  <a:pt x="675" y="373"/>
                  <a:pt x="675" y="373"/>
                  <a:pt x="675" y="373"/>
                </a:cubicBezTo>
                <a:cubicBezTo>
                  <a:pt x="675" y="373"/>
                  <a:pt x="675" y="373"/>
                  <a:pt x="675" y="373"/>
                </a:cubicBezTo>
                <a:cubicBezTo>
                  <a:pt x="675" y="371"/>
                  <a:pt x="675" y="371"/>
                  <a:pt x="675" y="371"/>
                </a:cubicBezTo>
                <a:cubicBezTo>
                  <a:pt x="670" y="365"/>
                  <a:pt x="670" y="365"/>
                  <a:pt x="670" y="365"/>
                </a:cubicBezTo>
                <a:cubicBezTo>
                  <a:pt x="669" y="365"/>
                  <a:pt x="669" y="365"/>
                  <a:pt x="669" y="365"/>
                </a:cubicBezTo>
                <a:cubicBezTo>
                  <a:pt x="662" y="369"/>
                  <a:pt x="662" y="369"/>
                  <a:pt x="662" y="369"/>
                </a:cubicBezTo>
                <a:cubicBezTo>
                  <a:pt x="658" y="370"/>
                  <a:pt x="658" y="370"/>
                  <a:pt x="658" y="370"/>
                </a:cubicBezTo>
                <a:cubicBezTo>
                  <a:pt x="659" y="370"/>
                  <a:pt x="659" y="370"/>
                  <a:pt x="659" y="370"/>
                </a:cubicBezTo>
                <a:cubicBezTo>
                  <a:pt x="660" y="371"/>
                  <a:pt x="660" y="371"/>
                  <a:pt x="660" y="371"/>
                </a:cubicBezTo>
                <a:cubicBezTo>
                  <a:pt x="660" y="371"/>
                  <a:pt x="660" y="372"/>
                  <a:pt x="660" y="372"/>
                </a:cubicBezTo>
                <a:cubicBezTo>
                  <a:pt x="660" y="372"/>
                  <a:pt x="659" y="374"/>
                  <a:pt x="659" y="374"/>
                </a:cubicBezTo>
                <a:cubicBezTo>
                  <a:pt x="657" y="374"/>
                  <a:pt x="657" y="374"/>
                  <a:pt x="657" y="374"/>
                </a:cubicBezTo>
                <a:cubicBezTo>
                  <a:pt x="657" y="378"/>
                  <a:pt x="657" y="378"/>
                  <a:pt x="657" y="378"/>
                </a:cubicBezTo>
                <a:cubicBezTo>
                  <a:pt x="656" y="381"/>
                  <a:pt x="656" y="381"/>
                  <a:pt x="656" y="381"/>
                </a:cubicBezTo>
                <a:cubicBezTo>
                  <a:pt x="652" y="381"/>
                  <a:pt x="652" y="381"/>
                  <a:pt x="652" y="381"/>
                </a:cubicBezTo>
                <a:cubicBezTo>
                  <a:pt x="643" y="388"/>
                  <a:pt x="643" y="388"/>
                  <a:pt x="643" y="388"/>
                </a:cubicBezTo>
                <a:cubicBezTo>
                  <a:pt x="642" y="379"/>
                  <a:pt x="642" y="379"/>
                  <a:pt x="642" y="379"/>
                </a:cubicBezTo>
                <a:cubicBezTo>
                  <a:pt x="629" y="365"/>
                  <a:pt x="629" y="365"/>
                  <a:pt x="629" y="365"/>
                </a:cubicBezTo>
                <a:cubicBezTo>
                  <a:pt x="629" y="364"/>
                  <a:pt x="629" y="364"/>
                  <a:pt x="629" y="364"/>
                </a:cubicBezTo>
                <a:cubicBezTo>
                  <a:pt x="628" y="362"/>
                  <a:pt x="628" y="362"/>
                  <a:pt x="628" y="362"/>
                </a:cubicBezTo>
                <a:cubicBezTo>
                  <a:pt x="624" y="360"/>
                  <a:pt x="624" y="360"/>
                  <a:pt x="624" y="360"/>
                </a:cubicBezTo>
                <a:cubicBezTo>
                  <a:pt x="622" y="358"/>
                  <a:pt x="622" y="358"/>
                  <a:pt x="622" y="358"/>
                </a:cubicBezTo>
                <a:cubicBezTo>
                  <a:pt x="622" y="358"/>
                  <a:pt x="622" y="356"/>
                  <a:pt x="622" y="356"/>
                </a:cubicBezTo>
                <a:cubicBezTo>
                  <a:pt x="622" y="356"/>
                  <a:pt x="623" y="353"/>
                  <a:pt x="623" y="353"/>
                </a:cubicBezTo>
                <a:cubicBezTo>
                  <a:pt x="623" y="353"/>
                  <a:pt x="623" y="351"/>
                  <a:pt x="623" y="351"/>
                </a:cubicBezTo>
                <a:cubicBezTo>
                  <a:pt x="615" y="351"/>
                  <a:pt x="615" y="351"/>
                  <a:pt x="615" y="351"/>
                </a:cubicBezTo>
                <a:cubicBezTo>
                  <a:pt x="612" y="355"/>
                  <a:pt x="612" y="355"/>
                  <a:pt x="612" y="355"/>
                </a:cubicBezTo>
                <a:cubicBezTo>
                  <a:pt x="612" y="355"/>
                  <a:pt x="606" y="351"/>
                  <a:pt x="606" y="352"/>
                </a:cubicBezTo>
                <a:cubicBezTo>
                  <a:pt x="606" y="352"/>
                  <a:pt x="605" y="354"/>
                  <a:pt x="605" y="354"/>
                </a:cubicBezTo>
                <a:cubicBezTo>
                  <a:pt x="599" y="352"/>
                  <a:pt x="599" y="352"/>
                  <a:pt x="599" y="352"/>
                </a:cubicBezTo>
                <a:cubicBezTo>
                  <a:pt x="599" y="64"/>
                  <a:pt x="599" y="64"/>
                  <a:pt x="599" y="64"/>
                </a:cubicBezTo>
                <a:cubicBezTo>
                  <a:pt x="598" y="64"/>
                  <a:pt x="598" y="64"/>
                  <a:pt x="598" y="64"/>
                </a:cubicBezTo>
                <a:cubicBezTo>
                  <a:pt x="597" y="64"/>
                  <a:pt x="597" y="63"/>
                  <a:pt x="597" y="64"/>
                </a:cubicBezTo>
                <a:cubicBezTo>
                  <a:pt x="596" y="64"/>
                  <a:pt x="596" y="65"/>
                  <a:pt x="595" y="65"/>
                </a:cubicBezTo>
                <a:cubicBezTo>
                  <a:pt x="595" y="65"/>
                  <a:pt x="594" y="65"/>
                  <a:pt x="594" y="64"/>
                </a:cubicBezTo>
                <a:cubicBezTo>
                  <a:pt x="593" y="63"/>
                  <a:pt x="592" y="63"/>
                  <a:pt x="591" y="62"/>
                </a:cubicBezTo>
                <a:cubicBezTo>
                  <a:pt x="591" y="62"/>
                  <a:pt x="591" y="61"/>
                  <a:pt x="590" y="60"/>
                </a:cubicBezTo>
                <a:cubicBezTo>
                  <a:pt x="590" y="61"/>
                  <a:pt x="589" y="61"/>
                  <a:pt x="588" y="61"/>
                </a:cubicBezTo>
                <a:cubicBezTo>
                  <a:pt x="589" y="61"/>
                  <a:pt x="589" y="60"/>
                  <a:pt x="590" y="60"/>
                </a:cubicBezTo>
                <a:cubicBezTo>
                  <a:pt x="588" y="60"/>
                  <a:pt x="587" y="59"/>
                  <a:pt x="586" y="59"/>
                </a:cubicBezTo>
                <a:cubicBezTo>
                  <a:pt x="586" y="59"/>
                  <a:pt x="585" y="59"/>
                  <a:pt x="585" y="59"/>
                </a:cubicBezTo>
                <a:cubicBezTo>
                  <a:pt x="585" y="58"/>
                  <a:pt x="585" y="58"/>
                  <a:pt x="585" y="58"/>
                </a:cubicBezTo>
                <a:cubicBezTo>
                  <a:pt x="586" y="58"/>
                  <a:pt x="585" y="57"/>
                  <a:pt x="584" y="57"/>
                </a:cubicBezTo>
                <a:cubicBezTo>
                  <a:pt x="584" y="57"/>
                  <a:pt x="583" y="57"/>
                  <a:pt x="583" y="57"/>
                </a:cubicBezTo>
                <a:cubicBezTo>
                  <a:pt x="583" y="57"/>
                  <a:pt x="583" y="56"/>
                  <a:pt x="583" y="56"/>
                </a:cubicBezTo>
                <a:cubicBezTo>
                  <a:pt x="583" y="56"/>
                  <a:pt x="582" y="56"/>
                  <a:pt x="582" y="55"/>
                </a:cubicBezTo>
                <a:cubicBezTo>
                  <a:pt x="581" y="55"/>
                  <a:pt x="581" y="54"/>
                  <a:pt x="581" y="54"/>
                </a:cubicBezTo>
                <a:cubicBezTo>
                  <a:pt x="581" y="54"/>
                  <a:pt x="580" y="54"/>
                  <a:pt x="580" y="54"/>
                </a:cubicBezTo>
                <a:cubicBezTo>
                  <a:pt x="579" y="53"/>
                  <a:pt x="579" y="53"/>
                  <a:pt x="579" y="53"/>
                </a:cubicBezTo>
                <a:cubicBezTo>
                  <a:pt x="579" y="52"/>
                  <a:pt x="579" y="52"/>
                  <a:pt x="579" y="51"/>
                </a:cubicBezTo>
                <a:cubicBezTo>
                  <a:pt x="579" y="51"/>
                  <a:pt x="579" y="51"/>
                  <a:pt x="578" y="51"/>
                </a:cubicBezTo>
                <a:cubicBezTo>
                  <a:pt x="578" y="51"/>
                  <a:pt x="577" y="50"/>
                  <a:pt x="576" y="50"/>
                </a:cubicBezTo>
                <a:cubicBezTo>
                  <a:pt x="576" y="49"/>
                  <a:pt x="576" y="49"/>
                  <a:pt x="575" y="49"/>
                </a:cubicBezTo>
                <a:cubicBezTo>
                  <a:pt x="574" y="49"/>
                  <a:pt x="573" y="49"/>
                  <a:pt x="573" y="48"/>
                </a:cubicBezTo>
                <a:cubicBezTo>
                  <a:pt x="572" y="48"/>
                  <a:pt x="572" y="48"/>
                  <a:pt x="572" y="48"/>
                </a:cubicBezTo>
                <a:cubicBezTo>
                  <a:pt x="571" y="48"/>
                  <a:pt x="571" y="48"/>
                  <a:pt x="571" y="48"/>
                </a:cubicBezTo>
                <a:cubicBezTo>
                  <a:pt x="570" y="48"/>
                  <a:pt x="570" y="48"/>
                  <a:pt x="570" y="48"/>
                </a:cubicBezTo>
                <a:cubicBezTo>
                  <a:pt x="569" y="49"/>
                  <a:pt x="568" y="48"/>
                  <a:pt x="568" y="48"/>
                </a:cubicBezTo>
                <a:cubicBezTo>
                  <a:pt x="567" y="48"/>
                  <a:pt x="566" y="49"/>
                  <a:pt x="565" y="48"/>
                </a:cubicBezTo>
                <a:cubicBezTo>
                  <a:pt x="565" y="48"/>
                  <a:pt x="565" y="47"/>
                  <a:pt x="565" y="46"/>
                </a:cubicBezTo>
                <a:cubicBezTo>
                  <a:pt x="565" y="46"/>
                  <a:pt x="564" y="46"/>
                  <a:pt x="564" y="47"/>
                </a:cubicBezTo>
                <a:cubicBezTo>
                  <a:pt x="564" y="47"/>
                  <a:pt x="564" y="48"/>
                  <a:pt x="564" y="48"/>
                </a:cubicBezTo>
                <a:cubicBezTo>
                  <a:pt x="564" y="48"/>
                  <a:pt x="563" y="48"/>
                  <a:pt x="563" y="49"/>
                </a:cubicBezTo>
                <a:cubicBezTo>
                  <a:pt x="562" y="49"/>
                  <a:pt x="561" y="49"/>
                  <a:pt x="561" y="49"/>
                </a:cubicBezTo>
                <a:cubicBezTo>
                  <a:pt x="560" y="49"/>
                  <a:pt x="560" y="50"/>
                  <a:pt x="559" y="50"/>
                </a:cubicBezTo>
                <a:cubicBezTo>
                  <a:pt x="558" y="50"/>
                  <a:pt x="557" y="50"/>
                  <a:pt x="557" y="51"/>
                </a:cubicBezTo>
                <a:cubicBezTo>
                  <a:pt x="556" y="51"/>
                  <a:pt x="556" y="52"/>
                  <a:pt x="555" y="52"/>
                </a:cubicBezTo>
                <a:cubicBezTo>
                  <a:pt x="555" y="52"/>
                  <a:pt x="555" y="51"/>
                  <a:pt x="555" y="51"/>
                </a:cubicBezTo>
                <a:cubicBezTo>
                  <a:pt x="554" y="51"/>
                  <a:pt x="554" y="51"/>
                  <a:pt x="554" y="52"/>
                </a:cubicBezTo>
                <a:cubicBezTo>
                  <a:pt x="552" y="52"/>
                  <a:pt x="551" y="52"/>
                  <a:pt x="549" y="53"/>
                </a:cubicBezTo>
                <a:cubicBezTo>
                  <a:pt x="549" y="53"/>
                  <a:pt x="548" y="53"/>
                  <a:pt x="548" y="53"/>
                </a:cubicBezTo>
                <a:cubicBezTo>
                  <a:pt x="548" y="53"/>
                  <a:pt x="548" y="52"/>
                  <a:pt x="548" y="52"/>
                </a:cubicBezTo>
                <a:cubicBezTo>
                  <a:pt x="546" y="52"/>
                  <a:pt x="545" y="52"/>
                  <a:pt x="543" y="51"/>
                </a:cubicBezTo>
                <a:cubicBezTo>
                  <a:pt x="543" y="51"/>
                  <a:pt x="543" y="50"/>
                  <a:pt x="542" y="50"/>
                </a:cubicBezTo>
                <a:cubicBezTo>
                  <a:pt x="541" y="50"/>
                  <a:pt x="541" y="50"/>
                  <a:pt x="540" y="50"/>
                </a:cubicBezTo>
                <a:cubicBezTo>
                  <a:pt x="540" y="49"/>
                  <a:pt x="540" y="49"/>
                  <a:pt x="540" y="49"/>
                </a:cubicBezTo>
                <a:cubicBezTo>
                  <a:pt x="539" y="48"/>
                  <a:pt x="539" y="48"/>
                  <a:pt x="538" y="47"/>
                </a:cubicBezTo>
                <a:cubicBezTo>
                  <a:pt x="538" y="47"/>
                  <a:pt x="538" y="47"/>
                  <a:pt x="538" y="47"/>
                </a:cubicBezTo>
                <a:cubicBezTo>
                  <a:pt x="538" y="47"/>
                  <a:pt x="538" y="47"/>
                  <a:pt x="537" y="47"/>
                </a:cubicBezTo>
                <a:cubicBezTo>
                  <a:pt x="536" y="48"/>
                  <a:pt x="535" y="48"/>
                  <a:pt x="534" y="49"/>
                </a:cubicBezTo>
                <a:cubicBezTo>
                  <a:pt x="534" y="48"/>
                  <a:pt x="535" y="48"/>
                  <a:pt x="535" y="48"/>
                </a:cubicBezTo>
                <a:cubicBezTo>
                  <a:pt x="535" y="48"/>
                  <a:pt x="535" y="48"/>
                  <a:pt x="536" y="47"/>
                </a:cubicBezTo>
                <a:cubicBezTo>
                  <a:pt x="536" y="47"/>
                  <a:pt x="535" y="47"/>
                  <a:pt x="535" y="47"/>
                </a:cubicBezTo>
                <a:cubicBezTo>
                  <a:pt x="533" y="45"/>
                  <a:pt x="532" y="45"/>
                  <a:pt x="530" y="45"/>
                </a:cubicBezTo>
                <a:cubicBezTo>
                  <a:pt x="528" y="45"/>
                  <a:pt x="526" y="45"/>
                  <a:pt x="523" y="45"/>
                </a:cubicBezTo>
                <a:cubicBezTo>
                  <a:pt x="522" y="46"/>
                  <a:pt x="521" y="46"/>
                  <a:pt x="520" y="46"/>
                </a:cubicBezTo>
                <a:cubicBezTo>
                  <a:pt x="519" y="46"/>
                  <a:pt x="519" y="45"/>
                  <a:pt x="518" y="45"/>
                </a:cubicBezTo>
                <a:cubicBezTo>
                  <a:pt x="518" y="46"/>
                  <a:pt x="518" y="47"/>
                  <a:pt x="518" y="48"/>
                </a:cubicBezTo>
                <a:cubicBezTo>
                  <a:pt x="518" y="48"/>
                  <a:pt x="518" y="47"/>
                  <a:pt x="518" y="46"/>
                </a:cubicBezTo>
                <a:cubicBezTo>
                  <a:pt x="518" y="45"/>
                  <a:pt x="517" y="45"/>
                  <a:pt x="516" y="45"/>
                </a:cubicBezTo>
                <a:cubicBezTo>
                  <a:pt x="515" y="45"/>
                  <a:pt x="514" y="45"/>
                  <a:pt x="514" y="44"/>
                </a:cubicBezTo>
                <a:cubicBezTo>
                  <a:pt x="513" y="44"/>
                  <a:pt x="512" y="43"/>
                  <a:pt x="510" y="43"/>
                </a:cubicBezTo>
                <a:cubicBezTo>
                  <a:pt x="510" y="43"/>
                  <a:pt x="509" y="44"/>
                  <a:pt x="509" y="44"/>
                </a:cubicBezTo>
                <a:cubicBezTo>
                  <a:pt x="508" y="46"/>
                  <a:pt x="507" y="47"/>
                  <a:pt x="505" y="49"/>
                </a:cubicBezTo>
                <a:cubicBezTo>
                  <a:pt x="504" y="50"/>
                  <a:pt x="503" y="51"/>
                  <a:pt x="502" y="52"/>
                </a:cubicBezTo>
                <a:cubicBezTo>
                  <a:pt x="502" y="52"/>
                  <a:pt x="501" y="53"/>
                  <a:pt x="500" y="54"/>
                </a:cubicBezTo>
                <a:cubicBezTo>
                  <a:pt x="499" y="55"/>
                  <a:pt x="500" y="57"/>
                  <a:pt x="500" y="59"/>
                </a:cubicBezTo>
                <a:cubicBezTo>
                  <a:pt x="500" y="60"/>
                  <a:pt x="500" y="61"/>
                  <a:pt x="501" y="62"/>
                </a:cubicBezTo>
                <a:cubicBezTo>
                  <a:pt x="501" y="65"/>
                  <a:pt x="502" y="67"/>
                  <a:pt x="503" y="70"/>
                </a:cubicBezTo>
                <a:cubicBezTo>
                  <a:pt x="503" y="70"/>
                  <a:pt x="504" y="71"/>
                  <a:pt x="504" y="72"/>
                </a:cubicBezTo>
                <a:cubicBezTo>
                  <a:pt x="504" y="72"/>
                  <a:pt x="504" y="72"/>
                  <a:pt x="504" y="73"/>
                </a:cubicBezTo>
                <a:cubicBezTo>
                  <a:pt x="504" y="73"/>
                  <a:pt x="505" y="73"/>
                  <a:pt x="505" y="74"/>
                </a:cubicBezTo>
                <a:cubicBezTo>
                  <a:pt x="505" y="74"/>
                  <a:pt x="505" y="74"/>
                  <a:pt x="504" y="73"/>
                </a:cubicBezTo>
                <a:cubicBezTo>
                  <a:pt x="504" y="73"/>
                  <a:pt x="504" y="73"/>
                  <a:pt x="504" y="72"/>
                </a:cubicBezTo>
                <a:cubicBezTo>
                  <a:pt x="504" y="72"/>
                  <a:pt x="503" y="71"/>
                  <a:pt x="503" y="71"/>
                </a:cubicBezTo>
                <a:cubicBezTo>
                  <a:pt x="502" y="70"/>
                  <a:pt x="502" y="70"/>
                  <a:pt x="502" y="69"/>
                </a:cubicBezTo>
                <a:cubicBezTo>
                  <a:pt x="502" y="68"/>
                  <a:pt x="501" y="68"/>
                  <a:pt x="501" y="67"/>
                </a:cubicBezTo>
                <a:cubicBezTo>
                  <a:pt x="500" y="63"/>
                  <a:pt x="499" y="60"/>
                  <a:pt x="499" y="56"/>
                </a:cubicBezTo>
                <a:cubicBezTo>
                  <a:pt x="499" y="55"/>
                  <a:pt x="500" y="53"/>
                  <a:pt x="500" y="51"/>
                </a:cubicBezTo>
                <a:cubicBezTo>
                  <a:pt x="501" y="50"/>
                  <a:pt x="502" y="48"/>
                  <a:pt x="502" y="47"/>
                </a:cubicBezTo>
                <a:cubicBezTo>
                  <a:pt x="503" y="46"/>
                  <a:pt x="503" y="44"/>
                  <a:pt x="504" y="44"/>
                </a:cubicBezTo>
                <a:cubicBezTo>
                  <a:pt x="504" y="43"/>
                  <a:pt x="505" y="43"/>
                  <a:pt x="505" y="43"/>
                </a:cubicBezTo>
                <a:cubicBezTo>
                  <a:pt x="505" y="42"/>
                  <a:pt x="506" y="41"/>
                  <a:pt x="506" y="40"/>
                </a:cubicBezTo>
                <a:cubicBezTo>
                  <a:pt x="506" y="40"/>
                  <a:pt x="506" y="39"/>
                  <a:pt x="505" y="39"/>
                </a:cubicBezTo>
                <a:cubicBezTo>
                  <a:pt x="505" y="40"/>
                  <a:pt x="505" y="40"/>
                  <a:pt x="504" y="40"/>
                </a:cubicBezTo>
                <a:cubicBezTo>
                  <a:pt x="504" y="40"/>
                  <a:pt x="504" y="40"/>
                  <a:pt x="503" y="40"/>
                </a:cubicBezTo>
                <a:cubicBezTo>
                  <a:pt x="503" y="40"/>
                  <a:pt x="502" y="40"/>
                  <a:pt x="502" y="40"/>
                </a:cubicBezTo>
                <a:cubicBezTo>
                  <a:pt x="502" y="40"/>
                  <a:pt x="503" y="39"/>
                  <a:pt x="503" y="39"/>
                </a:cubicBezTo>
                <a:cubicBezTo>
                  <a:pt x="503" y="38"/>
                  <a:pt x="503" y="38"/>
                  <a:pt x="503" y="38"/>
                </a:cubicBezTo>
                <a:cubicBezTo>
                  <a:pt x="503" y="37"/>
                  <a:pt x="503" y="37"/>
                  <a:pt x="502" y="37"/>
                </a:cubicBezTo>
                <a:cubicBezTo>
                  <a:pt x="502" y="37"/>
                  <a:pt x="502" y="37"/>
                  <a:pt x="501" y="37"/>
                </a:cubicBezTo>
                <a:cubicBezTo>
                  <a:pt x="501" y="36"/>
                  <a:pt x="500" y="36"/>
                  <a:pt x="500" y="36"/>
                </a:cubicBezTo>
                <a:cubicBezTo>
                  <a:pt x="499" y="36"/>
                  <a:pt x="499" y="36"/>
                  <a:pt x="498" y="37"/>
                </a:cubicBezTo>
                <a:cubicBezTo>
                  <a:pt x="498" y="37"/>
                  <a:pt x="498" y="37"/>
                  <a:pt x="497" y="37"/>
                </a:cubicBezTo>
                <a:cubicBezTo>
                  <a:pt x="497" y="38"/>
                  <a:pt x="497" y="39"/>
                  <a:pt x="497" y="41"/>
                </a:cubicBezTo>
                <a:cubicBezTo>
                  <a:pt x="497" y="42"/>
                  <a:pt x="496" y="43"/>
                  <a:pt x="496" y="44"/>
                </a:cubicBezTo>
                <a:cubicBezTo>
                  <a:pt x="496" y="45"/>
                  <a:pt x="496" y="46"/>
                  <a:pt x="495" y="47"/>
                </a:cubicBezTo>
                <a:cubicBezTo>
                  <a:pt x="494" y="48"/>
                  <a:pt x="494" y="48"/>
                  <a:pt x="493" y="49"/>
                </a:cubicBezTo>
                <a:cubicBezTo>
                  <a:pt x="493" y="49"/>
                  <a:pt x="493" y="50"/>
                  <a:pt x="492" y="50"/>
                </a:cubicBezTo>
                <a:cubicBezTo>
                  <a:pt x="492" y="50"/>
                  <a:pt x="491" y="50"/>
                  <a:pt x="491" y="50"/>
                </a:cubicBezTo>
                <a:cubicBezTo>
                  <a:pt x="491" y="50"/>
                  <a:pt x="491" y="50"/>
                  <a:pt x="491" y="50"/>
                </a:cubicBezTo>
                <a:cubicBezTo>
                  <a:pt x="492" y="49"/>
                  <a:pt x="493" y="48"/>
                  <a:pt x="493" y="47"/>
                </a:cubicBezTo>
                <a:cubicBezTo>
                  <a:pt x="494" y="46"/>
                  <a:pt x="495" y="45"/>
                  <a:pt x="495" y="44"/>
                </a:cubicBezTo>
                <a:cubicBezTo>
                  <a:pt x="495" y="43"/>
                  <a:pt x="496" y="42"/>
                  <a:pt x="496" y="41"/>
                </a:cubicBezTo>
                <a:cubicBezTo>
                  <a:pt x="496" y="40"/>
                  <a:pt x="495" y="39"/>
                  <a:pt x="496" y="39"/>
                </a:cubicBezTo>
                <a:cubicBezTo>
                  <a:pt x="496" y="38"/>
                  <a:pt x="496" y="38"/>
                  <a:pt x="496" y="38"/>
                </a:cubicBezTo>
                <a:cubicBezTo>
                  <a:pt x="496" y="37"/>
                  <a:pt x="496" y="36"/>
                  <a:pt x="496" y="36"/>
                </a:cubicBezTo>
                <a:cubicBezTo>
                  <a:pt x="496" y="35"/>
                  <a:pt x="496" y="35"/>
                  <a:pt x="496" y="35"/>
                </a:cubicBezTo>
                <a:cubicBezTo>
                  <a:pt x="496" y="35"/>
                  <a:pt x="496" y="35"/>
                  <a:pt x="496" y="35"/>
                </a:cubicBezTo>
                <a:cubicBezTo>
                  <a:pt x="495" y="34"/>
                  <a:pt x="495" y="34"/>
                  <a:pt x="494" y="33"/>
                </a:cubicBezTo>
                <a:cubicBezTo>
                  <a:pt x="492" y="33"/>
                  <a:pt x="489" y="32"/>
                  <a:pt x="487" y="33"/>
                </a:cubicBezTo>
                <a:cubicBezTo>
                  <a:pt x="486" y="33"/>
                  <a:pt x="486" y="33"/>
                  <a:pt x="485" y="32"/>
                </a:cubicBezTo>
                <a:cubicBezTo>
                  <a:pt x="485" y="32"/>
                  <a:pt x="485" y="32"/>
                  <a:pt x="485" y="32"/>
                </a:cubicBezTo>
                <a:cubicBezTo>
                  <a:pt x="485" y="32"/>
                  <a:pt x="485" y="32"/>
                  <a:pt x="484" y="32"/>
                </a:cubicBezTo>
                <a:cubicBezTo>
                  <a:pt x="484" y="33"/>
                  <a:pt x="483" y="33"/>
                  <a:pt x="483" y="34"/>
                </a:cubicBezTo>
                <a:cubicBezTo>
                  <a:pt x="483" y="34"/>
                  <a:pt x="482" y="35"/>
                  <a:pt x="482" y="35"/>
                </a:cubicBezTo>
                <a:cubicBezTo>
                  <a:pt x="481" y="35"/>
                  <a:pt x="481" y="35"/>
                  <a:pt x="480" y="35"/>
                </a:cubicBezTo>
                <a:cubicBezTo>
                  <a:pt x="479" y="36"/>
                  <a:pt x="478" y="37"/>
                  <a:pt x="477" y="37"/>
                </a:cubicBezTo>
                <a:cubicBezTo>
                  <a:pt x="476" y="38"/>
                  <a:pt x="475" y="38"/>
                  <a:pt x="475" y="39"/>
                </a:cubicBezTo>
                <a:cubicBezTo>
                  <a:pt x="474" y="39"/>
                  <a:pt x="474" y="40"/>
                  <a:pt x="474" y="40"/>
                </a:cubicBezTo>
                <a:cubicBezTo>
                  <a:pt x="474" y="41"/>
                  <a:pt x="474" y="41"/>
                  <a:pt x="473" y="42"/>
                </a:cubicBezTo>
                <a:cubicBezTo>
                  <a:pt x="473" y="42"/>
                  <a:pt x="472" y="42"/>
                  <a:pt x="472" y="41"/>
                </a:cubicBezTo>
                <a:cubicBezTo>
                  <a:pt x="472" y="41"/>
                  <a:pt x="472" y="40"/>
                  <a:pt x="472" y="40"/>
                </a:cubicBezTo>
                <a:cubicBezTo>
                  <a:pt x="472" y="40"/>
                  <a:pt x="473" y="39"/>
                  <a:pt x="473" y="39"/>
                </a:cubicBezTo>
                <a:cubicBezTo>
                  <a:pt x="473" y="38"/>
                  <a:pt x="473" y="38"/>
                  <a:pt x="473" y="37"/>
                </a:cubicBezTo>
                <a:cubicBezTo>
                  <a:pt x="473" y="37"/>
                  <a:pt x="474" y="36"/>
                  <a:pt x="474" y="36"/>
                </a:cubicBezTo>
                <a:cubicBezTo>
                  <a:pt x="475" y="35"/>
                  <a:pt x="474" y="34"/>
                  <a:pt x="474" y="34"/>
                </a:cubicBezTo>
                <a:cubicBezTo>
                  <a:pt x="475" y="34"/>
                  <a:pt x="475" y="34"/>
                  <a:pt x="476" y="33"/>
                </a:cubicBezTo>
                <a:cubicBezTo>
                  <a:pt x="476" y="33"/>
                  <a:pt x="476" y="33"/>
                  <a:pt x="475" y="32"/>
                </a:cubicBezTo>
                <a:cubicBezTo>
                  <a:pt x="475" y="32"/>
                  <a:pt x="475" y="32"/>
                  <a:pt x="475" y="32"/>
                </a:cubicBezTo>
                <a:cubicBezTo>
                  <a:pt x="474" y="33"/>
                  <a:pt x="474" y="33"/>
                  <a:pt x="473" y="33"/>
                </a:cubicBezTo>
                <a:cubicBezTo>
                  <a:pt x="473" y="34"/>
                  <a:pt x="472" y="34"/>
                  <a:pt x="472" y="34"/>
                </a:cubicBezTo>
                <a:cubicBezTo>
                  <a:pt x="471" y="34"/>
                  <a:pt x="470" y="35"/>
                  <a:pt x="470" y="36"/>
                </a:cubicBezTo>
                <a:cubicBezTo>
                  <a:pt x="470" y="36"/>
                  <a:pt x="470" y="36"/>
                  <a:pt x="470" y="37"/>
                </a:cubicBezTo>
                <a:cubicBezTo>
                  <a:pt x="469" y="37"/>
                  <a:pt x="469" y="37"/>
                  <a:pt x="468" y="37"/>
                </a:cubicBezTo>
                <a:cubicBezTo>
                  <a:pt x="468" y="37"/>
                  <a:pt x="468" y="37"/>
                  <a:pt x="468" y="37"/>
                </a:cubicBezTo>
                <a:cubicBezTo>
                  <a:pt x="468" y="37"/>
                  <a:pt x="467" y="37"/>
                  <a:pt x="467" y="37"/>
                </a:cubicBezTo>
                <a:cubicBezTo>
                  <a:pt x="466" y="36"/>
                  <a:pt x="466" y="36"/>
                  <a:pt x="465" y="36"/>
                </a:cubicBezTo>
                <a:cubicBezTo>
                  <a:pt x="464" y="35"/>
                  <a:pt x="463" y="35"/>
                  <a:pt x="462" y="35"/>
                </a:cubicBezTo>
                <a:cubicBezTo>
                  <a:pt x="461" y="35"/>
                  <a:pt x="460" y="35"/>
                  <a:pt x="458" y="35"/>
                </a:cubicBezTo>
                <a:cubicBezTo>
                  <a:pt x="458" y="34"/>
                  <a:pt x="459" y="34"/>
                  <a:pt x="459" y="34"/>
                </a:cubicBezTo>
                <a:cubicBezTo>
                  <a:pt x="460" y="33"/>
                  <a:pt x="461" y="32"/>
                  <a:pt x="460" y="31"/>
                </a:cubicBezTo>
                <a:cubicBezTo>
                  <a:pt x="460" y="30"/>
                  <a:pt x="459" y="30"/>
                  <a:pt x="458" y="30"/>
                </a:cubicBezTo>
                <a:cubicBezTo>
                  <a:pt x="457" y="30"/>
                  <a:pt x="456" y="31"/>
                  <a:pt x="455" y="31"/>
                </a:cubicBezTo>
                <a:cubicBezTo>
                  <a:pt x="453" y="31"/>
                  <a:pt x="452" y="31"/>
                  <a:pt x="450" y="30"/>
                </a:cubicBezTo>
                <a:cubicBezTo>
                  <a:pt x="451" y="30"/>
                  <a:pt x="452" y="30"/>
                  <a:pt x="453" y="30"/>
                </a:cubicBezTo>
                <a:cubicBezTo>
                  <a:pt x="454" y="30"/>
                  <a:pt x="454" y="30"/>
                  <a:pt x="455" y="30"/>
                </a:cubicBezTo>
                <a:cubicBezTo>
                  <a:pt x="456" y="30"/>
                  <a:pt x="456" y="30"/>
                  <a:pt x="456" y="29"/>
                </a:cubicBezTo>
                <a:cubicBezTo>
                  <a:pt x="455" y="29"/>
                  <a:pt x="455" y="29"/>
                  <a:pt x="454" y="29"/>
                </a:cubicBezTo>
                <a:cubicBezTo>
                  <a:pt x="454" y="28"/>
                  <a:pt x="454" y="28"/>
                  <a:pt x="453" y="28"/>
                </a:cubicBezTo>
                <a:cubicBezTo>
                  <a:pt x="452" y="28"/>
                  <a:pt x="451" y="27"/>
                  <a:pt x="451" y="26"/>
                </a:cubicBezTo>
                <a:cubicBezTo>
                  <a:pt x="451" y="26"/>
                  <a:pt x="452" y="25"/>
                  <a:pt x="452" y="24"/>
                </a:cubicBezTo>
                <a:cubicBezTo>
                  <a:pt x="453" y="23"/>
                  <a:pt x="453" y="22"/>
                  <a:pt x="454" y="21"/>
                </a:cubicBezTo>
                <a:cubicBezTo>
                  <a:pt x="454" y="21"/>
                  <a:pt x="455" y="20"/>
                  <a:pt x="454" y="20"/>
                </a:cubicBezTo>
                <a:cubicBezTo>
                  <a:pt x="454" y="20"/>
                  <a:pt x="454" y="20"/>
                  <a:pt x="454" y="20"/>
                </a:cubicBezTo>
                <a:cubicBezTo>
                  <a:pt x="452" y="19"/>
                  <a:pt x="450" y="18"/>
                  <a:pt x="448" y="18"/>
                </a:cubicBezTo>
                <a:cubicBezTo>
                  <a:pt x="449" y="18"/>
                  <a:pt x="449" y="19"/>
                  <a:pt x="448" y="20"/>
                </a:cubicBezTo>
                <a:cubicBezTo>
                  <a:pt x="448" y="20"/>
                  <a:pt x="447" y="19"/>
                  <a:pt x="448" y="18"/>
                </a:cubicBezTo>
                <a:cubicBezTo>
                  <a:pt x="447" y="19"/>
                  <a:pt x="446" y="18"/>
                  <a:pt x="445" y="17"/>
                </a:cubicBezTo>
                <a:cubicBezTo>
                  <a:pt x="444" y="16"/>
                  <a:pt x="443" y="16"/>
                  <a:pt x="441" y="16"/>
                </a:cubicBezTo>
                <a:cubicBezTo>
                  <a:pt x="441" y="16"/>
                  <a:pt x="440" y="17"/>
                  <a:pt x="439" y="17"/>
                </a:cubicBezTo>
                <a:cubicBezTo>
                  <a:pt x="437" y="18"/>
                  <a:pt x="434" y="17"/>
                  <a:pt x="432" y="18"/>
                </a:cubicBezTo>
                <a:cubicBezTo>
                  <a:pt x="433" y="19"/>
                  <a:pt x="432" y="20"/>
                  <a:pt x="431" y="21"/>
                </a:cubicBezTo>
                <a:cubicBezTo>
                  <a:pt x="430" y="21"/>
                  <a:pt x="430" y="21"/>
                  <a:pt x="430" y="22"/>
                </a:cubicBezTo>
                <a:cubicBezTo>
                  <a:pt x="429" y="22"/>
                  <a:pt x="429" y="22"/>
                  <a:pt x="429" y="22"/>
                </a:cubicBezTo>
                <a:cubicBezTo>
                  <a:pt x="429" y="22"/>
                  <a:pt x="429" y="22"/>
                  <a:pt x="429" y="22"/>
                </a:cubicBezTo>
                <a:cubicBezTo>
                  <a:pt x="429" y="21"/>
                  <a:pt x="428" y="21"/>
                  <a:pt x="427" y="22"/>
                </a:cubicBezTo>
                <a:cubicBezTo>
                  <a:pt x="427" y="22"/>
                  <a:pt x="427" y="23"/>
                  <a:pt x="426" y="24"/>
                </a:cubicBezTo>
                <a:cubicBezTo>
                  <a:pt x="426" y="24"/>
                  <a:pt x="425" y="24"/>
                  <a:pt x="425" y="24"/>
                </a:cubicBezTo>
                <a:cubicBezTo>
                  <a:pt x="424" y="24"/>
                  <a:pt x="424" y="23"/>
                  <a:pt x="425" y="23"/>
                </a:cubicBezTo>
                <a:cubicBezTo>
                  <a:pt x="424" y="23"/>
                  <a:pt x="424" y="23"/>
                  <a:pt x="423" y="22"/>
                </a:cubicBezTo>
                <a:cubicBezTo>
                  <a:pt x="423" y="22"/>
                  <a:pt x="424" y="22"/>
                  <a:pt x="424" y="21"/>
                </a:cubicBezTo>
                <a:cubicBezTo>
                  <a:pt x="424" y="21"/>
                  <a:pt x="425" y="21"/>
                  <a:pt x="424" y="20"/>
                </a:cubicBezTo>
                <a:cubicBezTo>
                  <a:pt x="424" y="20"/>
                  <a:pt x="424" y="20"/>
                  <a:pt x="424" y="20"/>
                </a:cubicBezTo>
                <a:cubicBezTo>
                  <a:pt x="423" y="19"/>
                  <a:pt x="423" y="18"/>
                  <a:pt x="424" y="18"/>
                </a:cubicBezTo>
                <a:cubicBezTo>
                  <a:pt x="423" y="18"/>
                  <a:pt x="423" y="18"/>
                  <a:pt x="423" y="17"/>
                </a:cubicBezTo>
                <a:cubicBezTo>
                  <a:pt x="423" y="17"/>
                  <a:pt x="424" y="16"/>
                  <a:pt x="424" y="15"/>
                </a:cubicBezTo>
                <a:cubicBezTo>
                  <a:pt x="424" y="14"/>
                  <a:pt x="424" y="12"/>
                  <a:pt x="423" y="12"/>
                </a:cubicBezTo>
                <a:cubicBezTo>
                  <a:pt x="423" y="12"/>
                  <a:pt x="423" y="12"/>
                  <a:pt x="423" y="11"/>
                </a:cubicBezTo>
                <a:cubicBezTo>
                  <a:pt x="422" y="11"/>
                  <a:pt x="422" y="11"/>
                  <a:pt x="422" y="11"/>
                </a:cubicBezTo>
                <a:cubicBezTo>
                  <a:pt x="422" y="10"/>
                  <a:pt x="421" y="10"/>
                  <a:pt x="420" y="9"/>
                </a:cubicBezTo>
                <a:cubicBezTo>
                  <a:pt x="419" y="9"/>
                  <a:pt x="418" y="8"/>
                  <a:pt x="418" y="8"/>
                </a:cubicBezTo>
                <a:cubicBezTo>
                  <a:pt x="418" y="7"/>
                  <a:pt x="417" y="8"/>
                  <a:pt x="418" y="8"/>
                </a:cubicBezTo>
                <a:cubicBezTo>
                  <a:pt x="418" y="9"/>
                  <a:pt x="418" y="9"/>
                  <a:pt x="418" y="9"/>
                </a:cubicBezTo>
                <a:cubicBezTo>
                  <a:pt x="419" y="10"/>
                  <a:pt x="419" y="10"/>
                  <a:pt x="418" y="11"/>
                </a:cubicBezTo>
                <a:cubicBezTo>
                  <a:pt x="418" y="11"/>
                  <a:pt x="417" y="10"/>
                  <a:pt x="417" y="10"/>
                </a:cubicBezTo>
                <a:cubicBezTo>
                  <a:pt x="417" y="9"/>
                  <a:pt x="416" y="9"/>
                  <a:pt x="416" y="9"/>
                </a:cubicBezTo>
                <a:cubicBezTo>
                  <a:pt x="416" y="9"/>
                  <a:pt x="415" y="9"/>
                  <a:pt x="415" y="10"/>
                </a:cubicBezTo>
                <a:cubicBezTo>
                  <a:pt x="416" y="10"/>
                  <a:pt x="416" y="10"/>
                  <a:pt x="416" y="11"/>
                </a:cubicBezTo>
                <a:cubicBezTo>
                  <a:pt x="416" y="11"/>
                  <a:pt x="417" y="12"/>
                  <a:pt x="417" y="12"/>
                </a:cubicBezTo>
                <a:cubicBezTo>
                  <a:pt x="417" y="13"/>
                  <a:pt x="416" y="14"/>
                  <a:pt x="415" y="14"/>
                </a:cubicBezTo>
                <a:cubicBezTo>
                  <a:pt x="416" y="13"/>
                  <a:pt x="415" y="13"/>
                  <a:pt x="415" y="12"/>
                </a:cubicBezTo>
                <a:cubicBezTo>
                  <a:pt x="414" y="13"/>
                  <a:pt x="413" y="14"/>
                  <a:pt x="413" y="16"/>
                </a:cubicBezTo>
                <a:cubicBezTo>
                  <a:pt x="412" y="17"/>
                  <a:pt x="412" y="17"/>
                  <a:pt x="412" y="18"/>
                </a:cubicBezTo>
                <a:cubicBezTo>
                  <a:pt x="412" y="19"/>
                  <a:pt x="411" y="19"/>
                  <a:pt x="411" y="20"/>
                </a:cubicBezTo>
                <a:cubicBezTo>
                  <a:pt x="410" y="20"/>
                  <a:pt x="410" y="20"/>
                  <a:pt x="409" y="19"/>
                </a:cubicBezTo>
                <a:cubicBezTo>
                  <a:pt x="408" y="19"/>
                  <a:pt x="408" y="20"/>
                  <a:pt x="407" y="20"/>
                </a:cubicBezTo>
                <a:cubicBezTo>
                  <a:pt x="407" y="20"/>
                  <a:pt x="406" y="21"/>
                  <a:pt x="406" y="20"/>
                </a:cubicBezTo>
                <a:cubicBezTo>
                  <a:pt x="406" y="20"/>
                  <a:pt x="406" y="20"/>
                  <a:pt x="406" y="20"/>
                </a:cubicBezTo>
                <a:cubicBezTo>
                  <a:pt x="406" y="19"/>
                  <a:pt x="407" y="19"/>
                  <a:pt x="407" y="19"/>
                </a:cubicBezTo>
                <a:cubicBezTo>
                  <a:pt x="406" y="19"/>
                  <a:pt x="406" y="19"/>
                  <a:pt x="406" y="19"/>
                </a:cubicBezTo>
                <a:cubicBezTo>
                  <a:pt x="405" y="19"/>
                  <a:pt x="404" y="19"/>
                  <a:pt x="404" y="18"/>
                </a:cubicBezTo>
                <a:cubicBezTo>
                  <a:pt x="404" y="18"/>
                  <a:pt x="404" y="18"/>
                  <a:pt x="404" y="18"/>
                </a:cubicBezTo>
                <a:cubicBezTo>
                  <a:pt x="404" y="18"/>
                  <a:pt x="404" y="18"/>
                  <a:pt x="404" y="18"/>
                </a:cubicBezTo>
                <a:cubicBezTo>
                  <a:pt x="404" y="18"/>
                  <a:pt x="404" y="18"/>
                  <a:pt x="405" y="18"/>
                </a:cubicBezTo>
                <a:cubicBezTo>
                  <a:pt x="405" y="18"/>
                  <a:pt x="406" y="18"/>
                  <a:pt x="406" y="17"/>
                </a:cubicBezTo>
                <a:cubicBezTo>
                  <a:pt x="406" y="17"/>
                  <a:pt x="406" y="17"/>
                  <a:pt x="406" y="17"/>
                </a:cubicBezTo>
                <a:cubicBezTo>
                  <a:pt x="406" y="17"/>
                  <a:pt x="406" y="17"/>
                  <a:pt x="406" y="17"/>
                </a:cubicBezTo>
                <a:cubicBezTo>
                  <a:pt x="406" y="16"/>
                  <a:pt x="405" y="17"/>
                  <a:pt x="405" y="17"/>
                </a:cubicBezTo>
                <a:cubicBezTo>
                  <a:pt x="405" y="17"/>
                  <a:pt x="404" y="16"/>
                  <a:pt x="404" y="16"/>
                </a:cubicBezTo>
                <a:cubicBezTo>
                  <a:pt x="404" y="16"/>
                  <a:pt x="404" y="16"/>
                  <a:pt x="404" y="16"/>
                </a:cubicBezTo>
                <a:cubicBezTo>
                  <a:pt x="405" y="16"/>
                  <a:pt x="405" y="16"/>
                  <a:pt x="405" y="16"/>
                </a:cubicBezTo>
                <a:cubicBezTo>
                  <a:pt x="406" y="16"/>
                  <a:pt x="406" y="15"/>
                  <a:pt x="406" y="15"/>
                </a:cubicBezTo>
                <a:cubicBezTo>
                  <a:pt x="406" y="15"/>
                  <a:pt x="407" y="15"/>
                  <a:pt x="408" y="14"/>
                </a:cubicBezTo>
                <a:cubicBezTo>
                  <a:pt x="408" y="14"/>
                  <a:pt x="409" y="14"/>
                  <a:pt x="409" y="14"/>
                </a:cubicBezTo>
                <a:cubicBezTo>
                  <a:pt x="409" y="13"/>
                  <a:pt x="409" y="13"/>
                  <a:pt x="409" y="13"/>
                </a:cubicBezTo>
                <a:cubicBezTo>
                  <a:pt x="410" y="12"/>
                  <a:pt x="410" y="12"/>
                  <a:pt x="410" y="12"/>
                </a:cubicBezTo>
                <a:cubicBezTo>
                  <a:pt x="410" y="12"/>
                  <a:pt x="411" y="11"/>
                  <a:pt x="411" y="11"/>
                </a:cubicBezTo>
                <a:cubicBezTo>
                  <a:pt x="411" y="10"/>
                  <a:pt x="412" y="10"/>
                  <a:pt x="412" y="10"/>
                </a:cubicBezTo>
                <a:cubicBezTo>
                  <a:pt x="412" y="10"/>
                  <a:pt x="412" y="10"/>
                  <a:pt x="412" y="9"/>
                </a:cubicBezTo>
                <a:cubicBezTo>
                  <a:pt x="412" y="9"/>
                  <a:pt x="412" y="9"/>
                  <a:pt x="412" y="9"/>
                </a:cubicBezTo>
                <a:cubicBezTo>
                  <a:pt x="412" y="9"/>
                  <a:pt x="411" y="8"/>
                  <a:pt x="411" y="7"/>
                </a:cubicBezTo>
                <a:cubicBezTo>
                  <a:pt x="411" y="7"/>
                  <a:pt x="411" y="7"/>
                  <a:pt x="411" y="7"/>
                </a:cubicBezTo>
                <a:cubicBezTo>
                  <a:pt x="411" y="6"/>
                  <a:pt x="411" y="6"/>
                  <a:pt x="411" y="6"/>
                </a:cubicBezTo>
                <a:cubicBezTo>
                  <a:pt x="410" y="6"/>
                  <a:pt x="410" y="6"/>
                  <a:pt x="410" y="6"/>
                </a:cubicBezTo>
                <a:cubicBezTo>
                  <a:pt x="409" y="5"/>
                  <a:pt x="408" y="5"/>
                  <a:pt x="407" y="5"/>
                </a:cubicBezTo>
                <a:cubicBezTo>
                  <a:pt x="407" y="5"/>
                  <a:pt x="407" y="5"/>
                  <a:pt x="406" y="6"/>
                </a:cubicBezTo>
                <a:cubicBezTo>
                  <a:pt x="406" y="6"/>
                  <a:pt x="405" y="6"/>
                  <a:pt x="405" y="6"/>
                </a:cubicBezTo>
                <a:cubicBezTo>
                  <a:pt x="405" y="5"/>
                  <a:pt x="405" y="5"/>
                  <a:pt x="405" y="5"/>
                </a:cubicBezTo>
                <a:cubicBezTo>
                  <a:pt x="406" y="5"/>
                  <a:pt x="405" y="4"/>
                  <a:pt x="405" y="4"/>
                </a:cubicBezTo>
                <a:cubicBezTo>
                  <a:pt x="405" y="4"/>
                  <a:pt x="404" y="3"/>
                  <a:pt x="404" y="3"/>
                </a:cubicBezTo>
                <a:cubicBezTo>
                  <a:pt x="404" y="3"/>
                  <a:pt x="404" y="3"/>
                  <a:pt x="404" y="3"/>
                </a:cubicBezTo>
                <a:cubicBezTo>
                  <a:pt x="403" y="2"/>
                  <a:pt x="403" y="2"/>
                  <a:pt x="403" y="2"/>
                </a:cubicBezTo>
                <a:cubicBezTo>
                  <a:pt x="402" y="2"/>
                  <a:pt x="401" y="2"/>
                  <a:pt x="400" y="2"/>
                </a:cubicBezTo>
                <a:cubicBezTo>
                  <a:pt x="399" y="2"/>
                  <a:pt x="399" y="1"/>
                  <a:pt x="398" y="1"/>
                </a:cubicBezTo>
                <a:cubicBezTo>
                  <a:pt x="398" y="1"/>
                  <a:pt x="397" y="0"/>
                  <a:pt x="398" y="0"/>
                </a:cubicBezTo>
                <a:cubicBezTo>
                  <a:pt x="394" y="3"/>
                  <a:pt x="393" y="7"/>
                  <a:pt x="390" y="11"/>
                </a:cubicBezTo>
                <a:cubicBezTo>
                  <a:pt x="388" y="14"/>
                  <a:pt x="385" y="18"/>
                  <a:pt x="380" y="19"/>
                </a:cubicBezTo>
                <a:cubicBezTo>
                  <a:pt x="379" y="19"/>
                  <a:pt x="378" y="19"/>
                  <a:pt x="376" y="20"/>
                </a:cubicBezTo>
                <a:cubicBezTo>
                  <a:pt x="376" y="20"/>
                  <a:pt x="375" y="21"/>
                  <a:pt x="375" y="21"/>
                </a:cubicBezTo>
                <a:cubicBezTo>
                  <a:pt x="375" y="21"/>
                  <a:pt x="374" y="21"/>
                  <a:pt x="374" y="21"/>
                </a:cubicBezTo>
                <a:cubicBezTo>
                  <a:pt x="373" y="20"/>
                  <a:pt x="372" y="22"/>
                  <a:pt x="371" y="22"/>
                </a:cubicBezTo>
                <a:cubicBezTo>
                  <a:pt x="370" y="22"/>
                  <a:pt x="369" y="21"/>
                  <a:pt x="368" y="21"/>
                </a:cubicBezTo>
                <a:cubicBezTo>
                  <a:pt x="368" y="21"/>
                  <a:pt x="368" y="22"/>
                  <a:pt x="367" y="22"/>
                </a:cubicBezTo>
                <a:cubicBezTo>
                  <a:pt x="367" y="22"/>
                  <a:pt x="366" y="22"/>
                  <a:pt x="366" y="22"/>
                </a:cubicBezTo>
                <a:cubicBezTo>
                  <a:pt x="365" y="22"/>
                  <a:pt x="364" y="22"/>
                  <a:pt x="364" y="23"/>
                </a:cubicBezTo>
                <a:cubicBezTo>
                  <a:pt x="364" y="23"/>
                  <a:pt x="364" y="24"/>
                  <a:pt x="365" y="24"/>
                </a:cubicBezTo>
                <a:cubicBezTo>
                  <a:pt x="365" y="25"/>
                  <a:pt x="365" y="25"/>
                  <a:pt x="365" y="26"/>
                </a:cubicBezTo>
                <a:cubicBezTo>
                  <a:pt x="364" y="25"/>
                  <a:pt x="363" y="24"/>
                  <a:pt x="363" y="23"/>
                </a:cubicBezTo>
                <a:cubicBezTo>
                  <a:pt x="363" y="22"/>
                  <a:pt x="363" y="21"/>
                  <a:pt x="362" y="21"/>
                </a:cubicBezTo>
                <a:cubicBezTo>
                  <a:pt x="364" y="21"/>
                  <a:pt x="365" y="20"/>
                  <a:pt x="365" y="19"/>
                </a:cubicBezTo>
                <a:cubicBezTo>
                  <a:pt x="364" y="19"/>
                  <a:pt x="362" y="19"/>
                  <a:pt x="360" y="20"/>
                </a:cubicBezTo>
                <a:cubicBezTo>
                  <a:pt x="359" y="21"/>
                  <a:pt x="358" y="23"/>
                  <a:pt x="356" y="24"/>
                </a:cubicBezTo>
                <a:cubicBezTo>
                  <a:pt x="356" y="24"/>
                  <a:pt x="355" y="25"/>
                  <a:pt x="355" y="26"/>
                </a:cubicBezTo>
                <a:cubicBezTo>
                  <a:pt x="354" y="26"/>
                  <a:pt x="354" y="26"/>
                  <a:pt x="354" y="27"/>
                </a:cubicBezTo>
                <a:cubicBezTo>
                  <a:pt x="354" y="27"/>
                  <a:pt x="354" y="28"/>
                  <a:pt x="354" y="28"/>
                </a:cubicBezTo>
                <a:cubicBezTo>
                  <a:pt x="354" y="28"/>
                  <a:pt x="355" y="28"/>
                  <a:pt x="356" y="29"/>
                </a:cubicBezTo>
                <a:cubicBezTo>
                  <a:pt x="356" y="30"/>
                  <a:pt x="356" y="31"/>
                  <a:pt x="357" y="32"/>
                </a:cubicBezTo>
                <a:cubicBezTo>
                  <a:pt x="357" y="32"/>
                  <a:pt x="358" y="33"/>
                  <a:pt x="359" y="33"/>
                </a:cubicBezTo>
                <a:cubicBezTo>
                  <a:pt x="359" y="33"/>
                  <a:pt x="360" y="33"/>
                  <a:pt x="360" y="32"/>
                </a:cubicBezTo>
                <a:cubicBezTo>
                  <a:pt x="361" y="32"/>
                  <a:pt x="362" y="32"/>
                  <a:pt x="364" y="32"/>
                </a:cubicBezTo>
                <a:cubicBezTo>
                  <a:pt x="363" y="33"/>
                  <a:pt x="362" y="33"/>
                  <a:pt x="361" y="33"/>
                </a:cubicBezTo>
                <a:cubicBezTo>
                  <a:pt x="360" y="33"/>
                  <a:pt x="360" y="33"/>
                  <a:pt x="359" y="34"/>
                </a:cubicBezTo>
                <a:cubicBezTo>
                  <a:pt x="359" y="34"/>
                  <a:pt x="358" y="34"/>
                  <a:pt x="357" y="34"/>
                </a:cubicBezTo>
                <a:cubicBezTo>
                  <a:pt x="357" y="34"/>
                  <a:pt x="356" y="35"/>
                  <a:pt x="356" y="36"/>
                </a:cubicBezTo>
                <a:cubicBezTo>
                  <a:pt x="356" y="37"/>
                  <a:pt x="356" y="38"/>
                  <a:pt x="356" y="39"/>
                </a:cubicBezTo>
                <a:cubicBezTo>
                  <a:pt x="357" y="40"/>
                  <a:pt x="357" y="41"/>
                  <a:pt x="356" y="42"/>
                </a:cubicBezTo>
                <a:cubicBezTo>
                  <a:pt x="355" y="41"/>
                  <a:pt x="355" y="39"/>
                  <a:pt x="355" y="37"/>
                </a:cubicBezTo>
                <a:cubicBezTo>
                  <a:pt x="354" y="38"/>
                  <a:pt x="353" y="39"/>
                  <a:pt x="352" y="39"/>
                </a:cubicBezTo>
                <a:cubicBezTo>
                  <a:pt x="354" y="37"/>
                  <a:pt x="355" y="35"/>
                  <a:pt x="355" y="33"/>
                </a:cubicBezTo>
                <a:cubicBezTo>
                  <a:pt x="355" y="33"/>
                  <a:pt x="354" y="34"/>
                  <a:pt x="353" y="33"/>
                </a:cubicBezTo>
                <a:cubicBezTo>
                  <a:pt x="354" y="33"/>
                  <a:pt x="354" y="33"/>
                  <a:pt x="355" y="32"/>
                </a:cubicBezTo>
                <a:cubicBezTo>
                  <a:pt x="356" y="31"/>
                  <a:pt x="356" y="30"/>
                  <a:pt x="355" y="30"/>
                </a:cubicBezTo>
                <a:cubicBezTo>
                  <a:pt x="354" y="30"/>
                  <a:pt x="354" y="30"/>
                  <a:pt x="354" y="30"/>
                </a:cubicBezTo>
                <a:cubicBezTo>
                  <a:pt x="353" y="30"/>
                  <a:pt x="353" y="30"/>
                  <a:pt x="352" y="30"/>
                </a:cubicBezTo>
                <a:cubicBezTo>
                  <a:pt x="352" y="30"/>
                  <a:pt x="352" y="30"/>
                  <a:pt x="351" y="30"/>
                </a:cubicBezTo>
                <a:cubicBezTo>
                  <a:pt x="349" y="32"/>
                  <a:pt x="347" y="36"/>
                  <a:pt x="345" y="38"/>
                </a:cubicBezTo>
                <a:cubicBezTo>
                  <a:pt x="343" y="39"/>
                  <a:pt x="342" y="39"/>
                  <a:pt x="340" y="40"/>
                </a:cubicBezTo>
                <a:cubicBezTo>
                  <a:pt x="339" y="41"/>
                  <a:pt x="338" y="42"/>
                  <a:pt x="336" y="43"/>
                </a:cubicBezTo>
                <a:cubicBezTo>
                  <a:pt x="335" y="43"/>
                  <a:pt x="333" y="42"/>
                  <a:pt x="333" y="43"/>
                </a:cubicBezTo>
                <a:cubicBezTo>
                  <a:pt x="332" y="44"/>
                  <a:pt x="332" y="45"/>
                  <a:pt x="331" y="44"/>
                </a:cubicBezTo>
                <a:cubicBezTo>
                  <a:pt x="330" y="44"/>
                  <a:pt x="330" y="44"/>
                  <a:pt x="330" y="43"/>
                </a:cubicBezTo>
                <a:cubicBezTo>
                  <a:pt x="331" y="43"/>
                  <a:pt x="331" y="42"/>
                  <a:pt x="332" y="42"/>
                </a:cubicBezTo>
                <a:cubicBezTo>
                  <a:pt x="332" y="42"/>
                  <a:pt x="332" y="42"/>
                  <a:pt x="332" y="42"/>
                </a:cubicBezTo>
                <a:cubicBezTo>
                  <a:pt x="333" y="42"/>
                  <a:pt x="333" y="42"/>
                  <a:pt x="333" y="42"/>
                </a:cubicBezTo>
                <a:cubicBezTo>
                  <a:pt x="332" y="42"/>
                  <a:pt x="330" y="41"/>
                  <a:pt x="330" y="40"/>
                </a:cubicBezTo>
                <a:cubicBezTo>
                  <a:pt x="329" y="43"/>
                  <a:pt x="327" y="45"/>
                  <a:pt x="325" y="46"/>
                </a:cubicBezTo>
                <a:cubicBezTo>
                  <a:pt x="325" y="47"/>
                  <a:pt x="324" y="48"/>
                  <a:pt x="324" y="49"/>
                </a:cubicBezTo>
                <a:cubicBezTo>
                  <a:pt x="324" y="49"/>
                  <a:pt x="325" y="49"/>
                  <a:pt x="325" y="50"/>
                </a:cubicBezTo>
                <a:cubicBezTo>
                  <a:pt x="327" y="51"/>
                  <a:pt x="328" y="52"/>
                  <a:pt x="329" y="54"/>
                </a:cubicBezTo>
                <a:cubicBezTo>
                  <a:pt x="327" y="53"/>
                  <a:pt x="326" y="51"/>
                  <a:pt x="324" y="50"/>
                </a:cubicBezTo>
                <a:cubicBezTo>
                  <a:pt x="324" y="50"/>
                  <a:pt x="324" y="50"/>
                  <a:pt x="324" y="50"/>
                </a:cubicBezTo>
                <a:cubicBezTo>
                  <a:pt x="323" y="50"/>
                  <a:pt x="323" y="50"/>
                  <a:pt x="323" y="50"/>
                </a:cubicBezTo>
                <a:cubicBezTo>
                  <a:pt x="323" y="52"/>
                  <a:pt x="321" y="54"/>
                  <a:pt x="320" y="56"/>
                </a:cubicBezTo>
                <a:cubicBezTo>
                  <a:pt x="320" y="56"/>
                  <a:pt x="320" y="56"/>
                  <a:pt x="319" y="57"/>
                </a:cubicBezTo>
                <a:cubicBezTo>
                  <a:pt x="319" y="57"/>
                  <a:pt x="319" y="58"/>
                  <a:pt x="318" y="58"/>
                </a:cubicBezTo>
                <a:cubicBezTo>
                  <a:pt x="318" y="59"/>
                  <a:pt x="317" y="60"/>
                  <a:pt x="316" y="60"/>
                </a:cubicBezTo>
                <a:cubicBezTo>
                  <a:pt x="316" y="61"/>
                  <a:pt x="316" y="61"/>
                  <a:pt x="315" y="61"/>
                </a:cubicBezTo>
                <a:cubicBezTo>
                  <a:pt x="315" y="61"/>
                  <a:pt x="315" y="61"/>
                  <a:pt x="316" y="62"/>
                </a:cubicBezTo>
                <a:cubicBezTo>
                  <a:pt x="316" y="62"/>
                  <a:pt x="316" y="62"/>
                  <a:pt x="316" y="62"/>
                </a:cubicBezTo>
                <a:cubicBezTo>
                  <a:pt x="316" y="62"/>
                  <a:pt x="316" y="62"/>
                  <a:pt x="317" y="63"/>
                </a:cubicBezTo>
                <a:cubicBezTo>
                  <a:pt x="317" y="63"/>
                  <a:pt x="316" y="64"/>
                  <a:pt x="316" y="64"/>
                </a:cubicBezTo>
                <a:cubicBezTo>
                  <a:pt x="316" y="64"/>
                  <a:pt x="316" y="64"/>
                  <a:pt x="316" y="64"/>
                </a:cubicBezTo>
                <a:cubicBezTo>
                  <a:pt x="316" y="64"/>
                  <a:pt x="316" y="64"/>
                  <a:pt x="316" y="64"/>
                </a:cubicBezTo>
                <a:cubicBezTo>
                  <a:pt x="316" y="64"/>
                  <a:pt x="316" y="64"/>
                  <a:pt x="316" y="65"/>
                </a:cubicBezTo>
                <a:cubicBezTo>
                  <a:pt x="316" y="65"/>
                  <a:pt x="316" y="65"/>
                  <a:pt x="316" y="65"/>
                </a:cubicBezTo>
                <a:cubicBezTo>
                  <a:pt x="316" y="65"/>
                  <a:pt x="315" y="65"/>
                  <a:pt x="315" y="65"/>
                </a:cubicBezTo>
                <a:cubicBezTo>
                  <a:pt x="315" y="65"/>
                  <a:pt x="315" y="65"/>
                  <a:pt x="315" y="66"/>
                </a:cubicBezTo>
                <a:cubicBezTo>
                  <a:pt x="315" y="66"/>
                  <a:pt x="315" y="66"/>
                  <a:pt x="315" y="67"/>
                </a:cubicBezTo>
                <a:cubicBezTo>
                  <a:pt x="315" y="67"/>
                  <a:pt x="315" y="67"/>
                  <a:pt x="315" y="67"/>
                </a:cubicBezTo>
                <a:cubicBezTo>
                  <a:pt x="315" y="67"/>
                  <a:pt x="315" y="67"/>
                  <a:pt x="315" y="68"/>
                </a:cubicBezTo>
                <a:cubicBezTo>
                  <a:pt x="316" y="68"/>
                  <a:pt x="315" y="69"/>
                  <a:pt x="315" y="69"/>
                </a:cubicBezTo>
                <a:cubicBezTo>
                  <a:pt x="316" y="70"/>
                  <a:pt x="316" y="70"/>
                  <a:pt x="316" y="70"/>
                </a:cubicBezTo>
                <a:cubicBezTo>
                  <a:pt x="315" y="70"/>
                  <a:pt x="315" y="70"/>
                  <a:pt x="315" y="71"/>
                </a:cubicBezTo>
                <a:cubicBezTo>
                  <a:pt x="315" y="71"/>
                  <a:pt x="315" y="71"/>
                  <a:pt x="315" y="71"/>
                </a:cubicBezTo>
                <a:cubicBezTo>
                  <a:pt x="315" y="71"/>
                  <a:pt x="315" y="71"/>
                  <a:pt x="315" y="71"/>
                </a:cubicBezTo>
                <a:cubicBezTo>
                  <a:pt x="315" y="71"/>
                  <a:pt x="315" y="71"/>
                  <a:pt x="315" y="71"/>
                </a:cubicBezTo>
                <a:cubicBezTo>
                  <a:pt x="315" y="71"/>
                  <a:pt x="315" y="72"/>
                  <a:pt x="315" y="72"/>
                </a:cubicBezTo>
                <a:cubicBezTo>
                  <a:pt x="315" y="73"/>
                  <a:pt x="314" y="75"/>
                  <a:pt x="314" y="76"/>
                </a:cubicBezTo>
                <a:cubicBezTo>
                  <a:pt x="313" y="77"/>
                  <a:pt x="313" y="78"/>
                  <a:pt x="312" y="79"/>
                </a:cubicBezTo>
                <a:cubicBezTo>
                  <a:pt x="310" y="82"/>
                  <a:pt x="308" y="85"/>
                  <a:pt x="305" y="87"/>
                </a:cubicBezTo>
                <a:cubicBezTo>
                  <a:pt x="302" y="89"/>
                  <a:pt x="299" y="91"/>
                  <a:pt x="295" y="91"/>
                </a:cubicBezTo>
                <a:cubicBezTo>
                  <a:pt x="296" y="92"/>
                  <a:pt x="296" y="92"/>
                  <a:pt x="296" y="93"/>
                </a:cubicBezTo>
                <a:cubicBezTo>
                  <a:pt x="293" y="91"/>
                  <a:pt x="290" y="92"/>
                  <a:pt x="287" y="93"/>
                </a:cubicBezTo>
                <a:cubicBezTo>
                  <a:pt x="283" y="94"/>
                  <a:pt x="279" y="94"/>
                  <a:pt x="275" y="93"/>
                </a:cubicBezTo>
                <a:cubicBezTo>
                  <a:pt x="275" y="92"/>
                  <a:pt x="274" y="92"/>
                  <a:pt x="274" y="93"/>
                </a:cubicBezTo>
                <a:cubicBezTo>
                  <a:pt x="274" y="93"/>
                  <a:pt x="274" y="93"/>
                  <a:pt x="274" y="94"/>
                </a:cubicBezTo>
                <a:cubicBezTo>
                  <a:pt x="275" y="97"/>
                  <a:pt x="275" y="100"/>
                  <a:pt x="274" y="103"/>
                </a:cubicBezTo>
                <a:cubicBezTo>
                  <a:pt x="273" y="106"/>
                  <a:pt x="272" y="109"/>
                  <a:pt x="270" y="111"/>
                </a:cubicBezTo>
                <a:cubicBezTo>
                  <a:pt x="270" y="111"/>
                  <a:pt x="269" y="111"/>
                  <a:pt x="268" y="112"/>
                </a:cubicBezTo>
                <a:cubicBezTo>
                  <a:pt x="271" y="111"/>
                  <a:pt x="273" y="112"/>
                  <a:pt x="275" y="114"/>
                </a:cubicBezTo>
                <a:cubicBezTo>
                  <a:pt x="276" y="116"/>
                  <a:pt x="277" y="119"/>
                  <a:pt x="279" y="120"/>
                </a:cubicBezTo>
                <a:cubicBezTo>
                  <a:pt x="280" y="121"/>
                  <a:pt x="281" y="121"/>
                  <a:pt x="283" y="121"/>
                </a:cubicBezTo>
                <a:cubicBezTo>
                  <a:pt x="285" y="122"/>
                  <a:pt x="287" y="124"/>
                  <a:pt x="289" y="126"/>
                </a:cubicBezTo>
                <a:cubicBezTo>
                  <a:pt x="290" y="127"/>
                  <a:pt x="292" y="129"/>
                  <a:pt x="294" y="130"/>
                </a:cubicBezTo>
                <a:cubicBezTo>
                  <a:pt x="294" y="131"/>
                  <a:pt x="295" y="131"/>
                  <a:pt x="295" y="131"/>
                </a:cubicBezTo>
                <a:cubicBezTo>
                  <a:pt x="296" y="132"/>
                  <a:pt x="296" y="132"/>
                  <a:pt x="296" y="133"/>
                </a:cubicBezTo>
                <a:cubicBezTo>
                  <a:pt x="297" y="134"/>
                  <a:pt x="300" y="134"/>
                  <a:pt x="301" y="136"/>
                </a:cubicBezTo>
                <a:cubicBezTo>
                  <a:pt x="302" y="137"/>
                  <a:pt x="302" y="139"/>
                  <a:pt x="303" y="140"/>
                </a:cubicBezTo>
                <a:cubicBezTo>
                  <a:pt x="304" y="140"/>
                  <a:pt x="304" y="140"/>
                  <a:pt x="304" y="140"/>
                </a:cubicBezTo>
                <a:cubicBezTo>
                  <a:pt x="304" y="141"/>
                  <a:pt x="303" y="141"/>
                  <a:pt x="303" y="142"/>
                </a:cubicBezTo>
                <a:cubicBezTo>
                  <a:pt x="303" y="142"/>
                  <a:pt x="304" y="143"/>
                  <a:pt x="304" y="143"/>
                </a:cubicBezTo>
                <a:cubicBezTo>
                  <a:pt x="305" y="143"/>
                  <a:pt x="306" y="143"/>
                  <a:pt x="306" y="144"/>
                </a:cubicBezTo>
                <a:cubicBezTo>
                  <a:pt x="306" y="144"/>
                  <a:pt x="306" y="144"/>
                  <a:pt x="305" y="145"/>
                </a:cubicBezTo>
                <a:cubicBezTo>
                  <a:pt x="305" y="146"/>
                  <a:pt x="306" y="148"/>
                  <a:pt x="306" y="149"/>
                </a:cubicBezTo>
                <a:cubicBezTo>
                  <a:pt x="306" y="149"/>
                  <a:pt x="306" y="150"/>
                  <a:pt x="306" y="150"/>
                </a:cubicBezTo>
                <a:cubicBezTo>
                  <a:pt x="306" y="151"/>
                  <a:pt x="306" y="151"/>
                  <a:pt x="306" y="151"/>
                </a:cubicBezTo>
                <a:cubicBezTo>
                  <a:pt x="306" y="151"/>
                  <a:pt x="306" y="151"/>
                  <a:pt x="307" y="151"/>
                </a:cubicBezTo>
                <a:cubicBezTo>
                  <a:pt x="307" y="151"/>
                  <a:pt x="308" y="152"/>
                  <a:pt x="308" y="152"/>
                </a:cubicBezTo>
                <a:cubicBezTo>
                  <a:pt x="309" y="152"/>
                  <a:pt x="309" y="152"/>
                  <a:pt x="309" y="152"/>
                </a:cubicBezTo>
                <a:cubicBezTo>
                  <a:pt x="310" y="153"/>
                  <a:pt x="309" y="153"/>
                  <a:pt x="309" y="153"/>
                </a:cubicBezTo>
                <a:cubicBezTo>
                  <a:pt x="309" y="153"/>
                  <a:pt x="309" y="153"/>
                  <a:pt x="308" y="153"/>
                </a:cubicBezTo>
                <a:cubicBezTo>
                  <a:pt x="308" y="153"/>
                  <a:pt x="307" y="153"/>
                  <a:pt x="307" y="153"/>
                </a:cubicBezTo>
                <a:cubicBezTo>
                  <a:pt x="307" y="153"/>
                  <a:pt x="307" y="154"/>
                  <a:pt x="307" y="154"/>
                </a:cubicBezTo>
                <a:cubicBezTo>
                  <a:pt x="308" y="154"/>
                  <a:pt x="308" y="154"/>
                  <a:pt x="309" y="154"/>
                </a:cubicBezTo>
                <a:cubicBezTo>
                  <a:pt x="309" y="155"/>
                  <a:pt x="310" y="154"/>
                  <a:pt x="311" y="155"/>
                </a:cubicBezTo>
                <a:cubicBezTo>
                  <a:pt x="312" y="155"/>
                  <a:pt x="313" y="156"/>
                  <a:pt x="313" y="156"/>
                </a:cubicBezTo>
                <a:cubicBezTo>
                  <a:pt x="314" y="156"/>
                  <a:pt x="314" y="156"/>
                  <a:pt x="315" y="156"/>
                </a:cubicBezTo>
                <a:cubicBezTo>
                  <a:pt x="315" y="156"/>
                  <a:pt x="315" y="156"/>
                  <a:pt x="316" y="156"/>
                </a:cubicBezTo>
                <a:cubicBezTo>
                  <a:pt x="316" y="156"/>
                  <a:pt x="317" y="156"/>
                  <a:pt x="317" y="156"/>
                </a:cubicBezTo>
                <a:cubicBezTo>
                  <a:pt x="318" y="155"/>
                  <a:pt x="319" y="155"/>
                  <a:pt x="319" y="156"/>
                </a:cubicBezTo>
                <a:cubicBezTo>
                  <a:pt x="320" y="156"/>
                  <a:pt x="320" y="157"/>
                  <a:pt x="321" y="157"/>
                </a:cubicBezTo>
                <a:cubicBezTo>
                  <a:pt x="321" y="156"/>
                  <a:pt x="322" y="156"/>
                  <a:pt x="322" y="155"/>
                </a:cubicBezTo>
                <a:cubicBezTo>
                  <a:pt x="323" y="155"/>
                  <a:pt x="323" y="154"/>
                  <a:pt x="323" y="153"/>
                </a:cubicBezTo>
                <a:cubicBezTo>
                  <a:pt x="322" y="152"/>
                  <a:pt x="321" y="153"/>
                  <a:pt x="320" y="152"/>
                </a:cubicBezTo>
                <a:cubicBezTo>
                  <a:pt x="320" y="151"/>
                  <a:pt x="321" y="151"/>
                  <a:pt x="322" y="150"/>
                </a:cubicBezTo>
                <a:cubicBezTo>
                  <a:pt x="322" y="151"/>
                  <a:pt x="321" y="151"/>
                  <a:pt x="321" y="152"/>
                </a:cubicBezTo>
                <a:cubicBezTo>
                  <a:pt x="321" y="152"/>
                  <a:pt x="321" y="152"/>
                  <a:pt x="322" y="152"/>
                </a:cubicBezTo>
                <a:cubicBezTo>
                  <a:pt x="322" y="152"/>
                  <a:pt x="323" y="152"/>
                  <a:pt x="324" y="153"/>
                </a:cubicBezTo>
                <a:cubicBezTo>
                  <a:pt x="324" y="154"/>
                  <a:pt x="323" y="154"/>
                  <a:pt x="323" y="155"/>
                </a:cubicBezTo>
                <a:cubicBezTo>
                  <a:pt x="322" y="156"/>
                  <a:pt x="322" y="157"/>
                  <a:pt x="323" y="158"/>
                </a:cubicBezTo>
                <a:cubicBezTo>
                  <a:pt x="325" y="158"/>
                  <a:pt x="328" y="156"/>
                  <a:pt x="330" y="156"/>
                </a:cubicBezTo>
                <a:cubicBezTo>
                  <a:pt x="331" y="156"/>
                  <a:pt x="332" y="156"/>
                  <a:pt x="332" y="157"/>
                </a:cubicBezTo>
                <a:cubicBezTo>
                  <a:pt x="333" y="157"/>
                  <a:pt x="334" y="157"/>
                  <a:pt x="334" y="158"/>
                </a:cubicBezTo>
                <a:cubicBezTo>
                  <a:pt x="335" y="159"/>
                  <a:pt x="335" y="160"/>
                  <a:pt x="334" y="160"/>
                </a:cubicBezTo>
                <a:cubicBezTo>
                  <a:pt x="333" y="160"/>
                  <a:pt x="333" y="159"/>
                  <a:pt x="333" y="159"/>
                </a:cubicBezTo>
                <a:cubicBezTo>
                  <a:pt x="332" y="160"/>
                  <a:pt x="332" y="161"/>
                  <a:pt x="331" y="162"/>
                </a:cubicBezTo>
                <a:cubicBezTo>
                  <a:pt x="331" y="163"/>
                  <a:pt x="331" y="164"/>
                  <a:pt x="331" y="165"/>
                </a:cubicBezTo>
                <a:cubicBezTo>
                  <a:pt x="330" y="165"/>
                  <a:pt x="330" y="166"/>
                  <a:pt x="330" y="166"/>
                </a:cubicBezTo>
                <a:cubicBezTo>
                  <a:pt x="330" y="166"/>
                  <a:pt x="331" y="167"/>
                  <a:pt x="331" y="167"/>
                </a:cubicBezTo>
                <a:cubicBezTo>
                  <a:pt x="332" y="169"/>
                  <a:pt x="333" y="170"/>
                  <a:pt x="335" y="170"/>
                </a:cubicBezTo>
                <a:cubicBezTo>
                  <a:pt x="335" y="170"/>
                  <a:pt x="334" y="170"/>
                  <a:pt x="334" y="171"/>
                </a:cubicBezTo>
                <a:cubicBezTo>
                  <a:pt x="335" y="171"/>
                  <a:pt x="335" y="171"/>
                  <a:pt x="336" y="171"/>
                </a:cubicBezTo>
                <a:cubicBezTo>
                  <a:pt x="336" y="172"/>
                  <a:pt x="336" y="172"/>
                  <a:pt x="335" y="173"/>
                </a:cubicBezTo>
                <a:cubicBezTo>
                  <a:pt x="336" y="173"/>
                  <a:pt x="336" y="173"/>
                  <a:pt x="337" y="173"/>
                </a:cubicBezTo>
                <a:cubicBezTo>
                  <a:pt x="337" y="173"/>
                  <a:pt x="338" y="172"/>
                  <a:pt x="338" y="171"/>
                </a:cubicBezTo>
                <a:cubicBezTo>
                  <a:pt x="338" y="170"/>
                  <a:pt x="339" y="169"/>
                  <a:pt x="341" y="169"/>
                </a:cubicBezTo>
                <a:cubicBezTo>
                  <a:pt x="341" y="169"/>
                  <a:pt x="342" y="169"/>
                  <a:pt x="342" y="168"/>
                </a:cubicBezTo>
                <a:cubicBezTo>
                  <a:pt x="343" y="168"/>
                  <a:pt x="343" y="168"/>
                  <a:pt x="343" y="168"/>
                </a:cubicBezTo>
                <a:cubicBezTo>
                  <a:pt x="343" y="168"/>
                  <a:pt x="344" y="169"/>
                  <a:pt x="344" y="169"/>
                </a:cubicBezTo>
                <a:cubicBezTo>
                  <a:pt x="345" y="170"/>
                  <a:pt x="347" y="170"/>
                  <a:pt x="348" y="170"/>
                </a:cubicBezTo>
                <a:cubicBezTo>
                  <a:pt x="349" y="170"/>
                  <a:pt x="351" y="169"/>
                  <a:pt x="352" y="168"/>
                </a:cubicBezTo>
                <a:cubicBezTo>
                  <a:pt x="353" y="168"/>
                  <a:pt x="355" y="168"/>
                  <a:pt x="355" y="169"/>
                </a:cubicBezTo>
                <a:cubicBezTo>
                  <a:pt x="355" y="169"/>
                  <a:pt x="356" y="168"/>
                  <a:pt x="356" y="168"/>
                </a:cubicBezTo>
                <a:cubicBezTo>
                  <a:pt x="357" y="168"/>
                  <a:pt x="358" y="168"/>
                  <a:pt x="358" y="168"/>
                </a:cubicBezTo>
                <a:cubicBezTo>
                  <a:pt x="358" y="169"/>
                  <a:pt x="358" y="170"/>
                  <a:pt x="357" y="169"/>
                </a:cubicBezTo>
                <a:cubicBezTo>
                  <a:pt x="357" y="169"/>
                  <a:pt x="357" y="169"/>
                  <a:pt x="357" y="169"/>
                </a:cubicBezTo>
                <a:cubicBezTo>
                  <a:pt x="356" y="169"/>
                  <a:pt x="356" y="170"/>
                  <a:pt x="356" y="170"/>
                </a:cubicBezTo>
                <a:cubicBezTo>
                  <a:pt x="355" y="171"/>
                  <a:pt x="355" y="171"/>
                  <a:pt x="354" y="170"/>
                </a:cubicBezTo>
                <a:cubicBezTo>
                  <a:pt x="354" y="170"/>
                  <a:pt x="354" y="169"/>
                  <a:pt x="354" y="169"/>
                </a:cubicBezTo>
                <a:cubicBezTo>
                  <a:pt x="352" y="169"/>
                  <a:pt x="351" y="170"/>
                  <a:pt x="351" y="171"/>
                </a:cubicBezTo>
                <a:cubicBezTo>
                  <a:pt x="352" y="172"/>
                  <a:pt x="352" y="173"/>
                  <a:pt x="352" y="174"/>
                </a:cubicBezTo>
                <a:cubicBezTo>
                  <a:pt x="352" y="175"/>
                  <a:pt x="351" y="176"/>
                  <a:pt x="351" y="177"/>
                </a:cubicBezTo>
                <a:cubicBezTo>
                  <a:pt x="350" y="177"/>
                  <a:pt x="350" y="177"/>
                  <a:pt x="349" y="178"/>
                </a:cubicBezTo>
                <a:cubicBezTo>
                  <a:pt x="347" y="178"/>
                  <a:pt x="344" y="178"/>
                  <a:pt x="343" y="176"/>
                </a:cubicBezTo>
                <a:cubicBezTo>
                  <a:pt x="342" y="175"/>
                  <a:pt x="341" y="173"/>
                  <a:pt x="339" y="173"/>
                </a:cubicBezTo>
                <a:cubicBezTo>
                  <a:pt x="338" y="173"/>
                  <a:pt x="337" y="174"/>
                  <a:pt x="336" y="174"/>
                </a:cubicBezTo>
                <a:cubicBezTo>
                  <a:pt x="336" y="175"/>
                  <a:pt x="335" y="175"/>
                  <a:pt x="334" y="175"/>
                </a:cubicBezTo>
                <a:cubicBezTo>
                  <a:pt x="332" y="175"/>
                  <a:pt x="332" y="174"/>
                  <a:pt x="331" y="173"/>
                </a:cubicBezTo>
                <a:cubicBezTo>
                  <a:pt x="330" y="172"/>
                  <a:pt x="330" y="172"/>
                  <a:pt x="330" y="172"/>
                </a:cubicBezTo>
                <a:cubicBezTo>
                  <a:pt x="330" y="172"/>
                  <a:pt x="330" y="171"/>
                  <a:pt x="330" y="171"/>
                </a:cubicBezTo>
                <a:cubicBezTo>
                  <a:pt x="329" y="170"/>
                  <a:pt x="329" y="170"/>
                  <a:pt x="328" y="169"/>
                </a:cubicBezTo>
                <a:cubicBezTo>
                  <a:pt x="328" y="169"/>
                  <a:pt x="328" y="169"/>
                  <a:pt x="327" y="169"/>
                </a:cubicBezTo>
                <a:cubicBezTo>
                  <a:pt x="327" y="168"/>
                  <a:pt x="327" y="168"/>
                  <a:pt x="327" y="167"/>
                </a:cubicBezTo>
                <a:cubicBezTo>
                  <a:pt x="328" y="167"/>
                  <a:pt x="328" y="166"/>
                  <a:pt x="328" y="166"/>
                </a:cubicBezTo>
                <a:cubicBezTo>
                  <a:pt x="329" y="166"/>
                  <a:pt x="329" y="165"/>
                  <a:pt x="329" y="165"/>
                </a:cubicBezTo>
                <a:cubicBezTo>
                  <a:pt x="328" y="164"/>
                  <a:pt x="328" y="164"/>
                  <a:pt x="327" y="164"/>
                </a:cubicBezTo>
                <a:cubicBezTo>
                  <a:pt x="327" y="164"/>
                  <a:pt x="327" y="163"/>
                  <a:pt x="326" y="163"/>
                </a:cubicBezTo>
                <a:cubicBezTo>
                  <a:pt x="326" y="162"/>
                  <a:pt x="325" y="161"/>
                  <a:pt x="325" y="160"/>
                </a:cubicBezTo>
                <a:cubicBezTo>
                  <a:pt x="325" y="160"/>
                  <a:pt x="325" y="159"/>
                  <a:pt x="324" y="159"/>
                </a:cubicBezTo>
                <a:cubicBezTo>
                  <a:pt x="324" y="159"/>
                  <a:pt x="324" y="159"/>
                  <a:pt x="324" y="159"/>
                </a:cubicBezTo>
                <a:cubicBezTo>
                  <a:pt x="324" y="159"/>
                  <a:pt x="323" y="159"/>
                  <a:pt x="323" y="159"/>
                </a:cubicBezTo>
                <a:cubicBezTo>
                  <a:pt x="322" y="159"/>
                  <a:pt x="322" y="159"/>
                  <a:pt x="322" y="159"/>
                </a:cubicBezTo>
                <a:cubicBezTo>
                  <a:pt x="322" y="159"/>
                  <a:pt x="322" y="160"/>
                  <a:pt x="322" y="160"/>
                </a:cubicBezTo>
                <a:cubicBezTo>
                  <a:pt x="322" y="160"/>
                  <a:pt x="321" y="161"/>
                  <a:pt x="321" y="161"/>
                </a:cubicBezTo>
                <a:cubicBezTo>
                  <a:pt x="321" y="161"/>
                  <a:pt x="321" y="162"/>
                  <a:pt x="321" y="162"/>
                </a:cubicBezTo>
                <a:cubicBezTo>
                  <a:pt x="321" y="162"/>
                  <a:pt x="321" y="162"/>
                  <a:pt x="321" y="163"/>
                </a:cubicBezTo>
                <a:cubicBezTo>
                  <a:pt x="321" y="163"/>
                  <a:pt x="322" y="164"/>
                  <a:pt x="322" y="164"/>
                </a:cubicBezTo>
                <a:cubicBezTo>
                  <a:pt x="322" y="165"/>
                  <a:pt x="322" y="165"/>
                  <a:pt x="322" y="165"/>
                </a:cubicBezTo>
                <a:cubicBezTo>
                  <a:pt x="323" y="165"/>
                  <a:pt x="323" y="166"/>
                  <a:pt x="323" y="166"/>
                </a:cubicBezTo>
                <a:cubicBezTo>
                  <a:pt x="324" y="166"/>
                  <a:pt x="326" y="167"/>
                  <a:pt x="326" y="168"/>
                </a:cubicBezTo>
                <a:cubicBezTo>
                  <a:pt x="327" y="168"/>
                  <a:pt x="327" y="169"/>
                  <a:pt x="328" y="170"/>
                </a:cubicBezTo>
                <a:cubicBezTo>
                  <a:pt x="328" y="170"/>
                  <a:pt x="329" y="171"/>
                  <a:pt x="329" y="171"/>
                </a:cubicBezTo>
                <a:cubicBezTo>
                  <a:pt x="329" y="172"/>
                  <a:pt x="330" y="173"/>
                  <a:pt x="330" y="173"/>
                </a:cubicBezTo>
                <a:cubicBezTo>
                  <a:pt x="330" y="174"/>
                  <a:pt x="330" y="175"/>
                  <a:pt x="330" y="176"/>
                </a:cubicBezTo>
                <a:cubicBezTo>
                  <a:pt x="330" y="176"/>
                  <a:pt x="330" y="178"/>
                  <a:pt x="330" y="178"/>
                </a:cubicBezTo>
                <a:cubicBezTo>
                  <a:pt x="331" y="178"/>
                  <a:pt x="331" y="177"/>
                  <a:pt x="332" y="177"/>
                </a:cubicBezTo>
                <a:cubicBezTo>
                  <a:pt x="332" y="177"/>
                  <a:pt x="333" y="176"/>
                  <a:pt x="334" y="177"/>
                </a:cubicBezTo>
                <a:cubicBezTo>
                  <a:pt x="337" y="177"/>
                  <a:pt x="340" y="179"/>
                  <a:pt x="341" y="181"/>
                </a:cubicBezTo>
                <a:cubicBezTo>
                  <a:pt x="341" y="181"/>
                  <a:pt x="341" y="182"/>
                  <a:pt x="341" y="182"/>
                </a:cubicBezTo>
                <a:cubicBezTo>
                  <a:pt x="341" y="182"/>
                  <a:pt x="341" y="182"/>
                  <a:pt x="341" y="183"/>
                </a:cubicBezTo>
                <a:cubicBezTo>
                  <a:pt x="341" y="183"/>
                  <a:pt x="341" y="184"/>
                  <a:pt x="340" y="185"/>
                </a:cubicBezTo>
                <a:cubicBezTo>
                  <a:pt x="339" y="185"/>
                  <a:pt x="340" y="184"/>
                  <a:pt x="340" y="183"/>
                </a:cubicBezTo>
                <a:cubicBezTo>
                  <a:pt x="340" y="183"/>
                  <a:pt x="340" y="182"/>
                  <a:pt x="340" y="182"/>
                </a:cubicBezTo>
                <a:cubicBezTo>
                  <a:pt x="340" y="183"/>
                  <a:pt x="339" y="183"/>
                  <a:pt x="338" y="183"/>
                </a:cubicBezTo>
                <a:cubicBezTo>
                  <a:pt x="338" y="182"/>
                  <a:pt x="338" y="182"/>
                  <a:pt x="337" y="182"/>
                </a:cubicBezTo>
                <a:cubicBezTo>
                  <a:pt x="337" y="181"/>
                  <a:pt x="336" y="181"/>
                  <a:pt x="336" y="181"/>
                </a:cubicBezTo>
                <a:cubicBezTo>
                  <a:pt x="335" y="181"/>
                  <a:pt x="335" y="182"/>
                  <a:pt x="335" y="182"/>
                </a:cubicBezTo>
                <a:cubicBezTo>
                  <a:pt x="333" y="185"/>
                  <a:pt x="332" y="187"/>
                  <a:pt x="331" y="190"/>
                </a:cubicBezTo>
                <a:cubicBezTo>
                  <a:pt x="330" y="190"/>
                  <a:pt x="330" y="190"/>
                  <a:pt x="330" y="190"/>
                </a:cubicBezTo>
                <a:cubicBezTo>
                  <a:pt x="330" y="189"/>
                  <a:pt x="330" y="189"/>
                  <a:pt x="330" y="189"/>
                </a:cubicBezTo>
                <a:cubicBezTo>
                  <a:pt x="329" y="189"/>
                  <a:pt x="329" y="187"/>
                  <a:pt x="328" y="187"/>
                </a:cubicBezTo>
                <a:cubicBezTo>
                  <a:pt x="327" y="187"/>
                  <a:pt x="326" y="188"/>
                  <a:pt x="324" y="188"/>
                </a:cubicBezTo>
                <a:cubicBezTo>
                  <a:pt x="323" y="189"/>
                  <a:pt x="321" y="187"/>
                  <a:pt x="320" y="188"/>
                </a:cubicBezTo>
                <a:cubicBezTo>
                  <a:pt x="320" y="188"/>
                  <a:pt x="320" y="187"/>
                  <a:pt x="319" y="187"/>
                </a:cubicBezTo>
                <a:cubicBezTo>
                  <a:pt x="318" y="187"/>
                  <a:pt x="318" y="187"/>
                  <a:pt x="317" y="187"/>
                </a:cubicBezTo>
                <a:cubicBezTo>
                  <a:pt x="316" y="187"/>
                  <a:pt x="315" y="187"/>
                  <a:pt x="313" y="187"/>
                </a:cubicBezTo>
                <a:cubicBezTo>
                  <a:pt x="311" y="187"/>
                  <a:pt x="308" y="187"/>
                  <a:pt x="305" y="188"/>
                </a:cubicBezTo>
                <a:cubicBezTo>
                  <a:pt x="305" y="187"/>
                  <a:pt x="305" y="187"/>
                  <a:pt x="305" y="186"/>
                </a:cubicBezTo>
                <a:cubicBezTo>
                  <a:pt x="305" y="186"/>
                  <a:pt x="305" y="185"/>
                  <a:pt x="305" y="184"/>
                </a:cubicBezTo>
                <a:cubicBezTo>
                  <a:pt x="304" y="184"/>
                  <a:pt x="304" y="183"/>
                  <a:pt x="303" y="183"/>
                </a:cubicBezTo>
                <a:cubicBezTo>
                  <a:pt x="303" y="184"/>
                  <a:pt x="302" y="184"/>
                  <a:pt x="302" y="183"/>
                </a:cubicBezTo>
                <a:cubicBezTo>
                  <a:pt x="302" y="182"/>
                  <a:pt x="304" y="182"/>
                  <a:pt x="304" y="182"/>
                </a:cubicBezTo>
                <a:cubicBezTo>
                  <a:pt x="305" y="181"/>
                  <a:pt x="305" y="179"/>
                  <a:pt x="305" y="178"/>
                </a:cubicBezTo>
                <a:cubicBezTo>
                  <a:pt x="305" y="177"/>
                  <a:pt x="305" y="175"/>
                  <a:pt x="307" y="174"/>
                </a:cubicBezTo>
                <a:cubicBezTo>
                  <a:pt x="306" y="174"/>
                  <a:pt x="306" y="173"/>
                  <a:pt x="306" y="172"/>
                </a:cubicBezTo>
                <a:cubicBezTo>
                  <a:pt x="305" y="171"/>
                  <a:pt x="305" y="171"/>
                  <a:pt x="304" y="171"/>
                </a:cubicBezTo>
                <a:cubicBezTo>
                  <a:pt x="305" y="171"/>
                  <a:pt x="305" y="171"/>
                  <a:pt x="306" y="170"/>
                </a:cubicBezTo>
                <a:cubicBezTo>
                  <a:pt x="304" y="170"/>
                  <a:pt x="302" y="170"/>
                  <a:pt x="300" y="170"/>
                </a:cubicBezTo>
                <a:cubicBezTo>
                  <a:pt x="298" y="170"/>
                  <a:pt x="297" y="171"/>
                  <a:pt x="295" y="171"/>
                </a:cubicBezTo>
                <a:cubicBezTo>
                  <a:pt x="294" y="172"/>
                  <a:pt x="293" y="173"/>
                  <a:pt x="292" y="174"/>
                </a:cubicBezTo>
                <a:cubicBezTo>
                  <a:pt x="291" y="175"/>
                  <a:pt x="291" y="175"/>
                  <a:pt x="291" y="176"/>
                </a:cubicBezTo>
                <a:cubicBezTo>
                  <a:pt x="290" y="176"/>
                  <a:pt x="290" y="176"/>
                  <a:pt x="290" y="177"/>
                </a:cubicBezTo>
                <a:cubicBezTo>
                  <a:pt x="290" y="177"/>
                  <a:pt x="290" y="177"/>
                  <a:pt x="289" y="177"/>
                </a:cubicBezTo>
                <a:cubicBezTo>
                  <a:pt x="289" y="177"/>
                  <a:pt x="289" y="176"/>
                  <a:pt x="289" y="175"/>
                </a:cubicBezTo>
                <a:cubicBezTo>
                  <a:pt x="288" y="176"/>
                  <a:pt x="288" y="176"/>
                  <a:pt x="287" y="176"/>
                </a:cubicBezTo>
                <a:cubicBezTo>
                  <a:pt x="288" y="175"/>
                  <a:pt x="288" y="175"/>
                  <a:pt x="288" y="175"/>
                </a:cubicBezTo>
                <a:cubicBezTo>
                  <a:pt x="288" y="174"/>
                  <a:pt x="287" y="174"/>
                  <a:pt x="287" y="175"/>
                </a:cubicBezTo>
                <a:cubicBezTo>
                  <a:pt x="286" y="175"/>
                  <a:pt x="285" y="177"/>
                  <a:pt x="283" y="177"/>
                </a:cubicBezTo>
                <a:cubicBezTo>
                  <a:pt x="282" y="177"/>
                  <a:pt x="282" y="177"/>
                  <a:pt x="281" y="178"/>
                </a:cubicBezTo>
                <a:cubicBezTo>
                  <a:pt x="281" y="178"/>
                  <a:pt x="281" y="178"/>
                  <a:pt x="281" y="179"/>
                </a:cubicBezTo>
                <a:cubicBezTo>
                  <a:pt x="281" y="179"/>
                  <a:pt x="280" y="179"/>
                  <a:pt x="280" y="180"/>
                </a:cubicBezTo>
                <a:cubicBezTo>
                  <a:pt x="279" y="180"/>
                  <a:pt x="279" y="180"/>
                  <a:pt x="279" y="181"/>
                </a:cubicBezTo>
                <a:cubicBezTo>
                  <a:pt x="279" y="181"/>
                  <a:pt x="279" y="182"/>
                  <a:pt x="279" y="182"/>
                </a:cubicBezTo>
                <a:cubicBezTo>
                  <a:pt x="279" y="182"/>
                  <a:pt x="279" y="182"/>
                  <a:pt x="279" y="182"/>
                </a:cubicBezTo>
                <a:cubicBezTo>
                  <a:pt x="279" y="182"/>
                  <a:pt x="279" y="183"/>
                  <a:pt x="280" y="183"/>
                </a:cubicBezTo>
                <a:cubicBezTo>
                  <a:pt x="280" y="183"/>
                  <a:pt x="280" y="183"/>
                  <a:pt x="280" y="183"/>
                </a:cubicBezTo>
                <a:cubicBezTo>
                  <a:pt x="281" y="183"/>
                  <a:pt x="282" y="184"/>
                  <a:pt x="283" y="184"/>
                </a:cubicBezTo>
                <a:cubicBezTo>
                  <a:pt x="283" y="185"/>
                  <a:pt x="283" y="185"/>
                  <a:pt x="283" y="185"/>
                </a:cubicBezTo>
                <a:cubicBezTo>
                  <a:pt x="283" y="185"/>
                  <a:pt x="283" y="185"/>
                  <a:pt x="283" y="185"/>
                </a:cubicBezTo>
                <a:cubicBezTo>
                  <a:pt x="282" y="186"/>
                  <a:pt x="281" y="186"/>
                  <a:pt x="280" y="186"/>
                </a:cubicBezTo>
                <a:cubicBezTo>
                  <a:pt x="279" y="186"/>
                  <a:pt x="278" y="186"/>
                  <a:pt x="277" y="186"/>
                </a:cubicBezTo>
                <a:cubicBezTo>
                  <a:pt x="276" y="186"/>
                  <a:pt x="276" y="185"/>
                  <a:pt x="275" y="185"/>
                </a:cubicBezTo>
                <a:cubicBezTo>
                  <a:pt x="275" y="185"/>
                  <a:pt x="275" y="184"/>
                  <a:pt x="275" y="184"/>
                </a:cubicBezTo>
                <a:cubicBezTo>
                  <a:pt x="272" y="185"/>
                  <a:pt x="271" y="186"/>
                  <a:pt x="268" y="187"/>
                </a:cubicBezTo>
                <a:cubicBezTo>
                  <a:pt x="268" y="187"/>
                  <a:pt x="268" y="188"/>
                  <a:pt x="267" y="188"/>
                </a:cubicBezTo>
                <a:cubicBezTo>
                  <a:pt x="267" y="188"/>
                  <a:pt x="267" y="188"/>
                  <a:pt x="267" y="189"/>
                </a:cubicBezTo>
                <a:cubicBezTo>
                  <a:pt x="267" y="189"/>
                  <a:pt x="267" y="189"/>
                  <a:pt x="267" y="189"/>
                </a:cubicBezTo>
                <a:cubicBezTo>
                  <a:pt x="267" y="190"/>
                  <a:pt x="266" y="190"/>
                  <a:pt x="266" y="190"/>
                </a:cubicBezTo>
                <a:cubicBezTo>
                  <a:pt x="266" y="190"/>
                  <a:pt x="265" y="190"/>
                  <a:pt x="265" y="190"/>
                </a:cubicBezTo>
                <a:cubicBezTo>
                  <a:pt x="264" y="190"/>
                  <a:pt x="265" y="190"/>
                  <a:pt x="265" y="191"/>
                </a:cubicBezTo>
                <a:cubicBezTo>
                  <a:pt x="265" y="191"/>
                  <a:pt x="265" y="191"/>
                  <a:pt x="265" y="192"/>
                </a:cubicBezTo>
                <a:cubicBezTo>
                  <a:pt x="265" y="192"/>
                  <a:pt x="265" y="192"/>
                  <a:pt x="265" y="192"/>
                </a:cubicBezTo>
                <a:cubicBezTo>
                  <a:pt x="264" y="193"/>
                  <a:pt x="263" y="194"/>
                  <a:pt x="262" y="194"/>
                </a:cubicBezTo>
                <a:cubicBezTo>
                  <a:pt x="261" y="194"/>
                  <a:pt x="261" y="194"/>
                  <a:pt x="261" y="193"/>
                </a:cubicBezTo>
                <a:cubicBezTo>
                  <a:pt x="260" y="194"/>
                  <a:pt x="259" y="194"/>
                  <a:pt x="258" y="195"/>
                </a:cubicBezTo>
                <a:cubicBezTo>
                  <a:pt x="257" y="195"/>
                  <a:pt x="257" y="195"/>
                  <a:pt x="257" y="195"/>
                </a:cubicBezTo>
                <a:cubicBezTo>
                  <a:pt x="257" y="195"/>
                  <a:pt x="258" y="195"/>
                  <a:pt x="258" y="195"/>
                </a:cubicBezTo>
                <a:cubicBezTo>
                  <a:pt x="257" y="196"/>
                  <a:pt x="257" y="196"/>
                  <a:pt x="257" y="196"/>
                </a:cubicBezTo>
                <a:cubicBezTo>
                  <a:pt x="257" y="196"/>
                  <a:pt x="258" y="196"/>
                  <a:pt x="258" y="197"/>
                </a:cubicBezTo>
                <a:cubicBezTo>
                  <a:pt x="258" y="197"/>
                  <a:pt x="258" y="197"/>
                  <a:pt x="258" y="198"/>
                </a:cubicBezTo>
                <a:cubicBezTo>
                  <a:pt x="257" y="198"/>
                  <a:pt x="257" y="198"/>
                  <a:pt x="257" y="198"/>
                </a:cubicBezTo>
                <a:cubicBezTo>
                  <a:pt x="256" y="198"/>
                  <a:pt x="256" y="199"/>
                  <a:pt x="256" y="199"/>
                </a:cubicBezTo>
                <a:cubicBezTo>
                  <a:pt x="255" y="199"/>
                  <a:pt x="255" y="199"/>
                  <a:pt x="254" y="199"/>
                </a:cubicBezTo>
                <a:cubicBezTo>
                  <a:pt x="253" y="199"/>
                  <a:pt x="253" y="201"/>
                  <a:pt x="252" y="201"/>
                </a:cubicBezTo>
                <a:cubicBezTo>
                  <a:pt x="252" y="201"/>
                  <a:pt x="251" y="201"/>
                  <a:pt x="251" y="200"/>
                </a:cubicBezTo>
                <a:cubicBezTo>
                  <a:pt x="251" y="200"/>
                  <a:pt x="251" y="200"/>
                  <a:pt x="251" y="200"/>
                </a:cubicBezTo>
                <a:cubicBezTo>
                  <a:pt x="251" y="200"/>
                  <a:pt x="251" y="199"/>
                  <a:pt x="251" y="199"/>
                </a:cubicBezTo>
                <a:cubicBezTo>
                  <a:pt x="252" y="198"/>
                  <a:pt x="253" y="198"/>
                  <a:pt x="253" y="198"/>
                </a:cubicBezTo>
                <a:cubicBezTo>
                  <a:pt x="254" y="197"/>
                  <a:pt x="255" y="197"/>
                  <a:pt x="255" y="196"/>
                </a:cubicBezTo>
                <a:cubicBezTo>
                  <a:pt x="255" y="196"/>
                  <a:pt x="255" y="196"/>
                  <a:pt x="255" y="196"/>
                </a:cubicBezTo>
                <a:cubicBezTo>
                  <a:pt x="255" y="196"/>
                  <a:pt x="255" y="196"/>
                  <a:pt x="255" y="196"/>
                </a:cubicBezTo>
                <a:cubicBezTo>
                  <a:pt x="254" y="196"/>
                  <a:pt x="253" y="197"/>
                  <a:pt x="252" y="198"/>
                </a:cubicBezTo>
                <a:cubicBezTo>
                  <a:pt x="251" y="198"/>
                  <a:pt x="251" y="198"/>
                  <a:pt x="250" y="199"/>
                </a:cubicBezTo>
                <a:cubicBezTo>
                  <a:pt x="250" y="200"/>
                  <a:pt x="250" y="200"/>
                  <a:pt x="250" y="201"/>
                </a:cubicBezTo>
                <a:cubicBezTo>
                  <a:pt x="250" y="202"/>
                  <a:pt x="251" y="203"/>
                  <a:pt x="252" y="204"/>
                </a:cubicBezTo>
                <a:cubicBezTo>
                  <a:pt x="254" y="205"/>
                  <a:pt x="255" y="206"/>
                  <a:pt x="256" y="207"/>
                </a:cubicBezTo>
                <a:cubicBezTo>
                  <a:pt x="257" y="208"/>
                  <a:pt x="259" y="208"/>
                  <a:pt x="260" y="208"/>
                </a:cubicBezTo>
                <a:cubicBezTo>
                  <a:pt x="262" y="209"/>
                  <a:pt x="263" y="209"/>
                  <a:pt x="265" y="209"/>
                </a:cubicBezTo>
                <a:cubicBezTo>
                  <a:pt x="266" y="209"/>
                  <a:pt x="268" y="209"/>
                  <a:pt x="269" y="210"/>
                </a:cubicBezTo>
                <a:cubicBezTo>
                  <a:pt x="271" y="211"/>
                  <a:pt x="273" y="211"/>
                  <a:pt x="275" y="212"/>
                </a:cubicBezTo>
                <a:cubicBezTo>
                  <a:pt x="275" y="212"/>
                  <a:pt x="276" y="213"/>
                  <a:pt x="277" y="213"/>
                </a:cubicBezTo>
                <a:cubicBezTo>
                  <a:pt x="277" y="214"/>
                  <a:pt x="277" y="214"/>
                  <a:pt x="277" y="215"/>
                </a:cubicBezTo>
                <a:cubicBezTo>
                  <a:pt x="278" y="215"/>
                  <a:pt x="278" y="215"/>
                  <a:pt x="279" y="215"/>
                </a:cubicBezTo>
                <a:cubicBezTo>
                  <a:pt x="280" y="215"/>
                  <a:pt x="280" y="215"/>
                  <a:pt x="280" y="215"/>
                </a:cubicBezTo>
                <a:cubicBezTo>
                  <a:pt x="281" y="215"/>
                  <a:pt x="281" y="214"/>
                  <a:pt x="280" y="214"/>
                </a:cubicBezTo>
                <a:cubicBezTo>
                  <a:pt x="280" y="213"/>
                  <a:pt x="279" y="213"/>
                  <a:pt x="279" y="212"/>
                </a:cubicBezTo>
                <a:cubicBezTo>
                  <a:pt x="279" y="212"/>
                  <a:pt x="280" y="211"/>
                  <a:pt x="280" y="211"/>
                </a:cubicBezTo>
                <a:cubicBezTo>
                  <a:pt x="280" y="212"/>
                  <a:pt x="280" y="213"/>
                  <a:pt x="281" y="213"/>
                </a:cubicBezTo>
                <a:cubicBezTo>
                  <a:pt x="281" y="214"/>
                  <a:pt x="282" y="214"/>
                  <a:pt x="282" y="215"/>
                </a:cubicBezTo>
                <a:cubicBezTo>
                  <a:pt x="283" y="215"/>
                  <a:pt x="284" y="215"/>
                  <a:pt x="284" y="215"/>
                </a:cubicBezTo>
                <a:cubicBezTo>
                  <a:pt x="284" y="215"/>
                  <a:pt x="284" y="214"/>
                  <a:pt x="284" y="214"/>
                </a:cubicBezTo>
                <a:cubicBezTo>
                  <a:pt x="285" y="214"/>
                  <a:pt x="285" y="214"/>
                  <a:pt x="285" y="215"/>
                </a:cubicBezTo>
                <a:cubicBezTo>
                  <a:pt x="285" y="215"/>
                  <a:pt x="285" y="216"/>
                  <a:pt x="285" y="216"/>
                </a:cubicBezTo>
                <a:cubicBezTo>
                  <a:pt x="284" y="217"/>
                  <a:pt x="283" y="218"/>
                  <a:pt x="282" y="219"/>
                </a:cubicBezTo>
                <a:cubicBezTo>
                  <a:pt x="281" y="219"/>
                  <a:pt x="281" y="219"/>
                  <a:pt x="281" y="219"/>
                </a:cubicBezTo>
                <a:cubicBezTo>
                  <a:pt x="281" y="219"/>
                  <a:pt x="281" y="219"/>
                  <a:pt x="281" y="219"/>
                </a:cubicBezTo>
                <a:cubicBezTo>
                  <a:pt x="280" y="218"/>
                  <a:pt x="279" y="217"/>
                  <a:pt x="278" y="217"/>
                </a:cubicBezTo>
                <a:cubicBezTo>
                  <a:pt x="278" y="216"/>
                  <a:pt x="277" y="215"/>
                  <a:pt x="276" y="215"/>
                </a:cubicBezTo>
                <a:cubicBezTo>
                  <a:pt x="276" y="215"/>
                  <a:pt x="276" y="214"/>
                  <a:pt x="276" y="214"/>
                </a:cubicBezTo>
                <a:cubicBezTo>
                  <a:pt x="276" y="213"/>
                  <a:pt x="275" y="213"/>
                  <a:pt x="274" y="213"/>
                </a:cubicBezTo>
                <a:cubicBezTo>
                  <a:pt x="273" y="212"/>
                  <a:pt x="272" y="212"/>
                  <a:pt x="272" y="213"/>
                </a:cubicBezTo>
                <a:cubicBezTo>
                  <a:pt x="271" y="214"/>
                  <a:pt x="271" y="215"/>
                  <a:pt x="270" y="216"/>
                </a:cubicBezTo>
                <a:cubicBezTo>
                  <a:pt x="269" y="217"/>
                  <a:pt x="267" y="217"/>
                  <a:pt x="266" y="216"/>
                </a:cubicBezTo>
                <a:cubicBezTo>
                  <a:pt x="266" y="216"/>
                  <a:pt x="266" y="216"/>
                  <a:pt x="266" y="216"/>
                </a:cubicBezTo>
                <a:cubicBezTo>
                  <a:pt x="266" y="216"/>
                  <a:pt x="265" y="217"/>
                  <a:pt x="266" y="217"/>
                </a:cubicBezTo>
                <a:cubicBezTo>
                  <a:pt x="266" y="217"/>
                  <a:pt x="266" y="218"/>
                  <a:pt x="266" y="218"/>
                </a:cubicBezTo>
                <a:cubicBezTo>
                  <a:pt x="267" y="218"/>
                  <a:pt x="268" y="219"/>
                  <a:pt x="268" y="219"/>
                </a:cubicBezTo>
                <a:cubicBezTo>
                  <a:pt x="268" y="220"/>
                  <a:pt x="268" y="220"/>
                  <a:pt x="268" y="221"/>
                </a:cubicBezTo>
                <a:cubicBezTo>
                  <a:pt x="269" y="222"/>
                  <a:pt x="271" y="222"/>
                  <a:pt x="272" y="224"/>
                </a:cubicBezTo>
                <a:cubicBezTo>
                  <a:pt x="272" y="225"/>
                  <a:pt x="272" y="225"/>
                  <a:pt x="272" y="225"/>
                </a:cubicBezTo>
                <a:cubicBezTo>
                  <a:pt x="272" y="226"/>
                  <a:pt x="272" y="226"/>
                  <a:pt x="273" y="226"/>
                </a:cubicBezTo>
                <a:cubicBezTo>
                  <a:pt x="272" y="227"/>
                  <a:pt x="271" y="226"/>
                  <a:pt x="271" y="227"/>
                </a:cubicBezTo>
                <a:cubicBezTo>
                  <a:pt x="270" y="227"/>
                  <a:pt x="270" y="227"/>
                  <a:pt x="271" y="227"/>
                </a:cubicBezTo>
                <a:cubicBezTo>
                  <a:pt x="271" y="230"/>
                  <a:pt x="272" y="232"/>
                  <a:pt x="274" y="233"/>
                </a:cubicBezTo>
                <a:cubicBezTo>
                  <a:pt x="275" y="233"/>
                  <a:pt x="277" y="234"/>
                  <a:pt x="278" y="234"/>
                </a:cubicBezTo>
                <a:cubicBezTo>
                  <a:pt x="282" y="235"/>
                  <a:pt x="286" y="235"/>
                  <a:pt x="289" y="238"/>
                </a:cubicBezTo>
                <a:cubicBezTo>
                  <a:pt x="290" y="238"/>
                  <a:pt x="291" y="237"/>
                  <a:pt x="291" y="236"/>
                </a:cubicBezTo>
                <a:cubicBezTo>
                  <a:pt x="292" y="236"/>
                  <a:pt x="293" y="235"/>
                  <a:pt x="293" y="235"/>
                </a:cubicBezTo>
                <a:cubicBezTo>
                  <a:pt x="294" y="235"/>
                  <a:pt x="294" y="235"/>
                  <a:pt x="294" y="235"/>
                </a:cubicBezTo>
                <a:cubicBezTo>
                  <a:pt x="295" y="236"/>
                  <a:pt x="296" y="235"/>
                  <a:pt x="297" y="235"/>
                </a:cubicBezTo>
                <a:cubicBezTo>
                  <a:pt x="297" y="234"/>
                  <a:pt x="298" y="233"/>
                  <a:pt x="299" y="233"/>
                </a:cubicBezTo>
                <a:cubicBezTo>
                  <a:pt x="300" y="233"/>
                  <a:pt x="301" y="234"/>
                  <a:pt x="302" y="234"/>
                </a:cubicBezTo>
                <a:cubicBezTo>
                  <a:pt x="304" y="234"/>
                  <a:pt x="305" y="233"/>
                  <a:pt x="307" y="233"/>
                </a:cubicBezTo>
                <a:cubicBezTo>
                  <a:pt x="309" y="233"/>
                  <a:pt x="311" y="235"/>
                  <a:pt x="313" y="237"/>
                </a:cubicBezTo>
                <a:cubicBezTo>
                  <a:pt x="313" y="238"/>
                  <a:pt x="313" y="238"/>
                  <a:pt x="313" y="238"/>
                </a:cubicBezTo>
                <a:cubicBezTo>
                  <a:pt x="314" y="238"/>
                  <a:pt x="315" y="237"/>
                  <a:pt x="315" y="236"/>
                </a:cubicBezTo>
                <a:cubicBezTo>
                  <a:pt x="315" y="236"/>
                  <a:pt x="314" y="235"/>
                  <a:pt x="313" y="235"/>
                </a:cubicBezTo>
                <a:cubicBezTo>
                  <a:pt x="312" y="234"/>
                  <a:pt x="311" y="234"/>
                  <a:pt x="311" y="233"/>
                </a:cubicBezTo>
                <a:cubicBezTo>
                  <a:pt x="311" y="233"/>
                  <a:pt x="311" y="232"/>
                  <a:pt x="311" y="232"/>
                </a:cubicBezTo>
                <a:cubicBezTo>
                  <a:pt x="311" y="231"/>
                  <a:pt x="312" y="231"/>
                  <a:pt x="313" y="231"/>
                </a:cubicBezTo>
                <a:cubicBezTo>
                  <a:pt x="313" y="231"/>
                  <a:pt x="314" y="232"/>
                  <a:pt x="314" y="232"/>
                </a:cubicBezTo>
                <a:cubicBezTo>
                  <a:pt x="315" y="233"/>
                  <a:pt x="316" y="234"/>
                  <a:pt x="317" y="235"/>
                </a:cubicBezTo>
                <a:cubicBezTo>
                  <a:pt x="317" y="237"/>
                  <a:pt x="318" y="238"/>
                  <a:pt x="318" y="239"/>
                </a:cubicBezTo>
                <a:cubicBezTo>
                  <a:pt x="318" y="239"/>
                  <a:pt x="318" y="240"/>
                  <a:pt x="318" y="240"/>
                </a:cubicBezTo>
                <a:cubicBezTo>
                  <a:pt x="319" y="241"/>
                  <a:pt x="320" y="240"/>
                  <a:pt x="320" y="240"/>
                </a:cubicBezTo>
                <a:cubicBezTo>
                  <a:pt x="321" y="239"/>
                  <a:pt x="321" y="239"/>
                  <a:pt x="321" y="238"/>
                </a:cubicBezTo>
                <a:cubicBezTo>
                  <a:pt x="321" y="237"/>
                  <a:pt x="321" y="237"/>
                  <a:pt x="321" y="236"/>
                </a:cubicBezTo>
                <a:cubicBezTo>
                  <a:pt x="321" y="236"/>
                  <a:pt x="322" y="235"/>
                  <a:pt x="322" y="235"/>
                </a:cubicBezTo>
                <a:cubicBezTo>
                  <a:pt x="323" y="234"/>
                  <a:pt x="324" y="233"/>
                  <a:pt x="325" y="232"/>
                </a:cubicBezTo>
                <a:cubicBezTo>
                  <a:pt x="326" y="231"/>
                  <a:pt x="327" y="230"/>
                  <a:pt x="328" y="229"/>
                </a:cubicBezTo>
                <a:cubicBezTo>
                  <a:pt x="327" y="229"/>
                  <a:pt x="327" y="229"/>
                  <a:pt x="327" y="228"/>
                </a:cubicBezTo>
                <a:cubicBezTo>
                  <a:pt x="327" y="228"/>
                  <a:pt x="327" y="227"/>
                  <a:pt x="328" y="228"/>
                </a:cubicBezTo>
                <a:cubicBezTo>
                  <a:pt x="328" y="228"/>
                  <a:pt x="328" y="228"/>
                  <a:pt x="328" y="228"/>
                </a:cubicBezTo>
                <a:cubicBezTo>
                  <a:pt x="328" y="228"/>
                  <a:pt x="328" y="229"/>
                  <a:pt x="329" y="229"/>
                </a:cubicBezTo>
                <a:cubicBezTo>
                  <a:pt x="330" y="229"/>
                  <a:pt x="330" y="228"/>
                  <a:pt x="331" y="228"/>
                </a:cubicBezTo>
                <a:cubicBezTo>
                  <a:pt x="331" y="228"/>
                  <a:pt x="332" y="227"/>
                  <a:pt x="332" y="227"/>
                </a:cubicBezTo>
                <a:cubicBezTo>
                  <a:pt x="332" y="227"/>
                  <a:pt x="332" y="227"/>
                  <a:pt x="331" y="227"/>
                </a:cubicBezTo>
                <a:cubicBezTo>
                  <a:pt x="331" y="226"/>
                  <a:pt x="332" y="226"/>
                  <a:pt x="332" y="226"/>
                </a:cubicBezTo>
                <a:cubicBezTo>
                  <a:pt x="332" y="226"/>
                  <a:pt x="332" y="226"/>
                  <a:pt x="333" y="227"/>
                </a:cubicBezTo>
                <a:cubicBezTo>
                  <a:pt x="333" y="228"/>
                  <a:pt x="335" y="228"/>
                  <a:pt x="336" y="227"/>
                </a:cubicBezTo>
                <a:cubicBezTo>
                  <a:pt x="336" y="227"/>
                  <a:pt x="337" y="226"/>
                  <a:pt x="337" y="226"/>
                </a:cubicBezTo>
                <a:cubicBezTo>
                  <a:pt x="338" y="225"/>
                  <a:pt x="338" y="224"/>
                  <a:pt x="339" y="222"/>
                </a:cubicBezTo>
                <a:cubicBezTo>
                  <a:pt x="340" y="225"/>
                  <a:pt x="342" y="227"/>
                  <a:pt x="344" y="229"/>
                </a:cubicBezTo>
                <a:cubicBezTo>
                  <a:pt x="345" y="230"/>
                  <a:pt x="345" y="231"/>
                  <a:pt x="344" y="232"/>
                </a:cubicBezTo>
                <a:cubicBezTo>
                  <a:pt x="343" y="233"/>
                  <a:pt x="342" y="233"/>
                  <a:pt x="342" y="234"/>
                </a:cubicBezTo>
                <a:cubicBezTo>
                  <a:pt x="342" y="234"/>
                  <a:pt x="342" y="235"/>
                  <a:pt x="342" y="235"/>
                </a:cubicBezTo>
                <a:cubicBezTo>
                  <a:pt x="341" y="235"/>
                  <a:pt x="341" y="235"/>
                  <a:pt x="341" y="235"/>
                </a:cubicBezTo>
                <a:cubicBezTo>
                  <a:pt x="340" y="235"/>
                  <a:pt x="339" y="235"/>
                  <a:pt x="338" y="235"/>
                </a:cubicBezTo>
                <a:cubicBezTo>
                  <a:pt x="338" y="235"/>
                  <a:pt x="337" y="235"/>
                  <a:pt x="337" y="235"/>
                </a:cubicBezTo>
                <a:cubicBezTo>
                  <a:pt x="337" y="235"/>
                  <a:pt x="337" y="234"/>
                  <a:pt x="337" y="234"/>
                </a:cubicBezTo>
                <a:cubicBezTo>
                  <a:pt x="337" y="234"/>
                  <a:pt x="337" y="234"/>
                  <a:pt x="336" y="234"/>
                </a:cubicBezTo>
                <a:cubicBezTo>
                  <a:pt x="336" y="235"/>
                  <a:pt x="336" y="235"/>
                  <a:pt x="335" y="236"/>
                </a:cubicBezTo>
                <a:cubicBezTo>
                  <a:pt x="335" y="236"/>
                  <a:pt x="336" y="237"/>
                  <a:pt x="335" y="238"/>
                </a:cubicBezTo>
                <a:cubicBezTo>
                  <a:pt x="335" y="238"/>
                  <a:pt x="334" y="238"/>
                  <a:pt x="334" y="238"/>
                </a:cubicBezTo>
                <a:cubicBezTo>
                  <a:pt x="335" y="239"/>
                  <a:pt x="335" y="238"/>
                  <a:pt x="336" y="238"/>
                </a:cubicBezTo>
                <a:cubicBezTo>
                  <a:pt x="336" y="238"/>
                  <a:pt x="336" y="237"/>
                  <a:pt x="337" y="237"/>
                </a:cubicBezTo>
                <a:cubicBezTo>
                  <a:pt x="337" y="237"/>
                  <a:pt x="337" y="237"/>
                  <a:pt x="337" y="237"/>
                </a:cubicBezTo>
                <a:cubicBezTo>
                  <a:pt x="337" y="237"/>
                  <a:pt x="337" y="237"/>
                  <a:pt x="337" y="237"/>
                </a:cubicBezTo>
                <a:cubicBezTo>
                  <a:pt x="337" y="238"/>
                  <a:pt x="338" y="239"/>
                  <a:pt x="338" y="239"/>
                </a:cubicBezTo>
                <a:cubicBezTo>
                  <a:pt x="339" y="240"/>
                  <a:pt x="340" y="242"/>
                  <a:pt x="341" y="243"/>
                </a:cubicBezTo>
                <a:cubicBezTo>
                  <a:pt x="341" y="243"/>
                  <a:pt x="342" y="244"/>
                  <a:pt x="342" y="244"/>
                </a:cubicBezTo>
                <a:cubicBezTo>
                  <a:pt x="342" y="245"/>
                  <a:pt x="342" y="246"/>
                  <a:pt x="342" y="247"/>
                </a:cubicBezTo>
                <a:cubicBezTo>
                  <a:pt x="342" y="248"/>
                  <a:pt x="342" y="249"/>
                  <a:pt x="342" y="249"/>
                </a:cubicBezTo>
                <a:cubicBezTo>
                  <a:pt x="343" y="249"/>
                  <a:pt x="343" y="250"/>
                  <a:pt x="343" y="250"/>
                </a:cubicBezTo>
                <a:cubicBezTo>
                  <a:pt x="343" y="251"/>
                  <a:pt x="344" y="252"/>
                  <a:pt x="344" y="253"/>
                </a:cubicBezTo>
                <a:cubicBezTo>
                  <a:pt x="344" y="253"/>
                  <a:pt x="344" y="254"/>
                  <a:pt x="345" y="254"/>
                </a:cubicBezTo>
                <a:cubicBezTo>
                  <a:pt x="345" y="254"/>
                  <a:pt x="345" y="254"/>
                  <a:pt x="345" y="254"/>
                </a:cubicBezTo>
                <a:cubicBezTo>
                  <a:pt x="345" y="255"/>
                  <a:pt x="345" y="255"/>
                  <a:pt x="345" y="255"/>
                </a:cubicBezTo>
                <a:cubicBezTo>
                  <a:pt x="344" y="255"/>
                  <a:pt x="345" y="256"/>
                  <a:pt x="345" y="256"/>
                </a:cubicBezTo>
                <a:cubicBezTo>
                  <a:pt x="345" y="257"/>
                  <a:pt x="344" y="257"/>
                  <a:pt x="344" y="258"/>
                </a:cubicBezTo>
                <a:cubicBezTo>
                  <a:pt x="344" y="259"/>
                  <a:pt x="343" y="260"/>
                  <a:pt x="342" y="261"/>
                </a:cubicBezTo>
                <a:cubicBezTo>
                  <a:pt x="342" y="262"/>
                  <a:pt x="341" y="263"/>
                  <a:pt x="340" y="264"/>
                </a:cubicBezTo>
                <a:cubicBezTo>
                  <a:pt x="339" y="265"/>
                  <a:pt x="338" y="266"/>
                  <a:pt x="336" y="266"/>
                </a:cubicBezTo>
                <a:cubicBezTo>
                  <a:pt x="336" y="266"/>
                  <a:pt x="335" y="266"/>
                  <a:pt x="335" y="266"/>
                </a:cubicBezTo>
                <a:cubicBezTo>
                  <a:pt x="334" y="266"/>
                  <a:pt x="334" y="267"/>
                  <a:pt x="333" y="266"/>
                </a:cubicBezTo>
                <a:cubicBezTo>
                  <a:pt x="333" y="266"/>
                  <a:pt x="333" y="266"/>
                  <a:pt x="333" y="266"/>
                </a:cubicBezTo>
                <a:cubicBezTo>
                  <a:pt x="333" y="266"/>
                  <a:pt x="332" y="266"/>
                  <a:pt x="332" y="266"/>
                </a:cubicBezTo>
                <a:cubicBezTo>
                  <a:pt x="330" y="267"/>
                  <a:pt x="329" y="267"/>
                  <a:pt x="328" y="266"/>
                </a:cubicBezTo>
                <a:cubicBezTo>
                  <a:pt x="328" y="266"/>
                  <a:pt x="328" y="265"/>
                  <a:pt x="329" y="265"/>
                </a:cubicBezTo>
                <a:cubicBezTo>
                  <a:pt x="328" y="265"/>
                  <a:pt x="327" y="265"/>
                  <a:pt x="327" y="265"/>
                </a:cubicBezTo>
                <a:cubicBezTo>
                  <a:pt x="326" y="264"/>
                  <a:pt x="326" y="264"/>
                  <a:pt x="325" y="265"/>
                </a:cubicBezTo>
                <a:cubicBezTo>
                  <a:pt x="325" y="265"/>
                  <a:pt x="325" y="265"/>
                  <a:pt x="325" y="265"/>
                </a:cubicBezTo>
                <a:cubicBezTo>
                  <a:pt x="325" y="266"/>
                  <a:pt x="324" y="267"/>
                  <a:pt x="324" y="267"/>
                </a:cubicBezTo>
                <a:cubicBezTo>
                  <a:pt x="323" y="267"/>
                  <a:pt x="323" y="268"/>
                  <a:pt x="323" y="268"/>
                </a:cubicBezTo>
                <a:cubicBezTo>
                  <a:pt x="323" y="268"/>
                  <a:pt x="323" y="269"/>
                  <a:pt x="323" y="269"/>
                </a:cubicBezTo>
                <a:cubicBezTo>
                  <a:pt x="323" y="269"/>
                  <a:pt x="323" y="269"/>
                  <a:pt x="323" y="269"/>
                </a:cubicBezTo>
                <a:cubicBezTo>
                  <a:pt x="323" y="269"/>
                  <a:pt x="323" y="270"/>
                  <a:pt x="322" y="270"/>
                </a:cubicBezTo>
                <a:cubicBezTo>
                  <a:pt x="322" y="270"/>
                  <a:pt x="322" y="270"/>
                  <a:pt x="321" y="271"/>
                </a:cubicBezTo>
                <a:cubicBezTo>
                  <a:pt x="319" y="273"/>
                  <a:pt x="318" y="275"/>
                  <a:pt x="316" y="276"/>
                </a:cubicBezTo>
                <a:cubicBezTo>
                  <a:pt x="316" y="277"/>
                  <a:pt x="315" y="277"/>
                  <a:pt x="315" y="277"/>
                </a:cubicBezTo>
                <a:cubicBezTo>
                  <a:pt x="315" y="277"/>
                  <a:pt x="314" y="278"/>
                  <a:pt x="314" y="278"/>
                </a:cubicBezTo>
                <a:cubicBezTo>
                  <a:pt x="313" y="278"/>
                  <a:pt x="312" y="278"/>
                  <a:pt x="311" y="278"/>
                </a:cubicBezTo>
                <a:cubicBezTo>
                  <a:pt x="311" y="277"/>
                  <a:pt x="311" y="277"/>
                  <a:pt x="311" y="277"/>
                </a:cubicBezTo>
                <a:cubicBezTo>
                  <a:pt x="310" y="277"/>
                  <a:pt x="310" y="277"/>
                  <a:pt x="310" y="277"/>
                </a:cubicBezTo>
                <a:cubicBezTo>
                  <a:pt x="310" y="278"/>
                  <a:pt x="310" y="278"/>
                  <a:pt x="310" y="278"/>
                </a:cubicBezTo>
                <a:cubicBezTo>
                  <a:pt x="309" y="278"/>
                  <a:pt x="309" y="278"/>
                  <a:pt x="309" y="278"/>
                </a:cubicBezTo>
                <a:cubicBezTo>
                  <a:pt x="309" y="278"/>
                  <a:pt x="308" y="278"/>
                  <a:pt x="307" y="278"/>
                </a:cubicBezTo>
                <a:cubicBezTo>
                  <a:pt x="307" y="278"/>
                  <a:pt x="307" y="278"/>
                  <a:pt x="307" y="278"/>
                </a:cubicBezTo>
                <a:cubicBezTo>
                  <a:pt x="307" y="277"/>
                  <a:pt x="308" y="277"/>
                  <a:pt x="308" y="277"/>
                </a:cubicBezTo>
                <a:cubicBezTo>
                  <a:pt x="308" y="276"/>
                  <a:pt x="309" y="276"/>
                  <a:pt x="309" y="275"/>
                </a:cubicBezTo>
                <a:cubicBezTo>
                  <a:pt x="309" y="275"/>
                  <a:pt x="309" y="275"/>
                  <a:pt x="309" y="275"/>
                </a:cubicBezTo>
                <a:cubicBezTo>
                  <a:pt x="308" y="275"/>
                  <a:pt x="308" y="275"/>
                  <a:pt x="308" y="275"/>
                </a:cubicBezTo>
                <a:cubicBezTo>
                  <a:pt x="308" y="275"/>
                  <a:pt x="307" y="275"/>
                  <a:pt x="307" y="275"/>
                </a:cubicBezTo>
                <a:cubicBezTo>
                  <a:pt x="306" y="275"/>
                  <a:pt x="306" y="274"/>
                  <a:pt x="306" y="274"/>
                </a:cubicBezTo>
                <a:cubicBezTo>
                  <a:pt x="306" y="274"/>
                  <a:pt x="306" y="275"/>
                  <a:pt x="306" y="275"/>
                </a:cubicBezTo>
                <a:cubicBezTo>
                  <a:pt x="306" y="275"/>
                  <a:pt x="306" y="275"/>
                  <a:pt x="306" y="275"/>
                </a:cubicBezTo>
                <a:cubicBezTo>
                  <a:pt x="306" y="276"/>
                  <a:pt x="306" y="276"/>
                  <a:pt x="306" y="276"/>
                </a:cubicBezTo>
                <a:cubicBezTo>
                  <a:pt x="306" y="277"/>
                  <a:pt x="305" y="277"/>
                  <a:pt x="305" y="277"/>
                </a:cubicBezTo>
                <a:cubicBezTo>
                  <a:pt x="304" y="277"/>
                  <a:pt x="304" y="277"/>
                  <a:pt x="304" y="276"/>
                </a:cubicBezTo>
                <a:cubicBezTo>
                  <a:pt x="304" y="276"/>
                  <a:pt x="304" y="276"/>
                  <a:pt x="304" y="276"/>
                </a:cubicBezTo>
                <a:cubicBezTo>
                  <a:pt x="304" y="276"/>
                  <a:pt x="305" y="275"/>
                  <a:pt x="305" y="275"/>
                </a:cubicBezTo>
                <a:cubicBezTo>
                  <a:pt x="305" y="275"/>
                  <a:pt x="305" y="274"/>
                  <a:pt x="305" y="274"/>
                </a:cubicBezTo>
                <a:cubicBezTo>
                  <a:pt x="304" y="273"/>
                  <a:pt x="303" y="272"/>
                  <a:pt x="302" y="272"/>
                </a:cubicBezTo>
                <a:cubicBezTo>
                  <a:pt x="302" y="272"/>
                  <a:pt x="301" y="272"/>
                  <a:pt x="301" y="272"/>
                </a:cubicBezTo>
                <a:cubicBezTo>
                  <a:pt x="299" y="272"/>
                  <a:pt x="297" y="273"/>
                  <a:pt x="295" y="275"/>
                </a:cubicBezTo>
                <a:cubicBezTo>
                  <a:pt x="296" y="275"/>
                  <a:pt x="296" y="275"/>
                  <a:pt x="297" y="275"/>
                </a:cubicBezTo>
                <a:cubicBezTo>
                  <a:pt x="297" y="275"/>
                  <a:pt x="296" y="276"/>
                  <a:pt x="296" y="276"/>
                </a:cubicBezTo>
                <a:cubicBezTo>
                  <a:pt x="296" y="277"/>
                  <a:pt x="297" y="276"/>
                  <a:pt x="297" y="276"/>
                </a:cubicBezTo>
                <a:cubicBezTo>
                  <a:pt x="297" y="277"/>
                  <a:pt x="297" y="277"/>
                  <a:pt x="298" y="277"/>
                </a:cubicBezTo>
                <a:cubicBezTo>
                  <a:pt x="298" y="278"/>
                  <a:pt x="299" y="278"/>
                  <a:pt x="300" y="278"/>
                </a:cubicBezTo>
                <a:cubicBezTo>
                  <a:pt x="301" y="278"/>
                  <a:pt x="302" y="279"/>
                  <a:pt x="302" y="280"/>
                </a:cubicBezTo>
                <a:cubicBezTo>
                  <a:pt x="302" y="281"/>
                  <a:pt x="302" y="281"/>
                  <a:pt x="302" y="281"/>
                </a:cubicBezTo>
                <a:cubicBezTo>
                  <a:pt x="302" y="281"/>
                  <a:pt x="303" y="281"/>
                  <a:pt x="303" y="281"/>
                </a:cubicBezTo>
                <a:cubicBezTo>
                  <a:pt x="304" y="281"/>
                  <a:pt x="304" y="281"/>
                  <a:pt x="305" y="281"/>
                </a:cubicBezTo>
                <a:cubicBezTo>
                  <a:pt x="305" y="282"/>
                  <a:pt x="304" y="283"/>
                  <a:pt x="304" y="283"/>
                </a:cubicBezTo>
                <a:cubicBezTo>
                  <a:pt x="304" y="283"/>
                  <a:pt x="303" y="283"/>
                  <a:pt x="303" y="283"/>
                </a:cubicBezTo>
                <a:cubicBezTo>
                  <a:pt x="303" y="284"/>
                  <a:pt x="302" y="284"/>
                  <a:pt x="302" y="284"/>
                </a:cubicBezTo>
                <a:cubicBezTo>
                  <a:pt x="301" y="284"/>
                  <a:pt x="301" y="283"/>
                  <a:pt x="301" y="283"/>
                </a:cubicBezTo>
                <a:cubicBezTo>
                  <a:pt x="301" y="282"/>
                  <a:pt x="301" y="281"/>
                  <a:pt x="300" y="281"/>
                </a:cubicBezTo>
                <a:cubicBezTo>
                  <a:pt x="300" y="281"/>
                  <a:pt x="300" y="281"/>
                  <a:pt x="299" y="281"/>
                </a:cubicBezTo>
                <a:cubicBezTo>
                  <a:pt x="299" y="281"/>
                  <a:pt x="298" y="281"/>
                  <a:pt x="298" y="280"/>
                </a:cubicBezTo>
                <a:cubicBezTo>
                  <a:pt x="298" y="280"/>
                  <a:pt x="298" y="280"/>
                  <a:pt x="298" y="279"/>
                </a:cubicBezTo>
                <a:cubicBezTo>
                  <a:pt x="297" y="280"/>
                  <a:pt x="296" y="279"/>
                  <a:pt x="295" y="278"/>
                </a:cubicBezTo>
                <a:cubicBezTo>
                  <a:pt x="294" y="278"/>
                  <a:pt x="294" y="279"/>
                  <a:pt x="293" y="280"/>
                </a:cubicBezTo>
                <a:cubicBezTo>
                  <a:pt x="293" y="281"/>
                  <a:pt x="292" y="281"/>
                  <a:pt x="292" y="282"/>
                </a:cubicBezTo>
                <a:cubicBezTo>
                  <a:pt x="292" y="283"/>
                  <a:pt x="293" y="283"/>
                  <a:pt x="293" y="284"/>
                </a:cubicBezTo>
                <a:cubicBezTo>
                  <a:pt x="293" y="285"/>
                  <a:pt x="293" y="286"/>
                  <a:pt x="292" y="286"/>
                </a:cubicBezTo>
                <a:cubicBezTo>
                  <a:pt x="292" y="286"/>
                  <a:pt x="292" y="287"/>
                  <a:pt x="292" y="287"/>
                </a:cubicBezTo>
                <a:cubicBezTo>
                  <a:pt x="291" y="287"/>
                  <a:pt x="291" y="287"/>
                  <a:pt x="291" y="288"/>
                </a:cubicBezTo>
                <a:cubicBezTo>
                  <a:pt x="292" y="288"/>
                  <a:pt x="292" y="288"/>
                  <a:pt x="292" y="288"/>
                </a:cubicBezTo>
                <a:cubicBezTo>
                  <a:pt x="292" y="288"/>
                  <a:pt x="292" y="289"/>
                  <a:pt x="292" y="289"/>
                </a:cubicBezTo>
                <a:cubicBezTo>
                  <a:pt x="291" y="289"/>
                  <a:pt x="291" y="290"/>
                  <a:pt x="291" y="290"/>
                </a:cubicBezTo>
                <a:cubicBezTo>
                  <a:pt x="291" y="290"/>
                  <a:pt x="292" y="290"/>
                  <a:pt x="293" y="290"/>
                </a:cubicBezTo>
                <a:cubicBezTo>
                  <a:pt x="294" y="289"/>
                  <a:pt x="295" y="288"/>
                  <a:pt x="296" y="288"/>
                </a:cubicBezTo>
                <a:cubicBezTo>
                  <a:pt x="296" y="288"/>
                  <a:pt x="295" y="289"/>
                  <a:pt x="294" y="290"/>
                </a:cubicBezTo>
                <a:cubicBezTo>
                  <a:pt x="294" y="290"/>
                  <a:pt x="293" y="290"/>
                  <a:pt x="293" y="291"/>
                </a:cubicBezTo>
                <a:cubicBezTo>
                  <a:pt x="292" y="292"/>
                  <a:pt x="293" y="293"/>
                  <a:pt x="293" y="293"/>
                </a:cubicBezTo>
                <a:cubicBezTo>
                  <a:pt x="293" y="294"/>
                  <a:pt x="293" y="294"/>
                  <a:pt x="293" y="294"/>
                </a:cubicBezTo>
                <a:cubicBezTo>
                  <a:pt x="293" y="294"/>
                  <a:pt x="293" y="294"/>
                  <a:pt x="293" y="294"/>
                </a:cubicBezTo>
                <a:cubicBezTo>
                  <a:pt x="292" y="294"/>
                  <a:pt x="291" y="293"/>
                  <a:pt x="291" y="292"/>
                </a:cubicBezTo>
                <a:cubicBezTo>
                  <a:pt x="290" y="292"/>
                  <a:pt x="289" y="292"/>
                  <a:pt x="288" y="293"/>
                </a:cubicBezTo>
                <a:cubicBezTo>
                  <a:pt x="288" y="294"/>
                  <a:pt x="287" y="294"/>
                  <a:pt x="287" y="295"/>
                </a:cubicBezTo>
                <a:cubicBezTo>
                  <a:pt x="286" y="296"/>
                  <a:pt x="286" y="296"/>
                  <a:pt x="286" y="296"/>
                </a:cubicBezTo>
                <a:cubicBezTo>
                  <a:pt x="286" y="297"/>
                  <a:pt x="286" y="297"/>
                  <a:pt x="286" y="297"/>
                </a:cubicBezTo>
                <a:cubicBezTo>
                  <a:pt x="283" y="300"/>
                  <a:pt x="281" y="303"/>
                  <a:pt x="280" y="306"/>
                </a:cubicBezTo>
                <a:cubicBezTo>
                  <a:pt x="280" y="307"/>
                  <a:pt x="280" y="307"/>
                  <a:pt x="280" y="308"/>
                </a:cubicBezTo>
                <a:cubicBezTo>
                  <a:pt x="281" y="309"/>
                  <a:pt x="281" y="310"/>
                  <a:pt x="282" y="310"/>
                </a:cubicBezTo>
                <a:cubicBezTo>
                  <a:pt x="282" y="311"/>
                  <a:pt x="282" y="311"/>
                  <a:pt x="282" y="311"/>
                </a:cubicBezTo>
                <a:cubicBezTo>
                  <a:pt x="282" y="311"/>
                  <a:pt x="281" y="311"/>
                  <a:pt x="281" y="311"/>
                </a:cubicBezTo>
                <a:cubicBezTo>
                  <a:pt x="281" y="311"/>
                  <a:pt x="280" y="311"/>
                  <a:pt x="280" y="311"/>
                </a:cubicBezTo>
                <a:cubicBezTo>
                  <a:pt x="280" y="312"/>
                  <a:pt x="280" y="312"/>
                  <a:pt x="280" y="312"/>
                </a:cubicBezTo>
                <a:cubicBezTo>
                  <a:pt x="280" y="312"/>
                  <a:pt x="279" y="312"/>
                  <a:pt x="279" y="312"/>
                </a:cubicBezTo>
                <a:cubicBezTo>
                  <a:pt x="278" y="312"/>
                  <a:pt x="277" y="312"/>
                  <a:pt x="276" y="312"/>
                </a:cubicBezTo>
                <a:cubicBezTo>
                  <a:pt x="276" y="312"/>
                  <a:pt x="276" y="313"/>
                  <a:pt x="276" y="313"/>
                </a:cubicBezTo>
                <a:cubicBezTo>
                  <a:pt x="276" y="313"/>
                  <a:pt x="277" y="313"/>
                  <a:pt x="277" y="313"/>
                </a:cubicBezTo>
                <a:cubicBezTo>
                  <a:pt x="277" y="313"/>
                  <a:pt x="277" y="314"/>
                  <a:pt x="277" y="314"/>
                </a:cubicBezTo>
                <a:cubicBezTo>
                  <a:pt x="277" y="314"/>
                  <a:pt x="278" y="315"/>
                  <a:pt x="278" y="315"/>
                </a:cubicBezTo>
                <a:cubicBezTo>
                  <a:pt x="279" y="316"/>
                  <a:pt x="279" y="316"/>
                  <a:pt x="279" y="316"/>
                </a:cubicBezTo>
                <a:cubicBezTo>
                  <a:pt x="279" y="316"/>
                  <a:pt x="279" y="316"/>
                  <a:pt x="278" y="316"/>
                </a:cubicBezTo>
                <a:cubicBezTo>
                  <a:pt x="278" y="316"/>
                  <a:pt x="277" y="317"/>
                  <a:pt x="276" y="317"/>
                </a:cubicBezTo>
                <a:cubicBezTo>
                  <a:pt x="276" y="317"/>
                  <a:pt x="276" y="316"/>
                  <a:pt x="275" y="317"/>
                </a:cubicBezTo>
                <a:cubicBezTo>
                  <a:pt x="275" y="317"/>
                  <a:pt x="275" y="317"/>
                  <a:pt x="275" y="318"/>
                </a:cubicBezTo>
                <a:cubicBezTo>
                  <a:pt x="275" y="318"/>
                  <a:pt x="275" y="318"/>
                  <a:pt x="275" y="319"/>
                </a:cubicBezTo>
                <a:cubicBezTo>
                  <a:pt x="275" y="319"/>
                  <a:pt x="275" y="319"/>
                  <a:pt x="275" y="319"/>
                </a:cubicBezTo>
                <a:cubicBezTo>
                  <a:pt x="275" y="319"/>
                  <a:pt x="275" y="320"/>
                  <a:pt x="275" y="320"/>
                </a:cubicBezTo>
                <a:cubicBezTo>
                  <a:pt x="275" y="320"/>
                  <a:pt x="275" y="320"/>
                  <a:pt x="276" y="320"/>
                </a:cubicBezTo>
                <a:cubicBezTo>
                  <a:pt x="276" y="320"/>
                  <a:pt x="276" y="320"/>
                  <a:pt x="276" y="320"/>
                </a:cubicBezTo>
                <a:cubicBezTo>
                  <a:pt x="276" y="320"/>
                  <a:pt x="277" y="320"/>
                  <a:pt x="277" y="319"/>
                </a:cubicBezTo>
                <a:cubicBezTo>
                  <a:pt x="277" y="319"/>
                  <a:pt x="278" y="319"/>
                  <a:pt x="278" y="319"/>
                </a:cubicBezTo>
                <a:cubicBezTo>
                  <a:pt x="278" y="319"/>
                  <a:pt x="278" y="319"/>
                  <a:pt x="278" y="320"/>
                </a:cubicBezTo>
                <a:cubicBezTo>
                  <a:pt x="278" y="320"/>
                  <a:pt x="279" y="320"/>
                  <a:pt x="279" y="320"/>
                </a:cubicBezTo>
                <a:cubicBezTo>
                  <a:pt x="279" y="320"/>
                  <a:pt x="280" y="320"/>
                  <a:pt x="280" y="320"/>
                </a:cubicBezTo>
                <a:cubicBezTo>
                  <a:pt x="280" y="321"/>
                  <a:pt x="280" y="321"/>
                  <a:pt x="280" y="321"/>
                </a:cubicBezTo>
                <a:cubicBezTo>
                  <a:pt x="280" y="322"/>
                  <a:pt x="279" y="322"/>
                  <a:pt x="279" y="323"/>
                </a:cubicBezTo>
                <a:cubicBezTo>
                  <a:pt x="278" y="323"/>
                  <a:pt x="278" y="323"/>
                  <a:pt x="278" y="324"/>
                </a:cubicBezTo>
                <a:cubicBezTo>
                  <a:pt x="278" y="324"/>
                  <a:pt x="278" y="324"/>
                  <a:pt x="278" y="324"/>
                </a:cubicBezTo>
                <a:cubicBezTo>
                  <a:pt x="278" y="325"/>
                  <a:pt x="278" y="325"/>
                  <a:pt x="278" y="325"/>
                </a:cubicBezTo>
                <a:cubicBezTo>
                  <a:pt x="278" y="325"/>
                  <a:pt x="278" y="325"/>
                  <a:pt x="279" y="325"/>
                </a:cubicBezTo>
                <a:cubicBezTo>
                  <a:pt x="279" y="326"/>
                  <a:pt x="279" y="326"/>
                  <a:pt x="279" y="326"/>
                </a:cubicBezTo>
                <a:cubicBezTo>
                  <a:pt x="279" y="326"/>
                  <a:pt x="280" y="326"/>
                  <a:pt x="280" y="326"/>
                </a:cubicBezTo>
                <a:cubicBezTo>
                  <a:pt x="280" y="326"/>
                  <a:pt x="281" y="326"/>
                  <a:pt x="281" y="327"/>
                </a:cubicBezTo>
                <a:cubicBezTo>
                  <a:pt x="282" y="328"/>
                  <a:pt x="281" y="330"/>
                  <a:pt x="282" y="331"/>
                </a:cubicBezTo>
                <a:cubicBezTo>
                  <a:pt x="283" y="331"/>
                  <a:pt x="283" y="331"/>
                  <a:pt x="283" y="332"/>
                </a:cubicBezTo>
                <a:cubicBezTo>
                  <a:pt x="284" y="332"/>
                  <a:pt x="285" y="332"/>
                  <a:pt x="285" y="331"/>
                </a:cubicBezTo>
                <a:cubicBezTo>
                  <a:pt x="286" y="331"/>
                  <a:pt x="285" y="330"/>
                  <a:pt x="285" y="328"/>
                </a:cubicBezTo>
                <a:cubicBezTo>
                  <a:pt x="284" y="327"/>
                  <a:pt x="286" y="327"/>
                  <a:pt x="287" y="327"/>
                </a:cubicBezTo>
                <a:cubicBezTo>
                  <a:pt x="286" y="328"/>
                  <a:pt x="286" y="328"/>
                  <a:pt x="286" y="328"/>
                </a:cubicBezTo>
                <a:cubicBezTo>
                  <a:pt x="286" y="329"/>
                  <a:pt x="286" y="329"/>
                  <a:pt x="286" y="329"/>
                </a:cubicBezTo>
                <a:cubicBezTo>
                  <a:pt x="286" y="329"/>
                  <a:pt x="286" y="329"/>
                  <a:pt x="286" y="329"/>
                </a:cubicBezTo>
                <a:cubicBezTo>
                  <a:pt x="286" y="329"/>
                  <a:pt x="287" y="330"/>
                  <a:pt x="286" y="330"/>
                </a:cubicBezTo>
                <a:cubicBezTo>
                  <a:pt x="287" y="330"/>
                  <a:pt x="288" y="330"/>
                  <a:pt x="288" y="330"/>
                </a:cubicBezTo>
                <a:cubicBezTo>
                  <a:pt x="288" y="330"/>
                  <a:pt x="288" y="331"/>
                  <a:pt x="288" y="332"/>
                </a:cubicBezTo>
                <a:cubicBezTo>
                  <a:pt x="288" y="332"/>
                  <a:pt x="289" y="333"/>
                  <a:pt x="290" y="332"/>
                </a:cubicBezTo>
                <a:cubicBezTo>
                  <a:pt x="290" y="332"/>
                  <a:pt x="290" y="331"/>
                  <a:pt x="291" y="331"/>
                </a:cubicBezTo>
                <a:cubicBezTo>
                  <a:pt x="291" y="331"/>
                  <a:pt x="291" y="331"/>
                  <a:pt x="291" y="331"/>
                </a:cubicBezTo>
                <a:cubicBezTo>
                  <a:pt x="292" y="331"/>
                  <a:pt x="292" y="331"/>
                  <a:pt x="292" y="331"/>
                </a:cubicBezTo>
                <a:cubicBezTo>
                  <a:pt x="292" y="332"/>
                  <a:pt x="293" y="332"/>
                  <a:pt x="294" y="333"/>
                </a:cubicBezTo>
                <a:cubicBezTo>
                  <a:pt x="293" y="333"/>
                  <a:pt x="293" y="333"/>
                  <a:pt x="292" y="333"/>
                </a:cubicBezTo>
                <a:cubicBezTo>
                  <a:pt x="291" y="333"/>
                  <a:pt x="291" y="333"/>
                  <a:pt x="290" y="333"/>
                </a:cubicBezTo>
                <a:cubicBezTo>
                  <a:pt x="290" y="333"/>
                  <a:pt x="290" y="333"/>
                  <a:pt x="289" y="334"/>
                </a:cubicBezTo>
                <a:cubicBezTo>
                  <a:pt x="289" y="334"/>
                  <a:pt x="290" y="334"/>
                  <a:pt x="290" y="335"/>
                </a:cubicBezTo>
                <a:cubicBezTo>
                  <a:pt x="290" y="335"/>
                  <a:pt x="289" y="335"/>
                  <a:pt x="289" y="335"/>
                </a:cubicBezTo>
                <a:cubicBezTo>
                  <a:pt x="289" y="334"/>
                  <a:pt x="288" y="334"/>
                  <a:pt x="288" y="334"/>
                </a:cubicBezTo>
                <a:cubicBezTo>
                  <a:pt x="287" y="334"/>
                  <a:pt x="288" y="335"/>
                  <a:pt x="288" y="335"/>
                </a:cubicBezTo>
                <a:cubicBezTo>
                  <a:pt x="288" y="335"/>
                  <a:pt x="288" y="336"/>
                  <a:pt x="288" y="336"/>
                </a:cubicBezTo>
                <a:cubicBezTo>
                  <a:pt x="289" y="337"/>
                  <a:pt x="290" y="335"/>
                  <a:pt x="291" y="336"/>
                </a:cubicBezTo>
                <a:cubicBezTo>
                  <a:pt x="292" y="336"/>
                  <a:pt x="292" y="336"/>
                  <a:pt x="292" y="336"/>
                </a:cubicBezTo>
                <a:cubicBezTo>
                  <a:pt x="293" y="336"/>
                  <a:pt x="293" y="336"/>
                  <a:pt x="294" y="336"/>
                </a:cubicBezTo>
                <a:cubicBezTo>
                  <a:pt x="294" y="336"/>
                  <a:pt x="294" y="336"/>
                  <a:pt x="295" y="337"/>
                </a:cubicBezTo>
                <a:cubicBezTo>
                  <a:pt x="295" y="337"/>
                  <a:pt x="295" y="337"/>
                  <a:pt x="295" y="337"/>
                </a:cubicBezTo>
                <a:cubicBezTo>
                  <a:pt x="295" y="338"/>
                  <a:pt x="296" y="338"/>
                  <a:pt x="296" y="338"/>
                </a:cubicBezTo>
                <a:cubicBezTo>
                  <a:pt x="297" y="338"/>
                  <a:pt x="297" y="337"/>
                  <a:pt x="298" y="337"/>
                </a:cubicBezTo>
                <a:cubicBezTo>
                  <a:pt x="298" y="337"/>
                  <a:pt x="299" y="338"/>
                  <a:pt x="299" y="338"/>
                </a:cubicBezTo>
                <a:cubicBezTo>
                  <a:pt x="300" y="338"/>
                  <a:pt x="301" y="338"/>
                  <a:pt x="301" y="337"/>
                </a:cubicBezTo>
                <a:cubicBezTo>
                  <a:pt x="301" y="337"/>
                  <a:pt x="301" y="336"/>
                  <a:pt x="301" y="336"/>
                </a:cubicBezTo>
                <a:cubicBezTo>
                  <a:pt x="301" y="335"/>
                  <a:pt x="302" y="335"/>
                  <a:pt x="302" y="334"/>
                </a:cubicBezTo>
                <a:cubicBezTo>
                  <a:pt x="302" y="334"/>
                  <a:pt x="302" y="334"/>
                  <a:pt x="302" y="333"/>
                </a:cubicBezTo>
                <a:cubicBezTo>
                  <a:pt x="302" y="333"/>
                  <a:pt x="302" y="333"/>
                  <a:pt x="302" y="333"/>
                </a:cubicBezTo>
                <a:cubicBezTo>
                  <a:pt x="303" y="333"/>
                  <a:pt x="303" y="333"/>
                  <a:pt x="303" y="334"/>
                </a:cubicBezTo>
                <a:cubicBezTo>
                  <a:pt x="303" y="334"/>
                  <a:pt x="303" y="334"/>
                  <a:pt x="303" y="335"/>
                </a:cubicBezTo>
                <a:cubicBezTo>
                  <a:pt x="303" y="335"/>
                  <a:pt x="304" y="336"/>
                  <a:pt x="304" y="336"/>
                </a:cubicBezTo>
                <a:cubicBezTo>
                  <a:pt x="303" y="337"/>
                  <a:pt x="302" y="337"/>
                  <a:pt x="302" y="337"/>
                </a:cubicBezTo>
                <a:cubicBezTo>
                  <a:pt x="302" y="338"/>
                  <a:pt x="303" y="338"/>
                  <a:pt x="303" y="338"/>
                </a:cubicBezTo>
                <a:cubicBezTo>
                  <a:pt x="304" y="338"/>
                  <a:pt x="304" y="337"/>
                  <a:pt x="304" y="337"/>
                </a:cubicBezTo>
                <a:cubicBezTo>
                  <a:pt x="305" y="336"/>
                  <a:pt x="306" y="335"/>
                  <a:pt x="307" y="334"/>
                </a:cubicBezTo>
                <a:cubicBezTo>
                  <a:pt x="307" y="335"/>
                  <a:pt x="307" y="335"/>
                  <a:pt x="306" y="336"/>
                </a:cubicBezTo>
                <a:cubicBezTo>
                  <a:pt x="306" y="336"/>
                  <a:pt x="305" y="337"/>
                  <a:pt x="305" y="337"/>
                </a:cubicBezTo>
                <a:cubicBezTo>
                  <a:pt x="306" y="338"/>
                  <a:pt x="306" y="338"/>
                  <a:pt x="307" y="338"/>
                </a:cubicBezTo>
                <a:cubicBezTo>
                  <a:pt x="308" y="339"/>
                  <a:pt x="308" y="339"/>
                  <a:pt x="308" y="339"/>
                </a:cubicBezTo>
                <a:cubicBezTo>
                  <a:pt x="308" y="338"/>
                  <a:pt x="308" y="338"/>
                  <a:pt x="308" y="338"/>
                </a:cubicBezTo>
                <a:cubicBezTo>
                  <a:pt x="309" y="338"/>
                  <a:pt x="309" y="337"/>
                  <a:pt x="309" y="337"/>
                </a:cubicBezTo>
                <a:cubicBezTo>
                  <a:pt x="310" y="337"/>
                  <a:pt x="310" y="337"/>
                  <a:pt x="310" y="338"/>
                </a:cubicBezTo>
                <a:cubicBezTo>
                  <a:pt x="311" y="338"/>
                  <a:pt x="311" y="338"/>
                  <a:pt x="311" y="338"/>
                </a:cubicBezTo>
                <a:cubicBezTo>
                  <a:pt x="311" y="339"/>
                  <a:pt x="310" y="339"/>
                  <a:pt x="310" y="339"/>
                </a:cubicBezTo>
                <a:cubicBezTo>
                  <a:pt x="309" y="339"/>
                  <a:pt x="309" y="340"/>
                  <a:pt x="309" y="340"/>
                </a:cubicBezTo>
                <a:cubicBezTo>
                  <a:pt x="310" y="340"/>
                  <a:pt x="310" y="340"/>
                  <a:pt x="310" y="341"/>
                </a:cubicBezTo>
                <a:cubicBezTo>
                  <a:pt x="310" y="341"/>
                  <a:pt x="310" y="341"/>
                  <a:pt x="310" y="342"/>
                </a:cubicBezTo>
                <a:cubicBezTo>
                  <a:pt x="310" y="342"/>
                  <a:pt x="310" y="343"/>
                  <a:pt x="309" y="343"/>
                </a:cubicBezTo>
                <a:cubicBezTo>
                  <a:pt x="309" y="344"/>
                  <a:pt x="308" y="344"/>
                  <a:pt x="308" y="345"/>
                </a:cubicBezTo>
                <a:cubicBezTo>
                  <a:pt x="307" y="345"/>
                  <a:pt x="307" y="345"/>
                  <a:pt x="307" y="345"/>
                </a:cubicBezTo>
                <a:cubicBezTo>
                  <a:pt x="306" y="345"/>
                  <a:pt x="305" y="345"/>
                  <a:pt x="305" y="344"/>
                </a:cubicBezTo>
                <a:cubicBezTo>
                  <a:pt x="305" y="344"/>
                  <a:pt x="305" y="343"/>
                  <a:pt x="305" y="342"/>
                </a:cubicBezTo>
                <a:cubicBezTo>
                  <a:pt x="306" y="342"/>
                  <a:pt x="306" y="342"/>
                  <a:pt x="306" y="342"/>
                </a:cubicBezTo>
                <a:cubicBezTo>
                  <a:pt x="306" y="342"/>
                  <a:pt x="306" y="341"/>
                  <a:pt x="305" y="341"/>
                </a:cubicBezTo>
                <a:cubicBezTo>
                  <a:pt x="305" y="341"/>
                  <a:pt x="305" y="340"/>
                  <a:pt x="304" y="340"/>
                </a:cubicBezTo>
                <a:cubicBezTo>
                  <a:pt x="303" y="340"/>
                  <a:pt x="302" y="341"/>
                  <a:pt x="302" y="341"/>
                </a:cubicBezTo>
                <a:cubicBezTo>
                  <a:pt x="302" y="342"/>
                  <a:pt x="301" y="342"/>
                  <a:pt x="301" y="342"/>
                </a:cubicBezTo>
                <a:cubicBezTo>
                  <a:pt x="301" y="343"/>
                  <a:pt x="301" y="343"/>
                  <a:pt x="301" y="343"/>
                </a:cubicBezTo>
                <a:cubicBezTo>
                  <a:pt x="300" y="343"/>
                  <a:pt x="300" y="343"/>
                  <a:pt x="300" y="343"/>
                </a:cubicBezTo>
                <a:cubicBezTo>
                  <a:pt x="299" y="344"/>
                  <a:pt x="299" y="345"/>
                  <a:pt x="298" y="345"/>
                </a:cubicBezTo>
                <a:cubicBezTo>
                  <a:pt x="298" y="344"/>
                  <a:pt x="299" y="344"/>
                  <a:pt x="299" y="343"/>
                </a:cubicBezTo>
                <a:cubicBezTo>
                  <a:pt x="300" y="342"/>
                  <a:pt x="300" y="341"/>
                  <a:pt x="299" y="340"/>
                </a:cubicBezTo>
                <a:cubicBezTo>
                  <a:pt x="299" y="340"/>
                  <a:pt x="299" y="340"/>
                  <a:pt x="299" y="340"/>
                </a:cubicBezTo>
                <a:cubicBezTo>
                  <a:pt x="299" y="340"/>
                  <a:pt x="299" y="340"/>
                  <a:pt x="299" y="340"/>
                </a:cubicBezTo>
                <a:cubicBezTo>
                  <a:pt x="297" y="339"/>
                  <a:pt x="295" y="339"/>
                  <a:pt x="294" y="338"/>
                </a:cubicBezTo>
                <a:cubicBezTo>
                  <a:pt x="294" y="338"/>
                  <a:pt x="294" y="337"/>
                  <a:pt x="294" y="337"/>
                </a:cubicBezTo>
                <a:cubicBezTo>
                  <a:pt x="293" y="337"/>
                  <a:pt x="293" y="337"/>
                  <a:pt x="292" y="337"/>
                </a:cubicBezTo>
                <a:cubicBezTo>
                  <a:pt x="292" y="337"/>
                  <a:pt x="292" y="337"/>
                  <a:pt x="291" y="337"/>
                </a:cubicBezTo>
                <a:cubicBezTo>
                  <a:pt x="291" y="338"/>
                  <a:pt x="291" y="338"/>
                  <a:pt x="290" y="339"/>
                </a:cubicBezTo>
                <a:cubicBezTo>
                  <a:pt x="291" y="338"/>
                  <a:pt x="291" y="338"/>
                  <a:pt x="292" y="338"/>
                </a:cubicBezTo>
                <a:cubicBezTo>
                  <a:pt x="292" y="339"/>
                  <a:pt x="290" y="339"/>
                  <a:pt x="290" y="340"/>
                </a:cubicBezTo>
                <a:cubicBezTo>
                  <a:pt x="290" y="341"/>
                  <a:pt x="290" y="341"/>
                  <a:pt x="290" y="342"/>
                </a:cubicBezTo>
                <a:cubicBezTo>
                  <a:pt x="290" y="342"/>
                  <a:pt x="289" y="342"/>
                  <a:pt x="289" y="343"/>
                </a:cubicBezTo>
                <a:cubicBezTo>
                  <a:pt x="288" y="343"/>
                  <a:pt x="288" y="343"/>
                  <a:pt x="287" y="344"/>
                </a:cubicBezTo>
                <a:cubicBezTo>
                  <a:pt x="287" y="344"/>
                  <a:pt x="287" y="345"/>
                  <a:pt x="286" y="345"/>
                </a:cubicBezTo>
                <a:cubicBezTo>
                  <a:pt x="286" y="345"/>
                  <a:pt x="286" y="345"/>
                  <a:pt x="285" y="345"/>
                </a:cubicBezTo>
                <a:cubicBezTo>
                  <a:pt x="285" y="345"/>
                  <a:pt x="285" y="346"/>
                  <a:pt x="285" y="346"/>
                </a:cubicBezTo>
                <a:cubicBezTo>
                  <a:pt x="285" y="347"/>
                  <a:pt x="286" y="347"/>
                  <a:pt x="286" y="347"/>
                </a:cubicBezTo>
                <a:cubicBezTo>
                  <a:pt x="287" y="348"/>
                  <a:pt x="288" y="347"/>
                  <a:pt x="288" y="347"/>
                </a:cubicBezTo>
                <a:cubicBezTo>
                  <a:pt x="289" y="346"/>
                  <a:pt x="290" y="346"/>
                  <a:pt x="290" y="347"/>
                </a:cubicBezTo>
                <a:cubicBezTo>
                  <a:pt x="291" y="347"/>
                  <a:pt x="290" y="347"/>
                  <a:pt x="290" y="348"/>
                </a:cubicBezTo>
                <a:cubicBezTo>
                  <a:pt x="289" y="348"/>
                  <a:pt x="289" y="348"/>
                  <a:pt x="289" y="349"/>
                </a:cubicBezTo>
                <a:cubicBezTo>
                  <a:pt x="289" y="349"/>
                  <a:pt x="289" y="350"/>
                  <a:pt x="289" y="350"/>
                </a:cubicBezTo>
                <a:cubicBezTo>
                  <a:pt x="292" y="353"/>
                  <a:pt x="296" y="354"/>
                  <a:pt x="297" y="357"/>
                </a:cubicBezTo>
                <a:cubicBezTo>
                  <a:pt x="298" y="358"/>
                  <a:pt x="298" y="359"/>
                  <a:pt x="298" y="359"/>
                </a:cubicBezTo>
                <a:cubicBezTo>
                  <a:pt x="299" y="359"/>
                  <a:pt x="299" y="359"/>
                  <a:pt x="299" y="359"/>
                </a:cubicBezTo>
                <a:cubicBezTo>
                  <a:pt x="300" y="359"/>
                  <a:pt x="300" y="360"/>
                  <a:pt x="301" y="360"/>
                </a:cubicBezTo>
                <a:cubicBezTo>
                  <a:pt x="301" y="360"/>
                  <a:pt x="301" y="361"/>
                  <a:pt x="301" y="361"/>
                </a:cubicBezTo>
                <a:cubicBezTo>
                  <a:pt x="301" y="361"/>
                  <a:pt x="301" y="361"/>
                  <a:pt x="300" y="361"/>
                </a:cubicBezTo>
                <a:cubicBezTo>
                  <a:pt x="300" y="361"/>
                  <a:pt x="300" y="362"/>
                  <a:pt x="300" y="362"/>
                </a:cubicBezTo>
                <a:cubicBezTo>
                  <a:pt x="301" y="362"/>
                  <a:pt x="301" y="363"/>
                  <a:pt x="301" y="363"/>
                </a:cubicBezTo>
                <a:cubicBezTo>
                  <a:pt x="301" y="364"/>
                  <a:pt x="301" y="364"/>
                  <a:pt x="301" y="364"/>
                </a:cubicBezTo>
                <a:cubicBezTo>
                  <a:pt x="302" y="364"/>
                  <a:pt x="302" y="365"/>
                  <a:pt x="302" y="365"/>
                </a:cubicBezTo>
                <a:cubicBezTo>
                  <a:pt x="308" y="367"/>
                  <a:pt x="315" y="365"/>
                  <a:pt x="319" y="360"/>
                </a:cubicBezTo>
                <a:cubicBezTo>
                  <a:pt x="319" y="361"/>
                  <a:pt x="320" y="361"/>
                  <a:pt x="321" y="361"/>
                </a:cubicBezTo>
                <a:cubicBezTo>
                  <a:pt x="322" y="360"/>
                  <a:pt x="322" y="359"/>
                  <a:pt x="322" y="359"/>
                </a:cubicBezTo>
                <a:cubicBezTo>
                  <a:pt x="323" y="357"/>
                  <a:pt x="323" y="356"/>
                  <a:pt x="322" y="355"/>
                </a:cubicBezTo>
                <a:cubicBezTo>
                  <a:pt x="321" y="354"/>
                  <a:pt x="320" y="354"/>
                  <a:pt x="320" y="354"/>
                </a:cubicBezTo>
                <a:cubicBezTo>
                  <a:pt x="320" y="352"/>
                  <a:pt x="322" y="351"/>
                  <a:pt x="322" y="350"/>
                </a:cubicBezTo>
                <a:cubicBezTo>
                  <a:pt x="323" y="349"/>
                  <a:pt x="323" y="348"/>
                  <a:pt x="323" y="347"/>
                </a:cubicBezTo>
                <a:cubicBezTo>
                  <a:pt x="324" y="347"/>
                  <a:pt x="324" y="346"/>
                  <a:pt x="324" y="345"/>
                </a:cubicBezTo>
                <a:cubicBezTo>
                  <a:pt x="324" y="345"/>
                  <a:pt x="324" y="344"/>
                  <a:pt x="325" y="344"/>
                </a:cubicBezTo>
                <a:cubicBezTo>
                  <a:pt x="325" y="344"/>
                  <a:pt x="326" y="344"/>
                  <a:pt x="326" y="343"/>
                </a:cubicBezTo>
                <a:cubicBezTo>
                  <a:pt x="326" y="343"/>
                  <a:pt x="327" y="343"/>
                  <a:pt x="327" y="342"/>
                </a:cubicBezTo>
                <a:cubicBezTo>
                  <a:pt x="327" y="342"/>
                  <a:pt x="327" y="342"/>
                  <a:pt x="327" y="342"/>
                </a:cubicBezTo>
                <a:cubicBezTo>
                  <a:pt x="327" y="342"/>
                  <a:pt x="328" y="343"/>
                  <a:pt x="328" y="342"/>
                </a:cubicBezTo>
                <a:cubicBezTo>
                  <a:pt x="329" y="342"/>
                  <a:pt x="329" y="342"/>
                  <a:pt x="330" y="342"/>
                </a:cubicBezTo>
                <a:cubicBezTo>
                  <a:pt x="329" y="344"/>
                  <a:pt x="327" y="345"/>
                  <a:pt x="326" y="346"/>
                </a:cubicBezTo>
                <a:cubicBezTo>
                  <a:pt x="325" y="348"/>
                  <a:pt x="325" y="349"/>
                  <a:pt x="324" y="350"/>
                </a:cubicBezTo>
                <a:cubicBezTo>
                  <a:pt x="324" y="351"/>
                  <a:pt x="323" y="352"/>
                  <a:pt x="323" y="353"/>
                </a:cubicBezTo>
                <a:cubicBezTo>
                  <a:pt x="324" y="354"/>
                  <a:pt x="325" y="354"/>
                  <a:pt x="326" y="355"/>
                </a:cubicBezTo>
                <a:cubicBezTo>
                  <a:pt x="327" y="357"/>
                  <a:pt x="325" y="359"/>
                  <a:pt x="326" y="361"/>
                </a:cubicBezTo>
                <a:cubicBezTo>
                  <a:pt x="326" y="361"/>
                  <a:pt x="327" y="361"/>
                  <a:pt x="327" y="362"/>
                </a:cubicBezTo>
                <a:cubicBezTo>
                  <a:pt x="327" y="362"/>
                  <a:pt x="327" y="362"/>
                  <a:pt x="327" y="363"/>
                </a:cubicBezTo>
                <a:cubicBezTo>
                  <a:pt x="329" y="366"/>
                  <a:pt x="330" y="369"/>
                  <a:pt x="332" y="372"/>
                </a:cubicBezTo>
                <a:cubicBezTo>
                  <a:pt x="332" y="372"/>
                  <a:pt x="332" y="373"/>
                  <a:pt x="332" y="374"/>
                </a:cubicBezTo>
                <a:cubicBezTo>
                  <a:pt x="332" y="374"/>
                  <a:pt x="331" y="374"/>
                  <a:pt x="331" y="374"/>
                </a:cubicBezTo>
                <a:cubicBezTo>
                  <a:pt x="331" y="374"/>
                  <a:pt x="331" y="375"/>
                  <a:pt x="331" y="375"/>
                </a:cubicBezTo>
                <a:cubicBezTo>
                  <a:pt x="330" y="375"/>
                  <a:pt x="330" y="375"/>
                  <a:pt x="329" y="376"/>
                </a:cubicBezTo>
                <a:cubicBezTo>
                  <a:pt x="329" y="376"/>
                  <a:pt x="329" y="377"/>
                  <a:pt x="329" y="377"/>
                </a:cubicBezTo>
                <a:cubicBezTo>
                  <a:pt x="329" y="378"/>
                  <a:pt x="329" y="379"/>
                  <a:pt x="329" y="379"/>
                </a:cubicBezTo>
                <a:cubicBezTo>
                  <a:pt x="329" y="380"/>
                  <a:pt x="329" y="380"/>
                  <a:pt x="328" y="380"/>
                </a:cubicBezTo>
                <a:cubicBezTo>
                  <a:pt x="328" y="381"/>
                  <a:pt x="328" y="381"/>
                  <a:pt x="328" y="381"/>
                </a:cubicBezTo>
                <a:cubicBezTo>
                  <a:pt x="329" y="381"/>
                  <a:pt x="329" y="381"/>
                  <a:pt x="329" y="382"/>
                </a:cubicBezTo>
                <a:cubicBezTo>
                  <a:pt x="329" y="382"/>
                  <a:pt x="329" y="383"/>
                  <a:pt x="329" y="383"/>
                </a:cubicBezTo>
                <a:cubicBezTo>
                  <a:pt x="329" y="384"/>
                  <a:pt x="330" y="383"/>
                  <a:pt x="330" y="383"/>
                </a:cubicBezTo>
                <a:cubicBezTo>
                  <a:pt x="330" y="383"/>
                  <a:pt x="331" y="383"/>
                  <a:pt x="331" y="383"/>
                </a:cubicBezTo>
                <a:cubicBezTo>
                  <a:pt x="331" y="383"/>
                  <a:pt x="332" y="383"/>
                  <a:pt x="332" y="383"/>
                </a:cubicBezTo>
                <a:cubicBezTo>
                  <a:pt x="333" y="383"/>
                  <a:pt x="333" y="383"/>
                  <a:pt x="334" y="383"/>
                </a:cubicBezTo>
                <a:cubicBezTo>
                  <a:pt x="334" y="384"/>
                  <a:pt x="333" y="384"/>
                  <a:pt x="333" y="385"/>
                </a:cubicBezTo>
                <a:cubicBezTo>
                  <a:pt x="332" y="385"/>
                  <a:pt x="332" y="385"/>
                  <a:pt x="332" y="385"/>
                </a:cubicBezTo>
                <a:cubicBezTo>
                  <a:pt x="332" y="385"/>
                  <a:pt x="332" y="385"/>
                  <a:pt x="331" y="385"/>
                </a:cubicBezTo>
                <a:cubicBezTo>
                  <a:pt x="331" y="385"/>
                  <a:pt x="331" y="385"/>
                  <a:pt x="331" y="386"/>
                </a:cubicBezTo>
                <a:cubicBezTo>
                  <a:pt x="331" y="386"/>
                  <a:pt x="331" y="387"/>
                  <a:pt x="331" y="388"/>
                </a:cubicBezTo>
                <a:cubicBezTo>
                  <a:pt x="331" y="388"/>
                  <a:pt x="331" y="389"/>
                  <a:pt x="331" y="389"/>
                </a:cubicBezTo>
                <a:cubicBezTo>
                  <a:pt x="331" y="389"/>
                  <a:pt x="331" y="389"/>
                  <a:pt x="331" y="390"/>
                </a:cubicBezTo>
                <a:cubicBezTo>
                  <a:pt x="331" y="390"/>
                  <a:pt x="332" y="390"/>
                  <a:pt x="332" y="390"/>
                </a:cubicBezTo>
                <a:cubicBezTo>
                  <a:pt x="332" y="390"/>
                  <a:pt x="332" y="390"/>
                  <a:pt x="332" y="390"/>
                </a:cubicBezTo>
                <a:cubicBezTo>
                  <a:pt x="332" y="390"/>
                  <a:pt x="332" y="390"/>
                  <a:pt x="333" y="390"/>
                </a:cubicBezTo>
                <a:cubicBezTo>
                  <a:pt x="333" y="389"/>
                  <a:pt x="333" y="389"/>
                  <a:pt x="334" y="389"/>
                </a:cubicBezTo>
                <a:cubicBezTo>
                  <a:pt x="334" y="389"/>
                  <a:pt x="334" y="389"/>
                  <a:pt x="334" y="390"/>
                </a:cubicBezTo>
                <a:cubicBezTo>
                  <a:pt x="334" y="390"/>
                  <a:pt x="334" y="390"/>
                  <a:pt x="334" y="390"/>
                </a:cubicBezTo>
                <a:cubicBezTo>
                  <a:pt x="333" y="390"/>
                  <a:pt x="333" y="390"/>
                  <a:pt x="333" y="390"/>
                </a:cubicBezTo>
                <a:cubicBezTo>
                  <a:pt x="333" y="391"/>
                  <a:pt x="333" y="391"/>
                  <a:pt x="333" y="391"/>
                </a:cubicBezTo>
                <a:cubicBezTo>
                  <a:pt x="333" y="391"/>
                  <a:pt x="332" y="391"/>
                  <a:pt x="332" y="392"/>
                </a:cubicBezTo>
                <a:cubicBezTo>
                  <a:pt x="332" y="392"/>
                  <a:pt x="332" y="392"/>
                  <a:pt x="332" y="392"/>
                </a:cubicBezTo>
                <a:cubicBezTo>
                  <a:pt x="332" y="392"/>
                  <a:pt x="332" y="392"/>
                  <a:pt x="331" y="392"/>
                </a:cubicBezTo>
                <a:cubicBezTo>
                  <a:pt x="331" y="392"/>
                  <a:pt x="330" y="392"/>
                  <a:pt x="330" y="393"/>
                </a:cubicBezTo>
                <a:cubicBezTo>
                  <a:pt x="331" y="393"/>
                  <a:pt x="331" y="393"/>
                  <a:pt x="331" y="393"/>
                </a:cubicBezTo>
                <a:cubicBezTo>
                  <a:pt x="331" y="394"/>
                  <a:pt x="331" y="394"/>
                  <a:pt x="330" y="394"/>
                </a:cubicBezTo>
                <a:cubicBezTo>
                  <a:pt x="330" y="394"/>
                  <a:pt x="330" y="394"/>
                  <a:pt x="329" y="394"/>
                </a:cubicBezTo>
                <a:cubicBezTo>
                  <a:pt x="329" y="394"/>
                  <a:pt x="329" y="394"/>
                  <a:pt x="329" y="394"/>
                </a:cubicBezTo>
                <a:cubicBezTo>
                  <a:pt x="328" y="394"/>
                  <a:pt x="328" y="394"/>
                  <a:pt x="327" y="394"/>
                </a:cubicBezTo>
                <a:cubicBezTo>
                  <a:pt x="327" y="394"/>
                  <a:pt x="327" y="394"/>
                  <a:pt x="327" y="394"/>
                </a:cubicBezTo>
                <a:cubicBezTo>
                  <a:pt x="327" y="394"/>
                  <a:pt x="327" y="395"/>
                  <a:pt x="328" y="395"/>
                </a:cubicBezTo>
                <a:cubicBezTo>
                  <a:pt x="329" y="395"/>
                  <a:pt x="330" y="395"/>
                  <a:pt x="330" y="395"/>
                </a:cubicBezTo>
                <a:cubicBezTo>
                  <a:pt x="331" y="395"/>
                  <a:pt x="331" y="395"/>
                  <a:pt x="331" y="395"/>
                </a:cubicBezTo>
                <a:cubicBezTo>
                  <a:pt x="331" y="395"/>
                  <a:pt x="331" y="396"/>
                  <a:pt x="331" y="396"/>
                </a:cubicBezTo>
                <a:cubicBezTo>
                  <a:pt x="331" y="396"/>
                  <a:pt x="331" y="396"/>
                  <a:pt x="332" y="397"/>
                </a:cubicBezTo>
                <a:cubicBezTo>
                  <a:pt x="332" y="397"/>
                  <a:pt x="332" y="396"/>
                  <a:pt x="333" y="396"/>
                </a:cubicBezTo>
                <a:cubicBezTo>
                  <a:pt x="334" y="395"/>
                  <a:pt x="336" y="395"/>
                  <a:pt x="336" y="394"/>
                </a:cubicBezTo>
                <a:cubicBezTo>
                  <a:pt x="337" y="393"/>
                  <a:pt x="337" y="393"/>
                  <a:pt x="337" y="392"/>
                </a:cubicBezTo>
                <a:cubicBezTo>
                  <a:pt x="338" y="392"/>
                  <a:pt x="338" y="391"/>
                  <a:pt x="339" y="390"/>
                </a:cubicBezTo>
                <a:cubicBezTo>
                  <a:pt x="339" y="390"/>
                  <a:pt x="339" y="390"/>
                  <a:pt x="339" y="390"/>
                </a:cubicBezTo>
                <a:cubicBezTo>
                  <a:pt x="340" y="390"/>
                  <a:pt x="340" y="390"/>
                  <a:pt x="340" y="390"/>
                </a:cubicBezTo>
                <a:cubicBezTo>
                  <a:pt x="340" y="391"/>
                  <a:pt x="341" y="390"/>
                  <a:pt x="341" y="390"/>
                </a:cubicBezTo>
                <a:cubicBezTo>
                  <a:pt x="342" y="389"/>
                  <a:pt x="342" y="389"/>
                  <a:pt x="343" y="389"/>
                </a:cubicBezTo>
                <a:cubicBezTo>
                  <a:pt x="343" y="389"/>
                  <a:pt x="343" y="389"/>
                  <a:pt x="343" y="389"/>
                </a:cubicBezTo>
                <a:cubicBezTo>
                  <a:pt x="343" y="389"/>
                  <a:pt x="344" y="389"/>
                  <a:pt x="344" y="389"/>
                </a:cubicBezTo>
                <a:cubicBezTo>
                  <a:pt x="346" y="387"/>
                  <a:pt x="348" y="386"/>
                  <a:pt x="350" y="384"/>
                </a:cubicBezTo>
                <a:cubicBezTo>
                  <a:pt x="350" y="385"/>
                  <a:pt x="350" y="385"/>
                  <a:pt x="351" y="386"/>
                </a:cubicBezTo>
                <a:cubicBezTo>
                  <a:pt x="350" y="386"/>
                  <a:pt x="350" y="386"/>
                  <a:pt x="350" y="387"/>
                </a:cubicBezTo>
                <a:cubicBezTo>
                  <a:pt x="350" y="387"/>
                  <a:pt x="350" y="387"/>
                  <a:pt x="351" y="387"/>
                </a:cubicBezTo>
                <a:cubicBezTo>
                  <a:pt x="351" y="387"/>
                  <a:pt x="351" y="388"/>
                  <a:pt x="351" y="388"/>
                </a:cubicBezTo>
                <a:cubicBezTo>
                  <a:pt x="352" y="388"/>
                  <a:pt x="352" y="388"/>
                  <a:pt x="352" y="388"/>
                </a:cubicBezTo>
                <a:cubicBezTo>
                  <a:pt x="352" y="388"/>
                  <a:pt x="353" y="389"/>
                  <a:pt x="353" y="389"/>
                </a:cubicBezTo>
                <a:cubicBezTo>
                  <a:pt x="353" y="389"/>
                  <a:pt x="354" y="389"/>
                  <a:pt x="354" y="389"/>
                </a:cubicBezTo>
                <a:cubicBezTo>
                  <a:pt x="354" y="388"/>
                  <a:pt x="354" y="388"/>
                  <a:pt x="355" y="388"/>
                </a:cubicBezTo>
                <a:cubicBezTo>
                  <a:pt x="355" y="389"/>
                  <a:pt x="355" y="389"/>
                  <a:pt x="355" y="389"/>
                </a:cubicBezTo>
                <a:cubicBezTo>
                  <a:pt x="355" y="389"/>
                  <a:pt x="355" y="390"/>
                  <a:pt x="355" y="390"/>
                </a:cubicBezTo>
                <a:cubicBezTo>
                  <a:pt x="355" y="391"/>
                  <a:pt x="356" y="391"/>
                  <a:pt x="356" y="391"/>
                </a:cubicBezTo>
                <a:cubicBezTo>
                  <a:pt x="356" y="391"/>
                  <a:pt x="356" y="390"/>
                  <a:pt x="356" y="390"/>
                </a:cubicBezTo>
                <a:cubicBezTo>
                  <a:pt x="357" y="389"/>
                  <a:pt x="357" y="389"/>
                  <a:pt x="357" y="388"/>
                </a:cubicBezTo>
                <a:cubicBezTo>
                  <a:pt x="358" y="388"/>
                  <a:pt x="357" y="388"/>
                  <a:pt x="357" y="388"/>
                </a:cubicBezTo>
                <a:cubicBezTo>
                  <a:pt x="357" y="387"/>
                  <a:pt x="358" y="387"/>
                  <a:pt x="359" y="387"/>
                </a:cubicBezTo>
                <a:cubicBezTo>
                  <a:pt x="359" y="387"/>
                  <a:pt x="360" y="388"/>
                  <a:pt x="359" y="388"/>
                </a:cubicBezTo>
                <a:cubicBezTo>
                  <a:pt x="359" y="388"/>
                  <a:pt x="359" y="389"/>
                  <a:pt x="359" y="389"/>
                </a:cubicBezTo>
                <a:cubicBezTo>
                  <a:pt x="359" y="390"/>
                  <a:pt x="360" y="390"/>
                  <a:pt x="360" y="390"/>
                </a:cubicBezTo>
                <a:cubicBezTo>
                  <a:pt x="361" y="390"/>
                  <a:pt x="361" y="390"/>
                  <a:pt x="362" y="391"/>
                </a:cubicBezTo>
                <a:cubicBezTo>
                  <a:pt x="363" y="391"/>
                  <a:pt x="363" y="394"/>
                  <a:pt x="364" y="395"/>
                </a:cubicBezTo>
                <a:cubicBezTo>
                  <a:pt x="365" y="396"/>
                  <a:pt x="365" y="397"/>
                  <a:pt x="366" y="398"/>
                </a:cubicBezTo>
                <a:cubicBezTo>
                  <a:pt x="366" y="399"/>
                  <a:pt x="366" y="399"/>
                  <a:pt x="366" y="399"/>
                </a:cubicBezTo>
                <a:cubicBezTo>
                  <a:pt x="367" y="400"/>
                  <a:pt x="368" y="400"/>
                  <a:pt x="368" y="400"/>
                </a:cubicBezTo>
                <a:cubicBezTo>
                  <a:pt x="369" y="400"/>
                  <a:pt x="370" y="400"/>
                  <a:pt x="370" y="399"/>
                </a:cubicBezTo>
                <a:cubicBezTo>
                  <a:pt x="371" y="399"/>
                  <a:pt x="371" y="399"/>
                  <a:pt x="371" y="399"/>
                </a:cubicBezTo>
                <a:cubicBezTo>
                  <a:pt x="371" y="399"/>
                  <a:pt x="371" y="398"/>
                  <a:pt x="371" y="398"/>
                </a:cubicBezTo>
                <a:cubicBezTo>
                  <a:pt x="370" y="397"/>
                  <a:pt x="370" y="396"/>
                  <a:pt x="370" y="396"/>
                </a:cubicBezTo>
                <a:cubicBezTo>
                  <a:pt x="369" y="395"/>
                  <a:pt x="368" y="394"/>
                  <a:pt x="369" y="393"/>
                </a:cubicBezTo>
                <a:cubicBezTo>
                  <a:pt x="369" y="393"/>
                  <a:pt x="369" y="392"/>
                  <a:pt x="370" y="392"/>
                </a:cubicBezTo>
                <a:cubicBezTo>
                  <a:pt x="370" y="391"/>
                  <a:pt x="370" y="390"/>
                  <a:pt x="370" y="389"/>
                </a:cubicBezTo>
                <a:cubicBezTo>
                  <a:pt x="370" y="389"/>
                  <a:pt x="371" y="389"/>
                  <a:pt x="371" y="389"/>
                </a:cubicBezTo>
                <a:cubicBezTo>
                  <a:pt x="372" y="388"/>
                  <a:pt x="373" y="387"/>
                  <a:pt x="374" y="385"/>
                </a:cubicBezTo>
                <a:cubicBezTo>
                  <a:pt x="374" y="385"/>
                  <a:pt x="374" y="385"/>
                  <a:pt x="374" y="384"/>
                </a:cubicBezTo>
                <a:cubicBezTo>
                  <a:pt x="375" y="384"/>
                  <a:pt x="375" y="384"/>
                  <a:pt x="375" y="384"/>
                </a:cubicBezTo>
                <a:cubicBezTo>
                  <a:pt x="376" y="384"/>
                  <a:pt x="376" y="384"/>
                  <a:pt x="376" y="385"/>
                </a:cubicBezTo>
                <a:cubicBezTo>
                  <a:pt x="377" y="385"/>
                  <a:pt x="377" y="385"/>
                  <a:pt x="378" y="385"/>
                </a:cubicBezTo>
                <a:cubicBezTo>
                  <a:pt x="378" y="385"/>
                  <a:pt x="379" y="386"/>
                  <a:pt x="379" y="386"/>
                </a:cubicBezTo>
                <a:cubicBezTo>
                  <a:pt x="379" y="387"/>
                  <a:pt x="380" y="387"/>
                  <a:pt x="381" y="387"/>
                </a:cubicBezTo>
                <a:cubicBezTo>
                  <a:pt x="381" y="387"/>
                  <a:pt x="381" y="388"/>
                  <a:pt x="380" y="388"/>
                </a:cubicBezTo>
                <a:cubicBezTo>
                  <a:pt x="380" y="388"/>
                  <a:pt x="380" y="388"/>
                  <a:pt x="380" y="388"/>
                </a:cubicBezTo>
                <a:cubicBezTo>
                  <a:pt x="380" y="389"/>
                  <a:pt x="380" y="389"/>
                  <a:pt x="380" y="389"/>
                </a:cubicBezTo>
                <a:cubicBezTo>
                  <a:pt x="380" y="389"/>
                  <a:pt x="380" y="389"/>
                  <a:pt x="380" y="388"/>
                </a:cubicBezTo>
                <a:cubicBezTo>
                  <a:pt x="379" y="388"/>
                  <a:pt x="379" y="387"/>
                  <a:pt x="378" y="386"/>
                </a:cubicBezTo>
                <a:cubicBezTo>
                  <a:pt x="378" y="386"/>
                  <a:pt x="377" y="385"/>
                  <a:pt x="376" y="385"/>
                </a:cubicBezTo>
                <a:cubicBezTo>
                  <a:pt x="376" y="385"/>
                  <a:pt x="375" y="385"/>
                  <a:pt x="374" y="386"/>
                </a:cubicBezTo>
                <a:cubicBezTo>
                  <a:pt x="374" y="386"/>
                  <a:pt x="374" y="387"/>
                  <a:pt x="374" y="388"/>
                </a:cubicBezTo>
                <a:cubicBezTo>
                  <a:pt x="374" y="388"/>
                  <a:pt x="373" y="389"/>
                  <a:pt x="373" y="389"/>
                </a:cubicBezTo>
                <a:cubicBezTo>
                  <a:pt x="373" y="390"/>
                  <a:pt x="373" y="390"/>
                  <a:pt x="373" y="391"/>
                </a:cubicBezTo>
                <a:cubicBezTo>
                  <a:pt x="373" y="391"/>
                  <a:pt x="374" y="391"/>
                  <a:pt x="374" y="391"/>
                </a:cubicBezTo>
                <a:cubicBezTo>
                  <a:pt x="374" y="391"/>
                  <a:pt x="374" y="391"/>
                  <a:pt x="374" y="391"/>
                </a:cubicBezTo>
                <a:cubicBezTo>
                  <a:pt x="375" y="392"/>
                  <a:pt x="376" y="392"/>
                  <a:pt x="376" y="393"/>
                </a:cubicBezTo>
                <a:cubicBezTo>
                  <a:pt x="376" y="393"/>
                  <a:pt x="375" y="394"/>
                  <a:pt x="375" y="394"/>
                </a:cubicBezTo>
                <a:cubicBezTo>
                  <a:pt x="376" y="394"/>
                  <a:pt x="376" y="394"/>
                  <a:pt x="376" y="394"/>
                </a:cubicBezTo>
                <a:cubicBezTo>
                  <a:pt x="376" y="394"/>
                  <a:pt x="376" y="395"/>
                  <a:pt x="377" y="395"/>
                </a:cubicBezTo>
                <a:cubicBezTo>
                  <a:pt x="377" y="395"/>
                  <a:pt x="377" y="395"/>
                  <a:pt x="377" y="395"/>
                </a:cubicBezTo>
                <a:cubicBezTo>
                  <a:pt x="379" y="395"/>
                  <a:pt x="381" y="394"/>
                  <a:pt x="382" y="394"/>
                </a:cubicBezTo>
                <a:cubicBezTo>
                  <a:pt x="384" y="392"/>
                  <a:pt x="386" y="391"/>
                  <a:pt x="388" y="390"/>
                </a:cubicBezTo>
                <a:cubicBezTo>
                  <a:pt x="389" y="390"/>
                  <a:pt x="389" y="390"/>
                  <a:pt x="390" y="390"/>
                </a:cubicBezTo>
                <a:cubicBezTo>
                  <a:pt x="390" y="389"/>
                  <a:pt x="391" y="389"/>
                  <a:pt x="392" y="389"/>
                </a:cubicBezTo>
                <a:cubicBezTo>
                  <a:pt x="392" y="389"/>
                  <a:pt x="392" y="389"/>
                  <a:pt x="392" y="389"/>
                </a:cubicBezTo>
                <a:cubicBezTo>
                  <a:pt x="392" y="388"/>
                  <a:pt x="393" y="388"/>
                  <a:pt x="393" y="388"/>
                </a:cubicBezTo>
                <a:cubicBezTo>
                  <a:pt x="393" y="389"/>
                  <a:pt x="393" y="390"/>
                  <a:pt x="393" y="391"/>
                </a:cubicBezTo>
                <a:cubicBezTo>
                  <a:pt x="392" y="391"/>
                  <a:pt x="392" y="391"/>
                  <a:pt x="392" y="391"/>
                </a:cubicBezTo>
                <a:cubicBezTo>
                  <a:pt x="392" y="391"/>
                  <a:pt x="392" y="392"/>
                  <a:pt x="392" y="392"/>
                </a:cubicBezTo>
                <a:cubicBezTo>
                  <a:pt x="392" y="392"/>
                  <a:pt x="393" y="392"/>
                  <a:pt x="393" y="393"/>
                </a:cubicBezTo>
                <a:cubicBezTo>
                  <a:pt x="392" y="393"/>
                  <a:pt x="391" y="393"/>
                  <a:pt x="391" y="394"/>
                </a:cubicBezTo>
                <a:cubicBezTo>
                  <a:pt x="390" y="395"/>
                  <a:pt x="390" y="396"/>
                  <a:pt x="389" y="396"/>
                </a:cubicBezTo>
                <a:cubicBezTo>
                  <a:pt x="388" y="397"/>
                  <a:pt x="387" y="398"/>
                  <a:pt x="386" y="400"/>
                </a:cubicBezTo>
                <a:cubicBezTo>
                  <a:pt x="386" y="401"/>
                  <a:pt x="387" y="403"/>
                  <a:pt x="386" y="404"/>
                </a:cubicBezTo>
                <a:cubicBezTo>
                  <a:pt x="386" y="404"/>
                  <a:pt x="386" y="404"/>
                  <a:pt x="387" y="404"/>
                </a:cubicBezTo>
                <a:cubicBezTo>
                  <a:pt x="387" y="404"/>
                  <a:pt x="387" y="404"/>
                  <a:pt x="388" y="405"/>
                </a:cubicBezTo>
                <a:cubicBezTo>
                  <a:pt x="388" y="404"/>
                  <a:pt x="389" y="404"/>
                  <a:pt x="390" y="405"/>
                </a:cubicBezTo>
                <a:cubicBezTo>
                  <a:pt x="388" y="405"/>
                  <a:pt x="387" y="406"/>
                  <a:pt x="386" y="407"/>
                </a:cubicBezTo>
                <a:cubicBezTo>
                  <a:pt x="385" y="407"/>
                  <a:pt x="385" y="408"/>
                  <a:pt x="385" y="408"/>
                </a:cubicBezTo>
                <a:cubicBezTo>
                  <a:pt x="385" y="409"/>
                  <a:pt x="386" y="410"/>
                  <a:pt x="385" y="411"/>
                </a:cubicBezTo>
                <a:cubicBezTo>
                  <a:pt x="385" y="411"/>
                  <a:pt x="385" y="411"/>
                  <a:pt x="385" y="411"/>
                </a:cubicBezTo>
                <a:cubicBezTo>
                  <a:pt x="384" y="412"/>
                  <a:pt x="385" y="413"/>
                  <a:pt x="385" y="414"/>
                </a:cubicBezTo>
                <a:cubicBezTo>
                  <a:pt x="385" y="415"/>
                  <a:pt x="384" y="415"/>
                  <a:pt x="384" y="416"/>
                </a:cubicBezTo>
                <a:cubicBezTo>
                  <a:pt x="383" y="417"/>
                  <a:pt x="383" y="418"/>
                  <a:pt x="384" y="419"/>
                </a:cubicBezTo>
                <a:cubicBezTo>
                  <a:pt x="384" y="419"/>
                  <a:pt x="385" y="420"/>
                  <a:pt x="385" y="419"/>
                </a:cubicBezTo>
                <a:cubicBezTo>
                  <a:pt x="385" y="419"/>
                  <a:pt x="385" y="419"/>
                  <a:pt x="385" y="418"/>
                </a:cubicBezTo>
                <a:cubicBezTo>
                  <a:pt x="385" y="418"/>
                  <a:pt x="386" y="418"/>
                  <a:pt x="386" y="418"/>
                </a:cubicBezTo>
                <a:cubicBezTo>
                  <a:pt x="386" y="418"/>
                  <a:pt x="386" y="418"/>
                  <a:pt x="386" y="418"/>
                </a:cubicBezTo>
                <a:cubicBezTo>
                  <a:pt x="386" y="419"/>
                  <a:pt x="386" y="420"/>
                  <a:pt x="386" y="421"/>
                </a:cubicBezTo>
                <a:cubicBezTo>
                  <a:pt x="386" y="422"/>
                  <a:pt x="386" y="422"/>
                  <a:pt x="385" y="422"/>
                </a:cubicBezTo>
                <a:cubicBezTo>
                  <a:pt x="385" y="422"/>
                  <a:pt x="385" y="422"/>
                  <a:pt x="385" y="422"/>
                </a:cubicBezTo>
                <a:cubicBezTo>
                  <a:pt x="384" y="422"/>
                  <a:pt x="383" y="422"/>
                  <a:pt x="383" y="421"/>
                </a:cubicBezTo>
                <a:cubicBezTo>
                  <a:pt x="382" y="422"/>
                  <a:pt x="381" y="423"/>
                  <a:pt x="380" y="425"/>
                </a:cubicBezTo>
                <a:cubicBezTo>
                  <a:pt x="380" y="425"/>
                  <a:pt x="380" y="426"/>
                  <a:pt x="379" y="426"/>
                </a:cubicBezTo>
                <a:cubicBezTo>
                  <a:pt x="379" y="427"/>
                  <a:pt x="378" y="427"/>
                  <a:pt x="378" y="427"/>
                </a:cubicBezTo>
                <a:cubicBezTo>
                  <a:pt x="378" y="427"/>
                  <a:pt x="378" y="427"/>
                  <a:pt x="377" y="427"/>
                </a:cubicBezTo>
                <a:cubicBezTo>
                  <a:pt x="377" y="427"/>
                  <a:pt x="377" y="427"/>
                  <a:pt x="377" y="427"/>
                </a:cubicBezTo>
                <a:cubicBezTo>
                  <a:pt x="377" y="428"/>
                  <a:pt x="376" y="428"/>
                  <a:pt x="376" y="428"/>
                </a:cubicBezTo>
                <a:cubicBezTo>
                  <a:pt x="375" y="429"/>
                  <a:pt x="374" y="430"/>
                  <a:pt x="374" y="431"/>
                </a:cubicBezTo>
                <a:cubicBezTo>
                  <a:pt x="373" y="432"/>
                  <a:pt x="372" y="433"/>
                  <a:pt x="372" y="433"/>
                </a:cubicBezTo>
                <a:cubicBezTo>
                  <a:pt x="371" y="434"/>
                  <a:pt x="371" y="436"/>
                  <a:pt x="372" y="437"/>
                </a:cubicBezTo>
                <a:cubicBezTo>
                  <a:pt x="372" y="437"/>
                  <a:pt x="372" y="438"/>
                  <a:pt x="371" y="439"/>
                </a:cubicBezTo>
                <a:cubicBezTo>
                  <a:pt x="371" y="439"/>
                  <a:pt x="370" y="439"/>
                  <a:pt x="370" y="439"/>
                </a:cubicBezTo>
                <a:cubicBezTo>
                  <a:pt x="369" y="439"/>
                  <a:pt x="369" y="439"/>
                  <a:pt x="368" y="439"/>
                </a:cubicBezTo>
                <a:cubicBezTo>
                  <a:pt x="368" y="439"/>
                  <a:pt x="367" y="438"/>
                  <a:pt x="367" y="439"/>
                </a:cubicBezTo>
                <a:cubicBezTo>
                  <a:pt x="367" y="439"/>
                  <a:pt x="367" y="439"/>
                  <a:pt x="366" y="439"/>
                </a:cubicBezTo>
                <a:cubicBezTo>
                  <a:pt x="365" y="440"/>
                  <a:pt x="364" y="442"/>
                  <a:pt x="362" y="443"/>
                </a:cubicBezTo>
                <a:cubicBezTo>
                  <a:pt x="361" y="443"/>
                  <a:pt x="360" y="443"/>
                  <a:pt x="359" y="444"/>
                </a:cubicBezTo>
                <a:cubicBezTo>
                  <a:pt x="358" y="444"/>
                  <a:pt x="356" y="445"/>
                  <a:pt x="355" y="446"/>
                </a:cubicBezTo>
                <a:cubicBezTo>
                  <a:pt x="353" y="448"/>
                  <a:pt x="351" y="449"/>
                  <a:pt x="350" y="451"/>
                </a:cubicBezTo>
                <a:cubicBezTo>
                  <a:pt x="351" y="451"/>
                  <a:pt x="351" y="451"/>
                  <a:pt x="352" y="451"/>
                </a:cubicBezTo>
                <a:cubicBezTo>
                  <a:pt x="352" y="452"/>
                  <a:pt x="352" y="452"/>
                  <a:pt x="351" y="452"/>
                </a:cubicBezTo>
                <a:cubicBezTo>
                  <a:pt x="351" y="452"/>
                  <a:pt x="351" y="452"/>
                  <a:pt x="351" y="452"/>
                </a:cubicBezTo>
                <a:cubicBezTo>
                  <a:pt x="350" y="452"/>
                  <a:pt x="349" y="452"/>
                  <a:pt x="349" y="453"/>
                </a:cubicBezTo>
                <a:cubicBezTo>
                  <a:pt x="348" y="454"/>
                  <a:pt x="348" y="454"/>
                  <a:pt x="348" y="455"/>
                </a:cubicBezTo>
                <a:cubicBezTo>
                  <a:pt x="349" y="455"/>
                  <a:pt x="348" y="456"/>
                  <a:pt x="348" y="456"/>
                </a:cubicBezTo>
                <a:cubicBezTo>
                  <a:pt x="348" y="456"/>
                  <a:pt x="347" y="457"/>
                  <a:pt x="347" y="457"/>
                </a:cubicBezTo>
                <a:cubicBezTo>
                  <a:pt x="347" y="457"/>
                  <a:pt x="347" y="457"/>
                  <a:pt x="347" y="457"/>
                </a:cubicBezTo>
                <a:cubicBezTo>
                  <a:pt x="348" y="459"/>
                  <a:pt x="349" y="460"/>
                  <a:pt x="350" y="461"/>
                </a:cubicBezTo>
                <a:cubicBezTo>
                  <a:pt x="351" y="461"/>
                  <a:pt x="351" y="461"/>
                  <a:pt x="351" y="462"/>
                </a:cubicBezTo>
                <a:cubicBezTo>
                  <a:pt x="351" y="462"/>
                  <a:pt x="350" y="462"/>
                  <a:pt x="350" y="462"/>
                </a:cubicBezTo>
                <a:cubicBezTo>
                  <a:pt x="349" y="462"/>
                  <a:pt x="349" y="462"/>
                  <a:pt x="348" y="462"/>
                </a:cubicBezTo>
                <a:cubicBezTo>
                  <a:pt x="349" y="462"/>
                  <a:pt x="348" y="461"/>
                  <a:pt x="348" y="461"/>
                </a:cubicBezTo>
                <a:cubicBezTo>
                  <a:pt x="347" y="460"/>
                  <a:pt x="347" y="461"/>
                  <a:pt x="346" y="461"/>
                </a:cubicBezTo>
                <a:cubicBezTo>
                  <a:pt x="346" y="461"/>
                  <a:pt x="345" y="460"/>
                  <a:pt x="344" y="460"/>
                </a:cubicBezTo>
                <a:cubicBezTo>
                  <a:pt x="344" y="460"/>
                  <a:pt x="344" y="461"/>
                  <a:pt x="344" y="461"/>
                </a:cubicBezTo>
                <a:cubicBezTo>
                  <a:pt x="344" y="461"/>
                  <a:pt x="345" y="461"/>
                  <a:pt x="345" y="462"/>
                </a:cubicBezTo>
                <a:cubicBezTo>
                  <a:pt x="345" y="462"/>
                  <a:pt x="345" y="463"/>
                  <a:pt x="345" y="464"/>
                </a:cubicBezTo>
                <a:cubicBezTo>
                  <a:pt x="344" y="464"/>
                  <a:pt x="343" y="463"/>
                  <a:pt x="343" y="462"/>
                </a:cubicBezTo>
                <a:cubicBezTo>
                  <a:pt x="342" y="461"/>
                  <a:pt x="342" y="460"/>
                  <a:pt x="341" y="459"/>
                </a:cubicBezTo>
                <a:cubicBezTo>
                  <a:pt x="341" y="459"/>
                  <a:pt x="341" y="459"/>
                  <a:pt x="340" y="458"/>
                </a:cubicBezTo>
                <a:cubicBezTo>
                  <a:pt x="340" y="458"/>
                  <a:pt x="338" y="459"/>
                  <a:pt x="338" y="458"/>
                </a:cubicBezTo>
                <a:cubicBezTo>
                  <a:pt x="337" y="459"/>
                  <a:pt x="336" y="458"/>
                  <a:pt x="335" y="459"/>
                </a:cubicBezTo>
                <a:cubicBezTo>
                  <a:pt x="334" y="459"/>
                  <a:pt x="334" y="459"/>
                  <a:pt x="333" y="459"/>
                </a:cubicBezTo>
                <a:cubicBezTo>
                  <a:pt x="329" y="462"/>
                  <a:pt x="324" y="465"/>
                  <a:pt x="321" y="470"/>
                </a:cubicBezTo>
                <a:cubicBezTo>
                  <a:pt x="322" y="470"/>
                  <a:pt x="322" y="470"/>
                  <a:pt x="322" y="471"/>
                </a:cubicBezTo>
                <a:cubicBezTo>
                  <a:pt x="322" y="471"/>
                  <a:pt x="321" y="472"/>
                  <a:pt x="321" y="472"/>
                </a:cubicBezTo>
                <a:cubicBezTo>
                  <a:pt x="320" y="472"/>
                  <a:pt x="320" y="472"/>
                  <a:pt x="319" y="473"/>
                </a:cubicBezTo>
                <a:cubicBezTo>
                  <a:pt x="319" y="473"/>
                  <a:pt x="318" y="474"/>
                  <a:pt x="318" y="474"/>
                </a:cubicBezTo>
                <a:cubicBezTo>
                  <a:pt x="318" y="475"/>
                  <a:pt x="318" y="475"/>
                  <a:pt x="317" y="475"/>
                </a:cubicBezTo>
                <a:cubicBezTo>
                  <a:pt x="317" y="476"/>
                  <a:pt x="317" y="476"/>
                  <a:pt x="317" y="476"/>
                </a:cubicBezTo>
                <a:cubicBezTo>
                  <a:pt x="316" y="476"/>
                  <a:pt x="315" y="476"/>
                  <a:pt x="314" y="476"/>
                </a:cubicBezTo>
                <a:cubicBezTo>
                  <a:pt x="314" y="476"/>
                  <a:pt x="314" y="476"/>
                  <a:pt x="313" y="476"/>
                </a:cubicBezTo>
                <a:cubicBezTo>
                  <a:pt x="313" y="477"/>
                  <a:pt x="312" y="478"/>
                  <a:pt x="312" y="478"/>
                </a:cubicBezTo>
                <a:cubicBezTo>
                  <a:pt x="312" y="479"/>
                  <a:pt x="312" y="480"/>
                  <a:pt x="312" y="481"/>
                </a:cubicBezTo>
                <a:cubicBezTo>
                  <a:pt x="312" y="482"/>
                  <a:pt x="311" y="482"/>
                  <a:pt x="311" y="483"/>
                </a:cubicBezTo>
                <a:cubicBezTo>
                  <a:pt x="311" y="483"/>
                  <a:pt x="311" y="484"/>
                  <a:pt x="311" y="485"/>
                </a:cubicBezTo>
                <a:cubicBezTo>
                  <a:pt x="312" y="484"/>
                  <a:pt x="313" y="483"/>
                  <a:pt x="314" y="482"/>
                </a:cubicBezTo>
                <a:cubicBezTo>
                  <a:pt x="314" y="482"/>
                  <a:pt x="314" y="482"/>
                  <a:pt x="315" y="482"/>
                </a:cubicBezTo>
                <a:cubicBezTo>
                  <a:pt x="315" y="481"/>
                  <a:pt x="314" y="480"/>
                  <a:pt x="313" y="480"/>
                </a:cubicBezTo>
                <a:cubicBezTo>
                  <a:pt x="313" y="479"/>
                  <a:pt x="314" y="478"/>
                  <a:pt x="315" y="478"/>
                </a:cubicBezTo>
                <a:cubicBezTo>
                  <a:pt x="315" y="478"/>
                  <a:pt x="316" y="479"/>
                  <a:pt x="316" y="479"/>
                </a:cubicBezTo>
                <a:cubicBezTo>
                  <a:pt x="316" y="480"/>
                  <a:pt x="316" y="480"/>
                  <a:pt x="316" y="481"/>
                </a:cubicBezTo>
                <a:cubicBezTo>
                  <a:pt x="317" y="481"/>
                  <a:pt x="318" y="482"/>
                  <a:pt x="318" y="481"/>
                </a:cubicBezTo>
                <a:cubicBezTo>
                  <a:pt x="319" y="481"/>
                  <a:pt x="320" y="481"/>
                  <a:pt x="320" y="480"/>
                </a:cubicBezTo>
                <a:cubicBezTo>
                  <a:pt x="321" y="480"/>
                  <a:pt x="321" y="480"/>
                  <a:pt x="321" y="479"/>
                </a:cubicBezTo>
                <a:cubicBezTo>
                  <a:pt x="321" y="478"/>
                  <a:pt x="320" y="478"/>
                  <a:pt x="321" y="477"/>
                </a:cubicBezTo>
                <a:cubicBezTo>
                  <a:pt x="321" y="477"/>
                  <a:pt x="320" y="476"/>
                  <a:pt x="320" y="475"/>
                </a:cubicBezTo>
                <a:cubicBezTo>
                  <a:pt x="320" y="475"/>
                  <a:pt x="320" y="475"/>
                  <a:pt x="320" y="475"/>
                </a:cubicBezTo>
                <a:cubicBezTo>
                  <a:pt x="319" y="475"/>
                  <a:pt x="320" y="474"/>
                  <a:pt x="320" y="474"/>
                </a:cubicBezTo>
                <a:cubicBezTo>
                  <a:pt x="321" y="474"/>
                  <a:pt x="322" y="475"/>
                  <a:pt x="322" y="476"/>
                </a:cubicBezTo>
                <a:cubicBezTo>
                  <a:pt x="322" y="476"/>
                  <a:pt x="322" y="476"/>
                  <a:pt x="322" y="476"/>
                </a:cubicBezTo>
                <a:cubicBezTo>
                  <a:pt x="322" y="477"/>
                  <a:pt x="322" y="477"/>
                  <a:pt x="323" y="477"/>
                </a:cubicBezTo>
                <a:cubicBezTo>
                  <a:pt x="322" y="477"/>
                  <a:pt x="322" y="477"/>
                  <a:pt x="322" y="478"/>
                </a:cubicBezTo>
                <a:cubicBezTo>
                  <a:pt x="322" y="478"/>
                  <a:pt x="322" y="478"/>
                  <a:pt x="322" y="478"/>
                </a:cubicBezTo>
                <a:cubicBezTo>
                  <a:pt x="322" y="478"/>
                  <a:pt x="322" y="478"/>
                  <a:pt x="323" y="479"/>
                </a:cubicBezTo>
                <a:cubicBezTo>
                  <a:pt x="323" y="479"/>
                  <a:pt x="323" y="479"/>
                  <a:pt x="323" y="479"/>
                </a:cubicBezTo>
                <a:cubicBezTo>
                  <a:pt x="323" y="479"/>
                  <a:pt x="323" y="479"/>
                  <a:pt x="323" y="479"/>
                </a:cubicBezTo>
                <a:cubicBezTo>
                  <a:pt x="324" y="479"/>
                  <a:pt x="325" y="479"/>
                  <a:pt x="325" y="479"/>
                </a:cubicBezTo>
                <a:cubicBezTo>
                  <a:pt x="325" y="478"/>
                  <a:pt x="326" y="477"/>
                  <a:pt x="327" y="477"/>
                </a:cubicBezTo>
                <a:cubicBezTo>
                  <a:pt x="327" y="477"/>
                  <a:pt x="327" y="476"/>
                  <a:pt x="327" y="477"/>
                </a:cubicBezTo>
                <a:cubicBezTo>
                  <a:pt x="327" y="477"/>
                  <a:pt x="327" y="477"/>
                  <a:pt x="327" y="477"/>
                </a:cubicBezTo>
                <a:cubicBezTo>
                  <a:pt x="327" y="478"/>
                  <a:pt x="327" y="478"/>
                  <a:pt x="328" y="479"/>
                </a:cubicBezTo>
                <a:cubicBezTo>
                  <a:pt x="328" y="479"/>
                  <a:pt x="329" y="478"/>
                  <a:pt x="329" y="478"/>
                </a:cubicBezTo>
                <a:cubicBezTo>
                  <a:pt x="329" y="477"/>
                  <a:pt x="329" y="476"/>
                  <a:pt x="329" y="476"/>
                </a:cubicBezTo>
                <a:cubicBezTo>
                  <a:pt x="328" y="476"/>
                  <a:pt x="328" y="475"/>
                  <a:pt x="329" y="475"/>
                </a:cubicBezTo>
                <a:cubicBezTo>
                  <a:pt x="329" y="475"/>
                  <a:pt x="329" y="475"/>
                  <a:pt x="329" y="475"/>
                </a:cubicBezTo>
                <a:cubicBezTo>
                  <a:pt x="329" y="475"/>
                  <a:pt x="330" y="475"/>
                  <a:pt x="330" y="475"/>
                </a:cubicBezTo>
                <a:cubicBezTo>
                  <a:pt x="330" y="475"/>
                  <a:pt x="330" y="475"/>
                  <a:pt x="330" y="475"/>
                </a:cubicBezTo>
                <a:cubicBezTo>
                  <a:pt x="331" y="474"/>
                  <a:pt x="331" y="474"/>
                  <a:pt x="331" y="473"/>
                </a:cubicBezTo>
                <a:cubicBezTo>
                  <a:pt x="332" y="472"/>
                  <a:pt x="332" y="471"/>
                  <a:pt x="332" y="470"/>
                </a:cubicBezTo>
                <a:cubicBezTo>
                  <a:pt x="333" y="469"/>
                  <a:pt x="333" y="469"/>
                  <a:pt x="333" y="468"/>
                </a:cubicBezTo>
                <a:cubicBezTo>
                  <a:pt x="333" y="468"/>
                  <a:pt x="334" y="467"/>
                  <a:pt x="334" y="466"/>
                </a:cubicBezTo>
                <a:cubicBezTo>
                  <a:pt x="335" y="466"/>
                  <a:pt x="335" y="466"/>
                  <a:pt x="336" y="466"/>
                </a:cubicBezTo>
                <a:cubicBezTo>
                  <a:pt x="336" y="466"/>
                  <a:pt x="336" y="466"/>
                  <a:pt x="337" y="466"/>
                </a:cubicBezTo>
                <a:cubicBezTo>
                  <a:pt x="338" y="467"/>
                  <a:pt x="338" y="468"/>
                  <a:pt x="339" y="468"/>
                </a:cubicBezTo>
                <a:cubicBezTo>
                  <a:pt x="339" y="469"/>
                  <a:pt x="338" y="469"/>
                  <a:pt x="338" y="468"/>
                </a:cubicBezTo>
                <a:cubicBezTo>
                  <a:pt x="338" y="468"/>
                  <a:pt x="337" y="468"/>
                  <a:pt x="337" y="468"/>
                </a:cubicBezTo>
                <a:cubicBezTo>
                  <a:pt x="337" y="468"/>
                  <a:pt x="337" y="468"/>
                  <a:pt x="336" y="468"/>
                </a:cubicBezTo>
                <a:cubicBezTo>
                  <a:pt x="336" y="468"/>
                  <a:pt x="336" y="469"/>
                  <a:pt x="336" y="469"/>
                </a:cubicBezTo>
                <a:cubicBezTo>
                  <a:pt x="335" y="470"/>
                  <a:pt x="335" y="471"/>
                  <a:pt x="335" y="472"/>
                </a:cubicBezTo>
                <a:cubicBezTo>
                  <a:pt x="338" y="472"/>
                  <a:pt x="340" y="472"/>
                  <a:pt x="342" y="470"/>
                </a:cubicBezTo>
                <a:cubicBezTo>
                  <a:pt x="342" y="469"/>
                  <a:pt x="343" y="468"/>
                  <a:pt x="344" y="469"/>
                </a:cubicBezTo>
                <a:cubicBezTo>
                  <a:pt x="344" y="469"/>
                  <a:pt x="344" y="470"/>
                  <a:pt x="345" y="470"/>
                </a:cubicBezTo>
                <a:cubicBezTo>
                  <a:pt x="345" y="470"/>
                  <a:pt x="346" y="470"/>
                  <a:pt x="346" y="469"/>
                </a:cubicBezTo>
                <a:cubicBezTo>
                  <a:pt x="346" y="469"/>
                  <a:pt x="345" y="469"/>
                  <a:pt x="345" y="469"/>
                </a:cubicBezTo>
                <a:cubicBezTo>
                  <a:pt x="345" y="468"/>
                  <a:pt x="345" y="468"/>
                  <a:pt x="345" y="468"/>
                </a:cubicBezTo>
                <a:cubicBezTo>
                  <a:pt x="345" y="468"/>
                  <a:pt x="345" y="468"/>
                  <a:pt x="345" y="468"/>
                </a:cubicBezTo>
                <a:cubicBezTo>
                  <a:pt x="345" y="467"/>
                  <a:pt x="346" y="467"/>
                  <a:pt x="347" y="468"/>
                </a:cubicBezTo>
                <a:cubicBezTo>
                  <a:pt x="347" y="468"/>
                  <a:pt x="347" y="468"/>
                  <a:pt x="347" y="469"/>
                </a:cubicBezTo>
                <a:cubicBezTo>
                  <a:pt x="347" y="469"/>
                  <a:pt x="347" y="469"/>
                  <a:pt x="348" y="469"/>
                </a:cubicBezTo>
                <a:cubicBezTo>
                  <a:pt x="348" y="469"/>
                  <a:pt x="348" y="469"/>
                  <a:pt x="348" y="469"/>
                </a:cubicBezTo>
                <a:cubicBezTo>
                  <a:pt x="348" y="468"/>
                  <a:pt x="348" y="468"/>
                  <a:pt x="349" y="467"/>
                </a:cubicBezTo>
                <a:cubicBezTo>
                  <a:pt x="349" y="467"/>
                  <a:pt x="349" y="466"/>
                  <a:pt x="350" y="466"/>
                </a:cubicBezTo>
                <a:cubicBezTo>
                  <a:pt x="350" y="466"/>
                  <a:pt x="350" y="466"/>
                  <a:pt x="350" y="466"/>
                </a:cubicBezTo>
                <a:cubicBezTo>
                  <a:pt x="350" y="466"/>
                  <a:pt x="351" y="466"/>
                  <a:pt x="351" y="466"/>
                </a:cubicBezTo>
                <a:cubicBezTo>
                  <a:pt x="351" y="465"/>
                  <a:pt x="352" y="465"/>
                  <a:pt x="352" y="465"/>
                </a:cubicBezTo>
                <a:cubicBezTo>
                  <a:pt x="352" y="465"/>
                  <a:pt x="353" y="465"/>
                  <a:pt x="353" y="465"/>
                </a:cubicBezTo>
                <a:cubicBezTo>
                  <a:pt x="354" y="464"/>
                  <a:pt x="354" y="463"/>
                  <a:pt x="355" y="462"/>
                </a:cubicBezTo>
                <a:cubicBezTo>
                  <a:pt x="356" y="462"/>
                  <a:pt x="357" y="462"/>
                  <a:pt x="357" y="461"/>
                </a:cubicBezTo>
                <a:cubicBezTo>
                  <a:pt x="358" y="461"/>
                  <a:pt x="358" y="461"/>
                  <a:pt x="359" y="462"/>
                </a:cubicBezTo>
                <a:cubicBezTo>
                  <a:pt x="359" y="462"/>
                  <a:pt x="359" y="462"/>
                  <a:pt x="359" y="462"/>
                </a:cubicBezTo>
                <a:cubicBezTo>
                  <a:pt x="359" y="462"/>
                  <a:pt x="359" y="462"/>
                  <a:pt x="359" y="462"/>
                </a:cubicBezTo>
                <a:cubicBezTo>
                  <a:pt x="358" y="463"/>
                  <a:pt x="358" y="465"/>
                  <a:pt x="359" y="466"/>
                </a:cubicBezTo>
                <a:cubicBezTo>
                  <a:pt x="359" y="466"/>
                  <a:pt x="359" y="466"/>
                  <a:pt x="359" y="466"/>
                </a:cubicBezTo>
                <a:cubicBezTo>
                  <a:pt x="359" y="466"/>
                  <a:pt x="359" y="467"/>
                  <a:pt x="358" y="467"/>
                </a:cubicBezTo>
                <a:cubicBezTo>
                  <a:pt x="358" y="467"/>
                  <a:pt x="358" y="467"/>
                  <a:pt x="358" y="467"/>
                </a:cubicBezTo>
                <a:cubicBezTo>
                  <a:pt x="359" y="467"/>
                  <a:pt x="360" y="466"/>
                  <a:pt x="360" y="465"/>
                </a:cubicBezTo>
                <a:cubicBezTo>
                  <a:pt x="360" y="464"/>
                  <a:pt x="360" y="462"/>
                  <a:pt x="361" y="462"/>
                </a:cubicBezTo>
                <a:cubicBezTo>
                  <a:pt x="361" y="462"/>
                  <a:pt x="362" y="462"/>
                  <a:pt x="362" y="462"/>
                </a:cubicBezTo>
                <a:cubicBezTo>
                  <a:pt x="362" y="461"/>
                  <a:pt x="362" y="461"/>
                  <a:pt x="363" y="461"/>
                </a:cubicBezTo>
                <a:cubicBezTo>
                  <a:pt x="364" y="460"/>
                  <a:pt x="366" y="459"/>
                  <a:pt x="367" y="459"/>
                </a:cubicBezTo>
                <a:cubicBezTo>
                  <a:pt x="367" y="459"/>
                  <a:pt x="368" y="459"/>
                  <a:pt x="368" y="459"/>
                </a:cubicBezTo>
                <a:cubicBezTo>
                  <a:pt x="368" y="459"/>
                  <a:pt x="369" y="458"/>
                  <a:pt x="369" y="458"/>
                </a:cubicBezTo>
                <a:cubicBezTo>
                  <a:pt x="369" y="458"/>
                  <a:pt x="370" y="458"/>
                  <a:pt x="371" y="458"/>
                </a:cubicBezTo>
                <a:cubicBezTo>
                  <a:pt x="371" y="457"/>
                  <a:pt x="372" y="456"/>
                  <a:pt x="372" y="455"/>
                </a:cubicBezTo>
                <a:cubicBezTo>
                  <a:pt x="372" y="454"/>
                  <a:pt x="372" y="454"/>
                  <a:pt x="373" y="453"/>
                </a:cubicBezTo>
                <a:cubicBezTo>
                  <a:pt x="373" y="453"/>
                  <a:pt x="374" y="453"/>
                  <a:pt x="374" y="453"/>
                </a:cubicBezTo>
                <a:cubicBezTo>
                  <a:pt x="373" y="454"/>
                  <a:pt x="373" y="455"/>
                  <a:pt x="373" y="457"/>
                </a:cubicBezTo>
                <a:cubicBezTo>
                  <a:pt x="373" y="457"/>
                  <a:pt x="373" y="457"/>
                  <a:pt x="373" y="457"/>
                </a:cubicBezTo>
                <a:cubicBezTo>
                  <a:pt x="373" y="458"/>
                  <a:pt x="374" y="457"/>
                  <a:pt x="374" y="457"/>
                </a:cubicBezTo>
                <a:cubicBezTo>
                  <a:pt x="374" y="456"/>
                  <a:pt x="374" y="456"/>
                  <a:pt x="374" y="455"/>
                </a:cubicBezTo>
                <a:cubicBezTo>
                  <a:pt x="375" y="455"/>
                  <a:pt x="375" y="454"/>
                  <a:pt x="376" y="453"/>
                </a:cubicBezTo>
                <a:cubicBezTo>
                  <a:pt x="376" y="453"/>
                  <a:pt x="376" y="451"/>
                  <a:pt x="377" y="451"/>
                </a:cubicBezTo>
                <a:cubicBezTo>
                  <a:pt x="377" y="451"/>
                  <a:pt x="377" y="450"/>
                  <a:pt x="377" y="450"/>
                </a:cubicBezTo>
                <a:cubicBezTo>
                  <a:pt x="376" y="450"/>
                  <a:pt x="376" y="450"/>
                  <a:pt x="376" y="450"/>
                </a:cubicBezTo>
                <a:cubicBezTo>
                  <a:pt x="376" y="450"/>
                  <a:pt x="376" y="450"/>
                  <a:pt x="375" y="450"/>
                </a:cubicBezTo>
                <a:cubicBezTo>
                  <a:pt x="375" y="451"/>
                  <a:pt x="374" y="450"/>
                  <a:pt x="374" y="450"/>
                </a:cubicBezTo>
                <a:cubicBezTo>
                  <a:pt x="373" y="450"/>
                  <a:pt x="373" y="451"/>
                  <a:pt x="373" y="451"/>
                </a:cubicBezTo>
                <a:cubicBezTo>
                  <a:pt x="373" y="451"/>
                  <a:pt x="372" y="452"/>
                  <a:pt x="372" y="451"/>
                </a:cubicBezTo>
                <a:cubicBezTo>
                  <a:pt x="372" y="451"/>
                  <a:pt x="372" y="451"/>
                  <a:pt x="372" y="451"/>
                </a:cubicBezTo>
                <a:cubicBezTo>
                  <a:pt x="373" y="450"/>
                  <a:pt x="374" y="449"/>
                  <a:pt x="375" y="448"/>
                </a:cubicBezTo>
                <a:cubicBezTo>
                  <a:pt x="375" y="448"/>
                  <a:pt x="376" y="447"/>
                  <a:pt x="376" y="447"/>
                </a:cubicBezTo>
                <a:cubicBezTo>
                  <a:pt x="377" y="447"/>
                  <a:pt x="377" y="447"/>
                  <a:pt x="378" y="446"/>
                </a:cubicBezTo>
                <a:cubicBezTo>
                  <a:pt x="378" y="446"/>
                  <a:pt x="378" y="446"/>
                  <a:pt x="379" y="446"/>
                </a:cubicBezTo>
                <a:cubicBezTo>
                  <a:pt x="380" y="444"/>
                  <a:pt x="381" y="443"/>
                  <a:pt x="383" y="442"/>
                </a:cubicBezTo>
                <a:cubicBezTo>
                  <a:pt x="384" y="443"/>
                  <a:pt x="385" y="444"/>
                  <a:pt x="386" y="443"/>
                </a:cubicBezTo>
                <a:cubicBezTo>
                  <a:pt x="386" y="443"/>
                  <a:pt x="387" y="442"/>
                  <a:pt x="387" y="442"/>
                </a:cubicBezTo>
                <a:cubicBezTo>
                  <a:pt x="386" y="442"/>
                  <a:pt x="386" y="442"/>
                  <a:pt x="385" y="442"/>
                </a:cubicBezTo>
                <a:cubicBezTo>
                  <a:pt x="386" y="441"/>
                  <a:pt x="386" y="440"/>
                  <a:pt x="387" y="440"/>
                </a:cubicBezTo>
                <a:cubicBezTo>
                  <a:pt x="387" y="439"/>
                  <a:pt x="387" y="439"/>
                  <a:pt x="387" y="439"/>
                </a:cubicBezTo>
                <a:cubicBezTo>
                  <a:pt x="387" y="439"/>
                  <a:pt x="387" y="438"/>
                  <a:pt x="387" y="438"/>
                </a:cubicBezTo>
                <a:cubicBezTo>
                  <a:pt x="388" y="437"/>
                  <a:pt x="388" y="438"/>
                  <a:pt x="389" y="438"/>
                </a:cubicBezTo>
                <a:cubicBezTo>
                  <a:pt x="389" y="438"/>
                  <a:pt x="389" y="439"/>
                  <a:pt x="389" y="439"/>
                </a:cubicBezTo>
                <a:cubicBezTo>
                  <a:pt x="390" y="439"/>
                  <a:pt x="391" y="439"/>
                  <a:pt x="392" y="438"/>
                </a:cubicBezTo>
                <a:cubicBezTo>
                  <a:pt x="392" y="437"/>
                  <a:pt x="393" y="436"/>
                  <a:pt x="394" y="436"/>
                </a:cubicBezTo>
                <a:cubicBezTo>
                  <a:pt x="395" y="436"/>
                  <a:pt x="395" y="436"/>
                  <a:pt x="395" y="436"/>
                </a:cubicBezTo>
                <a:cubicBezTo>
                  <a:pt x="395" y="436"/>
                  <a:pt x="396" y="436"/>
                  <a:pt x="396" y="435"/>
                </a:cubicBezTo>
                <a:cubicBezTo>
                  <a:pt x="396" y="435"/>
                  <a:pt x="396" y="434"/>
                  <a:pt x="396" y="434"/>
                </a:cubicBezTo>
                <a:cubicBezTo>
                  <a:pt x="396" y="434"/>
                  <a:pt x="397" y="433"/>
                  <a:pt x="397" y="434"/>
                </a:cubicBezTo>
                <a:cubicBezTo>
                  <a:pt x="397" y="434"/>
                  <a:pt x="397" y="435"/>
                  <a:pt x="398" y="435"/>
                </a:cubicBezTo>
                <a:cubicBezTo>
                  <a:pt x="398" y="435"/>
                  <a:pt x="399" y="434"/>
                  <a:pt x="399" y="434"/>
                </a:cubicBezTo>
                <a:cubicBezTo>
                  <a:pt x="399" y="433"/>
                  <a:pt x="399" y="433"/>
                  <a:pt x="399" y="433"/>
                </a:cubicBezTo>
                <a:cubicBezTo>
                  <a:pt x="400" y="432"/>
                  <a:pt x="400" y="431"/>
                  <a:pt x="401" y="431"/>
                </a:cubicBezTo>
                <a:cubicBezTo>
                  <a:pt x="401" y="431"/>
                  <a:pt x="401" y="430"/>
                  <a:pt x="401" y="430"/>
                </a:cubicBezTo>
                <a:cubicBezTo>
                  <a:pt x="402" y="430"/>
                  <a:pt x="402" y="430"/>
                  <a:pt x="401" y="429"/>
                </a:cubicBezTo>
                <a:cubicBezTo>
                  <a:pt x="401" y="429"/>
                  <a:pt x="401" y="429"/>
                  <a:pt x="401" y="429"/>
                </a:cubicBezTo>
                <a:cubicBezTo>
                  <a:pt x="401" y="429"/>
                  <a:pt x="401" y="429"/>
                  <a:pt x="401" y="428"/>
                </a:cubicBezTo>
                <a:cubicBezTo>
                  <a:pt x="401" y="428"/>
                  <a:pt x="402" y="428"/>
                  <a:pt x="402" y="427"/>
                </a:cubicBezTo>
                <a:cubicBezTo>
                  <a:pt x="402" y="427"/>
                  <a:pt x="401" y="427"/>
                  <a:pt x="401" y="426"/>
                </a:cubicBezTo>
                <a:cubicBezTo>
                  <a:pt x="401" y="426"/>
                  <a:pt x="400" y="427"/>
                  <a:pt x="400" y="427"/>
                </a:cubicBezTo>
                <a:cubicBezTo>
                  <a:pt x="400" y="427"/>
                  <a:pt x="399" y="427"/>
                  <a:pt x="399" y="427"/>
                </a:cubicBezTo>
                <a:cubicBezTo>
                  <a:pt x="399" y="427"/>
                  <a:pt x="399" y="426"/>
                  <a:pt x="399" y="426"/>
                </a:cubicBezTo>
                <a:cubicBezTo>
                  <a:pt x="400" y="425"/>
                  <a:pt x="401" y="425"/>
                  <a:pt x="402" y="424"/>
                </a:cubicBezTo>
                <a:cubicBezTo>
                  <a:pt x="402" y="424"/>
                  <a:pt x="403" y="424"/>
                  <a:pt x="403" y="424"/>
                </a:cubicBezTo>
                <a:cubicBezTo>
                  <a:pt x="403" y="424"/>
                  <a:pt x="403" y="423"/>
                  <a:pt x="404" y="423"/>
                </a:cubicBezTo>
                <a:cubicBezTo>
                  <a:pt x="404" y="423"/>
                  <a:pt x="404" y="423"/>
                  <a:pt x="404" y="423"/>
                </a:cubicBezTo>
                <a:cubicBezTo>
                  <a:pt x="405" y="423"/>
                  <a:pt x="405" y="424"/>
                  <a:pt x="405" y="424"/>
                </a:cubicBezTo>
                <a:cubicBezTo>
                  <a:pt x="405" y="424"/>
                  <a:pt x="405" y="423"/>
                  <a:pt x="405" y="423"/>
                </a:cubicBezTo>
                <a:cubicBezTo>
                  <a:pt x="405" y="422"/>
                  <a:pt x="406" y="421"/>
                  <a:pt x="407" y="421"/>
                </a:cubicBezTo>
                <a:cubicBezTo>
                  <a:pt x="408" y="421"/>
                  <a:pt x="408" y="421"/>
                  <a:pt x="409" y="421"/>
                </a:cubicBezTo>
                <a:cubicBezTo>
                  <a:pt x="409" y="421"/>
                  <a:pt x="409" y="420"/>
                  <a:pt x="410" y="419"/>
                </a:cubicBezTo>
                <a:cubicBezTo>
                  <a:pt x="410" y="419"/>
                  <a:pt x="410" y="419"/>
                  <a:pt x="411" y="419"/>
                </a:cubicBezTo>
                <a:cubicBezTo>
                  <a:pt x="411" y="419"/>
                  <a:pt x="411" y="418"/>
                  <a:pt x="411" y="418"/>
                </a:cubicBezTo>
                <a:cubicBezTo>
                  <a:pt x="411" y="418"/>
                  <a:pt x="411" y="418"/>
                  <a:pt x="410" y="418"/>
                </a:cubicBezTo>
                <a:cubicBezTo>
                  <a:pt x="410" y="418"/>
                  <a:pt x="410" y="417"/>
                  <a:pt x="410" y="417"/>
                </a:cubicBezTo>
                <a:cubicBezTo>
                  <a:pt x="410" y="417"/>
                  <a:pt x="410" y="416"/>
                  <a:pt x="411" y="415"/>
                </a:cubicBezTo>
                <a:cubicBezTo>
                  <a:pt x="411" y="415"/>
                  <a:pt x="412" y="415"/>
                  <a:pt x="412" y="416"/>
                </a:cubicBezTo>
                <a:cubicBezTo>
                  <a:pt x="412" y="416"/>
                  <a:pt x="412" y="416"/>
                  <a:pt x="412" y="416"/>
                </a:cubicBezTo>
                <a:cubicBezTo>
                  <a:pt x="412" y="417"/>
                  <a:pt x="413" y="417"/>
                  <a:pt x="413" y="417"/>
                </a:cubicBezTo>
                <a:cubicBezTo>
                  <a:pt x="413" y="417"/>
                  <a:pt x="414" y="417"/>
                  <a:pt x="414" y="417"/>
                </a:cubicBezTo>
                <a:cubicBezTo>
                  <a:pt x="414" y="417"/>
                  <a:pt x="414" y="417"/>
                  <a:pt x="414" y="417"/>
                </a:cubicBezTo>
                <a:cubicBezTo>
                  <a:pt x="415" y="416"/>
                  <a:pt x="415" y="415"/>
                  <a:pt x="416" y="414"/>
                </a:cubicBezTo>
                <a:cubicBezTo>
                  <a:pt x="416" y="414"/>
                  <a:pt x="417" y="414"/>
                  <a:pt x="417" y="414"/>
                </a:cubicBezTo>
                <a:cubicBezTo>
                  <a:pt x="417" y="413"/>
                  <a:pt x="418" y="413"/>
                  <a:pt x="418" y="412"/>
                </a:cubicBezTo>
                <a:cubicBezTo>
                  <a:pt x="418" y="412"/>
                  <a:pt x="417" y="412"/>
                  <a:pt x="417" y="412"/>
                </a:cubicBezTo>
                <a:cubicBezTo>
                  <a:pt x="417" y="412"/>
                  <a:pt x="418" y="411"/>
                  <a:pt x="418" y="411"/>
                </a:cubicBezTo>
                <a:cubicBezTo>
                  <a:pt x="418" y="411"/>
                  <a:pt x="418" y="411"/>
                  <a:pt x="418" y="410"/>
                </a:cubicBezTo>
                <a:cubicBezTo>
                  <a:pt x="418" y="410"/>
                  <a:pt x="418" y="410"/>
                  <a:pt x="418" y="410"/>
                </a:cubicBezTo>
                <a:cubicBezTo>
                  <a:pt x="417" y="410"/>
                  <a:pt x="417" y="410"/>
                  <a:pt x="417" y="410"/>
                </a:cubicBezTo>
                <a:cubicBezTo>
                  <a:pt x="418" y="409"/>
                  <a:pt x="418" y="408"/>
                  <a:pt x="418" y="407"/>
                </a:cubicBezTo>
                <a:cubicBezTo>
                  <a:pt x="418" y="407"/>
                  <a:pt x="418" y="406"/>
                  <a:pt x="418" y="406"/>
                </a:cubicBezTo>
                <a:cubicBezTo>
                  <a:pt x="418" y="406"/>
                  <a:pt x="418" y="406"/>
                  <a:pt x="418" y="406"/>
                </a:cubicBezTo>
                <a:cubicBezTo>
                  <a:pt x="419" y="406"/>
                  <a:pt x="419" y="406"/>
                  <a:pt x="419" y="406"/>
                </a:cubicBezTo>
                <a:cubicBezTo>
                  <a:pt x="419" y="407"/>
                  <a:pt x="419" y="407"/>
                  <a:pt x="419" y="407"/>
                </a:cubicBezTo>
                <a:cubicBezTo>
                  <a:pt x="419" y="408"/>
                  <a:pt x="420" y="408"/>
                  <a:pt x="420" y="408"/>
                </a:cubicBezTo>
                <a:cubicBezTo>
                  <a:pt x="420" y="408"/>
                  <a:pt x="419" y="409"/>
                  <a:pt x="419" y="410"/>
                </a:cubicBezTo>
                <a:cubicBezTo>
                  <a:pt x="419" y="409"/>
                  <a:pt x="420" y="409"/>
                  <a:pt x="420" y="410"/>
                </a:cubicBezTo>
                <a:cubicBezTo>
                  <a:pt x="420" y="410"/>
                  <a:pt x="421" y="410"/>
                  <a:pt x="421" y="410"/>
                </a:cubicBezTo>
                <a:cubicBezTo>
                  <a:pt x="421" y="410"/>
                  <a:pt x="422" y="410"/>
                  <a:pt x="422" y="410"/>
                </a:cubicBezTo>
                <a:cubicBezTo>
                  <a:pt x="422" y="409"/>
                  <a:pt x="422" y="409"/>
                  <a:pt x="423" y="409"/>
                </a:cubicBezTo>
                <a:cubicBezTo>
                  <a:pt x="423" y="409"/>
                  <a:pt x="424" y="409"/>
                  <a:pt x="424" y="409"/>
                </a:cubicBezTo>
                <a:cubicBezTo>
                  <a:pt x="424" y="409"/>
                  <a:pt x="424" y="409"/>
                  <a:pt x="424" y="409"/>
                </a:cubicBezTo>
                <a:cubicBezTo>
                  <a:pt x="425" y="408"/>
                  <a:pt x="426" y="408"/>
                  <a:pt x="426" y="407"/>
                </a:cubicBezTo>
                <a:cubicBezTo>
                  <a:pt x="426" y="408"/>
                  <a:pt x="427" y="408"/>
                  <a:pt x="427" y="408"/>
                </a:cubicBezTo>
                <a:cubicBezTo>
                  <a:pt x="427" y="408"/>
                  <a:pt x="428" y="407"/>
                  <a:pt x="428" y="407"/>
                </a:cubicBezTo>
                <a:cubicBezTo>
                  <a:pt x="428" y="407"/>
                  <a:pt x="428" y="407"/>
                  <a:pt x="428" y="406"/>
                </a:cubicBezTo>
                <a:cubicBezTo>
                  <a:pt x="428" y="406"/>
                  <a:pt x="428" y="406"/>
                  <a:pt x="428" y="406"/>
                </a:cubicBezTo>
                <a:cubicBezTo>
                  <a:pt x="428" y="406"/>
                  <a:pt x="429" y="405"/>
                  <a:pt x="429" y="405"/>
                </a:cubicBezTo>
                <a:cubicBezTo>
                  <a:pt x="429" y="404"/>
                  <a:pt x="429" y="404"/>
                  <a:pt x="429" y="404"/>
                </a:cubicBezTo>
                <a:cubicBezTo>
                  <a:pt x="429" y="404"/>
                  <a:pt x="430" y="403"/>
                  <a:pt x="430" y="403"/>
                </a:cubicBezTo>
                <a:cubicBezTo>
                  <a:pt x="429" y="403"/>
                  <a:pt x="427" y="403"/>
                  <a:pt x="426" y="404"/>
                </a:cubicBezTo>
                <a:cubicBezTo>
                  <a:pt x="426" y="403"/>
                  <a:pt x="427" y="403"/>
                  <a:pt x="428" y="403"/>
                </a:cubicBezTo>
                <a:cubicBezTo>
                  <a:pt x="429" y="402"/>
                  <a:pt x="429" y="402"/>
                  <a:pt x="430" y="402"/>
                </a:cubicBezTo>
                <a:cubicBezTo>
                  <a:pt x="430" y="402"/>
                  <a:pt x="430" y="401"/>
                  <a:pt x="431" y="401"/>
                </a:cubicBezTo>
                <a:cubicBezTo>
                  <a:pt x="431" y="401"/>
                  <a:pt x="431" y="401"/>
                  <a:pt x="431" y="401"/>
                </a:cubicBezTo>
                <a:cubicBezTo>
                  <a:pt x="431" y="400"/>
                  <a:pt x="431" y="400"/>
                  <a:pt x="431" y="400"/>
                </a:cubicBezTo>
                <a:cubicBezTo>
                  <a:pt x="430" y="400"/>
                  <a:pt x="430" y="399"/>
                  <a:pt x="431" y="399"/>
                </a:cubicBezTo>
                <a:cubicBezTo>
                  <a:pt x="431" y="398"/>
                  <a:pt x="432" y="398"/>
                  <a:pt x="432" y="397"/>
                </a:cubicBezTo>
                <a:cubicBezTo>
                  <a:pt x="433" y="397"/>
                  <a:pt x="433" y="396"/>
                  <a:pt x="433" y="395"/>
                </a:cubicBezTo>
                <a:cubicBezTo>
                  <a:pt x="433" y="395"/>
                  <a:pt x="434" y="395"/>
                  <a:pt x="435" y="395"/>
                </a:cubicBezTo>
                <a:cubicBezTo>
                  <a:pt x="436" y="395"/>
                  <a:pt x="437" y="394"/>
                  <a:pt x="438" y="393"/>
                </a:cubicBezTo>
                <a:cubicBezTo>
                  <a:pt x="439" y="392"/>
                  <a:pt x="439" y="391"/>
                  <a:pt x="440" y="390"/>
                </a:cubicBezTo>
                <a:cubicBezTo>
                  <a:pt x="440" y="389"/>
                  <a:pt x="440" y="387"/>
                  <a:pt x="439" y="386"/>
                </a:cubicBezTo>
                <a:cubicBezTo>
                  <a:pt x="439" y="386"/>
                  <a:pt x="439" y="386"/>
                  <a:pt x="439" y="386"/>
                </a:cubicBezTo>
                <a:cubicBezTo>
                  <a:pt x="439" y="386"/>
                  <a:pt x="438" y="386"/>
                  <a:pt x="438" y="386"/>
                </a:cubicBezTo>
                <a:cubicBezTo>
                  <a:pt x="438" y="386"/>
                  <a:pt x="437" y="386"/>
                  <a:pt x="436" y="385"/>
                </a:cubicBezTo>
                <a:cubicBezTo>
                  <a:pt x="436" y="385"/>
                  <a:pt x="436" y="385"/>
                  <a:pt x="436" y="384"/>
                </a:cubicBezTo>
                <a:cubicBezTo>
                  <a:pt x="436" y="384"/>
                  <a:pt x="435" y="384"/>
                  <a:pt x="435" y="384"/>
                </a:cubicBezTo>
                <a:cubicBezTo>
                  <a:pt x="435" y="384"/>
                  <a:pt x="434" y="384"/>
                  <a:pt x="434" y="384"/>
                </a:cubicBezTo>
                <a:cubicBezTo>
                  <a:pt x="434" y="384"/>
                  <a:pt x="434" y="384"/>
                  <a:pt x="433" y="384"/>
                </a:cubicBezTo>
                <a:cubicBezTo>
                  <a:pt x="433" y="384"/>
                  <a:pt x="433" y="384"/>
                  <a:pt x="433" y="384"/>
                </a:cubicBezTo>
                <a:cubicBezTo>
                  <a:pt x="432" y="384"/>
                  <a:pt x="432" y="383"/>
                  <a:pt x="431" y="384"/>
                </a:cubicBezTo>
                <a:cubicBezTo>
                  <a:pt x="430" y="384"/>
                  <a:pt x="430" y="385"/>
                  <a:pt x="430" y="385"/>
                </a:cubicBezTo>
                <a:cubicBezTo>
                  <a:pt x="429" y="385"/>
                  <a:pt x="429" y="385"/>
                  <a:pt x="429" y="385"/>
                </a:cubicBezTo>
                <a:cubicBezTo>
                  <a:pt x="429" y="385"/>
                  <a:pt x="429" y="384"/>
                  <a:pt x="429" y="384"/>
                </a:cubicBezTo>
                <a:cubicBezTo>
                  <a:pt x="429" y="384"/>
                  <a:pt x="429" y="384"/>
                  <a:pt x="429" y="384"/>
                </a:cubicBezTo>
                <a:cubicBezTo>
                  <a:pt x="429" y="383"/>
                  <a:pt x="429" y="383"/>
                  <a:pt x="429" y="383"/>
                </a:cubicBezTo>
                <a:cubicBezTo>
                  <a:pt x="429" y="383"/>
                  <a:pt x="429" y="382"/>
                  <a:pt x="429" y="382"/>
                </a:cubicBezTo>
                <a:cubicBezTo>
                  <a:pt x="429" y="382"/>
                  <a:pt x="428" y="382"/>
                  <a:pt x="428" y="382"/>
                </a:cubicBezTo>
                <a:cubicBezTo>
                  <a:pt x="428" y="382"/>
                  <a:pt x="428" y="382"/>
                  <a:pt x="429" y="382"/>
                </a:cubicBezTo>
                <a:cubicBezTo>
                  <a:pt x="429" y="381"/>
                  <a:pt x="429" y="381"/>
                  <a:pt x="429" y="380"/>
                </a:cubicBezTo>
                <a:cubicBezTo>
                  <a:pt x="430" y="380"/>
                  <a:pt x="430" y="379"/>
                  <a:pt x="430" y="378"/>
                </a:cubicBezTo>
                <a:cubicBezTo>
                  <a:pt x="430" y="377"/>
                  <a:pt x="431" y="377"/>
                  <a:pt x="432" y="377"/>
                </a:cubicBezTo>
                <a:cubicBezTo>
                  <a:pt x="432" y="377"/>
                  <a:pt x="432" y="377"/>
                  <a:pt x="432" y="377"/>
                </a:cubicBezTo>
                <a:cubicBezTo>
                  <a:pt x="432" y="376"/>
                  <a:pt x="432" y="376"/>
                  <a:pt x="432" y="376"/>
                </a:cubicBezTo>
                <a:cubicBezTo>
                  <a:pt x="431" y="376"/>
                  <a:pt x="431" y="376"/>
                  <a:pt x="431" y="376"/>
                </a:cubicBezTo>
                <a:cubicBezTo>
                  <a:pt x="432" y="376"/>
                  <a:pt x="432" y="376"/>
                  <a:pt x="432" y="375"/>
                </a:cubicBezTo>
                <a:cubicBezTo>
                  <a:pt x="433" y="375"/>
                  <a:pt x="434" y="375"/>
                  <a:pt x="434" y="375"/>
                </a:cubicBezTo>
                <a:cubicBezTo>
                  <a:pt x="435" y="374"/>
                  <a:pt x="435" y="374"/>
                  <a:pt x="435" y="374"/>
                </a:cubicBezTo>
                <a:cubicBezTo>
                  <a:pt x="435" y="373"/>
                  <a:pt x="435" y="373"/>
                  <a:pt x="435" y="373"/>
                </a:cubicBezTo>
                <a:cubicBezTo>
                  <a:pt x="435" y="373"/>
                  <a:pt x="435" y="373"/>
                  <a:pt x="435" y="373"/>
                </a:cubicBezTo>
                <a:cubicBezTo>
                  <a:pt x="435" y="373"/>
                  <a:pt x="435" y="372"/>
                  <a:pt x="435" y="372"/>
                </a:cubicBezTo>
                <a:cubicBezTo>
                  <a:pt x="435" y="372"/>
                  <a:pt x="435" y="372"/>
                  <a:pt x="435" y="372"/>
                </a:cubicBezTo>
                <a:cubicBezTo>
                  <a:pt x="436" y="372"/>
                  <a:pt x="436" y="372"/>
                  <a:pt x="436" y="372"/>
                </a:cubicBezTo>
                <a:cubicBezTo>
                  <a:pt x="437" y="372"/>
                  <a:pt x="437" y="372"/>
                  <a:pt x="437" y="372"/>
                </a:cubicBezTo>
                <a:cubicBezTo>
                  <a:pt x="437" y="371"/>
                  <a:pt x="437" y="371"/>
                  <a:pt x="437" y="370"/>
                </a:cubicBezTo>
                <a:cubicBezTo>
                  <a:pt x="437" y="370"/>
                  <a:pt x="436" y="370"/>
                  <a:pt x="436" y="370"/>
                </a:cubicBezTo>
                <a:cubicBezTo>
                  <a:pt x="436" y="370"/>
                  <a:pt x="436" y="370"/>
                  <a:pt x="436" y="369"/>
                </a:cubicBezTo>
                <a:cubicBezTo>
                  <a:pt x="436" y="369"/>
                  <a:pt x="436" y="369"/>
                  <a:pt x="436" y="369"/>
                </a:cubicBezTo>
                <a:cubicBezTo>
                  <a:pt x="436" y="369"/>
                  <a:pt x="436" y="369"/>
                  <a:pt x="436" y="369"/>
                </a:cubicBezTo>
                <a:cubicBezTo>
                  <a:pt x="436" y="369"/>
                  <a:pt x="436" y="369"/>
                  <a:pt x="437" y="369"/>
                </a:cubicBezTo>
                <a:cubicBezTo>
                  <a:pt x="437" y="369"/>
                  <a:pt x="437" y="369"/>
                  <a:pt x="437" y="369"/>
                </a:cubicBezTo>
                <a:cubicBezTo>
                  <a:pt x="437" y="370"/>
                  <a:pt x="438" y="370"/>
                  <a:pt x="438" y="369"/>
                </a:cubicBezTo>
                <a:cubicBezTo>
                  <a:pt x="438" y="369"/>
                  <a:pt x="438" y="369"/>
                  <a:pt x="438" y="369"/>
                </a:cubicBezTo>
                <a:cubicBezTo>
                  <a:pt x="438" y="368"/>
                  <a:pt x="439" y="367"/>
                  <a:pt x="439" y="367"/>
                </a:cubicBezTo>
                <a:cubicBezTo>
                  <a:pt x="438" y="366"/>
                  <a:pt x="438" y="366"/>
                  <a:pt x="438" y="366"/>
                </a:cubicBezTo>
                <a:cubicBezTo>
                  <a:pt x="438" y="366"/>
                  <a:pt x="439" y="365"/>
                  <a:pt x="439" y="365"/>
                </a:cubicBezTo>
                <a:cubicBezTo>
                  <a:pt x="439" y="365"/>
                  <a:pt x="439" y="366"/>
                  <a:pt x="439" y="366"/>
                </a:cubicBezTo>
                <a:cubicBezTo>
                  <a:pt x="440" y="366"/>
                  <a:pt x="440" y="366"/>
                  <a:pt x="440" y="367"/>
                </a:cubicBezTo>
                <a:cubicBezTo>
                  <a:pt x="440" y="367"/>
                  <a:pt x="439" y="368"/>
                  <a:pt x="439" y="368"/>
                </a:cubicBezTo>
                <a:cubicBezTo>
                  <a:pt x="439" y="369"/>
                  <a:pt x="439" y="369"/>
                  <a:pt x="439" y="369"/>
                </a:cubicBezTo>
                <a:cubicBezTo>
                  <a:pt x="439" y="369"/>
                  <a:pt x="439" y="370"/>
                  <a:pt x="439" y="370"/>
                </a:cubicBezTo>
                <a:cubicBezTo>
                  <a:pt x="439" y="370"/>
                  <a:pt x="440" y="370"/>
                  <a:pt x="440" y="370"/>
                </a:cubicBezTo>
                <a:cubicBezTo>
                  <a:pt x="441" y="370"/>
                  <a:pt x="441" y="370"/>
                  <a:pt x="441" y="369"/>
                </a:cubicBezTo>
                <a:cubicBezTo>
                  <a:pt x="442" y="369"/>
                  <a:pt x="442" y="369"/>
                  <a:pt x="442" y="369"/>
                </a:cubicBezTo>
                <a:cubicBezTo>
                  <a:pt x="443" y="369"/>
                  <a:pt x="443" y="368"/>
                  <a:pt x="443" y="368"/>
                </a:cubicBezTo>
                <a:cubicBezTo>
                  <a:pt x="443" y="367"/>
                  <a:pt x="445" y="365"/>
                  <a:pt x="444" y="364"/>
                </a:cubicBezTo>
                <a:cubicBezTo>
                  <a:pt x="444" y="364"/>
                  <a:pt x="444" y="364"/>
                  <a:pt x="444" y="364"/>
                </a:cubicBezTo>
                <a:cubicBezTo>
                  <a:pt x="443" y="364"/>
                  <a:pt x="443" y="364"/>
                  <a:pt x="442" y="364"/>
                </a:cubicBezTo>
                <a:cubicBezTo>
                  <a:pt x="442" y="364"/>
                  <a:pt x="442" y="364"/>
                  <a:pt x="442" y="364"/>
                </a:cubicBezTo>
                <a:cubicBezTo>
                  <a:pt x="442" y="364"/>
                  <a:pt x="441" y="364"/>
                  <a:pt x="442" y="364"/>
                </a:cubicBezTo>
                <a:cubicBezTo>
                  <a:pt x="443" y="363"/>
                  <a:pt x="445" y="364"/>
                  <a:pt x="446" y="363"/>
                </a:cubicBezTo>
                <a:cubicBezTo>
                  <a:pt x="447" y="363"/>
                  <a:pt x="447" y="363"/>
                  <a:pt x="448" y="363"/>
                </a:cubicBezTo>
                <a:cubicBezTo>
                  <a:pt x="448" y="363"/>
                  <a:pt x="448" y="362"/>
                  <a:pt x="448" y="362"/>
                </a:cubicBezTo>
                <a:cubicBezTo>
                  <a:pt x="449" y="361"/>
                  <a:pt x="449" y="361"/>
                  <a:pt x="449" y="360"/>
                </a:cubicBezTo>
                <a:cubicBezTo>
                  <a:pt x="449" y="360"/>
                  <a:pt x="449" y="359"/>
                  <a:pt x="449" y="359"/>
                </a:cubicBezTo>
                <a:cubicBezTo>
                  <a:pt x="449" y="358"/>
                  <a:pt x="449" y="358"/>
                  <a:pt x="449" y="357"/>
                </a:cubicBezTo>
                <a:cubicBezTo>
                  <a:pt x="448" y="357"/>
                  <a:pt x="448" y="356"/>
                  <a:pt x="447" y="355"/>
                </a:cubicBezTo>
                <a:cubicBezTo>
                  <a:pt x="447" y="355"/>
                  <a:pt x="446" y="355"/>
                  <a:pt x="446" y="354"/>
                </a:cubicBezTo>
                <a:cubicBezTo>
                  <a:pt x="445" y="354"/>
                  <a:pt x="445" y="354"/>
                  <a:pt x="445" y="354"/>
                </a:cubicBezTo>
                <a:cubicBezTo>
                  <a:pt x="445" y="353"/>
                  <a:pt x="446" y="353"/>
                  <a:pt x="446" y="353"/>
                </a:cubicBezTo>
                <a:cubicBezTo>
                  <a:pt x="446" y="353"/>
                  <a:pt x="447" y="354"/>
                  <a:pt x="447" y="354"/>
                </a:cubicBezTo>
                <a:cubicBezTo>
                  <a:pt x="447" y="354"/>
                  <a:pt x="447" y="354"/>
                  <a:pt x="448" y="355"/>
                </a:cubicBezTo>
                <a:cubicBezTo>
                  <a:pt x="448" y="355"/>
                  <a:pt x="448" y="354"/>
                  <a:pt x="449" y="354"/>
                </a:cubicBezTo>
                <a:cubicBezTo>
                  <a:pt x="449" y="354"/>
                  <a:pt x="449" y="354"/>
                  <a:pt x="449" y="354"/>
                </a:cubicBezTo>
                <a:cubicBezTo>
                  <a:pt x="450" y="355"/>
                  <a:pt x="450" y="354"/>
                  <a:pt x="451" y="354"/>
                </a:cubicBezTo>
                <a:cubicBezTo>
                  <a:pt x="451" y="354"/>
                  <a:pt x="452" y="353"/>
                  <a:pt x="452" y="352"/>
                </a:cubicBezTo>
                <a:cubicBezTo>
                  <a:pt x="452" y="352"/>
                  <a:pt x="452" y="352"/>
                  <a:pt x="453" y="352"/>
                </a:cubicBezTo>
                <a:cubicBezTo>
                  <a:pt x="453" y="351"/>
                  <a:pt x="453" y="351"/>
                  <a:pt x="454" y="351"/>
                </a:cubicBezTo>
                <a:cubicBezTo>
                  <a:pt x="454" y="350"/>
                  <a:pt x="454" y="350"/>
                  <a:pt x="454" y="349"/>
                </a:cubicBezTo>
                <a:cubicBezTo>
                  <a:pt x="454" y="349"/>
                  <a:pt x="453" y="349"/>
                  <a:pt x="453" y="349"/>
                </a:cubicBezTo>
                <a:cubicBezTo>
                  <a:pt x="453" y="349"/>
                  <a:pt x="453" y="348"/>
                  <a:pt x="453" y="348"/>
                </a:cubicBezTo>
                <a:cubicBezTo>
                  <a:pt x="453" y="348"/>
                  <a:pt x="453" y="347"/>
                  <a:pt x="454" y="347"/>
                </a:cubicBezTo>
                <a:cubicBezTo>
                  <a:pt x="455" y="346"/>
                  <a:pt x="456" y="344"/>
                  <a:pt x="457" y="342"/>
                </a:cubicBezTo>
                <a:cubicBezTo>
                  <a:pt x="458" y="342"/>
                  <a:pt x="458" y="341"/>
                  <a:pt x="459" y="341"/>
                </a:cubicBezTo>
                <a:cubicBezTo>
                  <a:pt x="459" y="341"/>
                  <a:pt x="460" y="342"/>
                  <a:pt x="461" y="342"/>
                </a:cubicBezTo>
                <a:cubicBezTo>
                  <a:pt x="461" y="341"/>
                  <a:pt x="461" y="341"/>
                  <a:pt x="461" y="340"/>
                </a:cubicBezTo>
                <a:cubicBezTo>
                  <a:pt x="461" y="339"/>
                  <a:pt x="460" y="339"/>
                  <a:pt x="460" y="338"/>
                </a:cubicBezTo>
                <a:cubicBezTo>
                  <a:pt x="460" y="337"/>
                  <a:pt x="461" y="336"/>
                  <a:pt x="462" y="335"/>
                </a:cubicBezTo>
                <a:cubicBezTo>
                  <a:pt x="464" y="334"/>
                  <a:pt x="465" y="334"/>
                  <a:pt x="466" y="333"/>
                </a:cubicBezTo>
                <a:cubicBezTo>
                  <a:pt x="467" y="333"/>
                  <a:pt x="468" y="331"/>
                  <a:pt x="469" y="330"/>
                </a:cubicBezTo>
                <a:cubicBezTo>
                  <a:pt x="471" y="329"/>
                  <a:pt x="473" y="328"/>
                  <a:pt x="474" y="326"/>
                </a:cubicBezTo>
                <a:cubicBezTo>
                  <a:pt x="475" y="325"/>
                  <a:pt x="475" y="324"/>
                  <a:pt x="475" y="322"/>
                </a:cubicBezTo>
                <a:cubicBezTo>
                  <a:pt x="475" y="321"/>
                  <a:pt x="475" y="321"/>
                  <a:pt x="476" y="320"/>
                </a:cubicBezTo>
                <a:cubicBezTo>
                  <a:pt x="476" y="321"/>
                  <a:pt x="477" y="322"/>
                  <a:pt x="476" y="322"/>
                </a:cubicBezTo>
                <a:cubicBezTo>
                  <a:pt x="476" y="323"/>
                  <a:pt x="476" y="324"/>
                  <a:pt x="476" y="325"/>
                </a:cubicBezTo>
                <a:cubicBezTo>
                  <a:pt x="476" y="326"/>
                  <a:pt x="476" y="326"/>
                  <a:pt x="476" y="326"/>
                </a:cubicBezTo>
                <a:cubicBezTo>
                  <a:pt x="477" y="327"/>
                  <a:pt x="477" y="327"/>
                  <a:pt x="478" y="327"/>
                </a:cubicBezTo>
                <a:cubicBezTo>
                  <a:pt x="479" y="327"/>
                  <a:pt x="479" y="327"/>
                  <a:pt x="480" y="327"/>
                </a:cubicBezTo>
                <a:cubicBezTo>
                  <a:pt x="481" y="327"/>
                  <a:pt x="482" y="328"/>
                  <a:pt x="483" y="328"/>
                </a:cubicBezTo>
                <a:cubicBezTo>
                  <a:pt x="484" y="327"/>
                  <a:pt x="484" y="326"/>
                  <a:pt x="484" y="326"/>
                </a:cubicBezTo>
                <a:cubicBezTo>
                  <a:pt x="484" y="324"/>
                  <a:pt x="485" y="323"/>
                  <a:pt x="486" y="322"/>
                </a:cubicBezTo>
                <a:cubicBezTo>
                  <a:pt x="487" y="321"/>
                  <a:pt x="488" y="321"/>
                  <a:pt x="489" y="321"/>
                </a:cubicBezTo>
                <a:cubicBezTo>
                  <a:pt x="490" y="321"/>
                  <a:pt x="491" y="321"/>
                  <a:pt x="492" y="320"/>
                </a:cubicBezTo>
                <a:cubicBezTo>
                  <a:pt x="493" y="320"/>
                  <a:pt x="494" y="320"/>
                  <a:pt x="494" y="320"/>
                </a:cubicBezTo>
                <a:cubicBezTo>
                  <a:pt x="492" y="322"/>
                  <a:pt x="488" y="323"/>
                  <a:pt x="486" y="325"/>
                </a:cubicBezTo>
                <a:cubicBezTo>
                  <a:pt x="485" y="326"/>
                  <a:pt x="485" y="327"/>
                  <a:pt x="484" y="328"/>
                </a:cubicBezTo>
                <a:cubicBezTo>
                  <a:pt x="483" y="329"/>
                  <a:pt x="483" y="329"/>
                  <a:pt x="482" y="330"/>
                </a:cubicBezTo>
                <a:cubicBezTo>
                  <a:pt x="483" y="330"/>
                  <a:pt x="484" y="331"/>
                  <a:pt x="485" y="332"/>
                </a:cubicBezTo>
                <a:cubicBezTo>
                  <a:pt x="485" y="332"/>
                  <a:pt x="485" y="333"/>
                  <a:pt x="486" y="333"/>
                </a:cubicBezTo>
                <a:cubicBezTo>
                  <a:pt x="487" y="333"/>
                  <a:pt x="487" y="333"/>
                  <a:pt x="488" y="334"/>
                </a:cubicBezTo>
                <a:cubicBezTo>
                  <a:pt x="489" y="334"/>
                  <a:pt x="491" y="335"/>
                  <a:pt x="492" y="336"/>
                </a:cubicBezTo>
                <a:cubicBezTo>
                  <a:pt x="493" y="335"/>
                  <a:pt x="495" y="336"/>
                  <a:pt x="496" y="338"/>
                </a:cubicBezTo>
                <a:cubicBezTo>
                  <a:pt x="492" y="337"/>
                  <a:pt x="489" y="335"/>
                  <a:pt x="486" y="335"/>
                </a:cubicBezTo>
                <a:cubicBezTo>
                  <a:pt x="485" y="335"/>
                  <a:pt x="483" y="336"/>
                  <a:pt x="482" y="336"/>
                </a:cubicBezTo>
                <a:cubicBezTo>
                  <a:pt x="481" y="336"/>
                  <a:pt x="480" y="336"/>
                  <a:pt x="479" y="335"/>
                </a:cubicBezTo>
                <a:cubicBezTo>
                  <a:pt x="479" y="334"/>
                  <a:pt x="479" y="334"/>
                  <a:pt x="478" y="333"/>
                </a:cubicBezTo>
                <a:cubicBezTo>
                  <a:pt x="478" y="333"/>
                  <a:pt x="477" y="333"/>
                  <a:pt x="477" y="334"/>
                </a:cubicBezTo>
                <a:cubicBezTo>
                  <a:pt x="475" y="335"/>
                  <a:pt x="474" y="336"/>
                  <a:pt x="473" y="337"/>
                </a:cubicBezTo>
                <a:cubicBezTo>
                  <a:pt x="472" y="337"/>
                  <a:pt x="471" y="338"/>
                  <a:pt x="470" y="339"/>
                </a:cubicBezTo>
                <a:cubicBezTo>
                  <a:pt x="469" y="340"/>
                  <a:pt x="467" y="340"/>
                  <a:pt x="466" y="342"/>
                </a:cubicBezTo>
                <a:cubicBezTo>
                  <a:pt x="465" y="342"/>
                  <a:pt x="465" y="343"/>
                  <a:pt x="465" y="343"/>
                </a:cubicBezTo>
                <a:cubicBezTo>
                  <a:pt x="465" y="343"/>
                  <a:pt x="465" y="344"/>
                  <a:pt x="465" y="344"/>
                </a:cubicBezTo>
                <a:cubicBezTo>
                  <a:pt x="466" y="345"/>
                  <a:pt x="466" y="346"/>
                  <a:pt x="467" y="347"/>
                </a:cubicBezTo>
                <a:cubicBezTo>
                  <a:pt x="467" y="348"/>
                  <a:pt x="467" y="349"/>
                  <a:pt x="466" y="350"/>
                </a:cubicBezTo>
                <a:cubicBezTo>
                  <a:pt x="466" y="350"/>
                  <a:pt x="466" y="350"/>
                  <a:pt x="466" y="351"/>
                </a:cubicBezTo>
                <a:cubicBezTo>
                  <a:pt x="465" y="351"/>
                  <a:pt x="465" y="352"/>
                  <a:pt x="465" y="353"/>
                </a:cubicBezTo>
                <a:cubicBezTo>
                  <a:pt x="465" y="354"/>
                  <a:pt x="464" y="355"/>
                  <a:pt x="463" y="356"/>
                </a:cubicBezTo>
                <a:cubicBezTo>
                  <a:pt x="462" y="358"/>
                  <a:pt x="461" y="359"/>
                  <a:pt x="461" y="361"/>
                </a:cubicBezTo>
                <a:cubicBezTo>
                  <a:pt x="461" y="362"/>
                  <a:pt x="460" y="363"/>
                  <a:pt x="460" y="364"/>
                </a:cubicBezTo>
                <a:cubicBezTo>
                  <a:pt x="460" y="364"/>
                  <a:pt x="459" y="365"/>
                  <a:pt x="459" y="366"/>
                </a:cubicBezTo>
                <a:cubicBezTo>
                  <a:pt x="459" y="366"/>
                  <a:pt x="460" y="367"/>
                  <a:pt x="460" y="368"/>
                </a:cubicBezTo>
                <a:cubicBezTo>
                  <a:pt x="461" y="368"/>
                  <a:pt x="462" y="369"/>
                  <a:pt x="462" y="369"/>
                </a:cubicBezTo>
                <a:cubicBezTo>
                  <a:pt x="463" y="369"/>
                  <a:pt x="463" y="369"/>
                  <a:pt x="463" y="369"/>
                </a:cubicBezTo>
                <a:cubicBezTo>
                  <a:pt x="464" y="369"/>
                  <a:pt x="465" y="369"/>
                  <a:pt x="465" y="369"/>
                </a:cubicBezTo>
                <a:cubicBezTo>
                  <a:pt x="466" y="368"/>
                  <a:pt x="467" y="368"/>
                  <a:pt x="468" y="367"/>
                </a:cubicBezTo>
                <a:cubicBezTo>
                  <a:pt x="468" y="366"/>
                  <a:pt x="469" y="366"/>
                  <a:pt x="469" y="366"/>
                </a:cubicBezTo>
                <a:cubicBezTo>
                  <a:pt x="469" y="366"/>
                  <a:pt x="470" y="366"/>
                  <a:pt x="470" y="366"/>
                </a:cubicBezTo>
                <a:cubicBezTo>
                  <a:pt x="469" y="367"/>
                  <a:pt x="469" y="368"/>
                  <a:pt x="468" y="369"/>
                </a:cubicBezTo>
                <a:cubicBezTo>
                  <a:pt x="468" y="369"/>
                  <a:pt x="468" y="369"/>
                  <a:pt x="468" y="369"/>
                </a:cubicBezTo>
                <a:cubicBezTo>
                  <a:pt x="467" y="369"/>
                  <a:pt x="467" y="369"/>
                  <a:pt x="468" y="370"/>
                </a:cubicBezTo>
                <a:cubicBezTo>
                  <a:pt x="468" y="370"/>
                  <a:pt x="468" y="370"/>
                  <a:pt x="468" y="370"/>
                </a:cubicBezTo>
                <a:cubicBezTo>
                  <a:pt x="468" y="370"/>
                  <a:pt x="468" y="370"/>
                  <a:pt x="469" y="371"/>
                </a:cubicBezTo>
                <a:cubicBezTo>
                  <a:pt x="468" y="371"/>
                  <a:pt x="467" y="371"/>
                  <a:pt x="467" y="371"/>
                </a:cubicBezTo>
                <a:cubicBezTo>
                  <a:pt x="467" y="371"/>
                  <a:pt x="466" y="371"/>
                  <a:pt x="466" y="371"/>
                </a:cubicBezTo>
                <a:cubicBezTo>
                  <a:pt x="466" y="372"/>
                  <a:pt x="465" y="371"/>
                  <a:pt x="465" y="372"/>
                </a:cubicBezTo>
                <a:cubicBezTo>
                  <a:pt x="465" y="372"/>
                  <a:pt x="464" y="372"/>
                  <a:pt x="464" y="372"/>
                </a:cubicBezTo>
                <a:cubicBezTo>
                  <a:pt x="464" y="373"/>
                  <a:pt x="465" y="373"/>
                  <a:pt x="465" y="373"/>
                </a:cubicBezTo>
                <a:cubicBezTo>
                  <a:pt x="465" y="374"/>
                  <a:pt x="465" y="374"/>
                  <a:pt x="464" y="374"/>
                </a:cubicBezTo>
                <a:cubicBezTo>
                  <a:pt x="464" y="374"/>
                  <a:pt x="463" y="374"/>
                  <a:pt x="462" y="374"/>
                </a:cubicBezTo>
                <a:cubicBezTo>
                  <a:pt x="462" y="374"/>
                  <a:pt x="461" y="374"/>
                  <a:pt x="461" y="374"/>
                </a:cubicBezTo>
                <a:cubicBezTo>
                  <a:pt x="461" y="375"/>
                  <a:pt x="460" y="374"/>
                  <a:pt x="460" y="374"/>
                </a:cubicBezTo>
                <a:cubicBezTo>
                  <a:pt x="460" y="374"/>
                  <a:pt x="459" y="375"/>
                  <a:pt x="459" y="375"/>
                </a:cubicBezTo>
                <a:cubicBezTo>
                  <a:pt x="459" y="375"/>
                  <a:pt x="459" y="375"/>
                  <a:pt x="459" y="375"/>
                </a:cubicBezTo>
                <a:cubicBezTo>
                  <a:pt x="459" y="375"/>
                  <a:pt x="459" y="376"/>
                  <a:pt x="459" y="376"/>
                </a:cubicBezTo>
                <a:cubicBezTo>
                  <a:pt x="459" y="376"/>
                  <a:pt x="459" y="376"/>
                  <a:pt x="459" y="376"/>
                </a:cubicBezTo>
                <a:cubicBezTo>
                  <a:pt x="459" y="376"/>
                  <a:pt x="459" y="376"/>
                  <a:pt x="459" y="376"/>
                </a:cubicBezTo>
                <a:cubicBezTo>
                  <a:pt x="459" y="377"/>
                  <a:pt x="459" y="377"/>
                  <a:pt x="458" y="377"/>
                </a:cubicBezTo>
                <a:cubicBezTo>
                  <a:pt x="458" y="377"/>
                  <a:pt x="458" y="377"/>
                  <a:pt x="457" y="377"/>
                </a:cubicBezTo>
                <a:cubicBezTo>
                  <a:pt x="457" y="377"/>
                  <a:pt x="457" y="378"/>
                  <a:pt x="457" y="378"/>
                </a:cubicBezTo>
                <a:cubicBezTo>
                  <a:pt x="458" y="379"/>
                  <a:pt x="458" y="379"/>
                  <a:pt x="458" y="379"/>
                </a:cubicBezTo>
                <a:cubicBezTo>
                  <a:pt x="458" y="380"/>
                  <a:pt x="458" y="380"/>
                  <a:pt x="458" y="380"/>
                </a:cubicBezTo>
                <a:cubicBezTo>
                  <a:pt x="458" y="380"/>
                  <a:pt x="459" y="381"/>
                  <a:pt x="460" y="380"/>
                </a:cubicBezTo>
                <a:cubicBezTo>
                  <a:pt x="460" y="380"/>
                  <a:pt x="460" y="380"/>
                  <a:pt x="460" y="380"/>
                </a:cubicBezTo>
                <a:cubicBezTo>
                  <a:pt x="460" y="381"/>
                  <a:pt x="460" y="381"/>
                  <a:pt x="460" y="381"/>
                </a:cubicBezTo>
                <a:cubicBezTo>
                  <a:pt x="460" y="381"/>
                  <a:pt x="461" y="381"/>
                  <a:pt x="461" y="381"/>
                </a:cubicBezTo>
                <a:cubicBezTo>
                  <a:pt x="462" y="381"/>
                  <a:pt x="462" y="381"/>
                  <a:pt x="462" y="381"/>
                </a:cubicBezTo>
                <a:cubicBezTo>
                  <a:pt x="463" y="381"/>
                  <a:pt x="463" y="380"/>
                  <a:pt x="463" y="380"/>
                </a:cubicBezTo>
                <a:cubicBezTo>
                  <a:pt x="463" y="380"/>
                  <a:pt x="463" y="380"/>
                  <a:pt x="463" y="380"/>
                </a:cubicBezTo>
                <a:cubicBezTo>
                  <a:pt x="464" y="380"/>
                  <a:pt x="464" y="380"/>
                  <a:pt x="465" y="380"/>
                </a:cubicBezTo>
                <a:cubicBezTo>
                  <a:pt x="465" y="379"/>
                  <a:pt x="466" y="380"/>
                  <a:pt x="466" y="380"/>
                </a:cubicBezTo>
                <a:cubicBezTo>
                  <a:pt x="466" y="380"/>
                  <a:pt x="467" y="381"/>
                  <a:pt x="467" y="381"/>
                </a:cubicBezTo>
                <a:cubicBezTo>
                  <a:pt x="467" y="381"/>
                  <a:pt x="468" y="381"/>
                  <a:pt x="468" y="381"/>
                </a:cubicBezTo>
                <a:cubicBezTo>
                  <a:pt x="469" y="380"/>
                  <a:pt x="469" y="380"/>
                  <a:pt x="469" y="379"/>
                </a:cubicBezTo>
                <a:cubicBezTo>
                  <a:pt x="469" y="379"/>
                  <a:pt x="469" y="379"/>
                  <a:pt x="469" y="379"/>
                </a:cubicBezTo>
                <a:cubicBezTo>
                  <a:pt x="469" y="379"/>
                  <a:pt x="469" y="379"/>
                  <a:pt x="469" y="379"/>
                </a:cubicBezTo>
                <a:cubicBezTo>
                  <a:pt x="468" y="379"/>
                  <a:pt x="468" y="378"/>
                  <a:pt x="467" y="378"/>
                </a:cubicBezTo>
                <a:cubicBezTo>
                  <a:pt x="467" y="378"/>
                  <a:pt x="467" y="378"/>
                  <a:pt x="466" y="378"/>
                </a:cubicBezTo>
                <a:cubicBezTo>
                  <a:pt x="466" y="378"/>
                  <a:pt x="466" y="378"/>
                  <a:pt x="466" y="378"/>
                </a:cubicBezTo>
                <a:cubicBezTo>
                  <a:pt x="468" y="378"/>
                  <a:pt x="469" y="378"/>
                  <a:pt x="470" y="379"/>
                </a:cubicBezTo>
                <a:cubicBezTo>
                  <a:pt x="470" y="379"/>
                  <a:pt x="470" y="379"/>
                  <a:pt x="470" y="379"/>
                </a:cubicBezTo>
                <a:cubicBezTo>
                  <a:pt x="470" y="379"/>
                  <a:pt x="470" y="380"/>
                  <a:pt x="470" y="380"/>
                </a:cubicBezTo>
                <a:cubicBezTo>
                  <a:pt x="470" y="380"/>
                  <a:pt x="470" y="380"/>
                  <a:pt x="470" y="380"/>
                </a:cubicBezTo>
                <a:cubicBezTo>
                  <a:pt x="471" y="380"/>
                  <a:pt x="471" y="380"/>
                  <a:pt x="471" y="380"/>
                </a:cubicBezTo>
                <a:cubicBezTo>
                  <a:pt x="471" y="379"/>
                  <a:pt x="472" y="379"/>
                  <a:pt x="471" y="379"/>
                </a:cubicBezTo>
                <a:cubicBezTo>
                  <a:pt x="471" y="378"/>
                  <a:pt x="471" y="378"/>
                  <a:pt x="471" y="378"/>
                </a:cubicBezTo>
                <a:cubicBezTo>
                  <a:pt x="471" y="378"/>
                  <a:pt x="471" y="378"/>
                  <a:pt x="471" y="377"/>
                </a:cubicBezTo>
                <a:cubicBezTo>
                  <a:pt x="472" y="377"/>
                  <a:pt x="472" y="377"/>
                  <a:pt x="472" y="377"/>
                </a:cubicBezTo>
                <a:cubicBezTo>
                  <a:pt x="473" y="377"/>
                  <a:pt x="473" y="376"/>
                  <a:pt x="473" y="376"/>
                </a:cubicBezTo>
                <a:cubicBezTo>
                  <a:pt x="473" y="375"/>
                  <a:pt x="473" y="375"/>
                  <a:pt x="474" y="375"/>
                </a:cubicBezTo>
                <a:cubicBezTo>
                  <a:pt x="474" y="375"/>
                  <a:pt x="474" y="375"/>
                  <a:pt x="475" y="374"/>
                </a:cubicBezTo>
                <a:cubicBezTo>
                  <a:pt x="475" y="374"/>
                  <a:pt x="475" y="374"/>
                  <a:pt x="475" y="373"/>
                </a:cubicBezTo>
                <a:cubicBezTo>
                  <a:pt x="475" y="373"/>
                  <a:pt x="475" y="372"/>
                  <a:pt x="475" y="372"/>
                </a:cubicBezTo>
                <a:cubicBezTo>
                  <a:pt x="476" y="371"/>
                  <a:pt x="476" y="371"/>
                  <a:pt x="477" y="371"/>
                </a:cubicBezTo>
                <a:cubicBezTo>
                  <a:pt x="477" y="372"/>
                  <a:pt x="476" y="372"/>
                  <a:pt x="476" y="372"/>
                </a:cubicBezTo>
                <a:cubicBezTo>
                  <a:pt x="476" y="373"/>
                  <a:pt x="477" y="373"/>
                  <a:pt x="477" y="373"/>
                </a:cubicBezTo>
                <a:cubicBezTo>
                  <a:pt x="477" y="373"/>
                  <a:pt x="477" y="372"/>
                  <a:pt x="477" y="372"/>
                </a:cubicBezTo>
                <a:cubicBezTo>
                  <a:pt x="477" y="372"/>
                  <a:pt x="478" y="371"/>
                  <a:pt x="478" y="371"/>
                </a:cubicBezTo>
                <a:cubicBezTo>
                  <a:pt x="479" y="370"/>
                  <a:pt x="479" y="369"/>
                  <a:pt x="479" y="369"/>
                </a:cubicBezTo>
                <a:cubicBezTo>
                  <a:pt x="479" y="368"/>
                  <a:pt x="480" y="368"/>
                  <a:pt x="480" y="368"/>
                </a:cubicBezTo>
                <a:cubicBezTo>
                  <a:pt x="480" y="370"/>
                  <a:pt x="479" y="371"/>
                  <a:pt x="478" y="373"/>
                </a:cubicBezTo>
                <a:cubicBezTo>
                  <a:pt x="478" y="373"/>
                  <a:pt x="478" y="374"/>
                  <a:pt x="478" y="374"/>
                </a:cubicBezTo>
                <a:cubicBezTo>
                  <a:pt x="478" y="375"/>
                  <a:pt x="479" y="375"/>
                  <a:pt x="479" y="375"/>
                </a:cubicBezTo>
                <a:cubicBezTo>
                  <a:pt x="479" y="375"/>
                  <a:pt x="479" y="374"/>
                  <a:pt x="479" y="373"/>
                </a:cubicBezTo>
                <a:cubicBezTo>
                  <a:pt x="479" y="373"/>
                  <a:pt x="479" y="373"/>
                  <a:pt x="480" y="373"/>
                </a:cubicBezTo>
                <a:cubicBezTo>
                  <a:pt x="480" y="372"/>
                  <a:pt x="480" y="372"/>
                  <a:pt x="481" y="372"/>
                </a:cubicBezTo>
                <a:cubicBezTo>
                  <a:pt x="481" y="372"/>
                  <a:pt x="481" y="372"/>
                  <a:pt x="481" y="371"/>
                </a:cubicBezTo>
                <a:cubicBezTo>
                  <a:pt x="481" y="371"/>
                  <a:pt x="481" y="371"/>
                  <a:pt x="481" y="371"/>
                </a:cubicBezTo>
                <a:cubicBezTo>
                  <a:pt x="481" y="370"/>
                  <a:pt x="482" y="370"/>
                  <a:pt x="482" y="370"/>
                </a:cubicBezTo>
                <a:cubicBezTo>
                  <a:pt x="482" y="369"/>
                  <a:pt x="483" y="369"/>
                  <a:pt x="483" y="369"/>
                </a:cubicBezTo>
                <a:cubicBezTo>
                  <a:pt x="483" y="369"/>
                  <a:pt x="484" y="369"/>
                  <a:pt x="484" y="369"/>
                </a:cubicBezTo>
                <a:cubicBezTo>
                  <a:pt x="484" y="368"/>
                  <a:pt x="484" y="368"/>
                  <a:pt x="483" y="368"/>
                </a:cubicBezTo>
                <a:cubicBezTo>
                  <a:pt x="484" y="368"/>
                  <a:pt x="484" y="367"/>
                  <a:pt x="483" y="367"/>
                </a:cubicBezTo>
                <a:cubicBezTo>
                  <a:pt x="483" y="367"/>
                  <a:pt x="483" y="367"/>
                  <a:pt x="483" y="366"/>
                </a:cubicBezTo>
                <a:cubicBezTo>
                  <a:pt x="482" y="366"/>
                  <a:pt x="483" y="365"/>
                  <a:pt x="483" y="365"/>
                </a:cubicBezTo>
                <a:cubicBezTo>
                  <a:pt x="484" y="365"/>
                  <a:pt x="484" y="366"/>
                  <a:pt x="484" y="366"/>
                </a:cubicBezTo>
                <a:cubicBezTo>
                  <a:pt x="484" y="367"/>
                  <a:pt x="485" y="367"/>
                  <a:pt x="485" y="367"/>
                </a:cubicBezTo>
                <a:cubicBezTo>
                  <a:pt x="485" y="367"/>
                  <a:pt x="485" y="367"/>
                  <a:pt x="485" y="367"/>
                </a:cubicBezTo>
                <a:cubicBezTo>
                  <a:pt x="485" y="368"/>
                  <a:pt x="486" y="368"/>
                  <a:pt x="486" y="367"/>
                </a:cubicBezTo>
                <a:cubicBezTo>
                  <a:pt x="487" y="367"/>
                  <a:pt x="486" y="366"/>
                  <a:pt x="486" y="366"/>
                </a:cubicBezTo>
                <a:cubicBezTo>
                  <a:pt x="486" y="366"/>
                  <a:pt x="486" y="365"/>
                  <a:pt x="486" y="365"/>
                </a:cubicBezTo>
                <a:cubicBezTo>
                  <a:pt x="486" y="365"/>
                  <a:pt x="486" y="365"/>
                  <a:pt x="486" y="365"/>
                </a:cubicBezTo>
                <a:cubicBezTo>
                  <a:pt x="486" y="364"/>
                  <a:pt x="486" y="364"/>
                  <a:pt x="486" y="363"/>
                </a:cubicBezTo>
                <a:cubicBezTo>
                  <a:pt x="486" y="363"/>
                  <a:pt x="486" y="362"/>
                  <a:pt x="486" y="362"/>
                </a:cubicBezTo>
                <a:cubicBezTo>
                  <a:pt x="487" y="361"/>
                  <a:pt x="487" y="362"/>
                  <a:pt x="487" y="362"/>
                </a:cubicBezTo>
                <a:cubicBezTo>
                  <a:pt x="487" y="363"/>
                  <a:pt x="487" y="363"/>
                  <a:pt x="487" y="364"/>
                </a:cubicBezTo>
                <a:cubicBezTo>
                  <a:pt x="487" y="364"/>
                  <a:pt x="487" y="365"/>
                  <a:pt x="487" y="365"/>
                </a:cubicBezTo>
                <a:cubicBezTo>
                  <a:pt x="488" y="366"/>
                  <a:pt x="488" y="366"/>
                  <a:pt x="489" y="366"/>
                </a:cubicBezTo>
                <a:cubicBezTo>
                  <a:pt x="489" y="365"/>
                  <a:pt x="488" y="365"/>
                  <a:pt x="488" y="364"/>
                </a:cubicBezTo>
                <a:cubicBezTo>
                  <a:pt x="488" y="364"/>
                  <a:pt x="488" y="363"/>
                  <a:pt x="488" y="363"/>
                </a:cubicBezTo>
                <a:cubicBezTo>
                  <a:pt x="488" y="363"/>
                  <a:pt x="488" y="363"/>
                  <a:pt x="488" y="362"/>
                </a:cubicBezTo>
                <a:cubicBezTo>
                  <a:pt x="488" y="362"/>
                  <a:pt x="489" y="362"/>
                  <a:pt x="489" y="362"/>
                </a:cubicBezTo>
                <a:cubicBezTo>
                  <a:pt x="489" y="362"/>
                  <a:pt x="489" y="362"/>
                  <a:pt x="489" y="362"/>
                </a:cubicBezTo>
                <a:cubicBezTo>
                  <a:pt x="490" y="362"/>
                  <a:pt x="490" y="362"/>
                  <a:pt x="490" y="361"/>
                </a:cubicBezTo>
                <a:cubicBezTo>
                  <a:pt x="490" y="361"/>
                  <a:pt x="490" y="361"/>
                  <a:pt x="490" y="360"/>
                </a:cubicBezTo>
                <a:cubicBezTo>
                  <a:pt x="490" y="360"/>
                  <a:pt x="490" y="359"/>
                  <a:pt x="490" y="359"/>
                </a:cubicBezTo>
                <a:cubicBezTo>
                  <a:pt x="490" y="358"/>
                  <a:pt x="490" y="358"/>
                  <a:pt x="490" y="358"/>
                </a:cubicBezTo>
                <a:cubicBezTo>
                  <a:pt x="490" y="358"/>
                  <a:pt x="491" y="358"/>
                  <a:pt x="491" y="358"/>
                </a:cubicBezTo>
                <a:cubicBezTo>
                  <a:pt x="491" y="358"/>
                  <a:pt x="491" y="358"/>
                  <a:pt x="491" y="358"/>
                </a:cubicBezTo>
                <a:cubicBezTo>
                  <a:pt x="491" y="359"/>
                  <a:pt x="491" y="360"/>
                  <a:pt x="491" y="361"/>
                </a:cubicBezTo>
                <a:cubicBezTo>
                  <a:pt x="491" y="361"/>
                  <a:pt x="491" y="362"/>
                  <a:pt x="492" y="362"/>
                </a:cubicBezTo>
                <a:cubicBezTo>
                  <a:pt x="492" y="363"/>
                  <a:pt x="492" y="363"/>
                  <a:pt x="493" y="363"/>
                </a:cubicBezTo>
                <a:cubicBezTo>
                  <a:pt x="493" y="362"/>
                  <a:pt x="493" y="361"/>
                  <a:pt x="493" y="360"/>
                </a:cubicBezTo>
                <a:cubicBezTo>
                  <a:pt x="493" y="360"/>
                  <a:pt x="493" y="360"/>
                  <a:pt x="493" y="359"/>
                </a:cubicBezTo>
                <a:cubicBezTo>
                  <a:pt x="494" y="359"/>
                  <a:pt x="494" y="359"/>
                  <a:pt x="494" y="359"/>
                </a:cubicBezTo>
                <a:cubicBezTo>
                  <a:pt x="494" y="360"/>
                  <a:pt x="494" y="360"/>
                  <a:pt x="494" y="361"/>
                </a:cubicBezTo>
                <a:cubicBezTo>
                  <a:pt x="494" y="362"/>
                  <a:pt x="496" y="362"/>
                  <a:pt x="497" y="361"/>
                </a:cubicBezTo>
                <a:cubicBezTo>
                  <a:pt x="497" y="362"/>
                  <a:pt x="497" y="362"/>
                  <a:pt x="497" y="362"/>
                </a:cubicBezTo>
                <a:cubicBezTo>
                  <a:pt x="498" y="362"/>
                  <a:pt x="498" y="362"/>
                  <a:pt x="499" y="362"/>
                </a:cubicBezTo>
                <a:cubicBezTo>
                  <a:pt x="499" y="362"/>
                  <a:pt x="499" y="361"/>
                  <a:pt x="499" y="361"/>
                </a:cubicBezTo>
                <a:cubicBezTo>
                  <a:pt x="500" y="361"/>
                  <a:pt x="500" y="362"/>
                  <a:pt x="500" y="362"/>
                </a:cubicBezTo>
                <a:cubicBezTo>
                  <a:pt x="500" y="363"/>
                  <a:pt x="501" y="362"/>
                  <a:pt x="501" y="362"/>
                </a:cubicBezTo>
                <a:cubicBezTo>
                  <a:pt x="501" y="361"/>
                  <a:pt x="501" y="361"/>
                  <a:pt x="501" y="360"/>
                </a:cubicBezTo>
                <a:cubicBezTo>
                  <a:pt x="501" y="360"/>
                  <a:pt x="501" y="359"/>
                  <a:pt x="502" y="359"/>
                </a:cubicBezTo>
                <a:cubicBezTo>
                  <a:pt x="502" y="360"/>
                  <a:pt x="502" y="360"/>
                  <a:pt x="502" y="361"/>
                </a:cubicBezTo>
                <a:cubicBezTo>
                  <a:pt x="502" y="361"/>
                  <a:pt x="502" y="361"/>
                  <a:pt x="502" y="361"/>
                </a:cubicBezTo>
                <a:cubicBezTo>
                  <a:pt x="503" y="362"/>
                  <a:pt x="504" y="362"/>
                  <a:pt x="504" y="361"/>
                </a:cubicBezTo>
                <a:cubicBezTo>
                  <a:pt x="504" y="360"/>
                  <a:pt x="504" y="360"/>
                  <a:pt x="504" y="359"/>
                </a:cubicBezTo>
                <a:cubicBezTo>
                  <a:pt x="503" y="359"/>
                  <a:pt x="503" y="358"/>
                  <a:pt x="503" y="357"/>
                </a:cubicBezTo>
                <a:cubicBezTo>
                  <a:pt x="504" y="357"/>
                  <a:pt x="504" y="356"/>
                  <a:pt x="504" y="356"/>
                </a:cubicBezTo>
                <a:cubicBezTo>
                  <a:pt x="505" y="357"/>
                  <a:pt x="505" y="357"/>
                  <a:pt x="505" y="358"/>
                </a:cubicBezTo>
                <a:cubicBezTo>
                  <a:pt x="505" y="358"/>
                  <a:pt x="506" y="358"/>
                  <a:pt x="506" y="358"/>
                </a:cubicBezTo>
                <a:cubicBezTo>
                  <a:pt x="506" y="358"/>
                  <a:pt x="505" y="359"/>
                  <a:pt x="505" y="359"/>
                </a:cubicBezTo>
                <a:cubicBezTo>
                  <a:pt x="506" y="359"/>
                  <a:pt x="507" y="359"/>
                  <a:pt x="507" y="360"/>
                </a:cubicBezTo>
                <a:cubicBezTo>
                  <a:pt x="507" y="360"/>
                  <a:pt x="507" y="360"/>
                  <a:pt x="507" y="360"/>
                </a:cubicBezTo>
                <a:cubicBezTo>
                  <a:pt x="507" y="360"/>
                  <a:pt x="508" y="359"/>
                  <a:pt x="508" y="359"/>
                </a:cubicBezTo>
                <a:cubicBezTo>
                  <a:pt x="508" y="359"/>
                  <a:pt x="508" y="358"/>
                  <a:pt x="508" y="358"/>
                </a:cubicBezTo>
                <a:cubicBezTo>
                  <a:pt x="509" y="358"/>
                  <a:pt x="509" y="358"/>
                  <a:pt x="510" y="358"/>
                </a:cubicBezTo>
                <a:cubicBezTo>
                  <a:pt x="510" y="357"/>
                  <a:pt x="510" y="357"/>
                  <a:pt x="509" y="357"/>
                </a:cubicBezTo>
                <a:cubicBezTo>
                  <a:pt x="509" y="357"/>
                  <a:pt x="509" y="357"/>
                  <a:pt x="509" y="357"/>
                </a:cubicBezTo>
                <a:cubicBezTo>
                  <a:pt x="509" y="357"/>
                  <a:pt x="508" y="357"/>
                  <a:pt x="508" y="357"/>
                </a:cubicBezTo>
                <a:cubicBezTo>
                  <a:pt x="508" y="357"/>
                  <a:pt x="508" y="358"/>
                  <a:pt x="507" y="358"/>
                </a:cubicBezTo>
                <a:cubicBezTo>
                  <a:pt x="507" y="358"/>
                  <a:pt x="507" y="357"/>
                  <a:pt x="507" y="357"/>
                </a:cubicBezTo>
                <a:cubicBezTo>
                  <a:pt x="507" y="357"/>
                  <a:pt x="507" y="356"/>
                  <a:pt x="507" y="356"/>
                </a:cubicBezTo>
                <a:cubicBezTo>
                  <a:pt x="507" y="356"/>
                  <a:pt x="507" y="356"/>
                  <a:pt x="507" y="355"/>
                </a:cubicBezTo>
                <a:cubicBezTo>
                  <a:pt x="507" y="355"/>
                  <a:pt x="508" y="355"/>
                  <a:pt x="508" y="355"/>
                </a:cubicBezTo>
                <a:cubicBezTo>
                  <a:pt x="508" y="355"/>
                  <a:pt x="507" y="355"/>
                  <a:pt x="507" y="355"/>
                </a:cubicBezTo>
                <a:cubicBezTo>
                  <a:pt x="507" y="355"/>
                  <a:pt x="507" y="355"/>
                  <a:pt x="507" y="355"/>
                </a:cubicBezTo>
                <a:cubicBezTo>
                  <a:pt x="506" y="355"/>
                  <a:pt x="506" y="354"/>
                  <a:pt x="506" y="354"/>
                </a:cubicBezTo>
                <a:cubicBezTo>
                  <a:pt x="505" y="354"/>
                  <a:pt x="505" y="354"/>
                  <a:pt x="505" y="354"/>
                </a:cubicBezTo>
                <a:cubicBezTo>
                  <a:pt x="505" y="355"/>
                  <a:pt x="504" y="355"/>
                  <a:pt x="504" y="355"/>
                </a:cubicBezTo>
                <a:cubicBezTo>
                  <a:pt x="504" y="355"/>
                  <a:pt x="504" y="354"/>
                  <a:pt x="504" y="354"/>
                </a:cubicBezTo>
                <a:cubicBezTo>
                  <a:pt x="505" y="354"/>
                  <a:pt x="505" y="353"/>
                  <a:pt x="504" y="353"/>
                </a:cubicBezTo>
                <a:cubicBezTo>
                  <a:pt x="504" y="353"/>
                  <a:pt x="504" y="353"/>
                  <a:pt x="504" y="353"/>
                </a:cubicBezTo>
                <a:cubicBezTo>
                  <a:pt x="504" y="353"/>
                  <a:pt x="504" y="353"/>
                  <a:pt x="504" y="353"/>
                </a:cubicBezTo>
                <a:cubicBezTo>
                  <a:pt x="504" y="353"/>
                  <a:pt x="505" y="353"/>
                  <a:pt x="506" y="353"/>
                </a:cubicBezTo>
                <a:cubicBezTo>
                  <a:pt x="506" y="353"/>
                  <a:pt x="507" y="352"/>
                  <a:pt x="507" y="352"/>
                </a:cubicBezTo>
                <a:cubicBezTo>
                  <a:pt x="508" y="351"/>
                  <a:pt x="508" y="351"/>
                  <a:pt x="508" y="351"/>
                </a:cubicBezTo>
                <a:cubicBezTo>
                  <a:pt x="508" y="350"/>
                  <a:pt x="509" y="350"/>
                  <a:pt x="509" y="350"/>
                </a:cubicBezTo>
                <a:cubicBezTo>
                  <a:pt x="509" y="349"/>
                  <a:pt x="510" y="349"/>
                  <a:pt x="509" y="349"/>
                </a:cubicBezTo>
                <a:cubicBezTo>
                  <a:pt x="509" y="348"/>
                  <a:pt x="509" y="348"/>
                  <a:pt x="509" y="348"/>
                </a:cubicBezTo>
                <a:cubicBezTo>
                  <a:pt x="509" y="348"/>
                  <a:pt x="509" y="348"/>
                  <a:pt x="509" y="347"/>
                </a:cubicBezTo>
                <a:cubicBezTo>
                  <a:pt x="509" y="347"/>
                  <a:pt x="509" y="346"/>
                  <a:pt x="509" y="346"/>
                </a:cubicBezTo>
                <a:cubicBezTo>
                  <a:pt x="508" y="346"/>
                  <a:pt x="508" y="346"/>
                  <a:pt x="508" y="346"/>
                </a:cubicBezTo>
                <a:cubicBezTo>
                  <a:pt x="508" y="346"/>
                  <a:pt x="508" y="346"/>
                  <a:pt x="508" y="345"/>
                </a:cubicBezTo>
                <a:cubicBezTo>
                  <a:pt x="508" y="345"/>
                  <a:pt x="508" y="345"/>
                  <a:pt x="507" y="345"/>
                </a:cubicBezTo>
                <a:cubicBezTo>
                  <a:pt x="507" y="345"/>
                  <a:pt x="507" y="345"/>
                  <a:pt x="507" y="346"/>
                </a:cubicBezTo>
                <a:cubicBezTo>
                  <a:pt x="507" y="346"/>
                  <a:pt x="507" y="346"/>
                  <a:pt x="506" y="347"/>
                </a:cubicBezTo>
                <a:cubicBezTo>
                  <a:pt x="506" y="347"/>
                  <a:pt x="506" y="348"/>
                  <a:pt x="505" y="348"/>
                </a:cubicBezTo>
                <a:cubicBezTo>
                  <a:pt x="504" y="348"/>
                  <a:pt x="504" y="347"/>
                  <a:pt x="503" y="347"/>
                </a:cubicBezTo>
                <a:cubicBezTo>
                  <a:pt x="503" y="347"/>
                  <a:pt x="503" y="346"/>
                  <a:pt x="502" y="347"/>
                </a:cubicBezTo>
                <a:cubicBezTo>
                  <a:pt x="501" y="347"/>
                  <a:pt x="501" y="347"/>
                  <a:pt x="501" y="348"/>
                </a:cubicBezTo>
                <a:cubicBezTo>
                  <a:pt x="500" y="348"/>
                  <a:pt x="500" y="349"/>
                  <a:pt x="499" y="349"/>
                </a:cubicBezTo>
                <a:cubicBezTo>
                  <a:pt x="499" y="348"/>
                  <a:pt x="499" y="348"/>
                  <a:pt x="500" y="347"/>
                </a:cubicBezTo>
                <a:cubicBezTo>
                  <a:pt x="501" y="347"/>
                  <a:pt x="501" y="346"/>
                  <a:pt x="502" y="346"/>
                </a:cubicBezTo>
                <a:cubicBezTo>
                  <a:pt x="502" y="345"/>
                  <a:pt x="503" y="345"/>
                  <a:pt x="503" y="345"/>
                </a:cubicBezTo>
                <a:cubicBezTo>
                  <a:pt x="503" y="346"/>
                  <a:pt x="503" y="346"/>
                  <a:pt x="504" y="346"/>
                </a:cubicBezTo>
                <a:cubicBezTo>
                  <a:pt x="504" y="346"/>
                  <a:pt x="504" y="346"/>
                  <a:pt x="504" y="346"/>
                </a:cubicBezTo>
                <a:cubicBezTo>
                  <a:pt x="504" y="346"/>
                  <a:pt x="505" y="346"/>
                  <a:pt x="505" y="345"/>
                </a:cubicBezTo>
                <a:cubicBezTo>
                  <a:pt x="505" y="345"/>
                  <a:pt x="505" y="345"/>
                  <a:pt x="505" y="345"/>
                </a:cubicBezTo>
                <a:cubicBezTo>
                  <a:pt x="506" y="345"/>
                  <a:pt x="506" y="344"/>
                  <a:pt x="506" y="344"/>
                </a:cubicBezTo>
                <a:cubicBezTo>
                  <a:pt x="506" y="344"/>
                  <a:pt x="506" y="344"/>
                  <a:pt x="506" y="343"/>
                </a:cubicBezTo>
                <a:cubicBezTo>
                  <a:pt x="506" y="343"/>
                  <a:pt x="506" y="343"/>
                  <a:pt x="505" y="343"/>
                </a:cubicBezTo>
                <a:cubicBezTo>
                  <a:pt x="505" y="343"/>
                  <a:pt x="506" y="342"/>
                  <a:pt x="506" y="342"/>
                </a:cubicBezTo>
                <a:cubicBezTo>
                  <a:pt x="506" y="342"/>
                  <a:pt x="506" y="342"/>
                  <a:pt x="507" y="343"/>
                </a:cubicBezTo>
                <a:cubicBezTo>
                  <a:pt x="507" y="343"/>
                  <a:pt x="507" y="343"/>
                  <a:pt x="507" y="343"/>
                </a:cubicBezTo>
                <a:cubicBezTo>
                  <a:pt x="507" y="343"/>
                  <a:pt x="508" y="343"/>
                  <a:pt x="508" y="343"/>
                </a:cubicBezTo>
                <a:cubicBezTo>
                  <a:pt x="508" y="343"/>
                  <a:pt x="508" y="343"/>
                  <a:pt x="507" y="342"/>
                </a:cubicBezTo>
                <a:cubicBezTo>
                  <a:pt x="507" y="342"/>
                  <a:pt x="507" y="342"/>
                  <a:pt x="507" y="341"/>
                </a:cubicBezTo>
                <a:cubicBezTo>
                  <a:pt x="506" y="341"/>
                  <a:pt x="505" y="341"/>
                  <a:pt x="505" y="342"/>
                </a:cubicBezTo>
                <a:cubicBezTo>
                  <a:pt x="505" y="342"/>
                  <a:pt x="505" y="343"/>
                  <a:pt x="505" y="343"/>
                </a:cubicBezTo>
                <a:cubicBezTo>
                  <a:pt x="505" y="343"/>
                  <a:pt x="504" y="344"/>
                  <a:pt x="504" y="344"/>
                </a:cubicBezTo>
                <a:cubicBezTo>
                  <a:pt x="504" y="344"/>
                  <a:pt x="503" y="344"/>
                  <a:pt x="503" y="344"/>
                </a:cubicBezTo>
                <a:cubicBezTo>
                  <a:pt x="503" y="343"/>
                  <a:pt x="503" y="343"/>
                  <a:pt x="504" y="343"/>
                </a:cubicBezTo>
                <a:cubicBezTo>
                  <a:pt x="504" y="342"/>
                  <a:pt x="504" y="342"/>
                  <a:pt x="504" y="342"/>
                </a:cubicBezTo>
                <a:cubicBezTo>
                  <a:pt x="504" y="341"/>
                  <a:pt x="504" y="340"/>
                  <a:pt x="503" y="340"/>
                </a:cubicBezTo>
                <a:cubicBezTo>
                  <a:pt x="503" y="340"/>
                  <a:pt x="502" y="341"/>
                  <a:pt x="502" y="341"/>
                </a:cubicBezTo>
                <a:cubicBezTo>
                  <a:pt x="502" y="341"/>
                  <a:pt x="501" y="342"/>
                  <a:pt x="501" y="342"/>
                </a:cubicBezTo>
                <a:cubicBezTo>
                  <a:pt x="501" y="342"/>
                  <a:pt x="500" y="343"/>
                  <a:pt x="500" y="342"/>
                </a:cubicBezTo>
                <a:cubicBezTo>
                  <a:pt x="500" y="342"/>
                  <a:pt x="500" y="342"/>
                  <a:pt x="500" y="342"/>
                </a:cubicBezTo>
                <a:cubicBezTo>
                  <a:pt x="500" y="341"/>
                  <a:pt x="500" y="341"/>
                  <a:pt x="500" y="341"/>
                </a:cubicBezTo>
                <a:cubicBezTo>
                  <a:pt x="501" y="341"/>
                  <a:pt x="501" y="341"/>
                  <a:pt x="501" y="340"/>
                </a:cubicBezTo>
                <a:cubicBezTo>
                  <a:pt x="502" y="340"/>
                  <a:pt x="502" y="340"/>
                  <a:pt x="502" y="339"/>
                </a:cubicBezTo>
                <a:cubicBezTo>
                  <a:pt x="502" y="339"/>
                  <a:pt x="502" y="339"/>
                  <a:pt x="502" y="339"/>
                </a:cubicBezTo>
                <a:cubicBezTo>
                  <a:pt x="502" y="339"/>
                  <a:pt x="502" y="339"/>
                  <a:pt x="503" y="339"/>
                </a:cubicBezTo>
                <a:cubicBezTo>
                  <a:pt x="503" y="338"/>
                  <a:pt x="503" y="338"/>
                  <a:pt x="504" y="338"/>
                </a:cubicBezTo>
                <a:cubicBezTo>
                  <a:pt x="504" y="338"/>
                  <a:pt x="504" y="338"/>
                  <a:pt x="505" y="338"/>
                </a:cubicBezTo>
                <a:cubicBezTo>
                  <a:pt x="505" y="338"/>
                  <a:pt x="505" y="338"/>
                  <a:pt x="505" y="337"/>
                </a:cubicBezTo>
                <a:cubicBezTo>
                  <a:pt x="505" y="337"/>
                  <a:pt x="505" y="336"/>
                  <a:pt x="505" y="335"/>
                </a:cubicBezTo>
                <a:cubicBezTo>
                  <a:pt x="506" y="335"/>
                  <a:pt x="506" y="335"/>
                  <a:pt x="506" y="334"/>
                </a:cubicBezTo>
                <a:cubicBezTo>
                  <a:pt x="506" y="334"/>
                  <a:pt x="506" y="333"/>
                  <a:pt x="506" y="333"/>
                </a:cubicBezTo>
                <a:cubicBezTo>
                  <a:pt x="505" y="333"/>
                  <a:pt x="505" y="333"/>
                  <a:pt x="505" y="333"/>
                </a:cubicBezTo>
                <a:cubicBezTo>
                  <a:pt x="504" y="334"/>
                  <a:pt x="504" y="334"/>
                  <a:pt x="504" y="334"/>
                </a:cubicBezTo>
                <a:cubicBezTo>
                  <a:pt x="504" y="333"/>
                  <a:pt x="505" y="332"/>
                  <a:pt x="506" y="332"/>
                </a:cubicBezTo>
                <a:cubicBezTo>
                  <a:pt x="506" y="332"/>
                  <a:pt x="507" y="332"/>
                  <a:pt x="507" y="332"/>
                </a:cubicBezTo>
                <a:cubicBezTo>
                  <a:pt x="507" y="332"/>
                  <a:pt x="507" y="333"/>
                  <a:pt x="507" y="333"/>
                </a:cubicBezTo>
                <a:cubicBezTo>
                  <a:pt x="508" y="333"/>
                  <a:pt x="508" y="333"/>
                  <a:pt x="508" y="332"/>
                </a:cubicBezTo>
                <a:cubicBezTo>
                  <a:pt x="509" y="331"/>
                  <a:pt x="510" y="329"/>
                  <a:pt x="512" y="328"/>
                </a:cubicBezTo>
                <a:cubicBezTo>
                  <a:pt x="512" y="327"/>
                  <a:pt x="512" y="327"/>
                  <a:pt x="513" y="327"/>
                </a:cubicBezTo>
                <a:cubicBezTo>
                  <a:pt x="513" y="328"/>
                  <a:pt x="513" y="328"/>
                  <a:pt x="513" y="328"/>
                </a:cubicBezTo>
                <a:cubicBezTo>
                  <a:pt x="511" y="329"/>
                  <a:pt x="510" y="332"/>
                  <a:pt x="509" y="334"/>
                </a:cubicBezTo>
                <a:cubicBezTo>
                  <a:pt x="509" y="335"/>
                  <a:pt x="509" y="336"/>
                  <a:pt x="509" y="336"/>
                </a:cubicBezTo>
                <a:cubicBezTo>
                  <a:pt x="508" y="337"/>
                  <a:pt x="508" y="337"/>
                  <a:pt x="508" y="337"/>
                </a:cubicBezTo>
                <a:cubicBezTo>
                  <a:pt x="507" y="338"/>
                  <a:pt x="507" y="338"/>
                  <a:pt x="507" y="339"/>
                </a:cubicBezTo>
                <a:cubicBezTo>
                  <a:pt x="507" y="339"/>
                  <a:pt x="508" y="340"/>
                  <a:pt x="508" y="339"/>
                </a:cubicBezTo>
                <a:cubicBezTo>
                  <a:pt x="509" y="339"/>
                  <a:pt x="510" y="338"/>
                  <a:pt x="511" y="339"/>
                </a:cubicBezTo>
                <a:cubicBezTo>
                  <a:pt x="511" y="339"/>
                  <a:pt x="511" y="339"/>
                  <a:pt x="511" y="339"/>
                </a:cubicBezTo>
                <a:cubicBezTo>
                  <a:pt x="511" y="339"/>
                  <a:pt x="511" y="338"/>
                  <a:pt x="511" y="338"/>
                </a:cubicBezTo>
                <a:cubicBezTo>
                  <a:pt x="511" y="338"/>
                  <a:pt x="511" y="337"/>
                  <a:pt x="512" y="337"/>
                </a:cubicBezTo>
                <a:cubicBezTo>
                  <a:pt x="512" y="337"/>
                  <a:pt x="513" y="336"/>
                  <a:pt x="513" y="337"/>
                </a:cubicBezTo>
                <a:cubicBezTo>
                  <a:pt x="513" y="337"/>
                  <a:pt x="512" y="338"/>
                  <a:pt x="513" y="338"/>
                </a:cubicBezTo>
                <a:cubicBezTo>
                  <a:pt x="513" y="338"/>
                  <a:pt x="513" y="338"/>
                  <a:pt x="514" y="338"/>
                </a:cubicBezTo>
                <a:cubicBezTo>
                  <a:pt x="514" y="338"/>
                  <a:pt x="514" y="337"/>
                  <a:pt x="514" y="337"/>
                </a:cubicBezTo>
                <a:cubicBezTo>
                  <a:pt x="514" y="336"/>
                  <a:pt x="515" y="335"/>
                  <a:pt x="516" y="335"/>
                </a:cubicBezTo>
                <a:cubicBezTo>
                  <a:pt x="516" y="335"/>
                  <a:pt x="516" y="336"/>
                  <a:pt x="516" y="336"/>
                </a:cubicBezTo>
                <a:cubicBezTo>
                  <a:pt x="516" y="337"/>
                  <a:pt x="517" y="337"/>
                  <a:pt x="517" y="337"/>
                </a:cubicBezTo>
                <a:cubicBezTo>
                  <a:pt x="518" y="336"/>
                  <a:pt x="518" y="336"/>
                  <a:pt x="518" y="336"/>
                </a:cubicBezTo>
                <a:cubicBezTo>
                  <a:pt x="519" y="336"/>
                  <a:pt x="519" y="336"/>
                  <a:pt x="519" y="335"/>
                </a:cubicBezTo>
                <a:cubicBezTo>
                  <a:pt x="520" y="335"/>
                  <a:pt x="520" y="334"/>
                  <a:pt x="520" y="334"/>
                </a:cubicBezTo>
                <a:cubicBezTo>
                  <a:pt x="520" y="333"/>
                  <a:pt x="521" y="332"/>
                  <a:pt x="521" y="333"/>
                </a:cubicBezTo>
                <a:cubicBezTo>
                  <a:pt x="522" y="333"/>
                  <a:pt x="522" y="333"/>
                  <a:pt x="522" y="334"/>
                </a:cubicBezTo>
                <a:cubicBezTo>
                  <a:pt x="522" y="334"/>
                  <a:pt x="522" y="335"/>
                  <a:pt x="521" y="335"/>
                </a:cubicBezTo>
                <a:cubicBezTo>
                  <a:pt x="522" y="335"/>
                  <a:pt x="522" y="336"/>
                  <a:pt x="523" y="335"/>
                </a:cubicBezTo>
                <a:cubicBezTo>
                  <a:pt x="523" y="335"/>
                  <a:pt x="524" y="335"/>
                  <a:pt x="524" y="334"/>
                </a:cubicBezTo>
                <a:cubicBezTo>
                  <a:pt x="524" y="333"/>
                  <a:pt x="525" y="332"/>
                  <a:pt x="526" y="332"/>
                </a:cubicBezTo>
                <a:cubicBezTo>
                  <a:pt x="526" y="331"/>
                  <a:pt x="527" y="331"/>
                  <a:pt x="527" y="331"/>
                </a:cubicBezTo>
                <a:cubicBezTo>
                  <a:pt x="528" y="330"/>
                  <a:pt x="528" y="331"/>
                  <a:pt x="529" y="331"/>
                </a:cubicBezTo>
                <a:cubicBezTo>
                  <a:pt x="531" y="331"/>
                  <a:pt x="534" y="332"/>
                  <a:pt x="536" y="333"/>
                </a:cubicBezTo>
                <a:cubicBezTo>
                  <a:pt x="535" y="333"/>
                  <a:pt x="534" y="333"/>
                  <a:pt x="533" y="332"/>
                </a:cubicBezTo>
                <a:cubicBezTo>
                  <a:pt x="531" y="332"/>
                  <a:pt x="529" y="331"/>
                  <a:pt x="528" y="332"/>
                </a:cubicBezTo>
                <a:cubicBezTo>
                  <a:pt x="527" y="332"/>
                  <a:pt x="527" y="332"/>
                  <a:pt x="527" y="332"/>
                </a:cubicBezTo>
                <a:cubicBezTo>
                  <a:pt x="527" y="332"/>
                  <a:pt x="527" y="332"/>
                  <a:pt x="527" y="333"/>
                </a:cubicBezTo>
                <a:cubicBezTo>
                  <a:pt x="527" y="333"/>
                  <a:pt x="526" y="334"/>
                  <a:pt x="526" y="335"/>
                </a:cubicBezTo>
                <a:cubicBezTo>
                  <a:pt x="526" y="335"/>
                  <a:pt x="526" y="335"/>
                  <a:pt x="526" y="335"/>
                </a:cubicBezTo>
                <a:cubicBezTo>
                  <a:pt x="526" y="336"/>
                  <a:pt x="526" y="336"/>
                  <a:pt x="526" y="336"/>
                </a:cubicBezTo>
                <a:cubicBezTo>
                  <a:pt x="525" y="336"/>
                  <a:pt x="525" y="337"/>
                  <a:pt x="526" y="337"/>
                </a:cubicBezTo>
                <a:cubicBezTo>
                  <a:pt x="526" y="338"/>
                  <a:pt x="526" y="338"/>
                  <a:pt x="526" y="338"/>
                </a:cubicBezTo>
                <a:cubicBezTo>
                  <a:pt x="527" y="338"/>
                  <a:pt x="527" y="338"/>
                  <a:pt x="527" y="338"/>
                </a:cubicBezTo>
                <a:cubicBezTo>
                  <a:pt x="527" y="339"/>
                  <a:pt x="528" y="339"/>
                  <a:pt x="528" y="339"/>
                </a:cubicBezTo>
                <a:cubicBezTo>
                  <a:pt x="529" y="339"/>
                  <a:pt x="529" y="339"/>
                  <a:pt x="530" y="338"/>
                </a:cubicBezTo>
                <a:cubicBezTo>
                  <a:pt x="531" y="338"/>
                  <a:pt x="531" y="337"/>
                  <a:pt x="532" y="337"/>
                </a:cubicBezTo>
                <a:cubicBezTo>
                  <a:pt x="531" y="339"/>
                  <a:pt x="529" y="340"/>
                  <a:pt x="528" y="341"/>
                </a:cubicBezTo>
                <a:cubicBezTo>
                  <a:pt x="527" y="341"/>
                  <a:pt x="527" y="341"/>
                  <a:pt x="526" y="341"/>
                </a:cubicBezTo>
                <a:cubicBezTo>
                  <a:pt x="526" y="341"/>
                  <a:pt x="526" y="342"/>
                  <a:pt x="526" y="342"/>
                </a:cubicBezTo>
                <a:cubicBezTo>
                  <a:pt x="527" y="343"/>
                  <a:pt x="528" y="342"/>
                  <a:pt x="529" y="342"/>
                </a:cubicBezTo>
                <a:cubicBezTo>
                  <a:pt x="529" y="342"/>
                  <a:pt x="529" y="342"/>
                  <a:pt x="530" y="341"/>
                </a:cubicBezTo>
                <a:cubicBezTo>
                  <a:pt x="530" y="341"/>
                  <a:pt x="531" y="341"/>
                  <a:pt x="531" y="341"/>
                </a:cubicBezTo>
                <a:cubicBezTo>
                  <a:pt x="532" y="341"/>
                  <a:pt x="533" y="341"/>
                  <a:pt x="534" y="341"/>
                </a:cubicBezTo>
                <a:cubicBezTo>
                  <a:pt x="533" y="341"/>
                  <a:pt x="533" y="342"/>
                  <a:pt x="532" y="342"/>
                </a:cubicBezTo>
                <a:cubicBezTo>
                  <a:pt x="532" y="343"/>
                  <a:pt x="532" y="343"/>
                  <a:pt x="532" y="343"/>
                </a:cubicBezTo>
                <a:cubicBezTo>
                  <a:pt x="531" y="344"/>
                  <a:pt x="532" y="344"/>
                  <a:pt x="532" y="344"/>
                </a:cubicBezTo>
                <a:cubicBezTo>
                  <a:pt x="532" y="344"/>
                  <a:pt x="533" y="344"/>
                  <a:pt x="533" y="343"/>
                </a:cubicBezTo>
                <a:cubicBezTo>
                  <a:pt x="533" y="343"/>
                  <a:pt x="534" y="343"/>
                  <a:pt x="534" y="343"/>
                </a:cubicBezTo>
                <a:cubicBezTo>
                  <a:pt x="534" y="343"/>
                  <a:pt x="534" y="343"/>
                  <a:pt x="534" y="344"/>
                </a:cubicBezTo>
                <a:cubicBezTo>
                  <a:pt x="535" y="343"/>
                  <a:pt x="536" y="343"/>
                  <a:pt x="536" y="344"/>
                </a:cubicBezTo>
                <a:cubicBezTo>
                  <a:pt x="536" y="344"/>
                  <a:pt x="537" y="344"/>
                  <a:pt x="537" y="344"/>
                </a:cubicBezTo>
                <a:cubicBezTo>
                  <a:pt x="537" y="344"/>
                  <a:pt x="538" y="344"/>
                  <a:pt x="538" y="343"/>
                </a:cubicBezTo>
                <a:cubicBezTo>
                  <a:pt x="539" y="342"/>
                  <a:pt x="540" y="341"/>
                  <a:pt x="541" y="340"/>
                </a:cubicBezTo>
                <a:cubicBezTo>
                  <a:pt x="541" y="340"/>
                  <a:pt x="541" y="340"/>
                  <a:pt x="541" y="340"/>
                </a:cubicBezTo>
                <a:cubicBezTo>
                  <a:pt x="542" y="340"/>
                  <a:pt x="542" y="340"/>
                  <a:pt x="542" y="341"/>
                </a:cubicBezTo>
                <a:cubicBezTo>
                  <a:pt x="542" y="341"/>
                  <a:pt x="542" y="341"/>
                  <a:pt x="542" y="341"/>
                </a:cubicBezTo>
                <a:cubicBezTo>
                  <a:pt x="541" y="341"/>
                  <a:pt x="541" y="342"/>
                  <a:pt x="541" y="342"/>
                </a:cubicBezTo>
                <a:cubicBezTo>
                  <a:pt x="539" y="344"/>
                  <a:pt x="538" y="346"/>
                  <a:pt x="537" y="347"/>
                </a:cubicBezTo>
                <a:cubicBezTo>
                  <a:pt x="536" y="347"/>
                  <a:pt x="536" y="347"/>
                  <a:pt x="536" y="348"/>
                </a:cubicBezTo>
                <a:cubicBezTo>
                  <a:pt x="536" y="348"/>
                  <a:pt x="536" y="348"/>
                  <a:pt x="536" y="348"/>
                </a:cubicBezTo>
                <a:cubicBezTo>
                  <a:pt x="536" y="349"/>
                  <a:pt x="537" y="348"/>
                  <a:pt x="537" y="348"/>
                </a:cubicBezTo>
                <a:cubicBezTo>
                  <a:pt x="539" y="347"/>
                  <a:pt x="541" y="350"/>
                  <a:pt x="543" y="349"/>
                </a:cubicBezTo>
                <a:cubicBezTo>
                  <a:pt x="543" y="350"/>
                  <a:pt x="543" y="350"/>
                  <a:pt x="542" y="350"/>
                </a:cubicBezTo>
                <a:cubicBezTo>
                  <a:pt x="542" y="350"/>
                  <a:pt x="541" y="350"/>
                  <a:pt x="541" y="350"/>
                </a:cubicBezTo>
                <a:cubicBezTo>
                  <a:pt x="542" y="350"/>
                  <a:pt x="542" y="351"/>
                  <a:pt x="543" y="351"/>
                </a:cubicBezTo>
                <a:cubicBezTo>
                  <a:pt x="543" y="351"/>
                  <a:pt x="544" y="352"/>
                  <a:pt x="544" y="352"/>
                </a:cubicBezTo>
                <a:cubicBezTo>
                  <a:pt x="545" y="352"/>
                  <a:pt x="545" y="351"/>
                  <a:pt x="545" y="351"/>
                </a:cubicBezTo>
                <a:cubicBezTo>
                  <a:pt x="544" y="351"/>
                  <a:pt x="544" y="351"/>
                  <a:pt x="544" y="350"/>
                </a:cubicBezTo>
                <a:cubicBezTo>
                  <a:pt x="544" y="350"/>
                  <a:pt x="545" y="350"/>
                  <a:pt x="545" y="350"/>
                </a:cubicBezTo>
                <a:cubicBezTo>
                  <a:pt x="545" y="350"/>
                  <a:pt x="546" y="349"/>
                  <a:pt x="546" y="348"/>
                </a:cubicBezTo>
                <a:cubicBezTo>
                  <a:pt x="547" y="347"/>
                  <a:pt x="547" y="346"/>
                  <a:pt x="548" y="346"/>
                </a:cubicBezTo>
                <a:cubicBezTo>
                  <a:pt x="548" y="345"/>
                  <a:pt x="549" y="345"/>
                  <a:pt x="549" y="344"/>
                </a:cubicBezTo>
                <a:cubicBezTo>
                  <a:pt x="550" y="344"/>
                  <a:pt x="550" y="344"/>
                  <a:pt x="550" y="345"/>
                </a:cubicBezTo>
                <a:cubicBezTo>
                  <a:pt x="550" y="345"/>
                  <a:pt x="550" y="346"/>
                  <a:pt x="550" y="346"/>
                </a:cubicBezTo>
                <a:cubicBezTo>
                  <a:pt x="550" y="347"/>
                  <a:pt x="550" y="348"/>
                  <a:pt x="550" y="349"/>
                </a:cubicBezTo>
                <a:cubicBezTo>
                  <a:pt x="550" y="349"/>
                  <a:pt x="549" y="350"/>
                  <a:pt x="549" y="350"/>
                </a:cubicBezTo>
                <a:cubicBezTo>
                  <a:pt x="548" y="351"/>
                  <a:pt x="548" y="352"/>
                  <a:pt x="549" y="352"/>
                </a:cubicBezTo>
                <a:cubicBezTo>
                  <a:pt x="549" y="353"/>
                  <a:pt x="550" y="353"/>
                  <a:pt x="551" y="353"/>
                </a:cubicBezTo>
                <a:cubicBezTo>
                  <a:pt x="551" y="353"/>
                  <a:pt x="551" y="354"/>
                  <a:pt x="551" y="355"/>
                </a:cubicBezTo>
                <a:cubicBezTo>
                  <a:pt x="551" y="355"/>
                  <a:pt x="552" y="355"/>
                  <a:pt x="552" y="355"/>
                </a:cubicBezTo>
                <a:cubicBezTo>
                  <a:pt x="553" y="355"/>
                  <a:pt x="554" y="356"/>
                  <a:pt x="554" y="356"/>
                </a:cubicBezTo>
                <a:cubicBezTo>
                  <a:pt x="555" y="356"/>
                  <a:pt x="556" y="355"/>
                  <a:pt x="557" y="355"/>
                </a:cubicBezTo>
                <a:cubicBezTo>
                  <a:pt x="558" y="355"/>
                  <a:pt x="557" y="356"/>
                  <a:pt x="557" y="356"/>
                </a:cubicBezTo>
                <a:cubicBezTo>
                  <a:pt x="557" y="357"/>
                  <a:pt x="557" y="357"/>
                  <a:pt x="557" y="357"/>
                </a:cubicBezTo>
                <a:cubicBezTo>
                  <a:pt x="558" y="357"/>
                  <a:pt x="558" y="357"/>
                  <a:pt x="559" y="358"/>
                </a:cubicBezTo>
                <a:cubicBezTo>
                  <a:pt x="559" y="358"/>
                  <a:pt x="560" y="359"/>
                  <a:pt x="560" y="359"/>
                </a:cubicBezTo>
                <a:cubicBezTo>
                  <a:pt x="560" y="360"/>
                  <a:pt x="561" y="361"/>
                  <a:pt x="562" y="361"/>
                </a:cubicBezTo>
                <a:cubicBezTo>
                  <a:pt x="562" y="361"/>
                  <a:pt x="563" y="361"/>
                  <a:pt x="563" y="360"/>
                </a:cubicBezTo>
                <a:cubicBezTo>
                  <a:pt x="565" y="359"/>
                  <a:pt x="568" y="358"/>
                  <a:pt x="571" y="358"/>
                </a:cubicBezTo>
                <a:cubicBezTo>
                  <a:pt x="575" y="358"/>
                  <a:pt x="579" y="358"/>
                  <a:pt x="582" y="359"/>
                </a:cubicBezTo>
                <a:cubicBezTo>
                  <a:pt x="583" y="359"/>
                  <a:pt x="584" y="359"/>
                  <a:pt x="584" y="360"/>
                </a:cubicBezTo>
                <a:cubicBezTo>
                  <a:pt x="585" y="360"/>
                  <a:pt x="586" y="360"/>
                  <a:pt x="586" y="360"/>
                </a:cubicBezTo>
                <a:cubicBezTo>
                  <a:pt x="587" y="360"/>
                  <a:pt x="588" y="361"/>
                  <a:pt x="589" y="361"/>
                </a:cubicBezTo>
                <a:cubicBezTo>
                  <a:pt x="590" y="361"/>
                  <a:pt x="592" y="361"/>
                  <a:pt x="593" y="361"/>
                </a:cubicBezTo>
                <a:cubicBezTo>
                  <a:pt x="594" y="360"/>
                  <a:pt x="594" y="359"/>
                  <a:pt x="594" y="359"/>
                </a:cubicBezTo>
                <a:cubicBezTo>
                  <a:pt x="593" y="359"/>
                  <a:pt x="593" y="358"/>
                  <a:pt x="593" y="358"/>
                </a:cubicBezTo>
                <a:cubicBezTo>
                  <a:pt x="592" y="358"/>
                  <a:pt x="592" y="357"/>
                  <a:pt x="592" y="357"/>
                </a:cubicBezTo>
                <a:cubicBezTo>
                  <a:pt x="592" y="356"/>
                  <a:pt x="593" y="356"/>
                  <a:pt x="593" y="356"/>
                </a:cubicBezTo>
                <a:cubicBezTo>
                  <a:pt x="594" y="356"/>
                  <a:pt x="594" y="356"/>
                  <a:pt x="594" y="356"/>
                </a:cubicBezTo>
                <a:cubicBezTo>
                  <a:pt x="594" y="357"/>
                  <a:pt x="594" y="357"/>
                  <a:pt x="595" y="358"/>
                </a:cubicBezTo>
                <a:cubicBezTo>
                  <a:pt x="596" y="357"/>
                  <a:pt x="596" y="356"/>
                  <a:pt x="597" y="357"/>
                </a:cubicBezTo>
                <a:cubicBezTo>
                  <a:pt x="597" y="358"/>
                  <a:pt x="596" y="358"/>
                  <a:pt x="595" y="358"/>
                </a:cubicBezTo>
                <a:cubicBezTo>
                  <a:pt x="595" y="358"/>
                  <a:pt x="595" y="359"/>
                  <a:pt x="595" y="359"/>
                </a:cubicBezTo>
                <a:cubicBezTo>
                  <a:pt x="595" y="359"/>
                  <a:pt x="595" y="359"/>
                  <a:pt x="595" y="359"/>
                </a:cubicBezTo>
                <a:cubicBezTo>
                  <a:pt x="596" y="359"/>
                  <a:pt x="596" y="360"/>
                  <a:pt x="596" y="360"/>
                </a:cubicBezTo>
                <a:cubicBezTo>
                  <a:pt x="596" y="360"/>
                  <a:pt x="596" y="361"/>
                  <a:pt x="596" y="361"/>
                </a:cubicBezTo>
                <a:cubicBezTo>
                  <a:pt x="596" y="361"/>
                  <a:pt x="595" y="362"/>
                  <a:pt x="595" y="362"/>
                </a:cubicBezTo>
                <a:cubicBezTo>
                  <a:pt x="594" y="362"/>
                  <a:pt x="594" y="362"/>
                  <a:pt x="594" y="362"/>
                </a:cubicBezTo>
                <a:cubicBezTo>
                  <a:pt x="593" y="363"/>
                  <a:pt x="594" y="363"/>
                  <a:pt x="594" y="363"/>
                </a:cubicBezTo>
                <a:cubicBezTo>
                  <a:pt x="594" y="364"/>
                  <a:pt x="595" y="364"/>
                  <a:pt x="595" y="364"/>
                </a:cubicBezTo>
                <a:cubicBezTo>
                  <a:pt x="596" y="364"/>
                  <a:pt x="597" y="365"/>
                  <a:pt x="597" y="365"/>
                </a:cubicBezTo>
                <a:cubicBezTo>
                  <a:pt x="598" y="365"/>
                  <a:pt x="598" y="366"/>
                  <a:pt x="599" y="366"/>
                </a:cubicBezTo>
                <a:cubicBezTo>
                  <a:pt x="600" y="367"/>
                  <a:pt x="601" y="367"/>
                  <a:pt x="602" y="367"/>
                </a:cubicBezTo>
                <a:cubicBezTo>
                  <a:pt x="604" y="368"/>
                  <a:pt x="606" y="368"/>
                  <a:pt x="608" y="368"/>
                </a:cubicBezTo>
                <a:cubicBezTo>
                  <a:pt x="608" y="368"/>
                  <a:pt x="609" y="368"/>
                  <a:pt x="609" y="367"/>
                </a:cubicBezTo>
                <a:cubicBezTo>
                  <a:pt x="610" y="367"/>
                  <a:pt x="611" y="366"/>
                  <a:pt x="612" y="366"/>
                </a:cubicBezTo>
                <a:cubicBezTo>
                  <a:pt x="612" y="366"/>
                  <a:pt x="612" y="366"/>
                  <a:pt x="613" y="365"/>
                </a:cubicBezTo>
                <a:cubicBezTo>
                  <a:pt x="613" y="365"/>
                  <a:pt x="613" y="365"/>
                  <a:pt x="613" y="365"/>
                </a:cubicBezTo>
                <a:cubicBezTo>
                  <a:pt x="613" y="365"/>
                  <a:pt x="612" y="365"/>
                  <a:pt x="612" y="364"/>
                </a:cubicBezTo>
                <a:cubicBezTo>
                  <a:pt x="612" y="364"/>
                  <a:pt x="612" y="363"/>
                  <a:pt x="613" y="363"/>
                </a:cubicBezTo>
                <a:cubicBezTo>
                  <a:pt x="613" y="363"/>
                  <a:pt x="613" y="363"/>
                  <a:pt x="614" y="363"/>
                </a:cubicBezTo>
                <a:cubicBezTo>
                  <a:pt x="615" y="363"/>
                  <a:pt x="616" y="362"/>
                  <a:pt x="616" y="361"/>
                </a:cubicBezTo>
                <a:cubicBezTo>
                  <a:pt x="617" y="361"/>
                  <a:pt x="617" y="360"/>
                  <a:pt x="617" y="360"/>
                </a:cubicBezTo>
                <a:cubicBezTo>
                  <a:pt x="618" y="360"/>
                  <a:pt x="619" y="360"/>
                  <a:pt x="619" y="360"/>
                </a:cubicBezTo>
                <a:cubicBezTo>
                  <a:pt x="620" y="361"/>
                  <a:pt x="620" y="361"/>
                  <a:pt x="621" y="362"/>
                </a:cubicBezTo>
                <a:cubicBezTo>
                  <a:pt x="621" y="362"/>
                  <a:pt x="621" y="363"/>
                  <a:pt x="622" y="363"/>
                </a:cubicBezTo>
                <a:cubicBezTo>
                  <a:pt x="622" y="364"/>
                  <a:pt x="622" y="364"/>
                  <a:pt x="623" y="364"/>
                </a:cubicBezTo>
                <a:cubicBezTo>
                  <a:pt x="623" y="364"/>
                  <a:pt x="623" y="364"/>
                  <a:pt x="623" y="364"/>
                </a:cubicBezTo>
                <a:cubicBezTo>
                  <a:pt x="623" y="365"/>
                  <a:pt x="623" y="365"/>
                  <a:pt x="623" y="365"/>
                </a:cubicBezTo>
                <a:cubicBezTo>
                  <a:pt x="622" y="365"/>
                  <a:pt x="622" y="365"/>
                  <a:pt x="621" y="365"/>
                </a:cubicBezTo>
                <a:cubicBezTo>
                  <a:pt x="621" y="366"/>
                  <a:pt x="621" y="367"/>
                  <a:pt x="621" y="368"/>
                </a:cubicBezTo>
                <a:cubicBezTo>
                  <a:pt x="621" y="369"/>
                  <a:pt x="621" y="369"/>
                  <a:pt x="621" y="369"/>
                </a:cubicBezTo>
                <a:cubicBezTo>
                  <a:pt x="621" y="370"/>
                  <a:pt x="621" y="370"/>
                  <a:pt x="621" y="371"/>
                </a:cubicBezTo>
                <a:cubicBezTo>
                  <a:pt x="621" y="371"/>
                  <a:pt x="620" y="371"/>
                  <a:pt x="620" y="370"/>
                </a:cubicBezTo>
                <a:cubicBezTo>
                  <a:pt x="621" y="370"/>
                  <a:pt x="621" y="370"/>
                  <a:pt x="620" y="369"/>
                </a:cubicBezTo>
                <a:cubicBezTo>
                  <a:pt x="620" y="368"/>
                  <a:pt x="620" y="368"/>
                  <a:pt x="620" y="367"/>
                </a:cubicBezTo>
                <a:cubicBezTo>
                  <a:pt x="620" y="367"/>
                  <a:pt x="620" y="367"/>
                  <a:pt x="619" y="367"/>
                </a:cubicBezTo>
                <a:cubicBezTo>
                  <a:pt x="619" y="366"/>
                  <a:pt x="620" y="366"/>
                  <a:pt x="620" y="365"/>
                </a:cubicBezTo>
                <a:cubicBezTo>
                  <a:pt x="620" y="364"/>
                  <a:pt x="620" y="364"/>
                  <a:pt x="620" y="363"/>
                </a:cubicBezTo>
                <a:cubicBezTo>
                  <a:pt x="619" y="362"/>
                  <a:pt x="619" y="362"/>
                  <a:pt x="618" y="361"/>
                </a:cubicBezTo>
                <a:cubicBezTo>
                  <a:pt x="618" y="362"/>
                  <a:pt x="617" y="362"/>
                  <a:pt x="617" y="363"/>
                </a:cubicBezTo>
                <a:cubicBezTo>
                  <a:pt x="616" y="363"/>
                  <a:pt x="616" y="364"/>
                  <a:pt x="616" y="364"/>
                </a:cubicBezTo>
                <a:cubicBezTo>
                  <a:pt x="616" y="364"/>
                  <a:pt x="617" y="365"/>
                  <a:pt x="617" y="365"/>
                </a:cubicBezTo>
                <a:cubicBezTo>
                  <a:pt x="617" y="365"/>
                  <a:pt x="618" y="366"/>
                  <a:pt x="617" y="367"/>
                </a:cubicBezTo>
                <a:cubicBezTo>
                  <a:pt x="617" y="367"/>
                  <a:pt x="617" y="367"/>
                  <a:pt x="617" y="368"/>
                </a:cubicBezTo>
                <a:cubicBezTo>
                  <a:pt x="617" y="368"/>
                  <a:pt x="618" y="368"/>
                  <a:pt x="618" y="368"/>
                </a:cubicBezTo>
                <a:cubicBezTo>
                  <a:pt x="618" y="369"/>
                  <a:pt x="618" y="369"/>
                  <a:pt x="617" y="369"/>
                </a:cubicBezTo>
                <a:cubicBezTo>
                  <a:pt x="617" y="369"/>
                  <a:pt x="617" y="370"/>
                  <a:pt x="617" y="370"/>
                </a:cubicBezTo>
                <a:cubicBezTo>
                  <a:pt x="616" y="371"/>
                  <a:pt x="616" y="370"/>
                  <a:pt x="616" y="370"/>
                </a:cubicBezTo>
                <a:cubicBezTo>
                  <a:pt x="616" y="371"/>
                  <a:pt x="615" y="371"/>
                  <a:pt x="615" y="371"/>
                </a:cubicBezTo>
                <a:cubicBezTo>
                  <a:pt x="615" y="372"/>
                  <a:pt x="614" y="372"/>
                  <a:pt x="614" y="372"/>
                </a:cubicBezTo>
                <a:cubicBezTo>
                  <a:pt x="615" y="373"/>
                  <a:pt x="617" y="374"/>
                  <a:pt x="618" y="375"/>
                </a:cubicBezTo>
                <a:cubicBezTo>
                  <a:pt x="619" y="375"/>
                  <a:pt x="619" y="375"/>
                  <a:pt x="619" y="376"/>
                </a:cubicBezTo>
                <a:cubicBezTo>
                  <a:pt x="620" y="376"/>
                  <a:pt x="620" y="376"/>
                  <a:pt x="620" y="376"/>
                </a:cubicBezTo>
                <a:cubicBezTo>
                  <a:pt x="620" y="376"/>
                  <a:pt x="620" y="376"/>
                  <a:pt x="620" y="376"/>
                </a:cubicBezTo>
                <a:cubicBezTo>
                  <a:pt x="622" y="376"/>
                  <a:pt x="623" y="375"/>
                  <a:pt x="625" y="374"/>
                </a:cubicBezTo>
                <a:cubicBezTo>
                  <a:pt x="625" y="374"/>
                  <a:pt x="626" y="373"/>
                  <a:pt x="626" y="374"/>
                </a:cubicBezTo>
                <a:cubicBezTo>
                  <a:pt x="626" y="374"/>
                  <a:pt x="625" y="375"/>
                  <a:pt x="625" y="375"/>
                </a:cubicBezTo>
                <a:cubicBezTo>
                  <a:pt x="625" y="375"/>
                  <a:pt x="624" y="375"/>
                  <a:pt x="624" y="375"/>
                </a:cubicBezTo>
                <a:cubicBezTo>
                  <a:pt x="623" y="376"/>
                  <a:pt x="622" y="376"/>
                  <a:pt x="622" y="377"/>
                </a:cubicBezTo>
                <a:cubicBezTo>
                  <a:pt x="622" y="377"/>
                  <a:pt x="622" y="377"/>
                  <a:pt x="622" y="377"/>
                </a:cubicBezTo>
                <a:cubicBezTo>
                  <a:pt x="622" y="377"/>
                  <a:pt x="622" y="377"/>
                  <a:pt x="622" y="377"/>
                </a:cubicBezTo>
                <a:cubicBezTo>
                  <a:pt x="624" y="378"/>
                  <a:pt x="626" y="379"/>
                  <a:pt x="627" y="381"/>
                </a:cubicBezTo>
                <a:cubicBezTo>
                  <a:pt x="627" y="381"/>
                  <a:pt x="628" y="382"/>
                  <a:pt x="628" y="382"/>
                </a:cubicBezTo>
                <a:cubicBezTo>
                  <a:pt x="628" y="382"/>
                  <a:pt x="629" y="382"/>
                  <a:pt x="629" y="381"/>
                </a:cubicBezTo>
                <a:cubicBezTo>
                  <a:pt x="630" y="381"/>
                  <a:pt x="630" y="381"/>
                  <a:pt x="631" y="381"/>
                </a:cubicBezTo>
                <a:cubicBezTo>
                  <a:pt x="631" y="381"/>
                  <a:pt x="632" y="381"/>
                  <a:pt x="632" y="381"/>
                </a:cubicBezTo>
                <a:cubicBezTo>
                  <a:pt x="631" y="381"/>
                  <a:pt x="631" y="382"/>
                  <a:pt x="630" y="382"/>
                </a:cubicBezTo>
                <a:cubicBezTo>
                  <a:pt x="630" y="382"/>
                  <a:pt x="630" y="382"/>
                  <a:pt x="630" y="382"/>
                </a:cubicBezTo>
                <a:cubicBezTo>
                  <a:pt x="630" y="382"/>
                  <a:pt x="630" y="383"/>
                  <a:pt x="630" y="383"/>
                </a:cubicBezTo>
                <a:cubicBezTo>
                  <a:pt x="631" y="384"/>
                  <a:pt x="634" y="384"/>
                  <a:pt x="635" y="385"/>
                </a:cubicBezTo>
                <a:cubicBezTo>
                  <a:pt x="636" y="386"/>
                  <a:pt x="636" y="387"/>
                  <a:pt x="637" y="388"/>
                </a:cubicBezTo>
                <a:cubicBezTo>
                  <a:pt x="637" y="388"/>
                  <a:pt x="638" y="388"/>
                  <a:pt x="638" y="388"/>
                </a:cubicBezTo>
                <a:cubicBezTo>
                  <a:pt x="639" y="389"/>
                  <a:pt x="638" y="390"/>
                  <a:pt x="639" y="391"/>
                </a:cubicBezTo>
                <a:cubicBezTo>
                  <a:pt x="639" y="392"/>
                  <a:pt x="639" y="392"/>
                  <a:pt x="640" y="392"/>
                </a:cubicBezTo>
                <a:cubicBezTo>
                  <a:pt x="640" y="393"/>
                  <a:pt x="640" y="393"/>
                  <a:pt x="641" y="394"/>
                </a:cubicBezTo>
                <a:cubicBezTo>
                  <a:pt x="641" y="394"/>
                  <a:pt x="642" y="394"/>
                  <a:pt x="642" y="394"/>
                </a:cubicBezTo>
                <a:cubicBezTo>
                  <a:pt x="643" y="394"/>
                  <a:pt x="643" y="394"/>
                  <a:pt x="643" y="395"/>
                </a:cubicBezTo>
                <a:cubicBezTo>
                  <a:pt x="643" y="395"/>
                  <a:pt x="643" y="396"/>
                  <a:pt x="644" y="397"/>
                </a:cubicBezTo>
                <a:cubicBezTo>
                  <a:pt x="646" y="398"/>
                  <a:pt x="648" y="400"/>
                  <a:pt x="650" y="401"/>
                </a:cubicBezTo>
                <a:cubicBezTo>
                  <a:pt x="651" y="401"/>
                  <a:pt x="651" y="401"/>
                  <a:pt x="651" y="401"/>
                </a:cubicBezTo>
                <a:cubicBezTo>
                  <a:pt x="652" y="401"/>
                  <a:pt x="652" y="402"/>
                  <a:pt x="652" y="402"/>
                </a:cubicBezTo>
                <a:cubicBezTo>
                  <a:pt x="652" y="402"/>
                  <a:pt x="652" y="402"/>
                  <a:pt x="653" y="402"/>
                </a:cubicBezTo>
                <a:cubicBezTo>
                  <a:pt x="653" y="402"/>
                  <a:pt x="653" y="403"/>
                  <a:pt x="653" y="403"/>
                </a:cubicBezTo>
                <a:cubicBezTo>
                  <a:pt x="653" y="403"/>
                  <a:pt x="653" y="404"/>
                  <a:pt x="654" y="404"/>
                </a:cubicBezTo>
                <a:cubicBezTo>
                  <a:pt x="654" y="404"/>
                  <a:pt x="655" y="405"/>
                  <a:pt x="655" y="405"/>
                </a:cubicBezTo>
                <a:cubicBezTo>
                  <a:pt x="656" y="405"/>
                  <a:pt x="656" y="405"/>
                  <a:pt x="656" y="405"/>
                </a:cubicBezTo>
                <a:cubicBezTo>
                  <a:pt x="656" y="404"/>
                  <a:pt x="656" y="404"/>
                  <a:pt x="656" y="403"/>
                </a:cubicBezTo>
                <a:cubicBezTo>
                  <a:pt x="656" y="403"/>
                  <a:pt x="656" y="402"/>
                  <a:pt x="656" y="402"/>
                </a:cubicBezTo>
                <a:cubicBezTo>
                  <a:pt x="657" y="402"/>
                  <a:pt x="657" y="403"/>
                  <a:pt x="658" y="403"/>
                </a:cubicBezTo>
                <a:cubicBezTo>
                  <a:pt x="658" y="402"/>
                  <a:pt x="657" y="402"/>
                  <a:pt x="657" y="402"/>
                </a:cubicBezTo>
                <a:cubicBezTo>
                  <a:pt x="657" y="402"/>
                  <a:pt x="657" y="402"/>
                  <a:pt x="657" y="401"/>
                </a:cubicBezTo>
                <a:cubicBezTo>
                  <a:pt x="657" y="401"/>
                  <a:pt x="657" y="401"/>
                  <a:pt x="657" y="401"/>
                </a:cubicBezTo>
                <a:cubicBezTo>
                  <a:pt x="657" y="402"/>
                  <a:pt x="659" y="402"/>
                  <a:pt x="659" y="401"/>
                </a:cubicBezTo>
                <a:cubicBezTo>
                  <a:pt x="659" y="401"/>
                  <a:pt x="660" y="402"/>
                  <a:pt x="660" y="402"/>
                </a:cubicBezTo>
                <a:cubicBezTo>
                  <a:pt x="660" y="402"/>
                  <a:pt x="661" y="402"/>
                  <a:pt x="661" y="402"/>
                </a:cubicBezTo>
                <a:cubicBezTo>
                  <a:pt x="662" y="402"/>
                  <a:pt x="662" y="402"/>
                  <a:pt x="662" y="402"/>
                </a:cubicBezTo>
                <a:cubicBezTo>
                  <a:pt x="662" y="401"/>
                  <a:pt x="662" y="401"/>
                  <a:pt x="662" y="401"/>
                </a:cubicBezTo>
                <a:cubicBezTo>
                  <a:pt x="662" y="400"/>
                  <a:pt x="662" y="400"/>
                  <a:pt x="662" y="399"/>
                </a:cubicBezTo>
                <a:cubicBezTo>
                  <a:pt x="662" y="399"/>
                  <a:pt x="662" y="398"/>
                  <a:pt x="662" y="398"/>
                </a:cubicBezTo>
                <a:cubicBezTo>
                  <a:pt x="662" y="398"/>
                  <a:pt x="661" y="398"/>
                  <a:pt x="661" y="397"/>
                </a:cubicBezTo>
                <a:cubicBezTo>
                  <a:pt x="661" y="397"/>
                  <a:pt x="661" y="397"/>
                  <a:pt x="661" y="397"/>
                </a:cubicBezTo>
                <a:cubicBezTo>
                  <a:pt x="661" y="396"/>
                  <a:pt x="660" y="395"/>
                  <a:pt x="660" y="394"/>
                </a:cubicBezTo>
                <a:cubicBezTo>
                  <a:pt x="659" y="395"/>
                  <a:pt x="658" y="395"/>
                  <a:pt x="657" y="395"/>
                </a:cubicBezTo>
                <a:cubicBezTo>
                  <a:pt x="657" y="395"/>
                  <a:pt x="657" y="395"/>
                  <a:pt x="657" y="394"/>
                </a:cubicBezTo>
                <a:cubicBezTo>
                  <a:pt x="658" y="394"/>
                  <a:pt x="658" y="394"/>
                  <a:pt x="658" y="393"/>
                </a:cubicBezTo>
                <a:cubicBezTo>
                  <a:pt x="658" y="393"/>
                  <a:pt x="658" y="392"/>
                  <a:pt x="657" y="392"/>
                </a:cubicBezTo>
                <a:cubicBezTo>
                  <a:pt x="657" y="392"/>
                  <a:pt x="657" y="391"/>
                  <a:pt x="656" y="391"/>
                </a:cubicBezTo>
                <a:cubicBezTo>
                  <a:pt x="656" y="391"/>
                  <a:pt x="656" y="391"/>
                  <a:pt x="656" y="390"/>
                </a:cubicBezTo>
                <a:cubicBezTo>
                  <a:pt x="656" y="390"/>
                  <a:pt x="656" y="390"/>
                  <a:pt x="655" y="390"/>
                </a:cubicBezTo>
                <a:cubicBezTo>
                  <a:pt x="654" y="389"/>
                  <a:pt x="652" y="388"/>
                  <a:pt x="650" y="389"/>
                </a:cubicBezTo>
                <a:cubicBezTo>
                  <a:pt x="649" y="389"/>
                  <a:pt x="649" y="389"/>
                  <a:pt x="648" y="389"/>
                </a:cubicBezTo>
                <a:cubicBezTo>
                  <a:pt x="649" y="389"/>
                  <a:pt x="649" y="388"/>
                  <a:pt x="650" y="387"/>
                </a:cubicBezTo>
                <a:cubicBezTo>
                  <a:pt x="650" y="387"/>
                  <a:pt x="651" y="387"/>
                  <a:pt x="651" y="387"/>
                </a:cubicBezTo>
                <a:cubicBezTo>
                  <a:pt x="651" y="386"/>
                  <a:pt x="650" y="385"/>
                  <a:pt x="650" y="384"/>
                </a:cubicBezTo>
                <a:cubicBezTo>
                  <a:pt x="651" y="384"/>
                  <a:pt x="652" y="385"/>
                  <a:pt x="652" y="386"/>
                </a:cubicBezTo>
                <a:cubicBezTo>
                  <a:pt x="653" y="387"/>
                  <a:pt x="654" y="388"/>
                  <a:pt x="655" y="387"/>
                </a:cubicBezTo>
                <a:cubicBezTo>
                  <a:pt x="656" y="387"/>
                  <a:pt x="656" y="386"/>
                  <a:pt x="657" y="386"/>
                </a:cubicBezTo>
                <a:cubicBezTo>
                  <a:pt x="657" y="387"/>
                  <a:pt x="657" y="387"/>
                  <a:pt x="657" y="388"/>
                </a:cubicBezTo>
                <a:cubicBezTo>
                  <a:pt x="657" y="389"/>
                  <a:pt x="658" y="391"/>
                  <a:pt x="660" y="391"/>
                </a:cubicBezTo>
                <a:cubicBezTo>
                  <a:pt x="660" y="391"/>
                  <a:pt x="660" y="392"/>
                  <a:pt x="661" y="391"/>
                </a:cubicBezTo>
                <a:cubicBezTo>
                  <a:pt x="661" y="391"/>
                  <a:pt x="661" y="391"/>
                  <a:pt x="661" y="391"/>
                </a:cubicBezTo>
                <a:cubicBezTo>
                  <a:pt x="662" y="389"/>
                  <a:pt x="660" y="387"/>
                  <a:pt x="661" y="385"/>
                </a:cubicBezTo>
                <a:cubicBezTo>
                  <a:pt x="662" y="386"/>
                  <a:pt x="662" y="387"/>
                  <a:pt x="662" y="388"/>
                </a:cubicBezTo>
                <a:cubicBezTo>
                  <a:pt x="662" y="390"/>
                  <a:pt x="663" y="392"/>
                  <a:pt x="663" y="393"/>
                </a:cubicBezTo>
                <a:cubicBezTo>
                  <a:pt x="664" y="394"/>
                  <a:pt x="665" y="395"/>
                  <a:pt x="665" y="396"/>
                </a:cubicBezTo>
                <a:cubicBezTo>
                  <a:pt x="665" y="397"/>
                  <a:pt x="665" y="398"/>
                  <a:pt x="663" y="398"/>
                </a:cubicBezTo>
                <a:cubicBezTo>
                  <a:pt x="664" y="399"/>
                  <a:pt x="664" y="399"/>
                  <a:pt x="664" y="399"/>
                </a:cubicBezTo>
                <a:cubicBezTo>
                  <a:pt x="664" y="400"/>
                  <a:pt x="664" y="400"/>
                  <a:pt x="665" y="400"/>
                </a:cubicBezTo>
                <a:cubicBezTo>
                  <a:pt x="665" y="401"/>
                  <a:pt x="666" y="401"/>
                  <a:pt x="666" y="400"/>
                </a:cubicBezTo>
                <a:cubicBezTo>
                  <a:pt x="667" y="400"/>
                  <a:pt x="667" y="401"/>
                  <a:pt x="668" y="401"/>
                </a:cubicBezTo>
                <a:cubicBezTo>
                  <a:pt x="668" y="401"/>
                  <a:pt x="668" y="401"/>
                  <a:pt x="668" y="400"/>
                </a:cubicBezTo>
                <a:cubicBezTo>
                  <a:pt x="668" y="400"/>
                  <a:pt x="669" y="400"/>
                  <a:pt x="669" y="400"/>
                </a:cubicBezTo>
                <a:cubicBezTo>
                  <a:pt x="669" y="400"/>
                  <a:pt x="669" y="400"/>
                  <a:pt x="669" y="399"/>
                </a:cubicBezTo>
                <a:cubicBezTo>
                  <a:pt x="669" y="399"/>
                  <a:pt x="670" y="399"/>
                  <a:pt x="670" y="399"/>
                </a:cubicBezTo>
                <a:cubicBezTo>
                  <a:pt x="670" y="399"/>
                  <a:pt x="670" y="399"/>
                  <a:pt x="670" y="400"/>
                </a:cubicBezTo>
                <a:cubicBezTo>
                  <a:pt x="670" y="400"/>
                  <a:pt x="671" y="401"/>
                  <a:pt x="671" y="402"/>
                </a:cubicBezTo>
                <a:cubicBezTo>
                  <a:pt x="672" y="403"/>
                  <a:pt x="673" y="404"/>
                  <a:pt x="674" y="405"/>
                </a:cubicBezTo>
                <a:cubicBezTo>
                  <a:pt x="674" y="405"/>
                  <a:pt x="674" y="405"/>
                  <a:pt x="674" y="405"/>
                </a:cubicBezTo>
                <a:cubicBezTo>
                  <a:pt x="674" y="405"/>
                  <a:pt x="675" y="405"/>
                  <a:pt x="675" y="405"/>
                </a:cubicBezTo>
                <a:cubicBezTo>
                  <a:pt x="675" y="403"/>
                  <a:pt x="676" y="402"/>
                  <a:pt x="675" y="401"/>
                </a:cubicBezTo>
                <a:cubicBezTo>
                  <a:pt x="675" y="400"/>
                  <a:pt x="674" y="398"/>
                  <a:pt x="674" y="397"/>
                </a:cubicBezTo>
                <a:cubicBezTo>
                  <a:pt x="673" y="397"/>
                  <a:pt x="673" y="396"/>
                  <a:pt x="673" y="395"/>
                </a:cubicBezTo>
                <a:cubicBezTo>
                  <a:pt x="674" y="395"/>
                  <a:pt x="674" y="395"/>
                  <a:pt x="675" y="395"/>
                </a:cubicBezTo>
                <a:cubicBezTo>
                  <a:pt x="673" y="393"/>
                  <a:pt x="672" y="391"/>
                  <a:pt x="672" y="388"/>
                </a:cubicBezTo>
                <a:cubicBezTo>
                  <a:pt x="672" y="387"/>
                  <a:pt x="672" y="387"/>
                  <a:pt x="672" y="386"/>
                </a:cubicBezTo>
                <a:cubicBezTo>
                  <a:pt x="672" y="386"/>
                  <a:pt x="671" y="386"/>
                  <a:pt x="671" y="386"/>
                </a:cubicBezTo>
                <a:cubicBezTo>
                  <a:pt x="670" y="386"/>
                  <a:pt x="670" y="385"/>
                  <a:pt x="671" y="385"/>
                </a:cubicBezTo>
                <a:cubicBezTo>
                  <a:pt x="671" y="384"/>
                  <a:pt x="671" y="384"/>
                  <a:pt x="671" y="383"/>
                </a:cubicBezTo>
                <a:cubicBezTo>
                  <a:pt x="671" y="383"/>
                  <a:pt x="671" y="383"/>
                  <a:pt x="670" y="383"/>
                </a:cubicBezTo>
                <a:cubicBezTo>
                  <a:pt x="670" y="383"/>
                  <a:pt x="670" y="382"/>
                  <a:pt x="670" y="382"/>
                </a:cubicBezTo>
                <a:cubicBezTo>
                  <a:pt x="670" y="381"/>
                  <a:pt x="669" y="380"/>
                  <a:pt x="668" y="379"/>
                </a:cubicBezTo>
                <a:cubicBezTo>
                  <a:pt x="667" y="379"/>
                  <a:pt x="667" y="378"/>
                  <a:pt x="667" y="377"/>
                </a:cubicBezTo>
                <a:cubicBezTo>
                  <a:pt x="669" y="379"/>
                  <a:pt x="670" y="380"/>
                  <a:pt x="672" y="382"/>
                </a:cubicBezTo>
                <a:cubicBezTo>
                  <a:pt x="672" y="381"/>
                  <a:pt x="670" y="380"/>
                  <a:pt x="670" y="378"/>
                </a:cubicBezTo>
                <a:cubicBezTo>
                  <a:pt x="670" y="377"/>
                  <a:pt x="671" y="376"/>
                  <a:pt x="672" y="376"/>
                </a:cubicBezTo>
                <a:cubicBezTo>
                  <a:pt x="671" y="377"/>
                  <a:pt x="671" y="378"/>
                  <a:pt x="671" y="378"/>
                </a:cubicBezTo>
                <a:cubicBezTo>
                  <a:pt x="672" y="379"/>
                  <a:pt x="672" y="380"/>
                  <a:pt x="672" y="380"/>
                </a:cubicBezTo>
                <a:cubicBezTo>
                  <a:pt x="673" y="381"/>
                  <a:pt x="673" y="381"/>
                  <a:pt x="673" y="382"/>
                </a:cubicBezTo>
                <a:cubicBezTo>
                  <a:pt x="673" y="382"/>
                  <a:pt x="673" y="382"/>
                  <a:pt x="673" y="383"/>
                </a:cubicBezTo>
                <a:cubicBezTo>
                  <a:pt x="673" y="384"/>
                  <a:pt x="674" y="384"/>
                  <a:pt x="673" y="385"/>
                </a:cubicBezTo>
                <a:cubicBezTo>
                  <a:pt x="673" y="386"/>
                  <a:pt x="673" y="386"/>
                  <a:pt x="673" y="387"/>
                </a:cubicBezTo>
                <a:cubicBezTo>
                  <a:pt x="673" y="387"/>
                  <a:pt x="674" y="387"/>
                  <a:pt x="674" y="387"/>
                </a:cubicBezTo>
                <a:cubicBezTo>
                  <a:pt x="674" y="388"/>
                  <a:pt x="673" y="389"/>
                  <a:pt x="674" y="389"/>
                </a:cubicBezTo>
                <a:cubicBezTo>
                  <a:pt x="674" y="390"/>
                  <a:pt x="674" y="390"/>
                  <a:pt x="674" y="390"/>
                </a:cubicBezTo>
                <a:cubicBezTo>
                  <a:pt x="675" y="390"/>
                  <a:pt x="675" y="390"/>
                  <a:pt x="675" y="391"/>
                </a:cubicBezTo>
                <a:cubicBezTo>
                  <a:pt x="675" y="391"/>
                  <a:pt x="675" y="391"/>
                  <a:pt x="676" y="391"/>
                </a:cubicBezTo>
                <a:cubicBezTo>
                  <a:pt x="676" y="391"/>
                  <a:pt x="677" y="390"/>
                  <a:pt x="677" y="390"/>
                </a:cubicBezTo>
                <a:cubicBezTo>
                  <a:pt x="678" y="391"/>
                  <a:pt x="676" y="393"/>
                  <a:pt x="677" y="394"/>
                </a:cubicBezTo>
                <a:cubicBezTo>
                  <a:pt x="677" y="395"/>
                  <a:pt x="678" y="396"/>
                  <a:pt x="678" y="397"/>
                </a:cubicBezTo>
                <a:cubicBezTo>
                  <a:pt x="679" y="397"/>
                  <a:pt x="679" y="398"/>
                  <a:pt x="679" y="399"/>
                </a:cubicBezTo>
                <a:cubicBezTo>
                  <a:pt x="679" y="399"/>
                  <a:pt x="679" y="400"/>
                  <a:pt x="679" y="400"/>
                </a:cubicBezTo>
                <a:cubicBezTo>
                  <a:pt x="680" y="401"/>
                  <a:pt x="680" y="401"/>
                  <a:pt x="681" y="401"/>
                </a:cubicBezTo>
                <a:cubicBezTo>
                  <a:pt x="681" y="401"/>
                  <a:pt x="681" y="402"/>
                  <a:pt x="681" y="402"/>
                </a:cubicBezTo>
                <a:cubicBezTo>
                  <a:pt x="681" y="402"/>
                  <a:pt x="680" y="403"/>
                  <a:pt x="680" y="403"/>
                </a:cubicBezTo>
                <a:cubicBezTo>
                  <a:pt x="680" y="403"/>
                  <a:pt x="681" y="403"/>
                  <a:pt x="681" y="403"/>
                </a:cubicBezTo>
                <a:cubicBezTo>
                  <a:pt x="681" y="404"/>
                  <a:pt x="682" y="404"/>
                  <a:pt x="683" y="405"/>
                </a:cubicBezTo>
                <a:cubicBezTo>
                  <a:pt x="683" y="405"/>
                  <a:pt x="684" y="405"/>
                  <a:pt x="684" y="405"/>
                </a:cubicBezTo>
                <a:cubicBezTo>
                  <a:pt x="685" y="405"/>
                  <a:pt x="685" y="405"/>
                  <a:pt x="685" y="405"/>
                </a:cubicBezTo>
                <a:cubicBezTo>
                  <a:pt x="685" y="405"/>
                  <a:pt x="686" y="405"/>
                  <a:pt x="686" y="405"/>
                </a:cubicBezTo>
                <a:cubicBezTo>
                  <a:pt x="686" y="405"/>
                  <a:pt x="686" y="405"/>
                  <a:pt x="685" y="404"/>
                </a:cubicBezTo>
                <a:cubicBezTo>
                  <a:pt x="685" y="404"/>
                  <a:pt x="685" y="404"/>
                  <a:pt x="684" y="403"/>
                </a:cubicBezTo>
                <a:cubicBezTo>
                  <a:pt x="685" y="403"/>
                  <a:pt x="685" y="403"/>
                  <a:pt x="685" y="404"/>
                </a:cubicBezTo>
                <a:cubicBezTo>
                  <a:pt x="686" y="404"/>
                  <a:pt x="686" y="405"/>
                  <a:pt x="687" y="405"/>
                </a:cubicBezTo>
                <a:cubicBezTo>
                  <a:pt x="687" y="405"/>
                  <a:pt x="687" y="405"/>
                  <a:pt x="687" y="405"/>
                </a:cubicBezTo>
                <a:cubicBezTo>
                  <a:pt x="687" y="405"/>
                  <a:pt x="687" y="405"/>
                  <a:pt x="687" y="405"/>
                </a:cubicBezTo>
                <a:cubicBezTo>
                  <a:pt x="688" y="404"/>
                  <a:pt x="688" y="403"/>
                  <a:pt x="688" y="403"/>
                </a:cubicBezTo>
                <a:cubicBezTo>
                  <a:pt x="688" y="402"/>
                  <a:pt x="688" y="402"/>
                  <a:pt x="688" y="401"/>
                </a:cubicBezTo>
                <a:cubicBezTo>
                  <a:pt x="688" y="401"/>
                  <a:pt x="688" y="400"/>
                  <a:pt x="689" y="400"/>
                </a:cubicBezTo>
                <a:cubicBezTo>
                  <a:pt x="689" y="400"/>
                  <a:pt x="689" y="399"/>
                  <a:pt x="690" y="399"/>
                </a:cubicBezTo>
                <a:cubicBezTo>
                  <a:pt x="690" y="399"/>
                  <a:pt x="690" y="399"/>
                  <a:pt x="690" y="399"/>
                </a:cubicBezTo>
                <a:cubicBezTo>
                  <a:pt x="690" y="398"/>
                  <a:pt x="690" y="399"/>
                  <a:pt x="690" y="399"/>
                </a:cubicBezTo>
                <a:cubicBezTo>
                  <a:pt x="690" y="399"/>
                  <a:pt x="690" y="400"/>
                  <a:pt x="690" y="400"/>
                </a:cubicBezTo>
                <a:cubicBezTo>
                  <a:pt x="689" y="401"/>
                  <a:pt x="689" y="402"/>
                  <a:pt x="689" y="402"/>
                </a:cubicBezTo>
                <a:cubicBezTo>
                  <a:pt x="689" y="403"/>
                  <a:pt x="689" y="403"/>
                  <a:pt x="689" y="403"/>
                </a:cubicBezTo>
                <a:cubicBezTo>
                  <a:pt x="688" y="404"/>
                  <a:pt x="689" y="404"/>
                  <a:pt x="688" y="405"/>
                </a:cubicBezTo>
                <a:cubicBezTo>
                  <a:pt x="688" y="405"/>
                  <a:pt x="688" y="405"/>
                  <a:pt x="688" y="405"/>
                </a:cubicBezTo>
                <a:cubicBezTo>
                  <a:pt x="688" y="406"/>
                  <a:pt x="688" y="406"/>
                  <a:pt x="688" y="406"/>
                </a:cubicBezTo>
                <a:cubicBezTo>
                  <a:pt x="688" y="406"/>
                  <a:pt x="688" y="406"/>
                  <a:pt x="688" y="406"/>
                </a:cubicBezTo>
                <a:cubicBezTo>
                  <a:pt x="688" y="407"/>
                  <a:pt x="688" y="407"/>
                  <a:pt x="688" y="408"/>
                </a:cubicBezTo>
                <a:cubicBezTo>
                  <a:pt x="688" y="408"/>
                  <a:pt x="688" y="408"/>
                  <a:pt x="688" y="409"/>
                </a:cubicBezTo>
                <a:cubicBezTo>
                  <a:pt x="688" y="409"/>
                  <a:pt x="689" y="410"/>
                  <a:pt x="690" y="410"/>
                </a:cubicBezTo>
                <a:cubicBezTo>
                  <a:pt x="690" y="410"/>
                  <a:pt x="690" y="410"/>
                  <a:pt x="690" y="411"/>
                </a:cubicBezTo>
                <a:cubicBezTo>
                  <a:pt x="690" y="411"/>
                  <a:pt x="691" y="411"/>
                  <a:pt x="691" y="410"/>
                </a:cubicBezTo>
                <a:cubicBezTo>
                  <a:pt x="691" y="410"/>
                  <a:pt x="692" y="410"/>
                  <a:pt x="692" y="410"/>
                </a:cubicBezTo>
                <a:cubicBezTo>
                  <a:pt x="692" y="410"/>
                  <a:pt x="692" y="410"/>
                  <a:pt x="692" y="409"/>
                </a:cubicBezTo>
                <a:cubicBezTo>
                  <a:pt x="692" y="409"/>
                  <a:pt x="692" y="408"/>
                  <a:pt x="693" y="408"/>
                </a:cubicBezTo>
                <a:cubicBezTo>
                  <a:pt x="693" y="407"/>
                  <a:pt x="693" y="408"/>
                  <a:pt x="693" y="408"/>
                </a:cubicBezTo>
                <a:cubicBezTo>
                  <a:pt x="693" y="408"/>
                  <a:pt x="693" y="408"/>
                  <a:pt x="693" y="409"/>
                </a:cubicBezTo>
                <a:cubicBezTo>
                  <a:pt x="692" y="409"/>
                  <a:pt x="693" y="410"/>
                  <a:pt x="694" y="410"/>
                </a:cubicBezTo>
                <a:cubicBezTo>
                  <a:pt x="693" y="410"/>
                  <a:pt x="693" y="411"/>
                  <a:pt x="693" y="411"/>
                </a:cubicBezTo>
                <a:cubicBezTo>
                  <a:pt x="692" y="411"/>
                  <a:pt x="692" y="411"/>
                  <a:pt x="691" y="411"/>
                </a:cubicBezTo>
                <a:cubicBezTo>
                  <a:pt x="691" y="412"/>
                  <a:pt x="691" y="412"/>
                  <a:pt x="691" y="413"/>
                </a:cubicBezTo>
                <a:cubicBezTo>
                  <a:pt x="691" y="413"/>
                  <a:pt x="692" y="413"/>
                  <a:pt x="692" y="414"/>
                </a:cubicBezTo>
                <a:cubicBezTo>
                  <a:pt x="692" y="414"/>
                  <a:pt x="692" y="414"/>
                  <a:pt x="692" y="414"/>
                </a:cubicBezTo>
                <a:cubicBezTo>
                  <a:pt x="693" y="414"/>
                  <a:pt x="692" y="415"/>
                  <a:pt x="693" y="415"/>
                </a:cubicBezTo>
                <a:cubicBezTo>
                  <a:pt x="693" y="415"/>
                  <a:pt x="693" y="415"/>
                  <a:pt x="694" y="415"/>
                </a:cubicBezTo>
                <a:cubicBezTo>
                  <a:pt x="694" y="415"/>
                  <a:pt x="694" y="414"/>
                  <a:pt x="694" y="414"/>
                </a:cubicBezTo>
                <a:cubicBezTo>
                  <a:pt x="694" y="413"/>
                  <a:pt x="694" y="413"/>
                  <a:pt x="694" y="412"/>
                </a:cubicBezTo>
                <a:cubicBezTo>
                  <a:pt x="694" y="412"/>
                  <a:pt x="695" y="412"/>
                  <a:pt x="695" y="412"/>
                </a:cubicBezTo>
                <a:cubicBezTo>
                  <a:pt x="695" y="411"/>
                  <a:pt x="695" y="412"/>
                  <a:pt x="695" y="412"/>
                </a:cubicBezTo>
                <a:cubicBezTo>
                  <a:pt x="697" y="412"/>
                  <a:pt x="699" y="412"/>
                  <a:pt x="700" y="413"/>
                </a:cubicBezTo>
                <a:cubicBezTo>
                  <a:pt x="700" y="413"/>
                  <a:pt x="700" y="413"/>
                  <a:pt x="700" y="413"/>
                </a:cubicBezTo>
                <a:cubicBezTo>
                  <a:pt x="700" y="413"/>
                  <a:pt x="700" y="414"/>
                  <a:pt x="700" y="413"/>
                </a:cubicBezTo>
                <a:cubicBezTo>
                  <a:pt x="699" y="413"/>
                  <a:pt x="698" y="413"/>
                  <a:pt x="697" y="413"/>
                </a:cubicBezTo>
                <a:cubicBezTo>
                  <a:pt x="697" y="413"/>
                  <a:pt x="697" y="412"/>
                  <a:pt x="696" y="412"/>
                </a:cubicBezTo>
                <a:cubicBezTo>
                  <a:pt x="695" y="412"/>
                  <a:pt x="695" y="413"/>
                  <a:pt x="695" y="414"/>
                </a:cubicBezTo>
                <a:cubicBezTo>
                  <a:pt x="695" y="415"/>
                  <a:pt x="695" y="415"/>
                  <a:pt x="695" y="416"/>
                </a:cubicBezTo>
                <a:cubicBezTo>
                  <a:pt x="697" y="417"/>
                  <a:pt x="698" y="418"/>
                  <a:pt x="700" y="420"/>
                </a:cubicBezTo>
                <a:cubicBezTo>
                  <a:pt x="700" y="420"/>
                  <a:pt x="700" y="420"/>
                  <a:pt x="700" y="420"/>
                </a:cubicBezTo>
                <a:cubicBezTo>
                  <a:pt x="701" y="421"/>
                  <a:pt x="701" y="421"/>
                  <a:pt x="701" y="421"/>
                </a:cubicBezTo>
                <a:cubicBezTo>
                  <a:pt x="701" y="421"/>
                  <a:pt x="702" y="422"/>
                  <a:pt x="702" y="422"/>
                </a:cubicBezTo>
                <a:cubicBezTo>
                  <a:pt x="703" y="422"/>
                  <a:pt x="702" y="422"/>
                  <a:pt x="702" y="422"/>
                </a:cubicBezTo>
                <a:cubicBezTo>
                  <a:pt x="702" y="422"/>
                  <a:pt x="702" y="422"/>
                  <a:pt x="701" y="422"/>
                </a:cubicBezTo>
                <a:cubicBezTo>
                  <a:pt x="701" y="422"/>
                  <a:pt x="701" y="422"/>
                  <a:pt x="700" y="422"/>
                </a:cubicBezTo>
                <a:cubicBezTo>
                  <a:pt x="700" y="421"/>
                  <a:pt x="700" y="421"/>
                  <a:pt x="699" y="421"/>
                </a:cubicBezTo>
                <a:cubicBezTo>
                  <a:pt x="699" y="420"/>
                  <a:pt x="698" y="419"/>
                  <a:pt x="697" y="418"/>
                </a:cubicBezTo>
                <a:cubicBezTo>
                  <a:pt x="696" y="418"/>
                  <a:pt x="695" y="417"/>
                  <a:pt x="694" y="417"/>
                </a:cubicBezTo>
                <a:cubicBezTo>
                  <a:pt x="694" y="417"/>
                  <a:pt x="694" y="417"/>
                  <a:pt x="694" y="417"/>
                </a:cubicBezTo>
                <a:cubicBezTo>
                  <a:pt x="694" y="417"/>
                  <a:pt x="694" y="418"/>
                  <a:pt x="694" y="418"/>
                </a:cubicBezTo>
                <a:cubicBezTo>
                  <a:pt x="694" y="418"/>
                  <a:pt x="694" y="418"/>
                  <a:pt x="694" y="419"/>
                </a:cubicBezTo>
                <a:cubicBezTo>
                  <a:pt x="694" y="419"/>
                  <a:pt x="694" y="419"/>
                  <a:pt x="694" y="419"/>
                </a:cubicBezTo>
                <a:cubicBezTo>
                  <a:pt x="694" y="420"/>
                  <a:pt x="694" y="420"/>
                  <a:pt x="694" y="420"/>
                </a:cubicBezTo>
                <a:cubicBezTo>
                  <a:pt x="694" y="420"/>
                  <a:pt x="695" y="420"/>
                  <a:pt x="695" y="420"/>
                </a:cubicBezTo>
                <a:cubicBezTo>
                  <a:pt x="695" y="420"/>
                  <a:pt x="695" y="421"/>
                  <a:pt x="695" y="421"/>
                </a:cubicBezTo>
                <a:cubicBezTo>
                  <a:pt x="695" y="421"/>
                  <a:pt x="695" y="421"/>
                  <a:pt x="695" y="421"/>
                </a:cubicBezTo>
                <a:cubicBezTo>
                  <a:pt x="695" y="421"/>
                  <a:pt x="695" y="422"/>
                  <a:pt x="695" y="423"/>
                </a:cubicBezTo>
                <a:cubicBezTo>
                  <a:pt x="695" y="423"/>
                  <a:pt x="695" y="423"/>
                  <a:pt x="695" y="423"/>
                </a:cubicBezTo>
                <a:cubicBezTo>
                  <a:pt x="695" y="423"/>
                  <a:pt x="696" y="423"/>
                  <a:pt x="696" y="424"/>
                </a:cubicBezTo>
                <a:cubicBezTo>
                  <a:pt x="696" y="424"/>
                  <a:pt x="697" y="424"/>
                  <a:pt x="697" y="424"/>
                </a:cubicBezTo>
                <a:cubicBezTo>
                  <a:pt x="697" y="424"/>
                  <a:pt x="697" y="424"/>
                  <a:pt x="696" y="425"/>
                </a:cubicBezTo>
                <a:cubicBezTo>
                  <a:pt x="696" y="425"/>
                  <a:pt x="697" y="426"/>
                  <a:pt x="697" y="426"/>
                </a:cubicBezTo>
                <a:cubicBezTo>
                  <a:pt x="697" y="426"/>
                  <a:pt x="698" y="426"/>
                  <a:pt x="699" y="426"/>
                </a:cubicBezTo>
                <a:cubicBezTo>
                  <a:pt x="699" y="426"/>
                  <a:pt x="699" y="426"/>
                  <a:pt x="700" y="426"/>
                </a:cubicBezTo>
                <a:cubicBezTo>
                  <a:pt x="700" y="427"/>
                  <a:pt x="700" y="427"/>
                  <a:pt x="700" y="427"/>
                </a:cubicBezTo>
                <a:cubicBezTo>
                  <a:pt x="700" y="427"/>
                  <a:pt x="700" y="427"/>
                  <a:pt x="700" y="427"/>
                </a:cubicBezTo>
                <a:cubicBezTo>
                  <a:pt x="699" y="427"/>
                  <a:pt x="699" y="427"/>
                  <a:pt x="698" y="427"/>
                </a:cubicBezTo>
                <a:cubicBezTo>
                  <a:pt x="698" y="427"/>
                  <a:pt x="697" y="427"/>
                  <a:pt x="697" y="427"/>
                </a:cubicBezTo>
                <a:cubicBezTo>
                  <a:pt x="696" y="427"/>
                  <a:pt x="696" y="427"/>
                  <a:pt x="696" y="427"/>
                </a:cubicBezTo>
                <a:cubicBezTo>
                  <a:pt x="696" y="428"/>
                  <a:pt x="696" y="428"/>
                  <a:pt x="696" y="428"/>
                </a:cubicBezTo>
                <a:cubicBezTo>
                  <a:pt x="696" y="429"/>
                  <a:pt x="695" y="429"/>
                  <a:pt x="695" y="430"/>
                </a:cubicBezTo>
                <a:cubicBezTo>
                  <a:pt x="695" y="430"/>
                  <a:pt x="695" y="430"/>
                  <a:pt x="695" y="430"/>
                </a:cubicBezTo>
                <a:cubicBezTo>
                  <a:pt x="695" y="430"/>
                  <a:pt x="695" y="430"/>
                  <a:pt x="695" y="430"/>
                </a:cubicBezTo>
                <a:cubicBezTo>
                  <a:pt x="696" y="430"/>
                  <a:pt x="697" y="431"/>
                  <a:pt x="698" y="432"/>
                </a:cubicBezTo>
                <a:cubicBezTo>
                  <a:pt x="698" y="432"/>
                  <a:pt x="698" y="432"/>
                  <a:pt x="698" y="432"/>
                </a:cubicBezTo>
                <a:cubicBezTo>
                  <a:pt x="699" y="432"/>
                  <a:pt x="699" y="431"/>
                  <a:pt x="699" y="431"/>
                </a:cubicBezTo>
                <a:cubicBezTo>
                  <a:pt x="699" y="430"/>
                  <a:pt x="700" y="430"/>
                  <a:pt x="700" y="430"/>
                </a:cubicBezTo>
                <a:cubicBezTo>
                  <a:pt x="700" y="430"/>
                  <a:pt x="700" y="430"/>
                  <a:pt x="700" y="430"/>
                </a:cubicBezTo>
                <a:cubicBezTo>
                  <a:pt x="700" y="431"/>
                  <a:pt x="700" y="431"/>
                  <a:pt x="700" y="431"/>
                </a:cubicBezTo>
                <a:cubicBezTo>
                  <a:pt x="700" y="431"/>
                  <a:pt x="700" y="431"/>
                  <a:pt x="700" y="431"/>
                </a:cubicBezTo>
                <a:cubicBezTo>
                  <a:pt x="700" y="431"/>
                  <a:pt x="700" y="432"/>
                  <a:pt x="700" y="432"/>
                </a:cubicBezTo>
                <a:cubicBezTo>
                  <a:pt x="700" y="432"/>
                  <a:pt x="701" y="432"/>
                  <a:pt x="701" y="432"/>
                </a:cubicBezTo>
                <a:cubicBezTo>
                  <a:pt x="702" y="433"/>
                  <a:pt x="702" y="433"/>
                  <a:pt x="702" y="433"/>
                </a:cubicBezTo>
                <a:cubicBezTo>
                  <a:pt x="703" y="433"/>
                  <a:pt x="703" y="433"/>
                  <a:pt x="703" y="433"/>
                </a:cubicBezTo>
                <a:cubicBezTo>
                  <a:pt x="704" y="433"/>
                  <a:pt x="704" y="432"/>
                  <a:pt x="704" y="432"/>
                </a:cubicBezTo>
                <a:cubicBezTo>
                  <a:pt x="704" y="432"/>
                  <a:pt x="704" y="432"/>
                  <a:pt x="704" y="432"/>
                </a:cubicBezTo>
                <a:cubicBezTo>
                  <a:pt x="704" y="431"/>
                  <a:pt x="704" y="431"/>
                  <a:pt x="704" y="432"/>
                </a:cubicBezTo>
                <a:cubicBezTo>
                  <a:pt x="704" y="432"/>
                  <a:pt x="704" y="432"/>
                  <a:pt x="704" y="432"/>
                </a:cubicBezTo>
                <a:cubicBezTo>
                  <a:pt x="704" y="433"/>
                  <a:pt x="704" y="433"/>
                  <a:pt x="705" y="433"/>
                </a:cubicBezTo>
                <a:cubicBezTo>
                  <a:pt x="704" y="434"/>
                  <a:pt x="704" y="434"/>
                  <a:pt x="704" y="434"/>
                </a:cubicBezTo>
                <a:cubicBezTo>
                  <a:pt x="703" y="434"/>
                  <a:pt x="703" y="434"/>
                  <a:pt x="703" y="434"/>
                </a:cubicBezTo>
                <a:cubicBezTo>
                  <a:pt x="703" y="434"/>
                  <a:pt x="703" y="435"/>
                  <a:pt x="703" y="435"/>
                </a:cubicBezTo>
                <a:cubicBezTo>
                  <a:pt x="703" y="436"/>
                  <a:pt x="704" y="437"/>
                  <a:pt x="704" y="437"/>
                </a:cubicBezTo>
                <a:cubicBezTo>
                  <a:pt x="704" y="437"/>
                  <a:pt x="705" y="438"/>
                  <a:pt x="705" y="438"/>
                </a:cubicBezTo>
                <a:cubicBezTo>
                  <a:pt x="705" y="438"/>
                  <a:pt x="705" y="439"/>
                  <a:pt x="706" y="439"/>
                </a:cubicBezTo>
                <a:cubicBezTo>
                  <a:pt x="706" y="439"/>
                  <a:pt x="706" y="440"/>
                  <a:pt x="707" y="440"/>
                </a:cubicBezTo>
                <a:cubicBezTo>
                  <a:pt x="707" y="440"/>
                  <a:pt x="707" y="440"/>
                  <a:pt x="708" y="440"/>
                </a:cubicBezTo>
                <a:cubicBezTo>
                  <a:pt x="708" y="440"/>
                  <a:pt x="708" y="440"/>
                  <a:pt x="708" y="440"/>
                </a:cubicBezTo>
                <a:cubicBezTo>
                  <a:pt x="708" y="440"/>
                  <a:pt x="708" y="440"/>
                  <a:pt x="708" y="440"/>
                </a:cubicBezTo>
                <a:cubicBezTo>
                  <a:pt x="708" y="440"/>
                  <a:pt x="708" y="441"/>
                  <a:pt x="707" y="441"/>
                </a:cubicBezTo>
                <a:cubicBezTo>
                  <a:pt x="707" y="441"/>
                  <a:pt x="708" y="441"/>
                  <a:pt x="707" y="442"/>
                </a:cubicBezTo>
                <a:cubicBezTo>
                  <a:pt x="707" y="442"/>
                  <a:pt x="707" y="442"/>
                  <a:pt x="707" y="443"/>
                </a:cubicBezTo>
                <a:cubicBezTo>
                  <a:pt x="707" y="443"/>
                  <a:pt x="708" y="443"/>
                  <a:pt x="708" y="443"/>
                </a:cubicBezTo>
                <a:cubicBezTo>
                  <a:pt x="709" y="443"/>
                  <a:pt x="709" y="443"/>
                  <a:pt x="710" y="443"/>
                </a:cubicBezTo>
                <a:cubicBezTo>
                  <a:pt x="710" y="443"/>
                  <a:pt x="710" y="443"/>
                  <a:pt x="710" y="443"/>
                </a:cubicBezTo>
                <a:cubicBezTo>
                  <a:pt x="710" y="443"/>
                  <a:pt x="710" y="443"/>
                  <a:pt x="710" y="443"/>
                </a:cubicBezTo>
                <a:cubicBezTo>
                  <a:pt x="710" y="444"/>
                  <a:pt x="711" y="445"/>
                  <a:pt x="710" y="445"/>
                </a:cubicBezTo>
                <a:cubicBezTo>
                  <a:pt x="710" y="446"/>
                  <a:pt x="711" y="446"/>
                  <a:pt x="711" y="446"/>
                </a:cubicBezTo>
                <a:cubicBezTo>
                  <a:pt x="711" y="446"/>
                  <a:pt x="712" y="447"/>
                  <a:pt x="712" y="447"/>
                </a:cubicBezTo>
                <a:cubicBezTo>
                  <a:pt x="712" y="447"/>
                  <a:pt x="712" y="448"/>
                  <a:pt x="712" y="448"/>
                </a:cubicBezTo>
                <a:cubicBezTo>
                  <a:pt x="712" y="449"/>
                  <a:pt x="713" y="449"/>
                  <a:pt x="713" y="449"/>
                </a:cubicBezTo>
                <a:cubicBezTo>
                  <a:pt x="713" y="449"/>
                  <a:pt x="713" y="449"/>
                  <a:pt x="714" y="450"/>
                </a:cubicBezTo>
                <a:cubicBezTo>
                  <a:pt x="714" y="450"/>
                  <a:pt x="713" y="450"/>
                  <a:pt x="713" y="450"/>
                </a:cubicBezTo>
                <a:cubicBezTo>
                  <a:pt x="713" y="450"/>
                  <a:pt x="713" y="450"/>
                  <a:pt x="712" y="449"/>
                </a:cubicBezTo>
                <a:cubicBezTo>
                  <a:pt x="712" y="449"/>
                  <a:pt x="711" y="448"/>
                  <a:pt x="711" y="447"/>
                </a:cubicBezTo>
                <a:cubicBezTo>
                  <a:pt x="711" y="447"/>
                  <a:pt x="710" y="447"/>
                  <a:pt x="710" y="447"/>
                </a:cubicBezTo>
                <a:cubicBezTo>
                  <a:pt x="710" y="447"/>
                  <a:pt x="710" y="447"/>
                  <a:pt x="709" y="447"/>
                </a:cubicBezTo>
                <a:cubicBezTo>
                  <a:pt x="709" y="448"/>
                  <a:pt x="710" y="448"/>
                  <a:pt x="710" y="448"/>
                </a:cubicBezTo>
                <a:cubicBezTo>
                  <a:pt x="710" y="448"/>
                  <a:pt x="710" y="449"/>
                  <a:pt x="710" y="449"/>
                </a:cubicBezTo>
                <a:cubicBezTo>
                  <a:pt x="710" y="450"/>
                  <a:pt x="711" y="450"/>
                  <a:pt x="711" y="450"/>
                </a:cubicBezTo>
                <a:cubicBezTo>
                  <a:pt x="711" y="451"/>
                  <a:pt x="710" y="451"/>
                  <a:pt x="710" y="451"/>
                </a:cubicBezTo>
                <a:cubicBezTo>
                  <a:pt x="710" y="451"/>
                  <a:pt x="710" y="452"/>
                  <a:pt x="711" y="452"/>
                </a:cubicBezTo>
                <a:cubicBezTo>
                  <a:pt x="711" y="452"/>
                  <a:pt x="711" y="452"/>
                  <a:pt x="711" y="452"/>
                </a:cubicBezTo>
                <a:cubicBezTo>
                  <a:pt x="711" y="452"/>
                  <a:pt x="710" y="452"/>
                  <a:pt x="710" y="453"/>
                </a:cubicBezTo>
                <a:cubicBezTo>
                  <a:pt x="710" y="453"/>
                  <a:pt x="709" y="453"/>
                  <a:pt x="709" y="453"/>
                </a:cubicBezTo>
                <a:cubicBezTo>
                  <a:pt x="709" y="454"/>
                  <a:pt x="708" y="454"/>
                  <a:pt x="708" y="453"/>
                </a:cubicBezTo>
                <a:cubicBezTo>
                  <a:pt x="708" y="453"/>
                  <a:pt x="708" y="453"/>
                  <a:pt x="708" y="453"/>
                </a:cubicBezTo>
                <a:cubicBezTo>
                  <a:pt x="709" y="452"/>
                  <a:pt x="709" y="452"/>
                  <a:pt x="709" y="452"/>
                </a:cubicBezTo>
                <a:cubicBezTo>
                  <a:pt x="710" y="452"/>
                  <a:pt x="710" y="451"/>
                  <a:pt x="710" y="451"/>
                </a:cubicBezTo>
                <a:cubicBezTo>
                  <a:pt x="710" y="451"/>
                  <a:pt x="710" y="451"/>
                  <a:pt x="710" y="451"/>
                </a:cubicBezTo>
                <a:cubicBezTo>
                  <a:pt x="710" y="450"/>
                  <a:pt x="710" y="450"/>
                  <a:pt x="710" y="450"/>
                </a:cubicBezTo>
                <a:cubicBezTo>
                  <a:pt x="709" y="450"/>
                  <a:pt x="709" y="450"/>
                  <a:pt x="709" y="450"/>
                </a:cubicBezTo>
                <a:cubicBezTo>
                  <a:pt x="709" y="449"/>
                  <a:pt x="709" y="449"/>
                  <a:pt x="709" y="449"/>
                </a:cubicBezTo>
                <a:cubicBezTo>
                  <a:pt x="709" y="449"/>
                  <a:pt x="709" y="448"/>
                  <a:pt x="709" y="448"/>
                </a:cubicBezTo>
                <a:cubicBezTo>
                  <a:pt x="709" y="448"/>
                  <a:pt x="709" y="448"/>
                  <a:pt x="709" y="447"/>
                </a:cubicBezTo>
                <a:cubicBezTo>
                  <a:pt x="708" y="447"/>
                  <a:pt x="707" y="448"/>
                  <a:pt x="707" y="448"/>
                </a:cubicBezTo>
                <a:cubicBezTo>
                  <a:pt x="707" y="449"/>
                  <a:pt x="708" y="450"/>
                  <a:pt x="707" y="450"/>
                </a:cubicBezTo>
                <a:cubicBezTo>
                  <a:pt x="707" y="451"/>
                  <a:pt x="707" y="451"/>
                  <a:pt x="707" y="451"/>
                </a:cubicBezTo>
                <a:cubicBezTo>
                  <a:pt x="707" y="451"/>
                  <a:pt x="707" y="452"/>
                  <a:pt x="707" y="452"/>
                </a:cubicBezTo>
                <a:cubicBezTo>
                  <a:pt x="706" y="452"/>
                  <a:pt x="706" y="452"/>
                  <a:pt x="706" y="452"/>
                </a:cubicBezTo>
                <a:cubicBezTo>
                  <a:pt x="706" y="453"/>
                  <a:pt x="706" y="453"/>
                  <a:pt x="706" y="454"/>
                </a:cubicBezTo>
                <a:cubicBezTo>
                  <a:pt x="706" y="454"/>
                  <a:pt x="706" y="455"/>
                  <a:pt x="706" y="456"/>
                </a:cubicBezTo>
                <a:cubicBezTo>
                  <a:pt x="706" y="456"/>
                  <a:pt x="706" y="456"/>
                  <a:pt x="706" y="456"/>
                </a:cubicBezTo>
                <a:cubicBezTo>
                  <a:pt x="706" y="456"/>
                  <a:pt x="707" y="456"/>
                  <a:pt x="707" y="456"/>
                </a:cubicBezTo>
                <a:cubicBezTo>
                  <a:pt x="707" y="456"/>
                  <a:pt x="707" y="456"/>
                  <a:pt x="707" y="456"/>
                </a:cubicBezTo>
                <a:cubicBezTo>
                  <a:pt x="708" y="455"/>
                  <a:pt x="708" y="456"/>
                  <a:pt x="708" y="456"/>
                </a:cubicBezTo>
                <a:cubicBezTo>
                  <a:pt x="708" y="457"/>
                  <a:pt x="709" y="457"/>
                  <a:pt x="709" y="458"/>
                </a:cubicBezTo>
                <a:cubicBezTo>
                  <a:pt x="709" y="458"/>
                  <a:pt x="709" y="458"/>
                  <a:pt x="709" y="459"/>
                </a:cubicBezTo>
                <a:cubicBezTo>
                  <a:pt x="709" y="459"/>
                  <a:pt x="709" y="460"/>
                  <a:pt x="709" y="460"/>
                </a:cubicBezTo>
                <a:cubicBezTo>
                  <a:pt x="709" y="460"/>
                  <a:pt x="710" y="460"/>
                  <a:pt x="710" y="460"/>
                </a:cubicBezTo>
                <a:cubicBezTo>
                  <a:pt x="710" y="460"/>
                  <a:pt x="710" y="460"/>
                  <a:pt x="710" y="460"/>
                </a:cubicBezTo>
                <a:cubicBezTo>
                  <a:pt x="711" y="459"/>
                  <a:pt x="711" y="459"/>
                  <a:pt x="712" y="459"/>
                </a:cubicBezTo>
                <a:cubicBezTo>
                  <a:pt x="712" y="459"/>
                  <a:pt x="712" y="459"/>
                  <a:pt x="712" y="458"/>
                </a:cubicBezTo>
                <a:cubicBezTo>
                  <a:pt x="713" y="458"/>
                  <a:pt x="713" y="458"/>
                  <a:pt x="713" y="458"/>
                </a:cubicBezTo>
                <a:cubicBezTo>
                  <a:pt x="713" y="457"/>
                  <a:pt x="713" y="457"/>
                  <a:pt x="712" y="456"/>
                </a:cubicBezTo>
                <a:cubicBezTo>
                  <a:pt x="712" y="456"/>
                  <a:pt x="712" y="456"/>
                  <a:pt x="712" y="456"/>
                </a:cubicBezTo>
                <a:cubicBezTo>
                  <a:pt x="712" y="456"/>
                  <a:pt x="712" y="456"/>
                  <a:pt x="712" y="456"/>
                </a:cubicBezTo>
                <a:cubicBezTo>
                  <a:pt x="713" y="455"/>
                  <a:pt x="713" y="455"/>
                  <a:pt x="713" y="455"/>
                </a:cubicBezTo>
                <a:cubicBezTo>
                  <a:pt x="713" y="454"/>
                  <a:pt x="712" y="454"/>
                  <a:pt x="712" y="454"/>
                </a:cubicBezTo>
                <a:cubicBezTo>
                  <a:pt x="712" y="454"/>
                  <a:pt x="712" y="453"/>
                  <a:pt x="712" y="453"/>
                </a:cubicBezTo>
                <a:cubicBezTo>
                  <a:pt x="712" y="453"/>
                  <a:pt x="713" y="454"/>
                  <a:pt x="713" y="454"/>
                </a:cubicBezTo>
                <a:cubicBezTo>
                  <a:pt x="713" y="454"/>
                  <a:pt x="714" y="454"/>
                  <a:pt x="714" y="454"/>
                </a:cubicBezTo>
                <a:cubicBezTo>
                  <a:pt x="714" y="453"/>
                  <a:pt x="714" y="453"/>
                  <a:pt x="715" y="453"/>
                </a:cubicBezTo>
                <a:cubicBezTo>
                  <a:pt x="715" y="452"/>
                  <a:pt x="717" y="452"/>
                  <a:pt x="717" y="452"/>
                </a:cubicBezTo>
                <a:cubicBezTo>
                  <a:pt x="718" y="452"/>
                  <a:pt x="718" y="453"/>
                  <a:pt x="719" y="453"/>
                </a:cubicBezTo>
                <a:cubicBezTo>
                  <a:pt x="719" y="453"/>
                  <a:pt x="720" y="452"/>
                  <a:pt x="720" y="452"/>
                </a:cubicBezTo>
                <a:cubicBezTo>
                  <a:pt x="720" y="453"/>
                  <a:pt x="720" y="453"/>
                  <a:pt x="720" y="453"/>
                </a:cubicBezTo>
                <a:cubicBezTo>
                  <a:pt x="720" y="453"/>
                  <a:pt x="720" y="453"/>
                  <a:pt x="720" y="453"/>
                </a:cubicBezTo>
                <a:cubicBezTo>
                  <a:pt x="720" y="454"/>
                  <a:pt x="720" y="454"/>
                  <a:pt x="720" y="454"/>
                </a:cubicBezTo>
                <a:cubicBezTo>
                  <a:pt x="718" y="454"/>
                  <a:pt x="717" y="454"/>
                  <a:pt x="716" y="454"/>
                </a:cubicBezTo>
                <a:cubicBezTo>
                  <a:pt x="716" y="454"/>
                  <a:pt x="716" y="454"/>
                  <a:pt x="716" y="454"/>
                </a:cubicBezTo>
                <a:cubicBezTo>
                  <a:pt x="715" y="454"/>
                  <a:pt x="715" y="454"/>
                  <a:pt x="715" y="454"/>
                </a:cubicBezTo>
                <a:cubicBezTo>
                  <a:pt x="715" y="454"/>
                  <a:pt x="715" y="454"/>
                  <a:pt x="715" y="455"/>
                </a:cubicBezTo>
                <a:cubicBezTo>
                  <a:pt x="715" y="455"/>
                  <a:pt x="714" y="455"/>
                  <a:pt x="714" y="456"/>
                </a:cubicBezTo>
                <a:cubicBezTo>
                  <a:pt x="714" y="456"/>
                  <a:pt x="714" y="457"/>
                  <a:pt x="714" y="457"/>
                </a:cubicBezTo>
                <a:cubicBezTo>
                  <a:pt x="715" y="457"/>
                  <a:pt x="715" y="457"/>
                  <a:pt x="715" y="458"/>
                </a:cubicBezTo>
                <a:cubicBezTo>
                  <a:pt x="715" y="458"/>
                  <a:pt x="715" y="458"/>
                  <a:pt x="715" y="458"/>
                </a:cubicBezTo>
                <a:cubicBezTo>
                  <a:pt x="715" y="458"/>
                  <a:pt x="715" y="458"/>
                  <a:pt x="715" y="458"/>
                </a:cubicBezTo>
                <a:cubicBezTo>
                  <a:pt x="714" y="459"/>
                  <a:pt x="714" y="460"/>
                  <a:pt x="713" y="461"/>
                </a:cubicBezTo>
                <a:cubicBezTo>
                  <a:pt x="713" y="461"/>
                  <a:pt x="713" y="463"/>
                  <a:pt x="712" y="463"/>
                </a:cubicBezTo>
                <a:cubicBezTo>
                  <a:pt x="712" y="463"/>
                  <a:pt x="712" y="463"/>
                  <a:pt x="712" y="463"/>
                </a:cubicBezTo>
                <a:cubicBezTo>
                  <a:pt x="711" y="464"/>
                  <a:pt x="712" y="464"/>
                  <a:pt x="712" y="465"/>
                </a:cubicBezTo>
                <a:cubicBezTo>
                  <a:pt x="712" y="465"/>
                  <a:pt x="712" y="466"/>
                  <a:pt x="712" y="466"/>
                </a:cubicBezTo>
                <a:cubicBezTo>
                  <a:pt x="712" y="467"/>
                  <a:pt x="713" y="468"/>
                  <a:pt x="714" y="468"/>
                </a:cubicBezTo>
                <a:cubicBezTo>
                  <a:pt x="714" y="469"/>
                  <a:pt x="715" y="469"/>
                  <a:pt x="715" y="469"/>
                </a:cubicBezTo>
                <a:cubicBezTo>
                  <a:pt x="715" y="468"/>
                  <a:pt x="715" y="468"/>
                  <a:pt x="715" y="467"/>
                </a:cubicBezTo>
                <a:cubicBezTo>
                  <a:pt x="716" y="466"/>
                  <a:pt x="716" y="465"/>
                  <a:pt x="717" y="465"/>
                </a:cubicBezTo>
                <a:cubicBezTo>
                  <a:pt x="717" y="464"/>
                  <a:pt x="717" y="462"/>
                  <a:pt x="717" y="462"/>
                </a:cubicBezTo>
                <a:cubicBezTo>
                  <a:pt x="716" y="462"/>
                  <a:pt x="716" y="461"/>
                  <a:pt x="716" y="461"/>
                </a:cubicBezTo>
                <a:cubicBezTo>
                  <a:pt x="716" y="461"/>
                  <a:pt x="716" y="461"/>
                  <a:pt x="717" y="461"/>
                </a:cubicBezTo>
                <a:cubicBezTo>
                  <a:pt x="718" y="460"/>
                  <a:pt x="719" y="459"/>
                  <a:pt x="720" y="458"/>
                </a:cubicBezTo>
                <a:cubicBezTo>
                  <a:pt x="720" y="458"/>
                  <a:pt x="720" y="459"/>
                  <a:pt x="720" y="459"/>
                </a:cubicBezTo>
                <a:cubicBezTo>
                  <a:pt x="720" y="459"/>
                  <a:pt x="719" y="459"/>
                  <a:pt x="719" y="459"/>
                </a:cubicBezTo>
                <a:cubicBezTo>
                  <a:pt x="719" y="459"/>
                  <a:pt x="719" y="459"/>
                  <a:pt x="719" y="460"/>
                </a:cubicBezTo>
                <a:cubicBezTo>
                  <a:pt x="719" y="460"/>
                  <a:pt x="720" y="460"/>
                  <a:pt x="720" y="461"/>
                </a:cubicBezTo>
                <a:cubicBezTo>
                  <a:pt x="719" y="461"/>
                  <a:pt x="718" y="461"/>
                  <a:pt x="718" y="462"/>
                </a:cubicBezTo>
                <a:cubicBezTo>
                  <a:pt x="719" y="462"/>
                  <a:pt x="719" y="462"/>
                  <a:pt x="719" y="462"/>
                </a:cubicBezTo>
                <a:cubicBezTo>
                  <a:pt x="720" y="462"/>
                  <a:pt x="719" y="463"/>
                  <a:pt x="719" y="463"/>
                </a:cubicBezTo>
                <a:cubicBezTo>
                  <a:pt x="719" y="463"/>
                  <a:pt x="718" y="463"/>
                  <a:pt x="718" y="463"/>
                </a:cubicBezTo>
                <a:cubicBezTo>
                  <a:pt x="718" y="464"/>
                  <a:pt x="718" y="464"/>
                  <a:pt x="718" y="464"/>
                </a:cubicBezTo>
                <a:cubicBezTo>
                  <a:pt x="718" y="465"/>
                  <a:pt x="718" y="465"/>
                  <a:pt x="718" y="465"/>
                </a:cubicBezTo>
                <a:cubicBezTo>
                  <a:pt x="718" y="465"/>
                  <a:pt x="718" y="466"/>
                  <a:pt x="718" y="466"/>
                </a:cubicBezTo>
                <a:cubicBezTo>
                  <a:pt x="718" y="466"/>
                  <a:pt x="719" y="467"/>
                  <a:pt x="719" y="467"/>
                </a:cubicBezTo>
                <a:cubicBezTo>
                  <a:pt x="719" y="467"/>
                  <a:pt x="719" y="467"/>
                  <a:pt x="719" y="468"/>
                </a:cubicBezTo>
                <a:cubicBezTo>
                  <a:pt x="719" y="468"/>
                  <a:pt x="718" y="468"/>
                  <a:pt x="718" y="468"/>
                </a:cubicBezTo>
                <a:cubicBezTo>
                  <a:pt x="718" y="469"/>
                  <a:pt x="718" y="469"/>
                  <a:pt x="718" y="469"/>
                </a:cubicBezTo>
                <a:cubicBezTo>
                  <a:pt x="717" y="469"/>
                  <a:pt x="717" y="470"/>
                  <a:pt x="717" y="470"/>
                </a:cubicBezTo>
                <a:cubicBezTo>
                  <a:pt x="718" y="471"/>
                  <a:pt x="718" y="471"/>
                  <a:pt x="717" y="472"/>
                </a:cubicBezTo>
                <a:cubicBezTo>
                  <a:pt x="717" y="471"/>
                  <a:pt x="717" y="471"/>
                  <a:pt x="716" y="471"/>
                </a:cubicBezTo>
                <a:cubicBezTo>
                  <a:pt x="716" y="472"/>
                  <a:pt x="716" y="474"/>
                  <a:pt x="717" y="474"/>
                </a:cubicBezTo>
                <a:cubicBezTo>
                  <a:pt x="717" y="475"/>
                  <a:pt x="717" y="475"/>
                  <a:pt x="717" y="475"/>
                </a:cubicBezTo>
                <a:cubicBezTo>
                  <a:pt x="717" y="475"/>
                  <a:pt x="717" y="476"/>
                  <a:pt x="717" y="476"/>
                </a:cubicBezTo>
                <a:cubicBezTo>
                  <a:pt x="717" y="477"/>
                  <a:pt x="718" y="477"/>
                  <a:pt x="718" y="476"/>
                </a:cubicBezTo>
                <a:cubicBezTo>
                  <a:pt x="718" y="476"/>
                  <a:pt x="718" y="475"/>
                  <a:pt x="718" y="475"/>
                </a:cubicBezTo>
                <a:cubicBezTo>
                  <a:pt x="718" y="475"/>
                  <a:pt x="718" y="475"/>
                  <a:pt x="718" y="474"/>
                </a:cubicBezTo>
                <a:cubicBezTo>
                  <a:pt x="719" y="474"/>
                  <a:pt x="719" y="474"/>
                  <a:pt x="720" y="473"/>
                </a:cubicBezTo>
                <a:cubicBezTo>
                  <a:pt x="720" y="473"/>
                  <a:pt x="720" y="473"/>
                  <a:pt x="720" y="473"/>
                </a:cubicBezTo>
                <a:cubicBezTo>
                  <a:pt x="720" y="473"/>
                  <a:pt x="720" y="472"/>
                  <a:pt x="720" y="472"/>
                </a:cubicBezTo>
                <a:cubicBezTo>
                  <a:pt x="720" y="471"/>
                  <a:pt x="720" y="471"/>
                  <a:pt x="721" y="470"/>
                </a:cubicBezTo>
                <a:cubicBezTo>
                  <a:pt x="721" y="470"/>
                  <a:pt x="721" y="470"/>
                  <a:pt x="721" y="470"/>
                </a:cubicBezTo>
                <a:cubicBezTo>
                  <a:pt x="721" y="470"/>
                  <a:pt x="722" y="470"/>
                  <a:pt x="722" y="470"/>
                </a:cubicBezTo>
                <a:cubicBezTo>
                  <a:pt x="722" y="471"/>
                  <a:pt x="722" y="471"/>
                  <a:pt x="722" y="472"/>
                </a:cubicBezTo>
                <a:cubicBezTo>
                  <a:pt x="722" y="472"/>
                  <a:pt x="722" y="473"/>
                  <a:pt x="723" y="474"/>
                </a:cubicBezTo>
                <a:cubicBezTo>
                  <a:pt x="723" y="474"/>
                  <a:pt x="723" y="474"/>
                  <a:pt x="723" y="474"/>
                </a:cubicBezTo>
                <a:cubicBezTo>
                  <a:pt x="723" y="474"/>
                  <a:pt x="724" y="473"/>
                  <a:pt x="724" y="473"/>
                </a:cubicBezTo>
                <a:cubicBezTo>
                  <a:pt x="724" y="473"/>
                  <a:pt x="724" y="473"/>
                  <a:pt x="724" y="472"/>
                </a:cubicBezTo>
                <a:cubicBezTo>
                  <a:pt x="724" y="472"/>
                  <a:pt x="724" y="472"/>
                  <a:pt x="725" y="472"/>
                </a:cubicBezTo>
                <a:cubicBezTo>
                  <a:pt x="725" y="472"/>
                  <a:pt x="725" y="473"/>
                  <a:pt x="725" y="473"/>
                </a:cubicBezTo>
                <a:cubicBezTo>
                  <a:pt x="724" y="474"/>
                  <a:pt x="724" y="474"/>
                  <a:pt x="724" y="475"/>
                </a:cubicBezTo>
                <a:cubicBezTo>
                  <a:pt x="724" y="475"/>
                  <a:pt x="725" y="475"/>
                  <a:pt x="725" y="475"/>
                </a:cubicBezTo>
                <a:cubicBezTo>
                  <a:pt x="726" y="475"/>
                  <a:pt x="726" y="475"/>
                  <a:pt x="726" y="474"/>
                </a:cubicBezTo>
                <a:cubicBezTo>
                  <a:pt x="727" y="472"/>
                  <a:pt x="728" y="471"/>
                  <a:pt x="728" y="469"/>
                </a:cubicBezTo>
                <a:cubicBezTo>
                  <a:pt x="728" y="466"/>
                  <a:pt x="726" y="463"/>
                  <a:pt x="725" y="460"/>
                </a:cubicBezTo>
                <a:cubicBezTo>
                  <a:pt x="724" y="459"/>
                  <a:pt x="724" y="459"/>
                  <a:pt x="723" y="459"/>
                </a:cubicBezTo>
                <a:cubicBezTo>
                  <a:pt x="723" y="459"/>
                  <a:pt x="722" y="459"/>
                  <a:pt x="722" y="459"/>
                </a:cubicBezTo>
                <a:cubicBezTo>
                  <a:pt x="721" y="458"/>
                  <a:pt x="722" y="458"/>
                  <a:pt x="722" y="458"/>
                </a:cubicBezTo>
                <a:cubicBezTo>
                  <a:pt x="723" y="457"/>
                  <a:pt x="725" y="456"/>
                  <a:pt x="726" y="456"/>
                </a:cubicBezTo>
                <a:cubicBezTo>
                  <a:pt x="726" y="456"/>
                  <a:pt x="726" y="456"/>
                  <a:pt x="726" y="456"/>
                </a:cubicBezTo>
                <a:cubicBezTo>
                  <a:pt x="727" y="456"/>
                  <a:pt x="727" y="456"/>
                  <a:pt x="726" y="457"/>
                </a:cubicBezTo>
                <a:cubicBezTo>
                  <a:pt x="726" y="457"/>
                  <a:pt x="725" y="457"/>
                  <a:pt x="725" y="457"/>
                </a:cubicBezTo>
                <a:cubicBezTo>
                  <a:pt x="725" y="458"/>
                  <a:pt x="725" y="459"/>
                  <a:pt x="726" y="459"/>
                </a:cubicBezTo>
                <a:cubicBezTo>
                  <a:pt x="727" y="461"/>
                  <a:pt x="729" y="464"/>
                  <a:pt x="729" y="467"/>
                </a:cubicBezTo>
                <a:cubicBezTo>
                  <a:pt x="729" y="467"/>
                  <a:pt x="729" y="468"/>
                  <a:pt x="729" y="468"/>
                </a:cubicBezTo>
                <a:cubicBezTo>
                  <a:pt x="729" y="469"/>
                  <a:pt x="729" y="469"/>
                  <a:pt x="729" y="470"/>
                </a:cubicBezTo>
                <a:cubicBezTo>
                  <a:pt x="728" y="471"/>
                  <a:pt x="729" y="472"/>
                  <a:pt x="729" y="472"/>
                </a:cubicBezTo>
                <a:cubicBezTo>
                  <a:pt x="730" y="473"/>
                  <a:pt x="731" y="473"/>
                  <a:pt x="732" y="472"/>
                </a:cubicBezTo>
                <a:cubicBezTo>
                  <a:pt x="732" y="473"/>
                  <a:pt x="731" y="474"/>
                  <a:pt x="731" y="474"/>
                </a:cubicBezTo>
                <a:cubicBezTo>
                  <a:pt x="730" y="474"/>
                  <a:pt x="730" y="474"/>
                  <a:pt x="729" y="474"/>
                </a:cubicBezTo>
                <a:cubicBezTo>
                  <a:pt x="728" y="474"/>
                  <a:pt x="728" y="475"/>
                  <a:pt x="728" y="475"/>
                </a:cubicBezTo>
                <a:cubicBezTo>
                  <a:pt x="727" y="475"/>
                  <a:pt x="727" y="476"/>
                  <a:pt x="727" y="476"/>
                </a:cubicBezTo>
                <a:cubicBezTo>
                  <a:pt x="727" y="477"/>
                  <a:pt x="727" y="477"/>
                  <a:pt x="727" y="478"/>
                </a:cubicBezTo>
                <a:cubicBezTo>
                  <a:pt x="728" y="480"/>
                  <a:pt x="729" y="482"/>
                  <a:pt x="729" y="484"/>
                </a:cubicBezTo>
                <a:cubicBezTo>
                  <a:pt x="729" y="484"/>
                  <a:pt x="729" y="485"/>
                  <a:pt x="729" y="485"/>
                </a:cubicBezTo>
                <a:cubicBezTo>
                  <a:pt x="729" y="485"/>
                  <a:pt x="729" y="485"/>
                  <a:pt x="729" y="485"/>
                </a:cubicBezTo>
                <a:cubicBezTo>
                  <a:pt x="732" y="485"/>
                  <a:pt x="734" y="483"/>
                  <a:pt x="735" y="482"/>
                </a:cubicBezTo>
                <a:cubicBezTo>
                  <a:pt x="737" y="480"/>
                  <a:pt x="738" y="478"/>
                  <a:pt x="739" y="476"/>
                </a:cubicBezTo>
                <a:cubicBezTo>
                  <a:pt x="739" y="474"/>
                  <a:pt x="740" y="472"/>
                  <a:pt x="739" y="471"/>
                </a:cubicBezTo>
                <a:cubicBezTo>
                  <a:pt x="739" y="469"/>
                  <a:pt x="738" y="467"/>
                  <a:pt x="738" y="465"/>
                </a:cubicBezTo>
                <a:cubicBezTo>
                  <a:pt x="738" y="464"/>
                  <a:pt x="738" y="463"/>
                  <a:pt x="738" y="462"/>
                </a:cubicBezTo>
                <a:cubicBezTo>
                  <a:pt x="738" y="462"/>
                  <a:pt x="738" y="461"/>
                  <a:pt x="739" y="461"/>
                </a:cubicBezTo>
                <a:cubicBezTo>
                  <a:pt x="739" y="461"/>
                  <a:pt x="739" y="461"/>
                  <a:pt x="739" y="462"/>
                </a:cubicBezTo>
                <a:cubicBezTo>
                  <a:pt x="740" y="460"/>
                  <a:pt x="740" y="460"/>
                  <a:pt x="740" y="460"/>
                </a:cubicBezTo>
                <a:cubicBezTo>
                  <a:pt x="740" y="460"/>
                  <a:pt x="740" y="458"/>
                  <a:pt x="740" y="458"/>
                </a:cubicBezTo>
                <a:close/>
                <a:moveTo>
                  <a:pt x="553" y="364"/>
                </a:moveTo>
                <a:cubicBezTo>
                  <a:pt x="554" y="364"/>
                  <a:pt x="554" y="364"/>
                  <a:pt x="554" y="364"/>
                </a:cubicBezTo>
                <a:cubicBezTo>
                  <a:pt x="554" y="364"/>
                  <a:pt x="555" y="363"/>
                  <a:pt x="555" y="363"/>
                </a:cubicBezTo>
                <a:cubicBezTo>
                  <a:pt x="555" y="362"/>
                  <a:pt x="556" y="362"/>
                  <a:pt x="556" y="362"/>
                </a:cubicBezTo>
                <a:cubicBezTo>
                  <a:pt x="556" y="362"/>
                  <a:pt x="557" y="362"/>
                  <a:pt x="557" y="361"/>
                </a:cubicBezTo>
                <a:cubicBezTo>
                  <a:pt x="557" y="361"/>
                  <a:pt x="557" y="361"/>
                  <a:pt x="557" y="361"/>
                </a:cubicBezTo>
                <a:cubicBezTo>
                  <a:pt x="556" y="360"/>
                  <a:pt x="556" y="361"/>
                  <a:pt x="556" y="361"/>
                </a:cubicBezTo>
                <a:cubicBezTo>
                  <a:pt x="556" y="361"/>
                  <a:pt x="555" y="361"/>
                  <a:pt x="555" y="361"/>
                </a:cubicBezTo>
                <a:cubicBezTo>
                  <a:pt x="555" y="361"/>
                  <a:pt x="555" y="362"/>
                  <a:pt x="554" y="362"/>
                </a:cubicBezTo>
                <a:cubicBezTo>
                  <a:pt x="554" y="362"/>
                  <a:pt x="554" y="363"/>
                  <a:pt x="554" y="363"/>
                </a:cubicBezTo>
                <a:cubicBezTo>
                  <a:pt x="553" y="363"/>
                  <a:pt x="553" y="364"/>
                  <a:pt x="553" y="364"/>
                </a:cubicBezTo>
                <a:cubicBezTo>
                  <a:pt x="553" y="364"/>
                  <a:pt x="553" y="364"/>
                  <a:pt x="553" y="364"/>
                </a:cubicBezTo>
                <a:close/>
                <a:moveTo>
                  <a:pt x="458" y="349"/>
                </a:moveTo>
                <a:cubicBezTo>
                  <a:pt x="459" y="349"/>
                  <a:pt x="459" y="348"/>
                  <a:pt x="459" y="348"/>
                </a:cubicBezTo>
                <a:cubicBezTo>
                  <a:pt x="458" y="347"/>
                  <a:pt x="458" y="347"/>
                  <a:pt x="458" y="347"/>
                </a:cubicBezTo>
                <a:cubicBezTo>
                  <a:pt x="458" y="347"/>
                  <a:pt x="457" y="348"/>
                  <a:pt x="457" y="348"/>
                </a:cubicBezTo>
                <a:cubicBezTo>
                  <a:pt x="457" y="348"/>
                  <a:pt x="457" y="348"/>
                  <a:pt x="457" y="349"/>
                </a:cubicBezTo>
                <a:cubicBezTo>
                  <a:pt x="457" y="349"/>
                  <a:pt x="457" y="349"/>
                  <a:pt x="457" y="349"/>
                </a:cubicBezTo>
                <a:cubicBezTo>
                  <a:pt x="458" y="350"/>
                  <a:pt x="458" y="349"/>
                  <a:pt x="458" y="349"/>
                </a:cubicBezTo>
                <a:close/>
                <a:moveTo>
                  <a:pt x="457" y="351"/>
                </a:moveTo>
                <a:cubicBezTo>
                  <a:pt x="456" y="351"/>
                  <a:pt x="456" y="351"/>
                  <a:pt x="456" y="351"/>
                </a:cubicBezTo>
                <a:cubicBezTo>
                  <a:pt x="456" y="351"/>
                  <a:pt x="456" y="351"/>
                  <a:pt x="456" y="351"/>
                </a:cubicBezTo>
                <a:cubicBezTo>
                  <a:pt x="457" y="352"/>
                  <a:pt x="457" y="351"/>
                  <a:pt x="457" y="351"/>
                </a:cubicBezTo>
                <a:close/>
                <a:moveTo>
                  <a:pt x="449" y="356"/>
                </a:moveTo>
                <a:cubicBezTo>
                  <a:pt x="449" y="357"/>
                  <a:pt x="449" y="357"/>
                  <a:pt x="449" y="357"/>
                </a:cubicBezTo>
                <a:cubicBezTo>
                  <a:pt x="449" y="357"/>
                  <a:pt x="449" y="357"/>
                  <a:pt x="450" y="357"/>
                </a:cubicBezTo>
                <a:cubicBezTo>
                  <a:pt x="450" y="357"/>
                  <a:pt x="450" y="357"/>
                  <a:pt x="450" y="357"/>
                </a:cubicBezTo>
                <a:cubicBezTo>
                  <a:pt x="450" y="356"/>
                  <a:pt x="449" y="356"/>
                  <a:pt x="449" y="356"/>
                </a:cubicBezTo>
                <a:close/>
                <a:moveTo>
                  <a:pt x="438" y="376"/>
                </a:moveTo>
                <a:cubicBezTo>
                  <a:pt x="438" y="376"/>
                  <a:pt x="437" y="377"/>
                  <a:pt x="437" y="377"/>
                </a:cubicBezTo>
                <a:cubicBezTo>
                  <a:pt x="438" y="378"/>
                  <a:pt x="438" y="378"/>
                  <a:pt x="439" y="378"/>
                </a:cubicBezTo>
                <a:cubicBezTo>
                  <a:pt x="439" y="377"/>
                  <a:pt x="440" y="377"/>
                  <a:pt x="440" y="377"/>
                </a:cubicBezTo>
                <a:cubicBezTo>
                  <a:pt x="440" y="376"/>
                  <a:pt x="440" y="376"/>
                  <a:pt x="439" y="375"/>
                </a:cubicBezTo>
                <a:cubicBezTo>
                  <a:pt x="439" y="375"/>
                  <a:pt x="438" y="376"/>
                  <a:pt x="438" y="376"/>
                </a:cubicBezTo>
                <a:close/>
                <a:moveTo>
                  <a:pt x="380" y="446"/>
                </a:moveTo>
                <a:cubicBezTo>
                  <a:pt x="380" y="446"/>
                  <a:pt x="381" y="446"/>
                  <a:pt x="382" y="446"/>
                </a:cubicBezTo>
                <a:cubicBezTo>
                  <a:pt x="382" y="446"/>
                  <a:pt x="382" y="445"/>
                  <a:pt x="382" y="445"/>
                </a:cubicBezTo>
                <a:cubicBezTo>
                  <a:pt x="382" y="444"/>
                  <a:pt x="381" y="444"/>
                  <a:pt x="381" y="444"/>
                </a:cubicBezTo>
                <a:cubicBezTo>
                  <a:pt x="380" y="445"/>
                  <a:pt x="380" y="445"/>
                  <a:pt x="380" y="445"/>
                </a:cubicBezTo>
                <a:cubicBezTo>
                  <a:pt x="379" y="445"/>
                  <a:pt x="380" y="446"/>
                  <a:pt x="380" y="446"/>
                </a:cubicBezTo>
                <a:close/>
                <a:moveTo>
                  <a:pt x="389" y="444"/>
                </a:moveTo>
                <a:cubicBezTo>
                  <a:pt x="389" y="445"/>
                  <a:pt x="389" y="445"/>
                  <a:pt x="389" y="445"/>
                </a:cubicBezTo>
                <a:cubicBezTo>
                  <a:pt x="390" y="446"/>
                  <a:pt x="390" y="445"/>
                  <a:pt x="391" y="445"/>
                </a:cubicBezTo>
                <a:cubicBezTo>
                  <a:pt x="391" y="445"/>
                  <a:pt x="391" y="445"/>
                  <a:pt x="392" y="445"/>
                </a:cubicBezTo>
                <a:cubicBezTo>
                  <a:pt x="392" y="445"/>
                  <a:pt x="392" y="445"/>
                  <a:pt x="391" y="444"/>
                </a:cubicBezTo>
                <a:cubicBezTo>
                  <a:pt x="391" y="444"/>
                  <a:pt x="391" y="444"/>
                  <a:pt x="391" y="444"/>
                </a:cubicBezTo>
                <a:cubicBezTo>
                  <a:pt x="390" y="444"/>
                  <a:pt x="390" y="444"/>
                  <a:pt x="390" y="444"/>
                </a:cubicBezTo>
                <a:cubicBezTo>
                  <a:pt x="390" y="444"/>
                  <a:pt x="389" y="444"/>
                  <a:pt x="389" y="444"/>
                </a:cubicBezTo>
                <a:close/>
                <a:moveTo>
                  <a:pt x="341" y="397"/>
                </a:moveTo>
                <a:cubicBezTo>
                  <a:pt x="342" y="397"/>
                  <a:pt x="343" y="396"/>
                  <a:pt x="343" y="395"/>
                </a:cubicBezTo>
                <a:cubicBezTo>
                  <a:pt x="343" y="395"/>
                  <a:pt x="344" y="394"/>
                  <a:pt x="344" y="393"/>
                </a:cubicBezTo>
                <a:cubicBezTo>
                  <a:pt x="344" y="392"/>
                  <a:pt x="345" y="391"/>
                  <a:pt x="344" y="391"/>
                </a:cubicBezTo>
                <a:cubicBezTo>
                  <a:pt x="343" y="391"/>
                  <a:pt x="343" y="392"/>
                  <a:pt x="343" y="392"/>
                </a:cubicBezTo>
                <a:cubicBezTo>
                  <a:pt x="342" y="393"/>
                  <a:pt x="342" y="393"/>
                  <a:pt x="341" y="393"/>
                </a:cubicBezTo>
                <a:cubicBezTo>
                  <a:pt x="340" y="393"/>
                  <a:pt x="340" y="394"/>
                  <a:pt x="340" y="395"/>
                </a:cubicBezTo>
                <a:cubicBezTo>
                  <a:pt x="341" y="396"/>
                  <a:pt x="341" y="397"/>
                  <a:pt x="341" y="397"/>
                </a:cubicBezTo>
                <a:close/>
                <a:moveTo>
                  <a:pt x="321" y="264"/>
                </a:moveTo>
                <a:cubicBezTo>
                  <a:pt x="322" y="264"/>
                  <a:pt x="322" y="264"/>
                  <a:pt x="323" y="264"/>
                </a:cubicBezTo>
                <a:cubicBezTo>
                  <a:pt x="323" y="264"/>
                  <a:pt x="323" y="264"/>
                  <a:pt x="324" y="264"/>
                </a:cubicBezTo>
                <a:cubicBezTo>
                  <a:pt x="324" y="263"/>
                  <a:pt x="324" y="262"/>
                  <a:pt x="324" y="262"/>
                </a:cubicBezTo>
                <a:cubicBezTo>
                  <a:pt x="323" y="262"/>
                  <a:pt x="323" y="262"/>
                  <a:pt x="323" y="262"/>
                </a:cubicBezTo>
                <a:cubicBezTo>
                  <a:pt x="322" y="261"/>
                  <a:pt x="322" y="261"/>
                  <a:pt x="321" y="261"/>
                </a:cubicBezTo>
                <a:cubicBezTo>
                  <a:pt x="321" y="261"/>
                  <a:pt x="320" y="262"/>
                  <a:pt x="320" y="263"/>
                </a:cubicBezTo>
                <a:cubicBezTo>
                  <a:pt x="320" y="264"/>
                  <a:pt x="321" y="264"/>
                  <a:pt x="321" y="264"/>
                </a:cubicBezTo>
                <a:close/>
                <a:moveTo>
                  <a:pt x="426" y="23"/>
                </a:moveTo>
                <a:cubicBezTo>
                  <a:pt x="426" y="23"/>
                  <a:pt x="426" y="23"/>
                  <a:pt x="426" y="22"/>
                </a:cubicBezTo>
                <a:cubicBezTo>
                  <a:pt x="426" y="22"/>
                  <a:pt x="426" y="22"/>
                  <a:pt x="426" y="22"/>
                </a:cubicBezTo>
                <a:cubicBezTo>
                  <a:pt x="427" y="21"/>
                  <a:pt x="427" y="21"/>
                  <a:pt x="427" y="21"/>
                </a:cubicBezTo>
                <a:cubicBezTo>
                  <a:pt x="427" y="20"/>
                  <a:pt x="428" y="20"/>
                  <a:pt x="428" y="20"/>
                </a:cubicBezTo>
                <a:cubicBezTo>
                  <a:pt x="427" y="20"/>
                  <a:pt x="427" y="20"/>
                  <a:pt x="427" y="20"/>
                </a:cubicBezTo>
                <a:cubicBezTo>
                  <a:pt x="427" y="20"/>
                  <a:pt x="427" y="20"/>
                  <a:pt x="426" y="20"/>
                </a:cubicBezTo>
                <a:cubicBezTo>
                  <a:pt x="426" y="20"/>
                  <a:pt x="426" y="20"/>
                  <a:pt x="426" y="21"/>
                </a:cubicBezTo>
                <a:cubicBezTo>
                  <a:pt x="426" y="21"/>
                  <a:pt x="426" y="20"/>
                  <a:pt x="426" y="20"/>
                </a:cubicBezTo>
                <a:cubicBezTo>
                  <a:pt x="425" y="20"/>
                  <a:pt x="425" y="21"/>
                  <a:pt x="425" y="21"/>
                </a:cubicBezTo>
                <a:cubicBezTo>
                  <a:pt x="425" y="21"/>
                  <a:pt x="425" y="22"/>
                  <a:pt x="425" y="22"/>
                </a:cubicBezTo>
                <a:cubicBezTo>
                  <a:pt x="425" y="22"/>
                  <a:pt x="426" y="22"/>
                  <a:pt x="426" y="22"/>
                </a:cubicBezTo>
                <a:cubicBezTo>
                  <a:pt x="425" y="22"/>
                  <a:pt x="425" y="23"/>
                  <a:pt x="425" y="23"/>
                </a:cubicBezTo>
                <a:cubicBezTo>
                  <a:pt x="425" y="23"/>
                  <a:pt x="426" y="23"/>
                  <a:pt x="426" y="23"/>
                </a:cubicBezTo>
                <a:close/>
                <a:moveTo>
                  <a:pt x="503" y="50"/>
                </a:moveTo>
                <a:cubicBezTo>
                  <a:pt x="503" y="50"/>
                  <a:pt x="503" y="49"/>
                  <a:pt x="504" y="49"/>
                </a:cubicBezTo>
                <a:cubicBezTo>
                  <a:pt x="504" y="49"/>
                  <a:pt x="504" y="48"/>
                  <a:pt x="505" y="48"/>
                </a:cubicBezTo>
                <a:cubicBezTo>
                  <a:pt x="505" y="47"/>
                  <a:pt x="506" y="46"/>
                  <a:pt x="506" y="46"/>
                </a:cubicBezTo>
                <a:cubicBezTo>
                  <a:pt x="507" y="45"/>
                  <a:pt x="507" y="45"/>
                  <a:pt x="507" y="45"/>
                </a:cubicBezTo>
                <a:cubicBezTo>
                  <a:pt x="507" y="44"/>
                  <a:pt x="508" y="44"/>
                  <a:pt x="508" y="44"/>
                </a:cubicBezTo>
                <a:cubicBezTo>
                  <a:pt x="509" y="43"/>
                  <a:pt x="509" y="43"/>
                  <a:pt x="509" y="42"/>
                </a:cubicBezTo>
                <a:cubicBezTo>
                  <a:pt x="509" y="42"/>
                  <a:pt x="509" y="41"/>
                  <a:pt x="509" y="41"/>
                </a:cubicBezTo>
                <a:cubicBezTo>
                  <a:pt x="509" y="41"/>
                  <a:pt x="508" y="41"/>
                  <a:pt x="508" y="41"/>
                </a:cubicBezTo>
                <a:cubicBezTo>
                  <a:pt x="508" y="41"/>
                  <a:pt x="507" y="41"/>
                  <a:pt x="507" y="41"/>
                </a:cubicBezTo>
                <a:cubicBezTo>
                  <a:pt x="507" y="41"/>
                  <a:pt x="507" y="41"/>
                  <a:pt x="508" y="41"/>
                </a:cubicBezTo>
                <a:cubicBezTo>
                  <a:pt x="508" y="41"/>
                  <a:pt x="509" y="41"/>
                  <a:pt x="509" y="40"/>
                </a:cubicBezTo>
                <a:cubicBezTo>
                  <a:pt x="509" y="40"/>
                  <a:pt x="509" y="40"/>
                  <a:pt x="508" y="40"/>
                </a:cubicBezTo>
                <a:cubicBezTo>
                  <a:pt x="508" y="40"/>
                  <a:pt x="507" y="40"/>
                  <a:pt x="507" y="40"/>
                </a:cubicBezTo>
                <a:cubicBezTo>
                  <a:pt x="506" y="41"/>
                  <a:pt x="506" y="42"/>
                  <a:pt x="505" y="43"/>
                </a:cubicBezTo>
                <a:cubicBezTo>
                  <a:pt x="505" y="44"/>
                  <a:pt x="504" y="44"/>
                  <a:pt x="504" y="46"/>
                </a:cubicBezTo>
                <a:cubicBezTo>
                  <a:pt x="504" y="46"/>
                  <a:pt x="503" y="47"/>
                  <a:pt x="503" y="48"/>
                </a:cubicBezTo>
                <a:cubicBezTo>
                  <a:pt x="503" y="48"/>
                  <a:pt x="503" y="48"/>
                  <a:pt x="503" y="49"/>
                </a:cubicBezTo>
                <a:cubicBezTo>
                  <a:pt x="503" y="49"/>
                  <a:pt x="503" y="49"/>
                  <a:pt x="503" y="49"/>
                </a:cubicBezTo>
                <a:cubicBezTo>
                  <a:pt x="503" y="49"/>
                  <a:pt x="502" y="49"/>
                  <a:pt x="502" y="49"/>
                </a:cubicBezTo>
                <a:cubicBezTo>
                  <a:pt x="503" y="50"/>
                  <a:pt x="503" y="50"/>
                  <a:pt x="503" y="50"/>
                </a:cubicBezTo>
                <a:close/>
              </a:path>
            </a:pathLst>
          </a:custGeom>
          <a:solidFill>
            <a:srgbClr val="FFFF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74" name="Text Placeholder 73"/>
          <p:cNvSpPr>
            <a:spLocks noGrp="1"/>
          </p:cNvSpPr>
          <p:nvPr>
            <p:ph type="body" sz="quarter" idx="10"/>
          </p:nvPr>
        </p:nvSpPr>
        <p:spPr/>
        <p:txBody>
          <a:bodyPr/>
          <a:lstStyle/>
          <a:p>
            <a:r>
              <a:rPr lang="en-US" dirty="0"/>
              <a:t>… and expanding beyond traditional "Judicial Hellholes</a:t>
            </a:r>
            <a:r>
              <a:rPr lang="en-US" dirty="0" smtClean="0"/>
              <a:t>"</a:t>
            </a:r>
            <a:endParaRPr lang="en-US" dirty="0"/>
          </a:p>
        </p:txBody>
      </p:sp>
      <p:grpSp>
        <p:nvGrpSpPr>
          <p:cNvPr id="79" name="Group 78"/>
          <p:cNvGrpSpPr/>
          <p:nvPr/>
        </p:nvGrpSpPr>
        <p:grpSpPr>
          <a:xfrm>
            <a:off x="10585505" y="3675888"/>
            <a:ext cx="893465" cy="2534290"/>
            <a:chOff x="10585505" y="3675888"/>
            <a:chExt cx="893465" cy="2534290"/>
          </a:xfrm>
        </p:grpSpPr>
        <p:sp>
          <p:nvSpPr>
            <p:cNvPr id="75" name="Rounded Rectangle 74"/>
            <p:cNvSpPr/>
            <p:nvPr/>
          </p:nvSpPr>
          <p:spPr>
            <a:xfrm>
              <a:off x="10585505" y="4325112"/>
              <a:ext cx="887358" cy="561856"/>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ct val="90000"/>
                </a:lnSpc>
              </a:pPr>
              <a:r>
                <a:rPr lang="en-US" sz="2000" b="1" dirty="0" smtClean="0">
                  <a:solidFill>
                    <a:schemeClr val="accent1"/>
                  </a:solidFill>
                </a:rPr>
                <a:t>2-5</a:t>
              </a:r>
            </a:p>
            <a:p>
              <a:pPr algn="ctr">
                <a:lnSpc>
                  <a:spcPct val="90000"/>
                </a:lnSpc>
              </a:pPr>
              <a:r>
                <a:rPr lang="en-US" sz="1000" b="1" dirty="0" smtClean="0">
                  <a:solidFill>
                    <a:schemeClr val="accent1"/>
                  </a:solidFill>
                </a:rPr>
                <a:t>VERDICTS</a:t>
              </a:r>
            </a:p>
          </p:txBody>
        </p:sp>
        <p:sp>
          <p:nvSpPr>
            <p:cNvPr id="76" name="Rounded Rectangle 75"/>
            <p:cNvSpPr/>
            <p:nvPr/>
          </p:nvSpPr>
          <p:spPr>
            <a:xfrm>
              <a:off x="10588752" y="4992624"/>
              <a:ext cx="887358" cy="561856"/>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ct val="90000"/>
                </a:lnSpc>
              </a:pPr>
              <a:r>
                <a:rPr lang="en-US" sz="2000" b="1" dirty="0" smtClean="0">
                  <a:solidFill>
                    <a:schemeClr val="accent1"/>
                  </a:solidFill>
                </a:rPr>
                <a:t>6-10</a:t>
              </a:r>
            </a:p>
            <a:p>
              <a:pPr algn="ctr">
                <a:lnSpc>
                  <a:spcPct val="90000"/>
                </a:lnSpc>
              </a:pPr>
              <a:r>
                <a:rPr lang="en-US" sz="1000" b="1" dirty="0" smtClean="0">
                  <a:solidFill>
                    <a:schemeClr val="accent1"/>
                  </a:solidFill>
                </a:rPr>
                <a:t>VERDICTS</a:t>
              </a:r>
            </a:p>
          </p:txBody>
        </p:sp>
        <p:sp>
          <p:nvSpPr>
            <p:cNvPr id="77" name="Rounded Rectangle 76"/>
            <p:cNvSpPr/>
            <p:nvPr/>
          </p:nvSpPr>
          <p:spPr>
            <a:xfrm>
              <a:off x="10591612" y="5648322"/>
              <a:ext cx="887358" cy="56185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ct val="90000"/>
                </a:lnSpc>
              </a:pPr>
              <a:r>
                <a:rPr lang="en-US" sz="2000" b="1" dirty="0" smtClean="0">
                  <a:solidFill>
                    <a:schemeClr val="accent1"/>
                  </a:solidFill>
                </a:rPr>
                <a:t>&gt;10</a:t>
              </a:r>
            </a:p>
            <a:p>
              <a:pPr algn="ctr">
                <a:lnSpc>
                  <a:spcPct val="90000"/>
                </a:lnSpc>
              </a:pPr>
              <a:r>
                <a:rPr lang="en-US" sz="1000" b="1" dirty="0" smtClean="0">
                  <a:solidFill>
                    <a:schemeClr val="accent1"/>
                  </a:solidFill>
                </a:rPr>
                <a:t>VERDICTS</a:t>
              </a:r>
            </a:p>
          </p:txBody>
        </p:sp>
        <p:sp>
          <p:nvSpPr>
            <p:cNvPr id="78" name="Rounded Rectangle 77"/>
            <p:cNvSpPr/>
            <p:nvPr/>
          </p:nvSpPr>
          <p:spPr>
            <a:xfrm>
              <a:off x="10585505" y="3675888"/>
              <a:ext cx="887358" cy="561856"/>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lnSpc>
                  <a:spcPct val="90000"/>
                </a:lnSpc>
              </a:pPr>
              <a:r>
                <a:rPr lang="en-US" sz="2000" b="1" dirty="0" smtClean="0">
                  <a:solidFill>
                    <a:schemeClr val="accent1"/>
                  </a:solidFill>
                </a:rPr>
                <a:t>1</a:t>
              </a:r>
            </a:p>
            <a:p>
              <a:pPr algn="ctr">
                <a:lnSpc>
                  <a:spcPct val="90000"/>
                </a:lnSpc>
              </a:pPr>
              <a:r>
                <a:rPr lang="en-US" sz="1000" b="1" dirty="0" smtClean="0">
                  <a:solidFill>
                    <a:schemeClr val="accent1"/>
                  </a:solidFill>
                </a:rPr>
                <a:t>VERDICT</a:t>
              </a:r>
            </a:p>
          </p:txBody>
        </p:sp>
      </p:grpSp>
    </p:spTree>
    <p:extLst>
      <p:ext uri="{BB962C8B-B14F-4D97-AF65-F5344CB8AC3E}">
        <p14:creationId xmlns:p14="http://schemas.microsoft.com/office/powerpoint/2010/main" val="5071357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a:t>
            </a:r>
            <a:r>
              <a:rPr lang="en-US" dirty="0"/>
              <a:t> </a:t>
            </a:r>
            <a:r>
              <a:rPr lang="en-US" dirty="0" smtClean="0"/>
              <a:t>and being awarded against more diverse range of healthcare providers</a:t>
            </a:r>
            <a:endParaRPr lang="en-US" dirty="0"/>
          </a:p>
        </p:txBody>
      </p:sp>
      <p:sp>
        <p:nvSpPr>
          <p:cNvPr id="2" name="Title 1"/>
          <p:cNvSpPr>
            <a:spLocks noGrp="1"/>
          </p:cNvSpPr>
          <p:nvPr>
            <p:ph type="title"/>
          </p:nvPr>
        </p:nvSpPr>
        <p:spPr/>
        <p:txBody>
          <a:bodyPr>
            <a:normAutofit/>
          </a:bodyPr>
          <a:lstStyle/>
          <a:p>
            <a:r>
              <a:rPr lang="en-US" dirty="0"/>
              <a:t>$10M+ verdicts increasing in frequency</a:t>
            </a:r>
          </a:p>
        </p:txBody>
      </p:sp>
      <p:graphicFrame>
        <p:nvGraphicFramePr>
          <p:cNvPr id="14" name="Content Placeholder 13"/>
          <p:cNvGraphicFramePr>
            <a:graphicFrameLocks noGrp="1"/>
          </p:cNvGraphicFramePr>
          <p:nvPr>
            <p:ph sz="quarter" idx="11"/>
            <p:extLst>
              <p:ext uri="{D42A27DB-BD31-4B8C-83A1-F6EECF244321}">
                <p14:modId xmlns:p14="http://schemas.microsoft.com/office/powerpoint/2010/main" val="243145379"/>
              </p:ext>
            </p:extLst>
          </p:nvPr>
        </p:nvGraphicFramePr>
        <p:xfrm>
          <a:off x="723900" y="1593850"/>
          <a:ext cx="10736263" cy="4619625"/>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 Placeholder 9"/>
          <p:cNvSpPr>
            <a:spLocks noGrp="1"/>
          </p:cNvSpPr>
          <p:nvPr>
            <p:ph type="body" sz="quarter" idx="15"/>
          </p:nvPr>
        </p:nvSpPr>
        <p:spPr/>
        <p:txBody>
          <a:bodyPr/>
          <a:lstStyle/>
          <a:p>
            <a:r>
              <a:rPr lang="en-US" smtClean="0"/>
              <a:t>Source: Trans Re and </a:t>
            </a:r>
            <a:r>
              <a:rPr lang="en-US" altLang="en-US" smtClean="0"/>
              <a:t>various internet articles with publication dates between 1/1/2016 and 4/12/2023</a:t>
            </a:r>
            <a:endParaRPr lang="en-US" dirty="0"/>
          </a:p>
        </p:txBody>
      </p:sp>
      <p:sp>
        <p:nvSpPr>
          <p:cNvPr id="5" name="Slide Number Placeholder 4"/>
          <p:cNvSpPr>
            <a:spLocks noGrp="1"/>
          </p:cNvSpPr>
          <p:nvPr>
            <p:ph type="sldNum" sz="quarter" idx="4294967295"/>
          </p:nvPr>
        </p:nvSpPr>
        <p:spPr>
          <a:xfrm>
            <a:off x="11636375" y="6423025"/>
            <a:ext cx="555625" cy="365125"/>
          </a:xfrm>
        </p:spPr>
        <p:txBody>
          <a:bodyPr/>
          <a:lstStyle/>
          <a:p>
            <a:fld id="{DA135043-C596-1A48-8BDA-03EB29A64DF4}" type="slidenum">
              <a:rPr lang="en-US" smtClean="0"/>
              <a:t>11</a:t>
            </a:fld>
            <a:endParaRPr lang="en-US" dirty="0"/>
          </a:p>
        </p:txBody>
      </p:sp>
    </p:spTree>
    <p:extLst>
      <p:ext uri="{BB962C8B-B14F-4D97-AF65-F5344CB8AC3E}">
        <p14:creationId xmlns:p14="http://schemas.microsoft.com/office/powerpoint/2010/main" val="347389967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10"/>
          </p:nvPr>
        </p:nvSpPr>
        <p:spPr/>
        <p:txBody>
          <a:bodyPr/>
          <a:lstStyle/>
          <a:p>
            <a:r>
              <a:rPr lang="en-US" dirty="0" smtClean="0"/>
              <a:t>Drivers </a:t>
            </a:r>
            <a:r>
              <a:rPr lang="en-US" dirty="0"/>
              <a:t>of claim costs </a:t>
            </a:r>
            <a:r>
              <a:rPr lang="en-US" dirty="0" smtClean="0"/>
              <a:t>rising above </a:t>
            </a:r>
            <a:r>
              <a:rPr lang="en-US" dirty="0"/>
              <a:t>general economic inflation </a:t>
            </a:r>
            <a:r>
              <a:rPr lang="en-US" dirty="0" smtClean="0"/>
              <a:t>&amp; </a:t>
            </a:r>
            <a:r>
              <a:rPr lang="en-US" dirty="0"/>
              <a:t>expected claim </a:t>
            </a:r>
            <a:r>
              <a:rPr lang="en-US" dirty="0" smtClean="0"/>
              <a:t>development</a:t>
            </a:r>
            <a:endParaRPr lang="en-US" dirty="0"/>
          </a:p>
        </p:txBody>
      </p:sp>
      <p:sp>
        <p:nvSpPr>
          <p:cNvPr id="13" name="Title 12"/>
          <p:cNvSpPr>
            <a:spLocks noGrp="1"/>
          </p:cNvSpPr>
          <p:nvPr>
            <p:ph type="title"/>
          </p:nvPr>
        </p:nvSpPr>
        <p:spPr/>
        <p:txBody>
          <a:bodyPr/>
          <a:lstStyle/>
          <a:p>
            <a:r>
              <a:rPr lang="en-US" dirty="0" smtClean="0"/>
              <a:t>Social inflation</a:t>
            </a:r>
            <a:endParaRPr lang="en-US" dirty="0"/>
          </a:p>
        </p:txBody>
      </p:sp>
      <p:sp>
        <p:nvSpPr>
          <p:cNvPr id="15" name="Text Placeholder 14"/>
          <p:cNvSpPr>
            <a:spLocks noGrp="1"/>
          </p:cNvSpPr>
          <p:nvPr>
            <p:ph type="body" sz="quarter" idx="15"/>
          </p:nvPr>
        </p:nvSpPr>
        <p:spPr/>
        <p:txBody>
          <a:bodyPr/>
          <a:lstStyle/>
          <a:p>
            <a:endParaRPr lang="en-US" dirty="0"/>
          </a:p>
        </p:txBody>
      </p:sp>
      <p:sp>
        <p:nvSpPr>
          <p:cNvPr id="3" name="Slide Number Placeholder 2"/>
          <p:cNvSpPr>
            <a:spLocks noGrp="1"/>
          </p:cNvSpPr>
          <p:nvPr>
            <p:ph type="sldNum" sz="quarter" idx="4294967295"/>
          </p:nvPr>
        </p:nvSpPr>
        <p:spPr>
          <a:xfrm>
            <a:off x="11636375" y="6423025"/>
            <a:ext cx="555625" cy="365125"/>
          </a:xfrm>
        </p:spPr>
        <p:txBody>
          <a:bodyPr/>
          <a:lstStyle/>
          <a:p>
            <a:fld id="{DA135043-C596-1A48-8BDA-03EB29A64DF4}" type="slidenum">
              <a:rPr lang="en-US" smtClean="0"/>
              <a:t>12</a:t>
            </a:fld>
            <a:endParaRPr lang="en-US" dirty="0"/>
          </a:p>
        </p:txBody>
      </p:sp>
      <p:pic>
        <p:nvPicPr>
          <p:cNvPr id="10" name="Picture 9"/>
          <p:cNvPicPr>
            <a:picLocks noChangeAspect="1"/>
          </p:cNvPicPr>
          <p:nvPr/>
        </p:nvPicPr>
        <p:blipFill rotWithShape="1">
          <a:blip r:embed="rId2"/>
          <a:srcRect l="2014" t="21789" r="2221" b="21822"/>
          <a:stretch/>
        </p:blipFill>
        <p:spPr>
          <a:xfrm>
            <a:off x="1984271" y="1591229"/>
            <a:ext cx="7919809" cy="4663440"/>
          </a:xfrm>
          <a:prstGeom prst="rect">
            <a:avLst/>
          </a:prstGeom>
        </p:spPr>
      </p:pic>
      <p:sp>
        <p:nvSpPr>
          <p:cNvPr id="4" name="Explosion 1 3"/>
          <p:cNvSpPr/>
          <p:nvPr/>
        </p:nvSpPr>
        <p:spPr>
          <a:xfrm>
            <a:off x="343737" y="1854390"/>
            <a:ext cx="1559801" cy="1348454"/>
          </a:xfrm>
          <a:prstGeom prst="irregularSeal1">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spAutoFit/>
          </a:bodyPr>
          <a:lstStyle/>
          <a:p>
            <a:pPr algn="ctr">
              <a:lnSpc>
                <a:spcPct val="90000"/>
              </a:lnSpc>
            </a:pPr>
            <a:r>
              <a:rPr lang="en-US" sz="1400" dirty="0" smtClean="0">
                <a:solidFill>
                  <a:schemeClr val="accent5"/>
                </a:solidFill>
              </a:rPr>
              <a:t>Economic</a:t>
            </a:r>
          </a:p>
          <a:p>
            <a:pPr algn="ctr">
              <a:lnSpc>
                <a:spcPct val="90000"/>
              </a:lnSpc>
            </a:pPr>
            <a:r>
              <a:rPr lang="en-US" sz="1400" dirty="0" smtClean="0">
                <a:solidFill>
                  <a:schemeClr val="accent5"/>
                </a:solidFill>
              </a:rPr>
              <a:t>Inflation</a:t>
            </a:r>
          </a:p>
        </p:txBody>
      </p:sp>
      <p:sp>
        <p:nvSpPr>
          <p:cNvPr id="9" name="Explosion 1 8"/>
          <p:cNvSpPr/>
          <p:nvPr/>
        </p:nvSpPr>
        <p:spPr>
          <a:xfrm>
            <a:off x="79320" y="3388601"/>
            <a:ext cx="2088641" cy="1348454"/>
          </a:xfrm>
          <a:prstGeom prst="irregularSeal1">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spAutoFit/>
          </a:bodyPr>
          <a:lstStyle/>
          <a:p>
            <a:pPr algn="ctr">
              <a:lnSpc>
                <a:spcPct val="90000"/>
              </a:lnSpc>
            </a:pPr>
            <a:r>
              <a:rPr lang="en-US" sz="1400" dirty="0" smtClean="0">
                <a:solidFill>
                  <a:schemeClr val="accent5"/>
                </a:solidFill>
              </a:rPr>
              <a:t>Provider</a:t>
            </a:r>
          </a:p>
          <a:p>
            <a:pPr algn="ctr">
              <a:lnSpc>
                <a:spcPct val="90000"/>
              </a:lnSpc>
            </a:pPr>
            <a:r>
              <a:rPr lang="en-US" sz="1400" dirty="0" smtClean="0">
                <a:solidFill>
                  <a:schemeClr val="accent5"/>
                </a:solidFill>
              </a:rPr>
              <a:t>Consolidation</a:t>
            </a:r>
          </a:p>
        </p:txBody>
      </p:sp>
      <p:sp>
        <p:nvSpPr>
          <p:cNvPr id="11" name="Explosion 1 10"/>
          <p:cNvSpPr/>
          <p:nvPr/>
        </p:nvSpPr>
        <p:spPr>
          <a:xfrm>
            <a:off x="9788583" y="3683023"/>
            <a:ext cx="2125604" cy="1348454"/>
          </a:xfrm>
          <a:prstGeom prst="irregularSeal1">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spAutoFit/>
          </a:bodyPr>
          <a:lstStyle/>
          <a:p>
            <a:pPr algn="ctr">
              <a:lnSpc>
                <a:spcPct val="90000"/>
              </a:lnSpc>
            </a:pPr>
            <a:r>
              <a:rPr lang="en-US" sz="1400" dirty="0" smtClean="0">
                <a:solidFill>
                  <a:schemeClr val="accent5"/>
                </a:solidFill>
              </a:rPr>
              <a:t>Private Equity</a:t>
            </a:r>
          </a:p>
          <a:p>
            <a:pPr algn="ctr">
              <a:lnSpc>
                <a:spcPct val="90000"/>
              </a:lnSpc>
            </a:pPr>
            <a:r>
              <a:rPr lang="en-US" sz="1400" dirty="0" smtClean="0">
                <a:solidFill>
                  <a:schemeClr val="accent5"/>
                </a:solidFill>
              </a:rPr>
              <a:t>Investment</a:t>
            </a:r>
          </a:p>
        </p:txBody>
      </p:sp>
      <p:sp>
        <p:nvSpPr>
          <p:cNvPr id="12" name="Explosion 1 11"/>
          <p:cNvSpPr/>
          <p:nvPr/>
        </p:nvSpPr>
        <p:spPr>
          <a:xfrm>
            <a:off x="826221" y="4827498"/>
            <a:ext cx="2316100" cy="1348454"/>
          </a:xfrm>
          <a:prstGeom prst="irregularSeal1">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spAutoFit/>
          </a:bodyPr>
          <a:lstStyle/>
          <a:p>
            <a:pPr algn="ctr">
              <a:lnSpc>
                <a:spcPct val="90000"/>
              </a:lnSpc>
            </a:pPr>
            <a:r>
              <a:rPr lang="en-US" sz="1400" dirty="0" smtClean="0">
                <a:solidFill>
                  <a:schemeClr val="accent5"/>
                </a:solidFill>
              </a:rPr>
              <a:t>Evolving</a:t>
            </a:r>
          </a:p>
          <a:p>
            <a:pPr algn="ctr">
              <a:lnSpc>
                <a:spcPct val="90000"/>
              </a:lnSpc>
            </a:pPr>
            <a:r>
              <a:rPr lang="en-US" sz="1400" dirty="0" smtClean="0">
                <a:solidFill>
                  <a:schemeClr val="accent5"/>
                </a:solidFill>
              </a:rPr>
              <a:t>Models of Care</a:t>
            </a:r>
          </a:p>
        </p:txBody>
      </p:sp>
      <p:sp>
        <p:nvSpPr>
          <p:cNvPr id="16" name="Explosion 1 15"/>
          <p:cNvSpPr/>
          <p:nvPr/>
        </p:nvSpPr>
        <p:spPr>
          <a:xfrm>
            <a:off x="8831174" y="4624611"/>
            <a:ext cx="1235557" cy="1348454"/>
          </a:xfrm>
          <a:prstGeom prst="irregularSeal1">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spAutoFit/>
          </a:bodyPr>
          <a:lstStyle/>
          <a:p>
            <a:pPr algn="ctr">
              <a:lnSpc>
                <a:spcPct val="90000"/>
              </a:lnSpc>
            </a:pPr>
            <a:r>
              <a:rPr lang="en-US" sz="1400" dirty="0" smtClean="0">
                <a:solidFill>
                  <a:schemeClr val="accent5"/>
                </a:solidFill>
              </a:rPr>
              <a:t>Staffing</a:t>
            </a:r>
          </a:p>
          <a:p>
            <a:pPr algn="ctr">
              <a:lnSpc>
                <a:spcPct val="90000"/>
              </a:lnSpc>
            </a:pPr>
            <a:r>
              <a:rPr lang="en-US" sz="1400" dirty="0" smtClean="0">
                <a:solidFill>
                  <a:schemeClr val="accent5"/>
                </a:solidFill>
              </a:rPr>
              <a:t>Crisis</a:t>
            </a:r>
          </a:p>
        </p:txBody>
      </p:sp>
      <p:sp>
        <p:nvSpPr>
          <p:cNvPr id="17" name="Explosion 1 16"/>
          <p:cNvSpPr/>
          <p:nvPr/>
        </p:nvSpPr>
        <p:spPr>
          <a:xfrm>
            <a:off x="10144029" y="1735247"/>
            <a:ext cx="1665002" cy="1348454"/>
          </a:xfrm>
          <a:prstGeom prst="irregularSeal1">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spAutoFit/>
          </a:bodyPr>
          <a:lstStyle/>
          <a:p>
            <a:pPr algn="ctr">
              <a:lnSpc>
                <a:spcPct val="90000"/>
              </a:lnSpc>
            </a:pPr>
            <a:r>
              <a:rPr lang="en-US" sz="1400" dirty="0" smtClean="0">
                <a:solidFill>
                  <a:schemeClr val="accent5"/>
                </a:solidFill>
              </a:rPr>
              <a:t>Aging</a:t>
            </a:r>
          </a:p>
          <a:p>
            <a:pPr algn="ctr">
              <a:lnSpc>
                <a:spcPct val="90000"/>
              </a:lnSpc>
            </a:pPr>
            <a:r>
              <a:rPr lang="en-US" sz="1400" dirty="0" smtClean="0">
                <a:solidFill>
                  <a:schemeClr val="accent5"/>
                </a:solidFill>
              </a:rPr>
              <a:t>Population</a:t>
            </a:r>
          </a:p>
        </p:txBody>
      </p:sp>
      <p:sp>
        <p:nvSpPr>
          <p:cNvPr id="24" name="Explosion 1 23"/>
          <p:cNvSpPr/>
          <p:nvPr/>
        </p:nvSpPr>
        <p:spPr>
          <a:xfrm>
            <a:off x="6678831" y="5501725"/>
            <a:ext cx="1630881" cy="803886"/>
          </a:xfrm>
          <a:prstGeom prst="irregularSeal1">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spAutoFit/>
          </a:bodyPr>
          <a:lstStyle/>
          <a:p>
            <a:pPr algn="ctr">
              <a:lnSpc>
                <a:spcPct val="90000"/>
              </a:lnSpc>
            </a:pPr>
            <a:r>
              <a:rPr lang="en-US" sz="1400" dirty="0" smtClean="0">
                <a:solidFill>
                  <a:schemeClr val="accent5"/>
                </a:solidFill>
              </a:rPr>
              <a:t>COVID-19</a:t>
            </a:r>
          </a:p>
        </p:txBody>
      </p:sp>
      <p:sp>
        <p:nvSpPr>
          <p:cNvPr id="26" name="Explosion 1 25"/>
          <p:cNvSpPr/>
          <p:nvPr/>
        </p:nvSpPr>
        <p:spPr>
          <a:xfrm>
            <a:off x="9424196" y="2998435"/>
            <a:ext cx="1521702" cy="803886"/>
          </a:xfrm>
          <a:prstGeom prst="irregularSeal1">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spAutoFit/>
          </a:bodyPr>
          <a:lstStyle/>
          <a:p>
            <a:pPr algn="ctr">
              <a:lnSpc>
                <a:spcPct val="90000"/>
              </a:lnSpc>
            </a:pPr>
            <a:r>
              <a:rPr lang="en-US" sz="1400" dirty="0" smtClean="0">
                <a:solidFill>
                  <a:schemeClr val="accent5"/>
                </a:solidFill>
              </a:rPr>
              <a:t>Tort Laws</a:t>
            </a:r>
          </a:p>
        </p:txBody>
      </p:sp>
      <p:sp>
        <p:nvSpPr>
          <p:cNvPr id="28" name="Explosion 1 27"/>
          <p:cNvSpPr/>
          <p:nvPr/>
        </p:nvSpPr>
        <p:spPr>
          <a:xfrm>
            <a:off x="10466013" y="4946868"/>
            <a:ext cx="1116254" cy="1348454"/>
          </a:xfrm>
          <a:prstGeom prst="irregularSeal1">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spAutoFit/>
          </a:bodyPr>
          <a:lstStyle/>
          <a:p>
            <a:pPr algn="ctr">
              <a:lnSpc>
                <a:spcPct val="90000"/>
              </a:lnSpc>
            </a:pPr>
            <a:r>
              <a:rPr lang="en-US" sz="1400" dirty="0" smtClean="0">
                <a:solidFill>
                  <a:schemeClr val="accent5"/>
                </a:solidFill>
              </a:rPr>
              <a:t>Mental</a:t>
            </a:r>
          </a:p>
          <a:p>
            <a:pPr algn="ctr">
              <a:lnSpc>
                <a:spcPct val="90000"/>
              </a:lnSpc>
            </a:pPr>
            <a:r>
              <a:rPr lang="en-US" sz="1400" dirty="0" smtClean="0">
                <a:solidFill>
                  <a:schemeClr val="accent5"/>
                </a:solidFill>
              </a:rPr>
              <a:t>Health</a:t>
            </a:r>
          </a:p>
        </p:txBody>
      </p:sp>
      <p:sp>
        <p:nvSpPr>
          <p:cNvPr id="29" name="Explosion 1 28"/>
          <p:cNvSpPr/>
          <p:nvPr/>
        </p:nvSpPr>
        <p:spPr>
          <a:xfrm>
            <a:off x="3262843" y="5488987"/>
            <a:ext cx="1769063" cy="803886"/>
          </a:xfrm>
          <a:prstGeom prst="irregularSeal1">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none" lIns="45720" rIns="45720" rtlCol="0" anchor="ctr">
            <a:spAutoFit/>
          </a:bodyPr>
          <a:lstStyle/>
          <a:p>
            <a:pPr algn="ctr">
              <a:lnSpc>
                <a:spcPct val="90000"/>
              </a:lnSpc>
            </a:pPr>
            <a:r>
              <a:rPr lang="en-US" sz="1400" dirty="0" smtClean="0">
                <a:solidFill>
                  <a:schemeClr val="accent5"/>
                </a:solidFill>
              </a:rPr>
              <a:t>Technology</a:t>
            </a:r>
          </a:p>
        </p:txBody>
      </p:sp>
    </p:spTree>
    <p:extLst>
      <p:ext uri="{BB962C8B-B14F-4D97-AF65-F5344CB8AC3E}">
        <p14:creationId xmlns:p14="http://schemas.microsoft.com/office/powerpoint/2010/main" val="195021819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Economic inflation above historical norms</a:t>
            </a:r>
            <a:endParaRPr lang="en-US" dirty="0"/>
          </a:p>
        </p:txBody>
      </p:sp>
      <p:graphicFrame>
        <p:nvGraphicFramePr>
          <p:cNvPr id="7" name="Content Placeholder 6"/>
          <p:cNvGraphicFramePr>
            <a:graphicFrameLocks noGrp="1"/>
          </p:cNvGraphicFramePr>
          <p:nvPr>
            <p:ph idx="11"/>
            <p:extLst>
              <p:ext uri="{D42A27DB-BD31-4B8C-83A1-F6EECF244321}">
                <p14:modId xmlns:p14="http://schemas.microsoft.com/office/powerpoint/2010/main" val="3677475054"/>
              </p:ext>
            </p:extLst>
          </p:nvPr>
        </p:nvGraphicFramePr>
        <p:xfrm>
          <a:off x="723900" y="1593850"/>
          <a:ext cx="10736263" cy="4619625"/>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p:cNvSpPr>
            <a:spLocks noGrp="1"/>
          </p:cNvSpPr>
          <p:nvPr>
            <p:ph type="sldNum" sz="quarter" idx="14"/>
          </p:nvPr>
        </p:nvSpPr>
        <p:spPr/>
        <p:txBody>
          <a:bodyPr/>
          <a:lstStyle/>
          <a:p>
            <a:fld id="{DA135043-C596-1A48-8BDA-03EB29A64DF4}" type="slidenum">
              <a:rPr lang="en-US" smtClean="0"/>
              <a:pPr/>
              <a:t>13</a:t>
            </a:fld>
            <a:endParaRPr lang="en-US" dirty="0"/>
          </a:p>
        </p:txBody>
      </p:sp>
      <p:sp>
        <p:nvSpPr>
          <p:cNvPr id="13" name="Text Placeholder 12"/>
          <p:cNvSpPr>
            <a:spLocks noGrp="1"/>
          </p:cNvSpPr>
          <p:nvPr>
            <p:ph type="body" sz="quarter" idx="15"/>
          </p:nvPr>
        </p:nvSpPr>
        <p:spPr/>
        <p:txBody>
          <a:bodyPr/>
          <a:lstStyle/>
          <a:p>
            <a:pPr>
              <a:tabLst>
                <a:tab pos="4344988" algn="l"/>
              </a:tabLst>
            </a:pPr>
            <a:r>
              <a:rPr lang="en-US" dirty="0"/>
              <a:t>Source: US Bureau of Labor Statistics, Consumer Price Index for All Urban Consumers (CPI-U) </a:t>
            </a:r>
            <a:r>
              <a:rPr lang="en-US" dirty="0" smtClean="0"/>
              <a:t>as of 3/30/2023 </a:t>
            </a:r>
            <a:r>
              <a:rPr lang="en-US" dirty="0" smtClean="0">
                <a:hlinkClick r:id="rId3"/>
              </a:rPr>
              <a:t>https</a:t>
            </a:r>
            <a:r>
              <a:rPr lang="en-US" dirty="0">
                <a:hlinkClick r:id="rId3"/>
              </a:rPr>
              <a:t>://</a:t>
            </a:r>
            <a:r>
              <a:rPr lang="en-US" dirty="0" smtClean="0">
                <a:hlinkClick r:id="rId3"/>
              </a:rPr>
              <a:t>data.bls.gov/timeseries/CUUR0000SA0</a:t>
            </a:r>
            <a:endParaRPr lang="en-US" dirty="0"/>
          </a:p>
        </p:txBody>
      </p:sp>
      <p:sp>
        <p:nvSpPr>
          <p:cNvPr id="14" name="Text Placeholder 13"/>
          <p:cNvSpPr>
            <a:spLocks noGrp="1"/>
          </p:cNvSpPr>
          <p:nvPr>
            <p:ph type="body" sz="quarter" idx="10"/>
          </p:nvPr>
        </p:nvSpPr>
        <p:spPr/>
        <p:txBody>
          <a:bodyPr>
            <a:normAutofit/>
          </a:bodyPr>
          <a:lstStyle/>
          <a:p>
            <a:r>
              <a:rPr lang="en-US" dirty="0" smtClean="0"/>
              <a:t>HCL loss trends </a:t>
            </a:r>
            <a:r>
              <a:rPr lang="en-US" dirty="0"/>
              <a:t>historically </a:t>
            </a:r>
            <a:r>
              <a:rPr lang="en-US" dirty="0" smtClean="0"/>
              <a:t>~1</a:t>
            </a:r>
            <a:r>
              <a:rPr lang="en-US" dirty="0"/>
              <a:t>% &gt; CPI … will higher </a:t>
            </a:r>
            <a:r>
              <a:rPr lang="en-US" dirty="0" smtClean="0"/>
              <a:t>wage</a:t>
            </a:r>
            <a:r>
              <a:rPr lang="en-US" dirty="0"/>
              <a:t>, </a:t>
            </a:r>
            <a:r>
              <a:rPr lang="en-US" dirty="0" smtClean="0"/>
              <a:t>medical &amp; legal costs drive losses higher?</a:t>
            </a:r>
            <a:endParaRPr lang="en-US" dirty="0"/>
          </a:p>
        </p:txBody>
      </p:sp>
    </p:spTree>
    <p:extLst>
      <p:ext uri="{BB962C8B-B14F-4D97-AF65-F5344CB8AC3E}">
        <p14:creationId xmlns:p14="http://schemas.microsoft.com/office/powerpoint/2010/main" val="25089402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40"/>
          <p:cNvSpPr>
            <a:spLocks noGrp="1"/>
          </p:cNvSpPr>
          <p:nvPr>
            <p:ph type="body" sz="quarter" idx="10"/>
          </p:nvPr>
        </p:nvSpPr>
        <p:spPr/>
        <p:txBody>
          <a:bodyPr/>
          <a:lstStyle/>
          <a:p>
            <a:r>
              <a:rPr lang="en-US" dirty="0" smtClean="0"/>
              <a:t>Utilization generally rebounding, </a:t>
            </a:r>
            <a:r>
              <a:rPr lang="en-US" dirty="0"/>
              <a:t>but remains below expectations </a:t>
            </a:r>
            <a:r>
              <a:rPr lang="en-US" dirty="0" smtClean="0"/>
              <a:t>based </a:t>
            </a:r>
            <a:r>
              <a:rPr lang="en-US" dirty="0"/>
              <a:t>on pre-pandemic </a:t>
            </a:r>
            <a:r>
              <a:rPr lang="en-US" dirty="0" smtClean="0"/>
              <a:t>trends</a:t>
            </a:r>
            <a:endParaRPr lang="en-US" dirty="0"/>
          </a:p>
        </p:txBody>
      </p:sp>
      <p:sp>
        <p:nvSpPr>
          <p:cNvPr id="2" name="Title 1"/>
          <p:cNvSpPr>
            <a:spLocks noGrp="1"/>
          </p:cNvSpPr>
          <p:nvPr>
            <p:ph type="title"/>
          </p:nvPr>
        </p:nvSpPr>
        <p:spPr/>
        <p:txBody>
          <a:bodyPr>
            <a:normAutofit/>
          </a:bodyPr>
          <a:lstStyle/>
          <a:p>
            <a:r>
              <a:rPr lang="en-US" dirty="0" smtClean="0"/>
              <a:t>COVID-19 still impacting healthcare utilization</a:t>
            </a:r>
            <a:endParaRPr lang="en-US" dirty="0"/>
          </a:p>
        </p:txBody>
      </p:sp>
      <p:sp>
        <p:nvSpPr>
          <p:cNvPr id="3" name="Slide Number Placeholder 2"/>
          <p:cNvSpPr>
            <a:spLocks noGrp="1"/>
          </p:cNvSpPr>
          <p:nvPr>
            <p:ph type="sldNum" sz="quarter" idx="14"/>
          </p:nvPr>
        </p:nvSpPr>
        <p:spPr/>
        <p:txBody>
          <a:bodyPr/>
          <a:lstStyle/>
          <a:p>
            <a:fld id="{DA135043-C596-1A48-8BDA-03EB29A64DF4}" type="slidenum">
              <a:rPr lang="en-US" smtClean="0"/>
              <a:pPr/>
              <a:t>14</a:t>
            </a:fld>
            <a:endParaRPr lang="en-US" dirty="0"/>
          </a:p>
        </p:txBody>
      </p:sp>
      <p:sp>
        <p:nvSpPr>
          <p:cNvPr id="42" name="Text Placeholder 41"/>
          <p:cNvSpPr>
            <a:spLocks noGrp="1"/>
          </p:cNvSpPr>
          <p:nvPr>
            <p:ph type="body" sz="quarter" idx="15"/>
          </p:nvPr>
        </p:nvSpPr>
        <p:spPr/>
        <p:txBody>
          <a:bodyPr/>
          <a:lstStyle/>
          <a:p>
            <a:r>
              <a:rPr lang="en-US" dirty="0" smtClean="0"/>
              <a:t>Source: Peterson-KFF </a:t>
            </a:r>
            <a:r>
              <a:rPr lang="en-US" dirty="0"/>
              <a:t>Health System Tracker, January 24, 2023</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3077" y="1481328"/>
            <a:ext cx="3840480" cy="2418079"/>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880" y="3899407"/>
            <a:ext cx="3840480" cy="2418079"/>
          </a:xfrm>
          <a:prstGeom prst="rect">
            <a:avLst/>
          </a:prstGeom>
        </p:spPr>
      </p:pic>
      <p:pic>
        <p:nvPicPr>
          <p:cNvPr id="39" name="Picture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23360" y="1481328"/>
            <a:ext cx="3840480" cy="2418079"/>
          </a:xfrm>
          <a:prstGeom prst="rect">
            <a:avLst/>
          </a:prstGeom>
        </p:spPr>
      </p:pic>
      <p:pic>
        <p:nvPicPr>
          <p:cNvPr id="40" name="Picture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23360" y="3895344"/>
            <a:ext cx="3840480" cy="2418079"/>
          </a:xfrm>
          <a:prstGeom prst="rect">
            <a:avLst/>
          </a:prstGeom>
        </p:spPr>
      </p:pic>
      <p:pic>
        <p:nvPicPr>
          <p:cNvPr id="43" name="Picture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63840" y="1481328"/>
            <a:ext cx="3840480" cy="2418079"/>
          </a:xfrm>
          <a:prstGeom prst="rect">
            <a:avLst/>
          </a:prstGeom>
        </p:spPr>
      </p:pic>
      <p:pic>
        <p:nvPicPr>
          <p:cNvPr id="44" name="Picture 4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63643" y="3895344"/>
            <a:ext cx="3840480" cy="2418079"/>
          </a:xfrm>
          <a:prstGeom prst="rect">
            <a:avLst/>
          </a:prstGeom>
        </p:spPr>
      </p:pic>
    </p:spTree>
    <p:extLst>
      <p:ext uri="{BB962C8B-B14F-4D97-AF65-F5344CB8AC3E}">
        <p14:creationId xmlns:p14="http://schemas.microsoft.com/office/powerpoint/2010/main" val="5404562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VID-19 still impacting case filing and resolution</a:t>
            </a:r>
            <a:endParaRPr lang="en-US" dirty="0"/>
          </a:p>
        </p:txBody>
      </p:sp>
      <p:graphicFrame>
        <p:nvGraphicFramePr>
          <p:cNvPr id="48" name="Content Placeholder 47"/>
          <p:cNvGraphicFramePr>
            <a:graphicFrameLocks noGrp="1"/>
          </p:cNvGraphicFramePr>
          <p:nvPr>
            <p:ph sz="half" idx="1"/>
            <p:extLst>
              <p:ext uri="{D42A27DB-BD31-4B8C-83A1-F6EECF244321}">
                <p14:modId xmlns:p14="http://schemas.microsoft.com/office/powerpoint/2010/main" val="1094362757"/>
              </p:ext>
            </p:extLst>
          </p:nvPr>
        </p:nvGraphicFramePr>
        <p:xfrm>
          <a:off x="727075" y="1601788"/>
          <a:ext cx="6291072" cy="4160837"/>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p:cNvSpPr>
            <a:spLocks noGrp="1"/>
          </p:cNvSpPr>
          <p:nvPr>
            <p:ph type="sldNum" sz="quarter" idx="12"/>
          </p:nvPr>
        </p:nvSpPr>
        <p:spPr/>
        <p:txBody>
          <a:bodyPr/>
          <a:lstStyle/>
          <a:p>
            <a:fld id="{DA135043-C596-1A48-8BDA-03EB29A64DF4}" type="slidenum">
              <a:rPr lang="en-US" smtClean="0"/>
              <a:pPr/>
              <a:t>15</a:t>
            </a:fld>
            <a:endParaRPr lang="en-US" dirty="0"/>
          </a:p>
        </p:txBody>
      </p:sp>
      <p:sp>
        <p:nvSpPr>
          <p:cNvPr id="53" name="Text Placeholder 52"/>
          <p:cNvSpPr>
            <a:spLocks noGrp="1"/>
          </p:cNvSpPr>
          <p:nvPr>
            <p:ph type="body" sz="quarter" idx="13"/>
          </p:nvPr>
        </p:nvSpPr>
        <p:spPr/>
        <p:txBody>
          <a:bodyPr>
            <a:normAutofit lnSpcReduction="10000"/>
          </a:bodyPr>
          <a:lstStyle/>
          <a:p>
            <a:r>
              <a:rPr lang="en-US" dirty="0" smtClean="0"/>
              <a:t>Filings dropped dramatically early in the pandemic and still have not returned to pre-pandemic levels</a:t>
            </a:r>
          </a:p>
          <a:p>
            <a:r>
              <a:rPr lang="en-US" dirty="0" smtClean="0"/>
              <a:t>Case dispositions are lagging behind the still-reduced filings (creating growing backlogs)</a:t>
            </a:r>
            <a:endParaRPr lang="en-US" dirty="0"/>
          </a:p>
        </p:txBody>
      </p:sp>
      <p:sp>
        <p:nvSpPr>
          <p:cNvPr id="28" name="Text Placeholder 27"/>
          <p:cNvSpPr>
            <a:spLocks noGrp="1"/>
          </p:cNvSpPr>
          <p:nvPr>
            <p:ph type="body" sz="quarter" idx="14"/>
          </p:nvPr>
        </p:nvSpPr>
        <p:spPr>
          <a:xfrm>
            <a:off x="723900" y="5897003"/>
            <a:ext cx="10748963" cy="313932"/>
          </a:xfrm>
        </p:spPr>
        <p:txBody>
          <a:bodyPr/>
          <a:lstStyle/>
          <a:p>
            <a:r>
              <a:rPr lang="en-US" dirty="0" smtClean="0"/>
              <a:t>Claims data distortions won't be resolved until at least 2025(?)</a:t>
            </a:r>
            <a:endParaRPr lang="en-US" dirty="0"/>
          </a:p>
        </p:txBody>
      </p:sp>
      <p:sp>
        <p:nvSpPr>
          <p:cNvPr id="22" name="Text Placeholder 21"/>
          <p:cNvSpPr>
            <a:spLocks noGrp="1"/>
          </p:cNvSpPr>
          <p:nvPr>
            <p:ph type="body" sz="quarter" idx="16"/>
          </p:nvPr>
        </p:nvSpPr>
        <p:spPr/>
        <p:txBody>
          <a:bodyPr/>
          <a:lstStyle/>
          <a:p>
            <a:r>
              <a:rPr lang="en-US" dirty="0" smtClean="0"/>
              <a:t>Source: Court Statistics Project of the National Center for State Courts</a:t>
            </a:r>
            <a:endParaRPr lang="en-US" dirty="0"/>
          </a:p>
        </p:txBody>
      </p:sp>
      <p:pic>
        <p:nvPicPr>
          <p:cNvPr id="58" name="Content Placeholder 51"/>
          <p:cNvPicPr>
            <a:picLocks noChangeAspect="1"/>
          </p:cNvPicPr>
          <p:nvPr/>
        </p:nvPicPr>
        <p:blipFill rotWithShape="1">
          <a:blip r:embed="rId3">
            <a:extLst>
              <a:ext uri="{28A0092B-C50C-407E-A947-70E740481C1C}">
                <a14:useLocalDpi xmlns:a14="http://schemas.microsoft.com/office/drawing/2010/main" val="0"/>
              </a:ext>
            </a:extLst>
          </a:blip>
          <a:srcRect t="11749" b="6959"/>
          <a:stretch/>
        </p:blipFill>
        <p:spPr>
          <a:xfrm>
            <a:off x="7203059" y="1613080"/>
            <a:ext cx="4264274" cy="4160520"/>
          </a:xfrm>
          <a:prstGeom prst="rect">
            <a:avLst/>
          </a:prstGeom>
        </p:spPr>
      </p:pic>
    </p:spTree>
    <p:extLst>
      <p:ext uri="{BB962C8B-B14F-4D97-AF65-F5344CB8AC3E}">
        <p14:creationId xmlns:p14="http://schemas.microsoft.com/office/powerpoint/2010/main" val="33440158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C7214CD3-358B-A1AE-C5DD-AE28387C5C65}"/>
              </a:ext>
            </a:extLst>
          </p:cNvPr>
          <p:cNvGrpSpPr/>
          <p:nvPr/>
        </p:nvGrpSpPr>
        <p:grpSpPr>
          <a:xfrm>
            <a:off x="2152351" y="1572544"/>
            <a:ext cx="7894229" cy="4639475"/>
            <a:chOff x="2519767" y="877246"/>
            <a:chExt cx="7894229" cy="4639475"/>
          </a:xfrm>
          <a:solidFill>
            <a:schemeClr val="bg1">
              <a:lumMod val="85000"/>
            </a:schemeClr>
          </a:solidFill>
        </p:grpSpPr>
        <p:sp>
          <p:nvSpPr>
            <p:cNvPr id="5" name="Freeform 8">
              <a:extLst>
                <a:ext uri="{FF2B5EF4-FFF2-40B4-BE49-F238E27FC236}">
                  <a16:creationId xmlns:a16="http://schemas.microsoft.com/office/drawing/2014/main" id="{2B7F8873-DB9C-E7B9-DC1C-63836E6BCDDE}"/>
                </a:ext>
              </a:extLst>
            </p:cNvPr>
            <p:cNvSpPr>
              <a:spLocks/>
            </p:cNvSpPr>
            <p:nvPr/>
          </p:nvSpPr>
          <p:spPr bwMode="auto">
            <a:xfrm>
              <a:off x="4390062" y="1762828"/>
              <a:ext cx="958278" cy="748448"/>
            </a:xfrm>
            <a:custGeom>
              <a:avLst/>
              <a:gdLst>
                <a:gd name="T0" fmla="*/ 0 w 580"/>
                <a:gd name="T1" fmla="*/ 0 h 453"/>
                <a:gd name="T2" fmla="*/ 0 w 580"/>
                <a:gd name="T3" fmla="*/ 343 h 453"/>
                <a:gd name="T4" fmla="*/ 0 w 580"/>
                <a:gd name="T5" fmla="*/ 453 h 453"/>
                <a:gd name="T6" fmla="*/ 580 w 580"/>
                <a:gd name="T7" fmla="*/ 453 h 453"/>
                <a:gd name="T8" fmla="*/ 580 w 580"/>
                <a:gd name="T9" fmla="*/ 0 h 453"/>
                <a:gd name="T10" fmla="*/ 0 w 580"/>
                <a:gd name="T11" fmla="*/ 0 h 453"/>
              </a:gdLst>
              <a:ahLst/>
              <a:cxnLst>
                <a:cxn ang="0">
                  <a:pos x="T0" y="T1"/>
                </a:cxn>
                <a:cxn ang="0">
                  <a:pos x="T2" y="T3"/>
                </a:cxn>
                <a:cxn ang="0">
                  <a:pos x="T4" y="T5"/>
                </a:cxn>
                <a:cxn ang="0">
                  <a:pos x="T6" y="T7"/>
                </a:cxn>
                <a:cxn ang="0">
                  <a:pos x="T8" y="T9"/>
                </a:cxn>
                <a:cxn ang="0">
                  <a:pos x="T10" y="T11"/>
                </a:cxn>
              </a:cxnLst>
              <a:rect l="0" t="0" r="r" b="b"/>
              <a:pathLst>
                <a:path w="580" h="453">
                  <a:moveTo>
                    <a:pt x="0" y="0"/>
                  </a:moveTo>
                  <a:lnTo>
                    <a:pt x="0" y="343"/>
                  </a:lnTo>
                  <a:lnTo>
                    <a:pt x="0" y="453"/>
                  </a:lnTo>
                  <a:lnTo>
                    <a:pt x="580" y="453"/>
                  </a:lnTo>
                  <a:lnTo>
                    <a:pt x="580" y="0"/>
                  </a:lnTo>
                  <a:lnTo>
                    <a:pt x="0" y="0"/>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6" name="Freeform 9">
              <a:extLst>
                <a:ext uri="{FF2B5EF4-FFF2-40B4-BE49-F238E27FC236}">
                  <a16:creationId xmlns:a16="http://schemas.microsoft.com/office/drawing/2014/main" id="{70B4918B-45FF-2AD1-95F6-C6F3D0626766}"/>
                </a:ext>
              </a:extLst>
            </p:cNvPr>
            <p:cNvSpPr>
              <a:spLocks noEditPoints="1"/>
            </p:cNvSpPr>
            <p:nvPr/>
          </p:nvSpPr>
          <p:spPr bwMode="auto">
            <a:xfrm>
              <a:off x="6873324" y="1377864"/>
              <a:ext cx="827755" cy="855842"/>
            </a:xfrm>
            <a:custGeom>
              <a:avLst/>
              <a:gdLst>
                <a:gd name="T0" fmla="*/ 79 w 209"/>
                <a:gd name="T1" fmla="*/ 5 h 216"/>
                <a:gd name="T2" fmla="*/ 76 w 209"/>
                <a:gd name="T3" fmla="*/ 10 h 216"/>
                <a:gd name="T4" fmla="*/ 82 w 209"/>
                <a:gd name="T5" fmla="*/ 1 h 216"/>
                <a:gd name="T6" fmla="*/ 79 w 209"/>
                <a:gd name="T7" fmla="*/ 2 h 216"/>
                <a:gd name="T8" fmla="*/ 208 w 209"/>
                <a:gd name="T9" fmla="*/ 81 h 216"/>
                <a:gd name="T10" fmla="*/ 206 w 209"/>
                <a:gd name="T11" fmla="*/ 81 h 216"/>
                <a:gd name="T12" fmla="*/ 202 w 209"/>
                <a:gd name="T13" fmla="*/ 89 h 216"/>
                <a:gd name="T14" fmla="*/ 199 w 209"/>
                <a:gd name="T15" fmla="*/ 97 h 216"/>
                <a:gd name="T16" fmla="*/ 197 w 209"/>
                <a:gd name="T17" fmla="*/ 103 h 216"/>
                <a:gd name="T18" fmla="*/ 190 w 209"/>
                <a:gd name="T19" fmla="*/ 115 h 216"/>
                <a:gd name="T20" fmla="*/ 186 w 209"/>
                <a:gd name="T21" fmla="*/ 125 h 216"/>
                <a:gd name="T22" fmla="*/ 186 w 209"/>
                <a:gd name="T23" fmla="*/ 133 h 216"/>
                <a:gd name="T24" fmla="*/ 184 w 209"/>
                <a:gd name="T25" fmla="*/ 138 h 216"/>
                <a:gd name="T26" fmla="*/ 180 w 209"/>
                <a:gd name="T27" fmla="*/ 147 h 216"/>
                <a:gd name="T28" fmla="*/ 179 w 209"/>
                <a:gd name="T29" fmla="*/ 155 h 216"/>
                <a:gd name="T30" fmla="*/ 179 w 209"/>
                <a:gd name="T31" fmla="*/ 164 h 216"/>
                <a:gd name="T32" fmla="*/ 175 w 209"/>
                <a:gd name="T33" fmla="*/ 174 h 216"/>
                <a:gd name="T34" fmla="*/ 173 w 209"/>
                <a:gd name="T35" fmla="*/ 181 h 216"/>
                <a:gd name="T36" fmla="*/ 173 w 209"/>
                <a:gd name="T37" fmla="*/ 193 h 216"/>
                <a:gd name="T38" fmla="*/ 176 w 209"/>
                <a:gd name="T39" fmla="*/ 202 h 216"/>
                <a:gd name="T40" fmla="*/ 177 w 209"/>
                <a:gd name="T41" fmla="*/ 207 h 216"/>
                <a:gd name="T42" fmla="*/ 176 w 209"/>
                <a:gd name="T43" fmla="*/ 216 h 216"/>
                <a:gd name="T44" fmla="*/ 74 w 209"/>
                <a:gd name="T45" fmla="*/ 210 h 216"/>
                <a:gd name="T46" fmla="*/ 63 w 209"/>
                <a:gd name="T47" fmla="*/ 201 h 216"/>
                <a:gd name="T48" fmla="*/ 60 w 209"/>
                <a:gd name="T49" fmla="*/ 189 h 216"/>
                <a:gd name="T50" fmla="*/ 58 w 209"/>
                <a:gd name="T51" fmla="*/ 176 h 216"/>
                <a:gd name="T52" fmla="*/ 56 w 209"/>
                <a:gd name="T53" fmla="*/ 162 h 216"/>
                <a:gd name="T54" fmla="*/ 46 w 209"/>
                <a:gd name="T55" fmla="*/ 145 h 216"/>
                <a:gd name="T56" fmla="*/ 32 w 209"/>
                <a:gd name="T57" fmla="*/ 127 h 216"/>
                <a:gd name="T58" fmla="*/ 13 w 209"/>
                <a:gd name="T59" fmla="*/ 118 h 216"/>
                <a:gd name="T60" fmla="*/ 5 w 209"/>
                <a:gd name="T61" fmla="*/ 100 h 216"/>
                <a:gd name="T62" fmla="*/ 5 w 209"/>
                <a:gd name="T63" fmla="*/ 87 h 216"/>
                <a:gd name="T64" fmla="*/ 5 w 209"/>
                <a:gd name="T65" fmla="*/ 69 h 216"/>
                <a:gd name="T66" fmla="*/ 5 w 209"/>
                <a:gd name="T67" fmla="*/ 56 h 216"/>
                <a:gd name="T68" fmla="*/ 17 w 209"/>
                <a:gd name="T69" fmla="*/ 47 h 216"/>
                <a:gd name="T70" fmla="*/ 24 w 209"/>
                <a:gd name="T71" fmla="*/ 15 h 216"/>
                <a:gd name="T72" fmla="*/ 31 w 209"/>
                <a:gd name="T73" fmla="*/ 14 h 216"/>
                <a:gd name="T74" fmla="*/ 47 w 209"/>
                <a:gd name="T75" fmla="*/ 10 h 216"/>
                <a:gd name="T76" fmla="*/ 64 w 209"/>
                <a:gd name="T77" fmla="*/ 4 h 216"/>
                <a:gd name="T78" fmla="*/ 74 w 209"/>
                <a:gd name="T79" fmla="*/ 3 h 216"/>
                <a:gd name="T80" fmla="*/ 70 w 209"/>
                <a:gd name="T81" fmla="*/ 14 h 216"/>
                <a:gd name="T82" fmla="*/ 71 w 209"/>
                <a:gd name="T83" fmla="*/ 18 h 216"/>
                <a:gd name="T84" fmla="*/ 83 w 209"/>
                <a:gd name="T85" fmla="*/ 19 h 216"/>
                <a:gd name="T86" fmla="*/ 89 w 209"/>
                <a:gd name="T87" fmla="*/ 22 h 216"/>
                <a:gd name="T88" fmla="*/ 141 w 209"/>
                <a:gd name="T89" fmla="*/ 47 h 216"/>
                <a:gd name="T90" fmla="*/ 153 w 209"/>
                <a:gd name="T91" fmla="*/ 48 h 216"/>
                <a:gd name="T92" fmla="*/ 162 w 209"/>
                <a:gd name="T93" fmla="*/ 50 h 216"/>
                <a:gd name="T94" fmla="*/ 165 w 209"/>
                <a:gd name="T95" fmla="*/ 57 h 216"/>
                <a:gd name="T96" fmla="*/ 174 w 209"/>
                <a:gd name="T97" fmla="*/ 60 h 216"/>
                <a:gd name="T98" fmla="*/ 177 w 209"/>
                <a:gd name="T99" fmla="*/ 69 h 216"/>
                <a:gd name="T100" fmla="*/ 174 w 209"/>
                <a:gd name="T101" fmla="*/ 76 h 216"/>
                <a:gd name="T102" fmla="*/ 181 w 209"/>
                <a:gd name="T103" fmla="*/ 78 h 216"/>
                <a:gd name="T104" fmla="*/ 181 w 209"/>
                <a:gd name="T105" fmla="*/ 91 h 216"/>
                <a:gd name="T106" fmla="*/ 177 w 209"/>
                <a:gd name="T107" fmla="*/ 100 h 216"/>
                <a:gd name="T108" fmla="*/ 170 w 209"/>
                <a:gd name="T109" fmla="*/ 113 h 216"/>
                <a:gd name="T110" fmla="*/ 172 w 209"/>
                <a:gd name="T111" fmla="*/ 119 h 216"/>
                <a:gd name="T112" fmla="*/ 180 w 209"/>
                <a:gd name="T113" fmla="*/ 109 h 216"/>
                <a:gd name="T114" fmla="*/ 190 w 209"/>
                <a:gd name="T115" fmla="*/ 104 h 216"/>
                <a:gd name="T116" fmla="*/ 194 w 209"/>
                <a:gd name="T117" fmla="*/ 95 h 216"/>
                <a:gd name="T118" fmla="*/ 201 w 209"/>
                <a:gd name="T119" fmla="*/ 8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9" h="216">
                  <a:moveTo>
                    <a:pt x="74" y="9"/>
                  </a:moveTo>
                  <a:cubicBezTo>
                    <a:pt x="74" y="9"/>
                    <a:pt x="74" y="8"/>
                    <a:pt x="74" y="8"/>
                  </a:cubicBezTo>
                  <a:cubicBezTo>
                    <a:pt x="75" y="7"/>
                    <a:pt x="75" y="7"/>
                    <a:pt x="76" y="7"/>
                  </a:cubicBezTo>
                  <a:cubicBezTo>
                    <a:pt x="76" y="7"/>
                    <a:pt x="77" y="6"/>
                    <a:pt x="77" y="6"/>
                  </a:cubicBezTo>
                  <a:cubicBezTo>
                    <a:pt x="78" y="6"/>
                    <a:pt x="78" y="5"/>
                    <a:pt x="79" y="5"/>
                  </a:cubicBezTo>
                  <a:cubicBezTo>
                    <a:pt x="79" y="5"/>
                    <a:pt x="80" y="4"/>
                    <a:pt x="80" y="5"/>
                  </a:cubicBezTo>
                  <a:cubicBezTo>
                    <a:pt x="80" y="5"/>
                    <a:pt x="81" y="6"/>
                    <a:pt x="80" y="6"/>
                  </a:cubicBezTo>
                  <a:cubicBezTo>
                    <a:pt x="80" y="6"/>
                    <a:pt x="79" y="7"/>
                    <a:pt x="79" y="7"/>
                  </a:cubicBezTo>
                  <a:cubicBezTo>
                    <a:pt x="78" y="7"/>
                    <a:pt x="77" y="8"/>
                    <a:pt x="77" y="9"/>
                  </a:cubicBezTo>
                  <a:cubicBezTo>
                    <a:pt x="76" y="9"/>
                    <a:pt x="76" y="9"/>
                    <a:pt x="76" y="10"/>
                  </a:cubicBezTo>
                  <a:cubicBezTo>
                    <a:pt x="75" y="10"/>
                    <a:pt x="75" y="10"/>
                    <a:pt x="75" y="10"/>
                  </a:cubicBezTo>
                  <a:cubicBezTo>
                    <a:pt x="75" y="10"/>
                    <a:pt x="74" y="10"/>
                    <a:pt x="74" y="10"/>
                  </a:cubicBezTo>
                  <a:cubicBezTo>
                    <a:pt x="74" y="10"/>
                    <a:pt x="74" y="10"/>
                    <a:pt x="74" y="9"/>
                  </a:cubicBezTo>
                  <a:close/>
                  <a:moveTo>
                    <a:pt x="81" y="2"/>
                  </a:moveTo>
                  <a:cubicBezTo>
                    <a:pt x="82" y="2"/>
                    <a:pt x="82" y="2"/>
                    <a:pt x="82" y="1"/>
                  </a:cubicBezTo>
                  <a:cubicBezTo>
                    <a:pt x="82" y="1"/>
                    <a:pt x="82" y="1"/>
                    <a:pt x="82" y="1"/>
                  </a:cubicBezTo>
                  <a:cubicBezTo>
                    <a:pt x="82" y="0"/>
                    <a:pt x="81" y="0"/>
                    <a:pt x="81" y="0"/>
                  </a:cubicBezTo>
                  <a:cubicBezTo>
                    <a:pt x="80" y="0"/>
                    <a:pt x="80" y="0"/>
                    <a:pt x="80" y="0"/>
                  </a:cubicBezTo>
                  <a:cubicBezTo>
                    <a:pt x="79" y="1"/>
                    <a:pt x="79" y="1"/>
                    <a:pt x="79" y="1"/>
                  </a:cubicBezTo>
                  <a:cubicBezTo>
                    <a:pt x="79" y="1"/>
                    <a:pt x="79" y="1"/>
                    <a:pt x="79" y="2"/>
                  </a:cubicBezTo>
                  <a:cubicBezTo>
                    <a:pt x="79" y="2"/>
                    <a:pt x="79" y="2"/>
                    <a:pt x="79" y="2"/>
                  </a:cubicBezTo>
                  <a:cubicBezTo>
                    <a:pt x="80" y="2"/>
                    <a:pt x="81" y="3"/>
                    <a:pt x="81" y="2"/>
                  </a:cubicBezTo>
                  <a:close/>
                  <a:moveTo>
                    <a:pt x="206" y="81"/>
                  </a:moveTo>
                  <a:cubicBezTo>
                    <a:pt x="207" y="81"/>
                    <a:pt x="207" y="81"/>
                    <a:pt x="208" y="81"/>
                  </a:cubicBezTo>
                  <a:cubicBezTo>
                    <a:pt x="208" y="81"/>
                    <a:pt x="208" y="81"/>
                    <a:pt x="208" y="81"/>
                  </a:cubicBezTo>
                  <a:cubicBezTo>
                    <a:pt x="209" y="81"/>
                    <a:pt x="209" y="80"/>
                    <a:pt x="209" y="80"/>
                  </a:cubicBezTo>
                  <a:cubicBezTo>
                    <a:pt x="208" y="79"/>
                    <a:pt x="208" y="79"/>
                    <a:pt x="207" y="78"/>
                  </a:cubicBezTo>
                  <a:cubicBezTo>
                    <a:pt x="207" y="78"/>
                    <a:pt x="207" y="77"/>
                    <a:pt x="206" y="77"/>
                  </a:cubicBezTo>
                  <a:cubicBezTo>
                    <a:pt x="205" y="78"/>
                    <a:pt x="205" y="79"/>
                    <a:pt x="206" y="79"/>
                  </a:cubicBezTo>
                  <a:cubicBezTo>
                    <a:pt x="206" y="80"/>
                    <a:pt x="206" y="81"/>
                    <a:pt x="206" y="81"/>
                  </a:cubicBezTo>
                  <a:close/>
                  <a:moveTo>
                    <a:pt x="205" y="84"/>
                  </a:moveTo>
                  <a:cubicBezTo>
                    <a:pt x="205" y="85"/>
                    <a:pt x="204" y="85"/>
                    <a:pt x="204" y="86"/>
                  </a:cubicBezTo>
                  <a:cubicBezTo>
                    <a:pt x="204" y="86"/>
                    <a:pt x="204" y="86"/>
                    <a:pt x="203" y="86"/>
                  </a:cubicBezTo>
                  <a:cubicBezTo>
                    <a:pt x="203" y="86"/>
                    <a:pt x="202" y="86"/>
                    <a:pt x="202" y="87"/>
                  </a:cubicBezTo>
                  <a:cubicBezTo>
                    <a:pt x="202" y="88"/>
                    <a:pt x="202" y="88"/>
                    <a:pt x="202" y="89"/>
                  </a:cubicBezTo>
                  <a:cubicBezTo>
                    <a:pt x="202" y="89"/>
                    <a:pt x="202" y="90"/>
                    <a:pt x="202" y="90"/>
                  </a:cubicBezTo>
                  <a:cubicBezTo>
                    <a:pt x="202" y="91"/>
                    <a:pt x="202" y="91"/>
                    <a:pt x="202" y="92"/>
                  </a:cubicBezTo>
                  <a:cubicBezTo>
                    <a:pt x="202" y="92"/>
                    <a:pt x="202" y="93"/>
                    <a:pt x="202" y="93"/>
                  </a:cubicBezTo>
                  <a:cubicBezTo>
                    <a:pt x="201" y="94"/>
                    <a:pt x="201" y="95"/>
                    <a:pt x="200" y="96"/>
                  </a:cubicBezTo>
                  <a:cubicBezTo>
                    <a:pt x="200" y="96"/>
                    <a:pt x="199" y="97"/>
                    <a:pt x="199" y="97"/>
                  </a:cubicBezTo>
                  <a:cubicBezTo>
                    <a:pt x="199" y="97"/>
                    <a:pt x="199" y="98"/>
                    <a:pt x="199" y="98"/>
                  </a:cubicBezTo>
                  <a:cubicBezTo>
                    <a:pt x="198" y="99"/>
                    <a:pt x="198" y="99"/>
                    <a:pt x="197" y="99"/>
                  </a:cubicBezTo>
                  <a:cubicBezTo>
                    <a:pt x="197" y="100"/>
                    <a:pt x="197" y="100"/>
                    <a:pt x="197" y="101"/>
                  </a:cubicBezTo>
                  <a:cubicBezTo>
                    <a:pt x="197" y="101"/>
                    <a:pt x="197" y="102"/>
                    <a:pt x="197" y="102"/>
                  </a:cubicBezTo>
                  <a:cubicBezTo>
                    <a:pt x="197" y="102"/>
                    <a:pt x="197" y="103"/>
                    <a:pt x="197" y="103"/>
                  </a:cubicBezTo>
                  <a:cubicBezTo>
                    <a:pt x="197" y="104"/>
                    <a:pt x="196" y="105"/>
                    <a:pt x="196" y="105"/>
                  </a:cubicBezTo>
                  <a:cubicBezTo>
                    <a:pt x="194" y="106"/>
                    <a:pt x="192" y="108"/>
                    <a:pt x="192" y="110"/>
                  </a:cubicBezTo>
                  <a:cubicBezTo>
                    <a:pt x="192" y="110"/>
                    <a:pt x="192" y="111"/>
                    <a:pt x="192" y="111"/>
                  </a:cubicBezTo>
                  <a:cubicBezTo>
                    <a:pt x="191" y="112"/>
                    <a:pt x="191" y="113"/>
                    <a:pt x="191" y="113"/>
                  </a:cubicBezTo>
                  <a:cubicBezTo>
                    <a:pt x="190" y="114"/>
                    <a:pt x="190" y="115"/>
                    <a:pt x="190" y="115"/>
                  </a:cubicBezTo>
                  <a:cubicBezTo>
                    <a:pt x="189" y="116"/>
                    <a:pt x="189" y="116"/>
                    <a:pt x="189" y="117"/>
                  </a:cubicBezTo>
                  <a:cubicBezTo>
                    <a:pt x="189" y="118"/>
                    <a:pt x="189" y="118"/>
                    <a:pt x="188" y="119"/>
                  </a:cubicBezTo>
                  <a:cubicBezTo>
                    <a:pt x="188" y="120"/>
                    <a:pt x="188" y="120"/>
                    <a:pt x="188" y="121"/>
                  </a:cubicBezTo>
                  <a:cubicBezTo>
                    <a:pt x="187" y="122"/>
                    <a:pt x="187" y="123"/>
                    <a:pt x="187" y="124"/>
                  </a:cubicBezTo>
                  <a:cubicBezTo>
                    <a:pt x="187" y="124"/>
                    <a:pt x="186" y="124"/>
                    <a:pt x="186" y="125"/>
                  </a:cubicBezTo>
                  <a:cubicBezTo>
                    <a:pt x="186" y="125"/>
                    <a:pt x="186" y="126"/>
                    <a:pt x="186" y="126"/>
                  </a:cubicBezTo>
                  <a:cubicBezTo>
                    <a:pt x="186" y="127"/>
                    <a:pt x="186" y="128"/>
                    <a:pt x="186" y="128"/>
                  </a:cubicBezTo>
                  <a:cubicBezTo>
                    <a:pt x="186" y="129"/>
                    <a:pt x="185" y="129"/>
                    <a:pt x="185" y="129"/>
                  </a:cubicBezTo>
                  <a:cubicBezTo>
                    <a:pt x="185" y="130"/>
                    <a:pt x="185" y="130"/>
                    <a:pt x="185" y="131"/>
                  </a:cubicBezTo>
                  <a:cubicBezTo>
                    <a:pt x="185" y="131"/>
                    <a:pt x="186" y="132"/>
                    <a:pt x="186" y="133"/>
                  </a:cubicBezTo>
                  <a:cubicBezTo>
                    <a:pt x="186" y="133"/>
                    <a:pt x="186" y="134"/>
                    <a:pt x="186" y="134"/>
                  </a:cubicBezTo>
                  <a:cubicBezTo>
                    <a:pt x="186" y="135"/>
                    <a:pt x="187" y="135"/>
                    <a:pt x="187" y="135"/>
                  </a:cubicBezTo>
                  <a:cubicBezTo>
                    <a:pt x="187" y="136"/>
                    <a:pt x="186" y="136"/>
                    <a:pt x="186" y="136"/>
                  </a:cubicBezTo>
                  <a:cubicBezTo>
                    <a:pt x="186" y="136"/>
                    <a:pt x="186" y="136"/>
                    <a:pt x="185" y="137"/>
                  </a:cubicBezTo>
                  <a:cubicBezTo>
                    <a:pt x="185" y="137"/>
                    <a:pt x="185" y="137"/>
                    <a:pt x="184" y="138"/>
                  </a:cubicBezTo>
                  <a:cubicBezTo>
                    <a:pt x="184" y="138"/>
                    <a:pt x="183" y="139"/>
                    <a:pt x="183" y="140"/>
                  </a:cubicBezTo>
                  <a:cubicBezTo>
                    <a:pt x="182" y="141"/>
                    <a:pt x="182" y="142"/>
                    <a:pt x="182" y="143"/>
                  </a:cubicBezTo>
                  <a:cubicBezTo>
                    <a:pt x="182" y="143"/>
                    <a:pt x="181" y="144"/>
                    <a:pt x="181" y="144"/>
                  </a:cubicBezTo>
                  <a:cubicBezTo>
                    <a:pt x="181" y="145"/>
                    <a:pt x="181" y="145"/>
                    <a:pt x="181" y="146"/>
                  </a:cubicBezTo>
                  <a:cubicBezTo>
                    <a:pt x="180" y="146"/>
                    <a:pt x="180" y="146"/>
                    <a:pt x="180" y="147"/>
                  </a:cubicBezTo>
                  <a:cubicBezTo>
                    <a:pt x="180" y="147"/>
                    <a:pt x="180" y="147"/>
                    <a:pt x="180" y="147"/>
                  </a:cubicBezTo>
                  <a:cubicBezTo>
                    <a:pt x="180" y="148"/>
                    <a:pt x="180" y="149"/>
                    <a:pt x="179" y="149"/>
                  </a:cubicBezTo>
                  <a:cubicBezTo>
                    <a:pt x="179" y="150"/>
                    <a:pt x="179" y="151"/>
                    <a:pt x="179" y="152"/>
                  </a:cubicBezTo>
                  <a:cubicBezTo>
                    <a:pt x="179" y="153"/>
                    <a:pt x="179" y="153"/>
                    <a:pt x="179" y="154"/>
                  </a:cubicBezTo>
                  <a:cubicBezTo>
                    <a:pt x="179" y="154"/>
                    <a:pt x="179" y="154"/>
                    <a:pt x="179" y="155"/>
                  </a:cubicBezTo>
                  <a:cubicBezTo>
                    <a:pt x="179" y="155"/>
                    <a:pt x="179" y="155"/>
                    <a:pt x="179" y="156"/>
                  </a:cubicBezTo>
                  <a:cubicBezTo>
                    <a:pt x="179" y="157"/>
                    <a:pt x="179" y="157"/>
                    <a:pt x="179" y="158"/>
                  </a:cubicBezTo>
                  <a:cubicBezTo>
                    <a:pt x="179" y="159"/>
                    <a:pt x="179" y="160"/>
                    <a:pt x="179" y="161"/>
                  </a:cubicBezTo>
                  <a:cubicBezTo>
                    <a:pt x="179" y="162"/>
                    <a:pt x="179" y="162"/>
                    <a:pt x="179" y="162"/>
                  </a:cubicBezTo>
                  <a:cubicBezTo>
                    <a:pt x="179" y="163"/>
                    <a:pt x="179" y="163"/>
                    <a:pt x="179" y="164"/>
                  </a:cubicBezTo>
                  <a:cubicBezTo>
                    <a:pt x="178" y="164"/>
                    <a:pt x="178" y="165"/>
                    <a:pt x="178" y="165"/>
                  </a:cubicBezTo>
                  <a:cubicBezTo>
                    <a:pt x="178" y="166"/>
                    <a:pt x="177" y="166"/>
                    <a:pt x="177" y="167"/>
                  </a:cubicBezTo>
                  <a:cubicBezTo>
                    <a:pt x="177" y="168"/>
                    <a:pt x="177" y="168"/>
                    <a:pt x="177" y="169"/>
                  </a:cubicBezTo>
                  <a:cubicBezTo>
                    <a:pt x="176" y="170"/>
                    <a:pt x="176" y="171"/>
                    <a:pt x="176" y="171"/>
                  </a:cubicBezTo>
                  <a:cubicBezTo>
                    <a:pt x="175" y="172"/>
                    <a:pt x="175" y="173"/>
                    <a:pt x="175" y="174"/>
                  </a:cubicBezTo>
                  <a:cubicBezTo>
                    <a:pt x="174" y="174"/>
                    <a:pt x="174" y="175"/>
                    <a:pt x="174" y="176"/>
                  </a:cubicBezTo>
                  <a:cubicBezTo>
                    <a:pt x="174" y="176"/>
                    <a:pt x="174" y="176"/>
                    <a:pt x="174" y="177"/>
                  </a:cubicBezTo>
                  <a:cubicBezTo>
                    <a:pt x="173" y="178"/>
                    <a:pt x="174" y="178"/>
                    <a:pt x="173" y="179"/>
                  </a:cubicBezTo>
                  <a:cubicBezTo>
                    <a:pt x="173" y="179"/>
                    <a:pt x="173" y="180"/>
                    <a:pt x="173" y="180"/>
                  </a:cubicBezTo>
                  <a:cubicBezTo>
                    <a:pt x="173" y="181"/>
                    <a:pt x="173" y="181"/>
                    <a:pt x="173" y="181"/>
                  </a:cubicBezTo>
                  <a:cubicBezTo>
                    <a:pt x="173" y="182"/>
                    <a:pt x="173" y="183"/>
                    <a:pt x="173" y="184"/>
                  </a:cubicBezTo>
                  <a:cubicBezTo>
                    <a:pt x="173" y="185"/>
                    <a:pt x="173" y="186"/>
                    <a:pt x="174" y="187"/>
                  </a:cubicBezTo>
                  <a:cubicBezTo>
                    <a:pt x="174" y="188"/>
                    <a:pt x="174" y="189"/>
                    <a:pt x="174" y="190"/>
                  </a:cubicBezTo>
                  <a:cubicBezTo>
                    <a:pt x="174" y="190"/>
                    <a:pt x="174" y="191"/>
                    <a:pt x="173" y="192"/>
                  </a:cubicBezTo>
                  <a:cubicBezTo>
                    <a:pt x="173" y="192"/>
                    <a:pt x="173" y="192"/>
                    <a:pt x="173" y="193"/>
                  </a:cubicBezTo>
                  <a:cubicBezTo>
                    <a:pt x="174" y="193"/>
                    <a:pt x="174" y="194"/>
                    <a:pt x="174" y="194"/>
                  </a:cubicBezTo>
                  <a:cubicBezTo>
                    <a:pt x="174" y="195"/>
                    <a:pt x="175" y="195"/>
                    <a:pt x="175" y="196"/>
                  </a:cubicBezTo>
                  <a:cubicBezTo>
                    <a:pt x="175" y="197"/>
                    <a:pt x="175" y="197"/>
                    <a:pt x="175" y="198"/>
                  </a:cubicBezTo>
                  <a:cubicBezTo>
                    <a:pt x="175" y="199"/>
                    <a:pt x="175" y="200"/>
                    <a:pt x="175" y="201"/>
                  </a:cubicBezTo>
                  <a:cubicBezTo>
                    <a:pt x="175" y="201"/>
                    <a:pt x="176" y="201"/>
                    <a:pt x="176" y="202"/>
                  </a:cubicBezTo>
                  <a:cubicBezTo>
                    <a:pt x="176" y="202"/>
                    <a:pt x="176" y="203"/>
                    <a:pt x="176" y="203"/>
                  </a:cubicBezTo>
                  <a:cubicBezTo>
                    <a:pt x="176" y="203"/>
                    <a:pt x="176" y="203"/>
                    <a:pt x="177" y="204"/>
                  </a:cubicBezTo>
                  <a:cubicBezTo>
                    <a:pt x="177" y="204"/>
                    <a:pt x="177" y="204"/>
                    <a:pt x="177" y="204"/>
                  </a:cubicBezTo>
                  <a:cubicBezTo>
                    <a:pt x="177" y="205"/>
                    <a:pt x="177" y="205"/>
                    <a:pt x="177" y="205"/>
                  </a:cubicBezTo>
                  <a:cubicBezTo>
                    <a:pt x="177" y="206"/>
                    <a:pt x="177" y="206"/>
                    <a:pt x="177" y="207"/>
                  </a:cubicBezTo>
                  <a:cubicBezTo>
                    <a:pt x="177" y="207"/>
                    <a:pt x="177" y="208"/>
                    <a:pt x="177" y="208"/>
                  </a:cubicBezTo>
                  <a:cubicBezTo>
                    <a:pt x="177" y="208"/>
                    <a:pt x="176" y="209"/>
                    <a:pt x="176" y="209"/>
                  </a:cubicBezTo>
                  <a:cubicBezTo>
                    <a:pt x="176" y="210"/>
                    <a:pt x="176" y="211"/>
                    <a:pt x="176" y="212"/>
                  </a:cubicBezTo>
                  <a:cubicBezTo>
                    <a:pt x="176" y="213"/>
                    <a:pt x="176" y="214"/>
                    <a:pt x="176" y="215"/>
                  </a:cubicBezTo>
                  <a:cubicBezTo>
                    <a:pt x="176" y="215"/>
                    <a:pt x="176" y="216"/>
                    <a:pt x="176" y="216"/>
                  </a:cubicBezTo>
                  <a:cubicBezTo>
                    <a:pt x="176" y="216"/>
                    <a:pt x="176" y="216"/>
                    <a:pt x="176" y="216"/>
                  </a:cubicBezTo>
                  <a:cubicBezTo>
                    <a:pt x="78" y="216"/>
                    <a:pt x="78" y="216"/>
                    <a:pt x="78" y="216"/>
                  </a:cubicBezTo>
                  <a:cubicBezTo>
                    <a:pt x="77" y="215"/>
                    <a:pt x="77" y="214"/>
                    <a:pt x="77" y="213"/>
                  </a:cubicBezTo>
                  <a:cubicBezTo>
                    <a:pt x="76" y="213"/>
                    <a:pt x="76" y="212"/>
                    <a:pt x="76" y="211"/>
                  </a:cubicBezTo>
                  <a:cubicBezTo>
                    <a:pt x="75" y="211"/>
                    <a:pt x="75" y="210"/>
                    <a:pt x="74" y="210"/>
                  </a:cubicBezTo>
                  <a:cubicBezTo>
                    <a:pt x="73" y="209"/>
                    <a:pt x="72" y="209"/>
                    <a:pt x="71" y="209"/>
                  </a:cubicBezTo>
                  <a:cubicBezTo>
                    <a:pt x="70" y="209"/>
                    <a:pt x="70" y="209"/>
                    <a:pt x="69" y="208"/>
                  </a:cubicBezTo>
                  <a:cubicBezTo>
                    <a:pt x="69" y="208"/>
                    <a:pt x="68" y="208"/>
                    <a:pt x="67" y="208"/>
                  </a:cubicBezTo>
                  <a:cubicBezTo>
                    <a:pt x="66" y="208"/>
                    <a:pt x="66" y="207"/>
                    <a:pt x="65" y="207"/>
                  </a:cubicBezTo>
                  <a:cubicBezTo>
                    <a:pt x="63" y="205"/>
                    <a:pt x="63" y="203"/>
                    <a:pt x="63" y="201"/>
                  </a:cubicBezTo>
                  <a:cubicBezTo>
                    <a:pt x="63" y="200"/>
                    <a:pt x="63" y="199"/>
                    <a:pt x="62" y="199"/>
                  </a:cubicBezTo>
                  <a:cubicBezTo>
                    <a:pt x="62" y="198"/>
                    <a:pt x="61" y="197"/>
                    <a:pt x="61" y="197"/>
                  </a:cubicBezTo>
                  <a:cubicBezTo>
                    <a:pt x="61" y="196"/>
                    <a:pt x="60" y="196"/>
                    <a:pt x="60" y="195"/>
                  </a:cubicBezTo>
                  <a:cubicBezTo>
                    <a:pt x="60" y="194"/>
                    <a:pt x="60" y="194"/>
                    <a:pt x="60" y="193"/>
                  </a:cubicBezTo>
                  <a:cubicBezTo>
                    <a:pt x="59" y="192"/>
                    <a:pt x="60" y="190"/>
                    <a:pt x="60" y="189"/>
                  </a:cubicBezTo>
                  <a:cubicBezTo>
                    <a:pt x="60" y="188"/>
                    <a:pt x="59" y="187"/>
                    <a:pt x="60" y="186"/>
                  </a:cubicBezTo>
                  <a:cubicBezTo>
                    <a:pt x="60" y="185"/>
                    <a:pt x="61" y="184"/>
                    <a:pt x="61" y="184"/>
                  </a:cubicBezTo>
                  <a:cubicBezTo>
                    <a:pt x="62" y="183"/>
                    <a:pt x="63" y="182"/>
                    <a:pt x="63" y="182"/>
                  </a:cubicBezTo>
                  <a:cubicBezTo>
                    <a:pt x="64" y="179"/>
                    <a:pt x="61" y="178"/>
                    <a:pt x="59" y="177"/>
                  </a:cubicBezTo>
                  <a:cubicBezTo>
                    <a:pt x="59" y="177"/>
                    <a:pt x="58" y="176"/>
                    <a:pt x="58" y="176"/>
                  </a:cubicBezTo>
                  <a:cubicBezTo>
                    <a:pt x="58" y="175"/>
                    <a:pt x="58" y="175"/>
                    <a:pt x="58" y="174"/>
                  </a:cubicBezTo>
                  <a:cubicBezTo>
                    <a:pt x="58" y="173"/>
                    <a:pt x="58" y="173"/>
                    <a:pt x="58" y="172"/>
                  </a:cubicBezTo>
                  <a:cubicBezTo>
                    <a:pt x="58" y="169"/>
                    <a:pt x="58" y="169"/>
                    <a:pt x="58" y="169"/>
                  </a:cubicBezTo>
                  <a:cubicBezTo>
                    <a:pt x="58" y="169"/>
                    <a:pt x="57" y="166"/>
                    <a:pt x="57" y="165"/>
                  </a:cubicBezTo>
                  <a:cubicBezTo>
                    <a:pt x="57" y="165"/>
                    <a:pt x="56" y="163"/>
                    <a:pt x="56" y="162"/>
                  </a:cubicBezTo>
                  <a:cubicBezTo>
                    <a:pt x="56" y="161"/>
                    <a:pt x="57" y="159"/>
                    <a:pt x="57" y="158"/>
                  </a:cubicBezTo>
                  <a:cubicBezTo>
                    <a:pt x="57" y="157"/>
                    <a:pt x="56" y="154"/>
                    <a:pt x="56" y="153"/>
                  </a:cubicBezTo>
                  <a:cubicBezTo>
                    <a:pt x="55" y="153"/>
                    <a:pt x="53" y="149"/>
                    <a:pt x="52" y="149"/>
                  </a:cubicBezTo>
                  <a:cubicBezTo>
                    <a:pt x="52" y="148"/>
                    <a:pt x="52" y="147"/>
                    <a:pt x="51" y="146"/>
                  </a:cubicBezTo>
                  <a:cubicBezTo>
                    <a:pt x="50" y="146"/>
                    <a:pt x="47" y="145"/>
                    <a:pt x="46" y="145"/>
                  </a:cubicBezTo>
                  <a:cubicBezTo>
                    <a:pt x="45" y="144"/>
                    <a:pt x="45" y="143"/>
                    <a:pt x="44" y="142"/>
                  </a:cubicBezTo>
                  <a:cubicBezTo>
                    <a:pt x="43" y="142"/>
                    <a:pt x="40" y="139"/>
                    <a:pt x="39" y="138"/>
                  </a:cubicBezTo>
                  <a:cubicBezTo>
                    <a:pt x="38" y="138"/>
                    <a:pt x="37" y="137"/>
                    <a:pt x="36" y="136"/>
                  </a:cubicBezTo>
                  <a:cubicBezTo>
                    <a:pt x="35" y="136"/>
                    <a:pt x="35" y="136"/>
                    <a:pt x="35" y="134"/>
                  </a:cubicBezTo>
                  <a:cubicBezTo>
                    <a:pt x="35" y="133"/>
                    <a:pt x="33" y="128"/>
                    <a:pt x="32" y="127"/>
                  </a:cubicBezTo>
                  <a:cubicBezTo>
                    <a:pt x="30" y="126"/>
                    <a:pt x="29" y="127"/>
                    <a:pt x="28" y="126"/>
                  </a:cubicBezTo>
                  <a:cubicBezTo>
                    <a:pt x="27" y="125"/>
                    <a:pt x="24" y="124"/>
                    <a:pt x="23" y="124"/>
                  </a:cubicBezTo>
                  <a:cubicBezTo>
                    <a:pt x="22" y="123"/>
                    <a:pt x="21" y="121"/>
                    <a:pt x="20" y="120"/>
                  </a:cubicBezTo>
                  <a:cubicBezTo>
                    <a:pt x="20" y="120"/>
                    <a:pt x="20" y="119"/>
                    <a:pt x="18" y="118"/>
                  </a:cubicBezTo>
                  <a:cubicBezTo>
                    <a:pt x="17" y="118"/>
                    <a:pt x="15" y="118"/>
                    <a:pt x="13" y="118"/>
                  </a:cubicBezTo>
                  <a:cubicBezTo>
                    <a:pt x="12" y="118"/>
                    <a:pt x="11" y="118"/>
                    <a:pt x="11" y="117"/>
                  </a:cubicBezTo>
                  <a:cubicBezTo>
                    <a:pt x="11" y="116"/>
                    <a:pt x="9" y="114"/>
                    <a:pt x="8" y="113"/>
                  </a:cubicBezTo>
                  <a:cubicBezTo>
                    <a:pt x="7" y="112"/>
                    <a:pt x="4" y="110"/>
                    <a:pt x="4" y="110"/>
                  </a:cubicBezTo>
                  <a:cubicBezTo>
                    <a:pt x="3" y="109"/>
                    <a:pt x="4" y="106"/>
                    <a:pt x="4" y="105"/>
                  </a:cubicBezTo>
                  <a:cubicBezTo>
                    <a:pt x="4" y="105"/>
                    <a:pt x="5" y="101"/>
                    <a:pt x="5" y="100"/>
                  </a:cubicBezTo>
                  <a:cubicBezTo>
                    <a:pt x="5" y="99"/>
                    <a:pt x="5" y="97"/>
                    <a:pt x="5" y="96"/>
                  </a:cubicBezTo>
                  <a:cubicBezTo>
                    <a:pt x="4" y="95"/>
                    <a:pt x="4" y="95"/>
                    <a:pt x="4" y="94"/>
                  </a:cubicBezTo>
                  <a:cubicBezTo>
                    <a:pt x="4" y="94"/>
                    <a:pt x="4" y="93"/>
                    <a:pt x="4" y="92"/>
                  </a:cubicBezTo>
                  <a:cubicBezTo>
                    <a:pt x="5" y="92"/>
                    <a:pt x="5" y="91"/>
                    <a:pt x="5" y="90"/>
                  </a:cubicBezTo>
                  <a:cubicBezTo>
                    <a:pt x="5" y="89"/>
                    <a:pt x="5" y="88"/>
                    <a:pt x="5" y="87"/>
                  </a:cubicBezTo>
                  <a:cubicBezTo>
                    <a:pt x="5" y="86"/>
                    <a:pt x="4" y="84"/>
                    <a:pt x="5" y="83"/>
                  </a:cubicBezTo>
                  <a:cubicBezTo>
                    <a:pt x="5" y="82"/>
                    <a:pt x="7" y="80"/>
                    <a:pt x="7" y="79"/>
                  </a:cubicBezTo>
                  <a:cubicBezTo>
                    <a:pt x="8" y="78"/>
                    <a:pt x="9" y="78"/>
                    <a:pt x="9" y="77"/>
                  </a:cubicBezTo>
                  <a:cubicBezTo>
                    <a:pt x="9" y="76"/>
                    <a:pt x="7" y="73"/>
                    <a:pt x="6" y="72"/>
                  </a:cubicBezTo>
                  <a:cubicBezTo>
                    <a:pt x="6" y="71"/>
                    <a:pt x="6" y="70"/>
                    <a:pt x="5" y="69"/>
                  </a:cubicBezTo>
                  <a:cubicBezTo>
                    <a:pt x="4" y="69"/>
                    <a:pt x="1" y="69"/>
                    <a:pt x="1" y="69"/>
                  </a:cubicBezTo>
                  <a:cubicBezTo>
                    <a:pt x="0" y="68"/>
                    <a:pt x="0" y="67"/>
                    <a:pt x="0" y="66"/>
                  </a:cubicBezTo>
                  <a:cubicBezTo>
                    <a:pt x="1" y="65"/>
                    <a:pt x="0" y="63"/>
                    <a:pt x="1" y="62"/>
                  </a:cubicBezTo>
                  <a:cubicBezTo>
                    <a:pt x="1" y="62"/>
                    <a:pt x="3" y="61"/>
                    <a:pt x="4" y="60"/>
                  </a:cubicBezTo>
                  <a:cubicBezTo>
                    <a:pt x="4" y="59"/>
                    <a:pt x="5" y="57"/>
                    <a:pt x="5" y="56"/>
                  </a:cubicBezTo>
                  <a:cubicBezTo>
                    <a:pt x="6" y="55"/>
                    <a:pt x="6" y="54"/>
                    <a:pt x="7" y="53"/>
                  </a:cubicBezTo>
                  <a:cubicBezTo>
                    <a:pt x="8" y="52"/>
                    <a:pt x="10" y="51"/>
                    <a:pt x="11" y="51"/>
                  </a:cubicBezTo>
                  <a:cubicBezTo>
                    <a:pt x="12" y="50"/>
                    <a:pt x="12" y="49"/>
                    <a:pt x="13" y="49"/>
                  </a:cubicBezTo>
                  <a:cubicBezTo>
                    <a:pt x="13" y="48"/>
                    <a:pt x="14" y="49"/>
                    <a:pt x="15" y="49"/>
                  </a:cubicBezTo>
                  <a:cubicBezTo>
                    <a:pt x="15" y="49"/>
                    <a:pt x="16" y="47"/>
                    <a:pt x="17" y="47"/>
                  </a:cubicBezTo>
                  <a:cubicBezTo>
                    <a:pt x="17" y="46"/>
                    <a:pt x="19" y="47"/>
                    <a:pt x="19" y="47"/>
                  </a:cubicBezTo>
                  <a:cubicBezTo>
                    <a:pt x="19" y="46"/>
                    <a:pt x="20" y="45"/>
                    <a:pt x="20" y="45"/>
                  </a:cubicBezTo>
                  <a:cubicBezTo>
                    <a:pt x="20" y="44"/>
                    <a:pt x="21" y="43"/>
                    <a:pt x="21" y="43"/>
                  </a:cubicBezTo>
                  <a:cubicBezTo>
                    <a:pt x="21" y="43"/>
                    <a:pt x="21" y="14"/>
                    <a:pt x="21" y="14"/>
                  </a:cubicBezTo>
                  <a:cubicBezTo>
                    <a:pt x="21" y="14"/>
                    <a:pt x="24" y="15"/>
                    <a:pt x="24" y="15"/>
                  </a:cubicBezTo>
                  <a:cubicBezTo>
                    <a:pt x="25" y="13"/>
                    <a:pt x="25" y="13"/>
                    <a:pt x="25" y="13"/>
                  </a:cubicBezTo>
                  <a:cubicBezTo>
                    <a:pt x="25" y="13"/>
                    <a:pt x="27" y="12"/>
                    <a:pt x="27" y="12"/>
                  </a:cubicBezTo>
                  <a:cubicBezTo>
                    <a:pt x="27" y="12"/>
                    <a:pt x="28" y="11"/>
                    <a:pt x="29" y="11"/>
                  </a:cubicBezTo>
                  <a:cubicBezTo>
                    <a:pt x="30" y="11"/>
                    <a:pt x="31" y="13"/>
                    <a:pt x="31" y="13"/>
                  </a:cubicBezTo>
                  <a:cubicBezTo>
                    <a:pt x="31" y="13"/>
                    <a:pt x="31" y="14"/>
                    <a:pt x="31" y="14"/>
                  </a:cubicBezTo>
                  <a:cubicBezTo>
                    <a:pt x="31" y="14"/>
                    <a:pt x="34" y="14"/>
                    <a:pt x="35" y="14"/>
                  </a:cubicBezTo>
                  <a:cubicBezTo>
                    <a:pt x="35" y="14"/>
                    <a:pt x="37" y="14"/>
                    <a:pt x="37" y="14"/>
                  </a:cubicBezTo>
                  <a:cubicBezTo>
                    <a:pt x="38" y="13"/>
                    <a:pt x="40" y="12"/>
                    <a:pt x="41" y="12"/>
                  </a:cubicBezTo>
                  <a:cubicBezTo>
                    <a:pt x="41" y="12"/>
                    <a:pt x="43" y="11"/>
                    <a:pt x="44" y="11"/>
                  </a:cubicBezTo>
                  <a:cubicBezTo>
                    <a:pt x="45" y="11"/>
                    <a:pt x="46" y="11"/>
                    <a:pt x="47" y="10"/>
                  </a:cubicBezTo>
                  <a:cubicBezTo>
                    <a:pt x="48" y="10"/>
                    <a:pt x="51" y="9"/>
                    <a:pt x="52" y="9"/>
                  </a:cubicBezTo>
                  <a:cubicBezTo>
                    <a:pt x="53" y="9"/>
                    <a:pt x="56" y="7"/>
                    <a:pt x="57" y="6"/>
                  </a:cubicBezTo>
                  <a:cubicBezTo>
                    <a:pt x="58" y="5"/>
                    <a:pt x="59" y="5"/>
                    <a:pt x="59" y="4"/>
                  </a:cubicBezTo>
                  <a:cubicBezTo>
                    <a:pt x="60" y="4"/>
                    <a:pt x="60" y="4"/>
                    <a:pt x="61" y="4"/>
                  </a:cubicBezTo>
                  <a:cubicBezTo>
                    <a:pt x="61" y="4"/>
                    <a:pt x="62" y="4"/>
                    <a:pt x="64" y="4"/>
                  </a:cubicBezTo>
                  <a:cubicBezTo>
                    <a:pt x="65" y="3"/>
                    <a:pt x="67" y="2"/>
                    <a:pt x="68" y="1"/>
                  </a:cubicBezTo>
                  <a:cubicBezTo>
                    <a:pt x="69" y="1"/>
                    <a:pt x="70" y="1"/>
                    <a:pt x="71" y="0"/>
                  </a:cubicBezTo>
                  <a:cubicBezTo>
                    <a:pt x="71" y="0"/>
                    <a:pt x="72" y="0"/>
                    <a:pt x="72" y="0"/>
                  </a:cubicBezTo>
                  <a:cubicBezTo>
                    <a:pt x="72" y="1"/>
                    <a:pt x="72" y="2"/>
                    <a:pt x="73" y="2"/>
                  </a:cubicBezTo>
                  <a:cubicBezTo>
                    <a:pt x="74" y="3"/>
                    <a:pt x="74" y="3"/>
                    <a:pt x="74" y="3"/>
                  </a:cubicBezTo>
                  <a:cubicBezTo>
                    <a:pt x="74" y="4"/>
                    <a:pt x="74" y="5"/>
                    <a:pt x="73" y="6"/>
                  </a:cubicBezTo>
                  <a:cubicBezTo>
                    <a:pt x="73" y="7"/>
                    <a:pt x="72" y="8"/>
                    <a:pt x="71" y="8"/>
                  </a:cubicBezTo>
                  <a:cubicBezTo>
                    <a:pt x="71" y="9"/>
                    <a:pt x="70" y="9"/>
                    <a:pt x="70" y="10"/>
                  </a:cubicBezTo>
                  <a:cubicBezTo>
                    <a:pt x="70" y="11"/>
                    <a:pt x="70" y="13"/>
                    <a:pt x="70" y="14"/>
                  </a:cubicBezTo>
                  <a:cubicBezTo>
                    <a:pt x="70" y="14"/>
                    <a:pt x="70" y="14"/>
                    <a:pt x="70" y="14"/>
                  </a:cubicBezTo>
                  <a:cubicBezTo>
                    <a:pt x="70" y="15"/>
                    <a:pt x="69" y="15"/>
                    <a:pt x="69" y="15"/>
                  </a:cubicBezTo>
                  <a:cubicBezTo>
                    <a:pt x="69" y="15"/>
                    <a:pt x="69" y="16"/>
                    <a:pt x="69" y="16"/>
                  </a:cubicBezTo>
                  <a:cubicBezTo>
                    <a:pt x="69" y="17"/>
                    <a:pt x="69" y="17"/>
                    <a:pt x="68" y="17"/>
                  </a:cubicBezTo>
                  <a:cubicBezTo>
                    <a:pt x="68" y="18"/>
                    <a:pt x="68" y="18"/>
                    <a:pt x="68" y="19"/>
                  </a:cubicBezTo>
                  <a:cubicBezTo>
                    <a:pt x="69" y="19"/>
                    <a:pt x="70" y="18"/>
                    <a:pt x="71" y="18"/>
                  </a:cubicBezTo>
                  <a:cubicBezTo>
                    <a:pt x="72" y="17"/>
                    <a:pt x="74" y="16"/>
                    <a:pt x="74" y="16"/>
                  </a:cubicBezTo>
                  <a:cubicBezTo>
                    <a:pt x="75" y="16"/>
                    <a:pt x="76" y="15"/>
                    <a:pt x="76" y="15"/>
                  </a:cubicBezTo>
                  <a:cubicBezTo>
                    <a:pt x="76" y="15"/>
                    <a:pt x="77" y="15"/>
                    <a:pt x="77" y="16"/>
                  </a:cubicBezTo>
                  <a:cubicBezTo>
                    <a:pt x="78" y="16"/>
                    <a:pt x="79" y="17"/>
                    <a:pt x="80" y="18"/>
                  </a:cubicBezTo>
                  <a:cubicBezTo>
                    <a:pt x="81" y="18"/>
                    <a:pt x="82" y="18"/>
                    <a:pt x="83" y="19"/>
                  </a:cubicBezTo>
                  <a:cubicBezTo>
                    <a:pt x="83" y="19"/>
                    <a:pt x="84" y="20"/>
                    <a:pt x="85" y="20"/>
                  </a:cubicBezTo>
                  <a:cubicBezTo>
                    <a:pt x="85" y="20"/>
                    <a:pt x="86" y="19"/>
                    <a:pt x="86" y="19"/>
                  </a:cubicBezTo>
                  <a:cubicBezTo>
                    <a:pt x="86" y="21"/>
                    <a:pt x="86" y="21"/>
                    <a:pt x="86" y="21"/>
                  </a:cubicBezTo>
                  <a:cubicBezTo>
                    <a:pt x="89" y="21"/>
                    <a:pt x="89" y="21"/>
                    <a:pt x="89" y="21"/>
                  </a:cubicBezTo>
                  <a:cubicBezTo>
                    <a:pt x="89" y="21"/>
                    <a:pt x="89" y="22"/>
                    <a:pt x="89" y="22"/>
                  </a:cubicBezTo>
                  <a:cubicBezTo>
                    <a:pt x="89" y="22"/>
                    <a:pt x="93" y="23"/>
                    <a:pt x="93" y="23"/>
                  </a:cubicBezTo>
                  <a:cubicBezTo>
                    <a:pt x="96" y="30"/>
                    <a:pt x="96" y="30"/>
                    <a:pt x="96" y="30"/>
                  </a:cubicBezTo>
                  <a:cubicBezTo>
                    <a:pt x="128" y="40"/>
                    <a:pt x="128" y="40"/>
                    <a:pt x="128" y="40"/>
                  </a:cubicBezTo>
                  <a:cubicBezTo>
                    <a:pt x="132" y="41"/>
                    <a:pt x="132" y="41"/>
                    <a:pt x="132" y="41"/>
                  </a:cubicBezTo>
                  <a:cubicBezTo>
                    <a:pt x="141" y="47"/>
                    <a:pt x="141" y="47"/>
                    <a:pt x="141" y="47"/>
                  </a:cubicBezTo>
                  <a:cubicBezTo>
                    <a:pt x="144" y="47"/>
                    <a:pt x="144" y="47"/>
                    <a:pt x="144" y="47"/>
                  </a:cubicBezTo>
                  <a:cubicBezTo>
                    <a:pt x="147" y="48"/>
                    <a:pt x="147" y="48"/>
                    <a:pt x="147" y="48"/>
                  </a:cubicBezTo>
                  <a:cubicBezTo>
                    <a:pt x="147" y="48"/>
                    <a:pt x="148" y="47"/>
                    <a:pt x="148" y="47"/>
                  </a:cubicBezTo>
                  <a:cubicBezTo>
                    <a:pt x="149" y="47"/>
                    <a:pt x="151" y="47"/>
                    <a:pt x="151" y="47"/>
                  </a:cubicBezTo>
                  <a:cubicBezTo>
                    <a:pt x="151" y="47"/>
                    <a:pt x="153" y="48"/>
                    <a:pt x="153" y="48"/>
                  </a:cubicBezTo>
                  <a:cubicBezTo>
                    <a:pt x="154" y="48"/>
                    <a:pt x="154" y="48"/>
                    <a:pt x="154" y="48"/>
                  </a:cubicBezTo>
                  <a:cubicBezTo>
                    <a:pt x="154" y="48"/>
                    <a:pt x="155" y="49"/>
                    <a:pt x="155" y="49"/>
                  </a:cubicBezTo>
                  <a:cubicBezTo>
                    <a:pt x="155" y="49"/>
                    <a:pt x="156" y="48"/>
                    <a:pt x="156" y="49"/>
                  </a:cubicBezTo>
                  <a:cubicBezTo>
                    <a:pt x="156" y="49"/>
                    <a:pt x="158" y="50"/>
                    <a:pt x="158" y="50"/>
                  </a:cubicBezTo>
                  <a:cubicBezTo>
                    <a:pt x="158" y="50"/>
                    <a:pt x="161" y="50"/>
                    <a:pt x="162" y="50"/>
                  </a:cubicBezTo>
                  <a:cubicBezTo>
                    <a:pt x="163" y="50"/>
                    <a:pt x="164" y="51"/>
                    <a:pt x="165" y="51"/>
                  </a:cubicBezTo>
                  <a:cubicBezTo>
                    <a:pt x="165" y="51"/>
                    <a:pt x="166" y="52"/>
                    <a:pt x="166" y="52"/>
                  </a:cubicBezTo>
                  <a:cubicBezTo>
                    <a:pt x="166" y="53"/>
                    <a:pt x="166" y="54"/>
                    <a:pt x="166" y="55"/>
                  </a:cubicBezTo>
                  <a:cubicBezTo>
                    <a:pt x="166" y="55"/>
                    <a:pt x="165" y="56"/>
                    <a:pt x="165" y="56"/>
                  </a:cubicBezTo>
                  <a:cubicBezTo>
                    <a:pt x="165" y="56"/>
                    <a:pt x="165" y="57"/>
                    <a:pt x="165" y="57"/>
                  </a:cubicBezTo>
                  <a:cubicBezTo>
                    <a:pt x="165" y="58"/>
                    <a:pt x="166" y="58"/>
                    <a:pt x="167" y="58"/>
                  </a:cubicBezTo>
                  <a:cubicBezTo>
                    <a:pt x="167" y="59"/>
                    <a:pt x="169" y="58"/>
                    <a:pt x="169" y="58"/>
                  </a:cubicBezTo>
                  <a:cubicBezTo>
                    <a:pt x="170" y="58"/>
                    <a:pt x="170" y="58"/>
                    <a:pt x="170" y="59"/>
                  </a:cubicBezTo>
                  <a:cubicBezTo>
                    <a:pt x="170" y="59"/>
                    <a:pt x="171" y="60"/>
                    <a:pt x="171" y="60"/>
                  </a:cubicBezTo>
                  <a:cubicBezTo>
                    <a:pt x="171" y="60"/>
                    <a:pt x="174" y="60"/>
                    <a:pt x="174" y="60"/>
                  </a:cubicBezTo>
                  <a:cubicBezTo>
                    <a:pt x="174" y="60"/>
                    <a:pt x="177" y="63"/>
                    <a:pt x="177" y="63"/>
                  </a:cubicBezTo>
                  <a:cubicBezTo>
                    <a:pt x="177" y="64"/>
                    <a:pt x="176" y="64"/>
                    <a:pt x="176" y="65"/>
                  </a:cubicBezTo>
                  <a:cubicBezTo>
                    <a:pt x="176" y="65"/>
                    <a:pt x="175" y="66"/>
                    <a:pt x="176" y="66"/>
                  </a:cubicBezTo>
                  <a:cubicBezTo>
                    <a:pt x="176" y="66"/>
                    <a:pt x="176" y="67"/>
                    <a:pt x="176" y="68"/>
                  </a:cubicBezTo>
                  <a:cubicBezTo>
                    <a:pt x="177" y="68"/>
                    <a:pt x="177" y="69"/>
                    <a:pt x="177" y="69"/>
                  </a:cubicBezTo>
                  <a:cubicBezTo>
                    <a:pt x="176" y="69"/>
                    <a:pt x="175" y="70"/>
                    <a:pt x="175" y="70"/>
                  </a:cubicBezTo>
                  <a:cubicBezTo>
                    <a:pt x="175" y="70"/>
                    <a:pt x="175" y="70"/>
                    <a:pt x="175" y="71"/>
                  </a:cubicBezTo>
                  <a:cubicBezTo>
                    <a:pt x="175" y="71"/>
                    <a:pt x="176" y="72"/>
                    <a:pt x="176" y="72"/>
                  </a:cubicBezTo>
                  <a:cubicBezTo>
                    <a:pt x="176" y="72"/>
                    <a:pt x="175" y="74"/>
                    <a:pt x="175" y="74"/>
                  </a:cubicBezTo>
                  <a:cubicBezTo>
                    <a:pt x="175" y="74"/>
                    <a:pt x="174" y="76"/>
                    <a:pt x="174" y="76"/>
                  </a:cubicBezTo>
                  <a:cubicBezTo>
                    <a:pt x="174" y="77"/>
                    <a:pt x="173" y="78"/>
                    <a:pt x="173" y="79"/>
                  </a:cubicBezTo>
                  <a:cubicBezTo>
                    <a:pt x="173" y="79"/>
                    <a:pt x="173" y="79"/>
                    <a:pt x="174" y="79"/>
                  </a:cubicBezTo>
                  <a:cubicBezTo>
                    <a:pt x="174" y="80"/>
                    <a:pt x="177" y="80"/>
                    <a:pt x="177" y="80"/>
                  </a:cubicBezTo>
                  <a:cubicBezTo>
                    <a:pt x="177" y="80"/>
                    <a:pt x="179" y="78"/>
                    <a:pt x="179" y="78"/>
                  </a:cubicBezTo>
                  <a:cubicBezTo>
                    <a:pt x="179" y="78"/>
                    <a:pt x="181" y="78"/>
                    <a:pt x="181" y="78"/>
                  </a:cubicBezTo>
                  <a:cubicBezTo>
                    <a:pt x="181" y="79"/>
                    <a:pt x="181" y="79"/>
                    <a:pt x="181" y="80"/>
                  </a:cubicBezTo>
                  <a:cubicBezTo>
                    <a:pt x="181" y="80"/>
                    <a:pt x="179" y="85"/>
                    <a:pt x="179" y="86"/>
                  </a:cubicBezTo>
                  <a:cubicBezTo>
                    <a:pt x="179" y="86"/>
                    <a:pt x="178" y="88"/>
                    <a:pt x="178" y="88"/>
                  </a:cubicBezTo>
                  <a:cubicBezTo>
                    <a:pt x="178" y="88"/>
                    <a:pt x="179" y="90"/>
                    <a:pt x="180" y="90"/>
                  </a:cubicBezTo>
                  <a:cubicBezTo>
                    <a:pt x="180" y="90"/>
                    <a:pt x="181" y="91"/>
                    <a:pt x="181" y="91"/>
                  </a:cubicBezTo>
                  <a:cubicBezTo>
                    <a:pt x="181" y="91"/>
                    <a:pt x="182" y="92"/>
                    <a:pt x="183" y="92"/>
                  </a:cubicBezTo>
                  <a:cubicBezTo>
                    <a:pt x="183" y="93"/>
                    <a:pt x="183" y="95"/>
                    <a:pt x="183" y="96"/>
                  </a:cubicBezTo>
                  <a:cubicBezTo>
                    <a:pt x="183" y="97"/>
                    <a:pt x="183" y="97"/>
                    <a:pt x="182" y="98"/>
                  </a:cubicBezTo>
                  <a:cubicBezTo>
                    <a:pt x="182" y="99"/>
                    <a:pt x="181" y="99"/>
                    <a:pt x="180" y="99"/>
                  </a:cubicBezTo>
                  <a:cubicBezTo>
                    <a:pt x="179" y="99"/>
                    <a:pt x="178" y="99"/>
                    <a:pt x="177" y="100"/>
                  </a:cubicBezTo>
                  <a:cubicBezTo>
                    <a:pt x="176" y="100"/>
                    <a:pt x="176" y="100"/>
                    <a:pt x="175" y="101"/>
                  </a:cubicBezTo>
                  <a:cubicBezTo>
                    <a:pt x="175" y="101"/>
                    <a:pt x="175" y="102"/>
                    <a:pt x="175" y="102"/>
                  </a:cubicBezTo>
                  <a:cubicBezTo>
                    <a:pt x="175" y="103"/>
                    <a:pt x="175" y="104"/>
                    <a:pt x="175" y="104"/>
                  </a:cubicBezTo>
                  <a:cubicBezTo>
                    <a:pt x="174" y="105"/>
                    <a:pt x="174" y="106"/>
                    <a:pt x="173" y="107"/>
                  </a:cubicBezTo>
                  <a:cubicBezTo>
                    <a:pt x="172" y="109"/>
                    <a:pt x="170" y="110"/>
                    <a:pt x="170" y="113"/>
                  </a:cubicBezTo>
                  <a:cubicBezTo>
                    <a:pt x="170" y="114"/>
                    <a:pt x="169" y="114"/>
                    <a:pt x="169" y="115"/>
                  </a:cubicBezTo>
                  <a:cubicBezTo>
                    <a:pt x="169" y="116"/>
                    <a:pt x="169" y="116"/>
                    <a:pt x="169" y="117"/>
                  </a:cubicBezTo>
                  <a:cubicBezTo>
                    <a:pt x="169" y="118"/>
                    <a:pt x="169" y="118"/>
                    <a:pt x="170" y="119"/>
                  </a:cubicBezTo>
                  <a:cubicBezTo>
                    <a:pt x="170" y="119"/>
                    <a:pt x="170" y="120"/>
                    <a:pt x="171" y="119"/>
                  </a:cubicBezTo>
                  <a:cubicBezTo>
                    <a:pt x="171" y="119"/>
                    <a:pt x="172" y="119"/>
                    <a:pt x="172" y="119"/>
                  </a:cubicBezTo>
                  <a:cubicBezTo>
                    <a:pt x="172" y="118"/>
                    <a:pt x="173" y="118"/>
                    <a:pt x="173" y="118"/>
                  </a:cubicBezTo>
                  <a:cubicBezTo>
                    <a:pt x="174" y="117"/>
                    <a:pt x="175" y="116"/>
                    <a:pt x="177" y="115"/>
                  </a:cubicBezTo>
                  <a:cubicBezTo>
                    <a:pt x="177" y="115"/>
                    <a:pt x="179" y="114"/>
                    <a:pt x="179" y="113"/>
                  </a:cubicBezTo>
                  <a:cubicBezTo>
                    <a:pt x="179" y="112"/>
                    <a:pt x="179" y="111"/>
                    <a:pt x="179" y="111"/>
                  </a:cubicBezTo>
                  <a:cubicBezTo>
                    <a:pt x="179" y="110"/>
                    <a:pt x="180" y="110"/>
                    <a:pt x="180" y="109"/>
                  </a:cubicBezTo>
                  <a:cubicBezTo>
                    <a:pt x="180" y="109"/>
                    <a:pt x="181" y="108"/>
                    <a:pt x="181" y="108"/>
                  </a:cubicBezTo>
                  <a:cubicBezTo>
                    <a:pt x="181" y="107"/>
                    <a:pt x="182" y="107"/>
                    <a:pt x="182" y="106"/>
                  </a:cubicBezTo>
                  <a:cubicBezTo>
                    <a:pt x="183" y="106"/>
                    <a:pt x="183" y="105"/>
                    <a:pt x="183" y="105"/>
                  </a:cubicBezTo>
                  <a:cubicBezTo>
                    <a:pt x="184" y="105"/>
                    <a:pt x="184" y="105"/>
                    <a:pt x="185" y="105"/>
                  </a:cubicBezTo>
                  <a:cubicBezTo>
                    <a:pt x="186" y="105"/>
                    <a:pt x="188" y="105"/>
                    <a:pt x="190" y="104"/>
                  </a:cubicBezTo>
                  <a:cubicBezTo>
                    <a:pt x="190" y="104"/>
                    <a:pt x="191" y="103"/>
                    <a:pt x="191" y="103"/>
                  </a:cubicBezTo>
                  <a:cubicBezTo>
                    <a:pt x="190" y="102"/>
                    <a:pt x="190" y="101"/>
                    <a:pt x="191" y="100"/>
                  </a:cubicBezTo>
                  <a:cubicBezTo>
                    <a:pt x="191" y="99"/>
                    <a:pt x="192" y="99"/>
                    <a:pt x="192" y="98"/>
                  </a:cubicBezTo>
                  <a:cubicBezTo>
                    <a:pt x="192" y="98"/>
                    <a:pt x="192" y="97"/>
                    <a:pt x="193" y="96"/>
                  </a:cubicBezTo>
                  <a:cubicBezTo>
                    <a:pt x="193" y="96"/>
                    <a:pt x="193" y="96"/>
                    <a:pt x="194" y="95"/>
                  </a:cubicBezTo>
                  <a:cubicBezTo>
                    <a:pt x="194" y="95"/>
                    <a:pt x="194" y="95"/>
                    <a:pt x="194" y="94"/>
                  </a:cubicBezTo>
                  <a:cubicBezTo>
                    <a:pt x="195" y="93"/>
                    <a:pt x="195" y="93"/>
                    <a:pt x="195" y="92"/>
                  </a:cubicBezTo>
                  <a:cubicBezTo>
                    <a:pt x="196" y="91"/>
                    <a:pt x="196" y="90"/>
                    <a:pt x="196" y="89"/>
                  </a:cubicBezTo>
                  <a:cubicBezTo>
                    <a:pt x="197" y="89"/>
                    <a:pt x="198" y="89"/>
                    <a:pt x="199" y="88"/>
                  </a:cubicBezTo>
                  <a:cubicBezTo>
                    <a:pt x="199" y="88"/>
                    <a:pt x="200" y="87"/>
                    <a:pt x="201" y="86"/>
                  </a:cubicBezTo>
                  <a:cubicBezTo>
                    <a:pt x="201" y="86"/>
                    <a:pt x="201" y="85"/>
                    <a:pt x="201" y="84"/>
                  </a:cubicBezTo>
                  <a:cubicBezTo>
                    <a:pt x="202" y="83"/>
                    <a:pt x="202" y="83"/>
                    <a:pt x="203" y="83"/>
                  </a:cubicBezTo>
                  <a:cubicBezTo>
                    <a:pt x="204" y="83"/>
                    <a:pt x="204" y="83"/>
                    <a:pt x="204" y="83"/>
                  </a:cubicBezTo>
                  <a:cubicBezTo>
                    <a:pt x="205" y="83"/>
                    <a:pt x="205" y="84"/>
                    <a:pt x="205" y="84"/>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7" name="Freeform 10">
              <a:extLst>
                <a:ext uri="{FF2B5EF4-FFF2-40B4-BE49-F238E27FC236}">
                  <a16:creationId xmlns:a16="http://schemas.microsoft.com/office/drawing/2014/main" id="{0C1A94A7-71F4-011C-6BA8-A7939CC312A2}"/>
                </a:ext>
              </a:extLst>
            </p:cNvPr>
            <p:cNvSpPr>
              <a:spLocks/>
            </p:cNvSpPr>
            <p:nvPr/>
          </p:nvSpPr>
          <p:spPr bwMode="auto">
            <a:xfrm>
              <a:off x="8274393" y="2579017"/>
              <a:ext cx="674099" cy="606359"/>
            </a:xfrm>
            <a:custGeom>
              <a:avLst/>
              <a:gdLst>
                <a:gd name="T0" fmla="*/ 168 w 170"/>
                <a:gd name="T1" fmla="*/ 51 h 153"/>
                <a:gd name="T2" fmla="*/ 165 w 170"/>
                <a:gd name="T3" fmla="*/ 47 h 153"/>
                <a:gd name="T4" fmla="*/ 162 w 170"/>
                <a:gd name="T5" fmla="*/ 46 h 153"/>
                <a:gd name="T6" fmla="*/ 151 w 170"/>
                <a:gd name="T7" fmla="*/ 45 h 153"/>
                <a:gd name="T8" fmla="*/ 146 w 170"/>
                <a:gd name="T9" fmla="*/ 47 h 153"/>
                <a:gd name="T10" fmla="*/ 144 w 170"/>
                <a:gd name="T11" fmla="*/ 50 h 153"/>
                <a:gd name="T12" fmla="*/ 135 w 170"/>
                <a:gd name="T13" fmla="*/ 48 h 153"/>
                <a:gd name="T14" fmla="*/ 132 w 170"/>
                <a:gd name="T15" fmla="*/ 48 h 153"/>
                <a:gd name="T16" fmla="*/ 127 w 170"/>
                <a:gd name="T17" fmla="*/ 53 h 153"/>
                <a:gd name="T18" fmla="*/ 122 w 170"/>
                <a:gd name="T19" fmla="*/ 53 h 153"/>
                <a:gd name="T20" fmla="*/ 116 w 170"/>
                <a:gd name="T21" fmla="*/ 59 h 153"/>
                <a:gd name="T22" fmla="*/ 74 w 170"/>
                <a:gd name="T23" fmla="*/ 41 h 153"/>
                <a:gd name="T24" fmla="*/ 69 w 170"/>
                <a:gd name="T25" fmla="*/ 0 h 153"/>
                <a:gd name="T26" fmla="*/ 70 w 170"/>
                <a:gd name="T27" fmla="*/ 9 h 153"/>
                <a:gd name="T28" fmla="*/ 66 w 170"/>
                <a:gd name="T29" fmla="*/ 28 h 153"/>
                <a:gd name="T30" fmla="*/ 63 w 170"/>
                <a:gd name="T31" fmla="*/ 37 h 153"/>
                <a:gd name="T32" fmla="*/ 61 w 170"/>
                <a:gd name="T33" fmla="*/ 46 h 153"/>
                <a:gd name="T34" fmla="*/ 46 w 170"/>
                <a:gd name="T35" fmla="*/ 58 h 153"/>
                <a:gd name="T36" fmla="*/ 39 w 170"/>
                <a:gd name="T37" fmla="*/ 57 h 153"/>
                <a:gd name="T38" fmla="*/ 34 w 170"/>
                <a:gd name="T39" fmla="*/ 61 h 153"/>
                <a:gd name="T40" fmla="*/ 30 w 170"/>
                <a:gd name="T41" fmla="*/ 70 h 153"/>
                <a:gd name="T42" fmla="*/ 28 w 170"/>
                <a:gd name="T43" fmla="*/ 76 h 153"/>
                <a:gd name="T44" fmla="*/ 25 w 170"/>
                <a:gd name="T45" fmla="*/ 77 h 153"/>
                <a:gd name="T46" fmla="*/ 22 w 170"/>
                <a:gd name="T47" fmla="*/ 72 h 153"/>
                <a:gd name="T48" fmla="*/ 17 w 170"/>
                <a:gd name="T49" fmla="*/ 81 h 153"/>
                <a:gd name="T50" fmla="*/ 14 w 170"/>
                <a:gd name="T51" fmla="*/ 91 h 153"/>
                <a:gd name="T52" fmla="*/ 10 w 170"/>
                <a:gd name="T53" fmla="*/ 98 h 153"/>
                <a:gd name="T54" fmla="*/ 2 w 170"/>
                <a:gd name="T55" fmla="*/ 106 h 153"/>
                <a:gd name="T56" fmla="*/ 0 w 170"/>
                <a:gd name="T57" fmla="*/ 112 h 153"/>
                <a:gd name="T58" fmla="*/ 6 w 170"/>
                <a:gd name="T59" fmla="*/ 118 h 153"/>
                <a:gd name="T60" fmla="*/ 9 w 170"/>
                <a:gd name="T61" fmla="*/ 126 h 153"/>
                <a:gd name="T62" fmla="*/ 15 w 170"/>
                <a:gd name="T63" fmla="*/ 134 h 153"/>
                <a:gd name="T64" fmla="*/ 23 w 170"/>
                <a:gd name="T65" fmla="*/ 138 h 153"/>
                <a:gd name="T66" fmla="*/ 24 w 170"/>
                <a:gd name="T67" fmla="*/ 142 h 153"/>
                <a:gd name="T68" fmla="*/ 30 w 170"/>
                <a:gd name="T69" fmla="*/ 149 h 153"/>
                <a:gd name="T70" fmla="*/ 44 w 170"/>
                <a:gd name="T71" fmla="*/ 146 h 153"/>
                <a:gd name="T72" fmla="*/ 61 w 170"/>
                <a:gd name="T73" fmla="*/ 148 h 153"/>
                <a:gd name="T74" fmla="*/ 63 w 170"/>
                <a:gd name="T75" fmla="*/ 144 h 153"/>
                <a:gd name="T76" fmla="*/ 75 w 170"/>
                <a:gd name="T77" fmla="*/ 143 h 153"/>
                <a:gd name="T78" fmla="*/ 83 w 170"/>
                <a:gd name="T79" fmla="*/ 135 h 153"/>
                <a:gd name="T80" fmla="*/ 84 w 170"/>
                <a:gd name="T81" fmla="*/ 125 h 153"/>
                <a:gd name="T82" fmla="*/ 93 w 170"/>
                <a:gd name="T83" fmla="*/ 115 h 153"/>
                <a:gd name="T84" fmla="*/ 95 w 170"/>
                <a:gd name="T85" fmla="*/ 108 h 153"/>
                <a:gd name="T86" fmla="*/ 101 w 170"/>
                <a:gd name="T87" fmla="*/ 101 h 153"/>
                <a:gd name="T88" fmla="*/ 106 w 170"/>
                <a:gd name="T89" fmla="*/ 92 h 153"/>
                <a:gd name="T90" fmla="*/ 121 w 170"/>
                <a:gd name="T91" fmla="*/ 89 h 153"/>
                <a:gd name="T92" fmla="*/ 130 w 170"/>
                <a:gd name="T93" fmla="*/ 84 h 153"/>
                <a:gd name="T94" fmla="*/ 135 w 170"/>
                <a:gd name="T95" fmla="*/ 78 h 153"/>
                <a:gd name="T96" fmla="*/ 141 w 170"/>
                <a:gd name="T97" fmla="*/ 72 h 153"/>
                <a:gd name="T98" fmla="*/ 147 w 170"/>
                <a:gd name="T99" fmla="*/ 61 h 153"/>
                <a:gd name="T100" fmla="*/ 166 w 170"/>
                <a:gd name="T101" fmla="*/ 6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0" h="153">
                  <a:moveTo>
                    <a:pt x="169" y="54"/>
                  </a:moveTo>
                  <a:cubicBezTo>
                    <a:pt x="167" y="54"/>
                    <a:pt x="167" y="54"/>
                    <a:pt x="167" y="54"/>
                  </a:cubicBezTo>
                  <a:cubicBezTo>
                    <a:pt x="167" y="54"/>
                    <a:pt x="168" y="52"/>
                    <a:pt x="168" y="52"/>
                  </a:cubicBezTo>
                  <a:cubicBezTo>
                    <a:pt x="168" y="52"/>
                    <a:pt x="168" y="51"/>
                    <a:pt x="168" y="51"/>
                  </a:cubicBezTo>
                  <a:cubicBezTo>
                    <a:pt x="166" y="51"/>
                    <a:pt x="166" y="51"/>
                    <a:pt x="166" y="51"/>
                  </a:cubicBezTo>
                  <a:cubicBezTo>
                    <a:pt x="166" y="50"/>
                    <a:pt x="166" y="50"/>
                    <a:pt x="166" y="50"/>
                  </a:cubicBezTo>
                  <a:cubicBezTo>
                    <a:pt x="165" y="50"/>
                    <a:pt x="165" y="50"/>
                    <a:pt x="165" y="50"/>
                  </a:cubicBezTo>
                  <a:cubicBezTo>
                    <a:pt x="165" y="50"/>
                    <a:pt x="165" y="48"/>
                    <a:pt x="165" y="47"/>
                  </a:cubicBezTo>
                  <a:cubicBezTo>
                    <a:pt x="165" y="47"/>
                    <a:pt x="166" y="46"/>
                    <a:pt x="166" y="46"/>
                  </a:cubicBezTo>
                  <a:cubicBezTo>
                    <a:pt x="166" y="46"/>
                    <a:pt x="164" y="46"/>
                    <a:pt x="164" y="46"/>
                  </a:cubicBezTo>
                  <a:cubicBezTo>
                    <a:pt x="164" y="46"/>
                    <a:pt x="162" y="47"/>
                    <a:pt x="162" y="47"/>
                  </a:cubicBezTo>
                  <a:cubicBezTo>
                    <a:pt x="162" y="47"/>
                    <a:pt x="163" y="46"/>
                    <a:pt x="162" y="46"/>
                  </a:cubicBezTo>
                  <a:cubicBezTo>
                    <a:pt x="162" y="45"/>
                    <a:pt x="161" y="46"/>
                    <a:pt x="161" y="46"/>
                  </a:cubicBezTo>
                  <a:cubicBezTo>
                    <a:pt x="161" y="46"/>
                    <a:pt x="155" y="42"/>
                    <a:pt x="155" y="42"/>
                  </a:cubicBezTo>
                  <a:cubicBezTo>
                    <a:pt x="153" y="42"/>
                    <a:pt x="153" y="42"/>
                    <a:pt x="153" y="42"/>
                  </a:cubicBezTo>
                  <a:cubicBezTo>
                    <a:pt x="151" y="45"/>
                    <a:pt x="151" y="45"/>
                    <a:pt x="151" y="45"/>
                  </a:cubicBezTo>
                  <a:cubicBezTo>
                    <a:pt x="151" y="45"/>
                    <a:pt x="148" y="45"/>
                    <a:pt x="148" y="45"/>
                  </a:cubicBezTo>
                  <a:cubicBezTo>
                    <a:pt x="148" y="44"/>
                    <a:pt x="147" y="46"/>
                    <a:pt x="147" y="46"/>
                  </a:cubicBezTo>
                  <a:cubicBezTo>
                    <a:pt x="145" y="45"/>
                    <a:pt x="145" y="45"/>
                    <a:pt x="145" y="45"/>
                  </a:cubicBezTo>
                  <a:cubicBezTo>
                    <a:pt x="145" y="45"/>
                    <a:pt x="146" y="47"/>
                    <a:pt x="146" y="47"/>
                  </a:cubicBezTo>
                  <a:cubicBezTo>
                    <a:pt x="146" y="47"/>
                    <a:pt x="145" y="47"/>
                    <a:pt x="145" y="47"/>
                  </a:cubicBezTo>
                  <a:cubicBezTo>
                    <a:pt x="144" y="48"/>
                    <a:pt x="144" y="49"/>
                    <a:pt x="144" y="49"/>
                  </a:cubicBezTo>
                  <a:cubicBezTo>
                    <a:pt x="146" y="49"/>
                    <a:pt x="146" y="49"/>
                    <a:pt x="146" y="49"/>
                  </a:cubicBezTo>
                  <a:cubicBezTo>
                    <a:pt x="144" y="50"/>
                    <a:pt x="144" y="50"/>
                    <a:pt x="144" y="50"/>
                  </a:cubicBezTo>
                  <a:cubicBezTo>
                    <a:pt x="144" y="50"/>
                    <a:pt x="142" y="50"/>
                    <a:pt x="142" y="50"/>
                  </a:cubicBezTo>
                  <a:cubicBezTo>
                    <a:pt x="142" y="50"/>
                    <a:pt x="140" y="50"/>
                    <a:pt x="139" y="49"/>
                  </a:cubicBezTo>
                  <a:cubicBezTo>
                    <a:pt x="139" y="49"/>
                    <a:pt x="137" y="48"/>
                    <a:pt x="137" y="48"/>
                  </a:cubicBezTo>
                  <a:cubicBezTo>
                    <a:pt x="137" y="48"/>
                    <a:pt x="135" y="48"/>
                    <a:pt x="135" y="48"/>
                  </a:cubicBezTo>
                  <a:cubicBezTo>
                    <a:pt x="135" y="47"/>
                    <a:pt x="134" y="46"/>
                    <a:pt x="134" y="46"/>
                  </a:cubicBezTo>
                  <a:cubicBezTo>
                    <a:pt x="134" y="45"/>
                    <a:pt x="133" y="46"/>
                    <a:pt x="133" y="46"/>
                  </a:cubicBezTo>
                  <a:cubicBezTo>
                    <a:pt x="133" y="46"/>
                    <a:pt x="133" y="46"/>
                    <a:pt x="133" y="46"/>
                  </a:cubicBezTo>
                  <a:cubicBezTo>
                    <a:pt x="132" y="46"/>
                    <a:pt x="132" y="47"/>
                    <a:pt x="132" y="48"/>
                  </a:cubicBezTo>
                  <a:cubicBezTo>
                    <a:pt x="132" y="48"/>
                    <a:pt x="132" y="48"/>
                    <a:pt x="132" y="48"/>
                  </a:cubicBezTo>
                  <a:cubicBezTo>
                    <a:pt x="131" y="48"/>
                    <a:pt x="131" y="48"/>
                    <a:pt x="131" y="48"/>
                  </a:cubicBezTo>
                  <a:cubicBezTo>
                    <a:pt x="131" y="48"/>
                    <a:pt x="128" y="51"/>
                    <a:pt x="128" y="51"/>
                  </a:cubicBezTo>
                  <a:cubicBezTo>
                    <a:pt x="128" y="52"/>
                    <a:pt x="127" y="53"/>
                    <a:pt x="127" y="53"/>
                  </a:cubicBezTo>
                  <a:cubicBezTo>
                    <a:pt x="127" y="53"/>
                    <a:pt x="126" y="53"/>
                    <a:pt x="126" y="53"/>
                  </a:cubicBezTo>
                  <a:cubicBezTo>
                    <a:pt x="126" y="52"/>
                    <a:pt x="125" y="52"/>
                    <a:pt x="124" y="52"/>
                  </a:cubicBezTo>
                  <a:cubicBezTo>
                    <a:pt x="124" y="51"/>
                    <a:pt x="123" y="52"/>
                    <a:pt x="123" y="52"/>
                  </a:cubicBezTo>
                  <a:cubicBezTo>
                    <a:pt x="122" y="53"/>
                    <a:pt x="122" y="53"/>
                    <a:pt x="122" y="53"/>
                  </a:cubicBezTo>
                  <a:cubicBezTo>
                    <a:pt x="121" y="54"/>
                    <a:pt x="121" y="54"/>
                    <a:pt x="121" y="54"/>
                  </a:cubicBezTo>
                  <a:cubicBezTo>
                    <a:pt x="120" y="56"/>
                    <a:pt x="120" y="56"/>
                    <a:pt x="120" y="56"/>
                  </a:cubicBezTo>
                  <a:cubicBezTo>
                    <a:pt x="119" y="56"/>
                    <a:pt x="119" y="56"/>
                    <a:pt x="119" y="56"/>
                  </a:cubicBezTo>
                  <a:cubicBezTo>
                    <a:pt x="116" y="59"/>
                    <a:pt x="116" y="59"/>
                    <a:pt x="116" y="59"/>
                  </a:cubicBezTo>
                  <a:cubicBezTo>
                    <a:pt x="116" y="59"/>
                    <a:pt x="114" y="60"/>
                    <a:pt x="114" y="60"/>
                  </a:cubicBezTo>
                  <a:cubicBezTo>
                    <a:pt x="114" y="60"/>
                    <a:pt x="109" y="63"/>
                    <a:pt x="109" y="63"/>
                  </a:cubicBezTo>
                  <a:cubicBezTo>
                    <a:pt x="109" y="41"/>
                    <a:pt x="109" y="41"/>
                    <a:pt x="109" y="41"/>
                  </a:cubicBezTo>
                  <a:cubicBezTo>
                    <a:pt x="74" y="41"/>
                    <a:pt x="74" y="41"/>
                    <a:pt x="74" y="41"/>
                  </a:cubicBezTo>
                  <a:cubicBezTo>
                    <a:pt x="74" y="0"/>
                    <a:pt x="74" y="0"/>
                    <a:pt x="74" y="0"/>
                  </a:cubicBezTo>
                  <a:cubicBezTo>
                    <a:pt x="72" y="1"/>
                    <a:pt x="72" y="1"/>
                    <a:pt x="72" y="1"/>
                  </a:cubicBezTo>
                  <a:cubicBezTo>
                    <a:pt x="70" y="0"/>
                    <a:pt x="70" y="0"/>
                    <a:pt x="70" y="0"/>
                  </a:cubicBezTo>
                  <a:cubicBezTo>
                    <a:pt x="70" y="0"/>
                    <a:pt x="69" y="0"/>
                    <a:pt x="69" y="0"/>
                  </a:cubicBezTo>
                  <a:cubicBezTo>
                    <a:pt x="69" y="1"/>
                    <a:pt x="68" y="2"/>
                    <a:pt x="68" y="2"/>
                  </a:cubicBezTo>
                  <a:cubicBezTo>
                    <a:pt x="68" y="2"/>
                    <a:pt x="70" y="5"/>
                    <a:pt x="70" y="5"/>
                  </a:cubicBezTo>
                  <a:cubicBezTo>
                    <a:pt x="70" y="5"/>
                    <a:pt x="71" y="7"/>
                    <a:pt x="71" y="7"/>
                  </a:cubicBezTo>
                  <a:cubicBezTo>
                    <a:pt x="71" y="7"/>
                    <a:pt x="70" y="9"/>
                    <a:pt x="70" y="9"/>
                  </a:cubicBezTo>
                  <a:cubicBezTo>
                    <a:pt x="70" y="10"/>
                    <a:pt x="69" y="11"/>
                    <a:pt x="69" y="11"/>
                  </a:cubicBezTo>
                  <a:cubicBezTo>
                    <a:pt x="69" y="12"/>
                    <a:pt x="71" y="15"/>
                    <a:pt x="71" y="15"/>
                  </a:cubicBezTo>
                  <a:cubicBezTo>
                    <a:pt x="66" y="24"/>
                    <a:pt x="66" y="24"/>
                    <a:pt x="66" y="24"/>
                  </a:cubicBezTo>
                  <a:cubicBezTo>
                    <a:pt x="66" y="28"/>
                    <a:pt x="66" y="28"/>
                    <a:pt x="66" y="28"/>
                  </a:cubicBezTo>
                  <a:cubicBezTo>
                    <a:pt x="66" y="32"/>
                    <a:pt x="66" y="32"/>
                    <a:pt x="66" y="32"/>
                  </a:cubicBezTo>
                  <a:cubicBezTo>
                    <a:pt x="66" y="32"/>
                    <a:pt x="64" y="33"/>
                    <a:pt x="64" y="33"/>
                  </a:cubicBezTo>
                  <a:cubicBezTo>
                    <a:pt x="64" y="33"/>
                    <a:pt x="64" y="35"/>
                    <a:pt x="64" y="35"/>
                  </a:cubicBezTo>
                  <a:cubicBezTo>
                    <a:pt x="64" y="35"/>
                    <a:pt x="63" y="37"/>
                    <a:pt x="63" y="37"/>
                  </a:cubicBezTo>
                  <a:cubicBezTo>
                    <a:pt x="62" y="37"/>
                    <a:pt x="61" y="39"/>
                    <a:pt x="61" y="39"/>
                  </a:cubicBezTo>
                  <a:cubicBezTo>
                    <a:pt x="61" y="40"/>
                    <a:pt x="63" y="42"/>
                    <a:pt x="63" y="42"/>
                  </a:cubicBezTo>
                  <a:cubicBezTo>
                    <a:pt x="63" y="42"/>
                    <a:pt x="62" y="42"/>
                    <a:pt x="62" y="43"/>
                  </a:cubicBezTo>
                  <a:cubicBezTo>
                    <a:pt x="61" y="43"/>
                    <a:pt x="61" y="46"/>
                    <a:pt x="61" y="46"/>
                  </a:cubicBezTo>
                  <a:cubicBezTo>
                    <a:pt x="61" y="46"/>
                    <a:pt x="59" y="46"/>
                    <a:pt x="59" y="46"/>
                  </a:cubicBezTo>
                  <a:cubicBezTo>
                    <a:pt x="59" y="46"/>
                    <a:pt x="58" y="48"/>
                    <a:pt x="58" y="48"/>
                  </a:cubicBezTo>
                  <a:cubicBezTo>
                    <a:pt x="51" y="55"/>
                    <a:pt x="51" y="55"/>
                    <a:pt x="51" y="55"/>
                  </a:cubicBezTo>
                  <a:cubicBezTo>
                    <a:pt x="51" y="55"/>
                    <a:pt x="46" y="58"/>
                    <a:pt x="46" y="58"/>
                  </a:cubicBezTo>
                  <a:cubicBezTo>
                    <a:pt x="46" y="58"/>
                    <a:pt x="44" y="58"/>
                    <a:pt x="44" y="58"/>
                  </a:cubicBezTo>
                  <a:cubicBezTo>
                    <a:pt x="44" y="58"/>
                    <a:pt x="42" y="55"/>
                    <a:pt x="42" y="55"/>
                  </a:cubicBezTo>
                  <a:cubicBezTo>
                    <a:pt x="42" y="55"/>
                    <a:pt x="41" y="55"/>
                    <a:pt x="41" y="55"/>
                  </a:cubicBezTo>
                  <a:cubicBezTo>
                    <a:pt x="40" y="55"/>
                    <a:pt x="40" y="57"/>
                    <a:pt x="39" y="57"/>
                  </a:cubicBezTo>
                  <a:cubicBezTo>
                    <a:pt x="39" y="57"/>
                    <a:pt x="38" y="58"/>
                    <a:pt x="38" y="58"/>
                  </a:cubicBezTo>
                  <a:cubicBezTo>
                    <a:pt x="38" y="58"/>
                    <a:pt x="37" y="62"/>
                    <a:pt x="37" y="62"/>
                  </a:cubicBezTo>
                  <a:cubicBezTo>
                    <a:pt x="37" y="62"/>
                    <a:pt x="36" y="61"/>
                    <a:pt x="36" y="61"/>
                  </a:cubicBezTo>
                  <a:cubicBezTo>
                    <a:pt x="35" y="61"/>
                    <a:pt x="34" y="61"/>
                    <a:pt x="34" y="61"/>
                  </a:cubicBezTo>
                  <a:cubicBezTo>
                    <a:pt x="34" y="61"/>
                    <a:pt x="33" y="64"/>
                    <a:pt x="33" y="64"/>
                  </a:cubicBezTo>
                  <a:cubicBezTo>
                    <a:pt x="32" y="64"/>
                    <a:pt x="31" y="65"/>
                    <a:pt x="31" y="65"/>
                  </a:cubicBezTo>
                  <a:cubicBezTo>
                    <a:pt x="31" y="65"/>
                    <a:pt x="31" y="69"/>
                    <a:pt x="31" y="69"/>
                  </a:cubicBezTo>
                  <a:cubicBezTo>
                    <a:pt x="31" y="69"/>
                    <a:pt x="30" y="70"/>
                    <a:pt x="30" y="70"/>
                  </a:cubicBezTo>
                  <a:cubicBezTo>
                    <a:pt x="30" y="70"/>
                    <a:pt x="29" y="70"/>
                    <a:pt x="29" y="71"/>
                  </a:cubicBezTo>
                  <a:cubicBezTo>
                    <a:pt x="29" y="71"/>
                    <a:pt x="30" y="72"/>
                    <a:pt x="30" y="72"/>
                  </a:cubicBezTo>
                  <a:cubicBezTo>
                    <a:pt x="30" y="72"/>
                    <a:pt x="30" y="77"/>
                    <a:pt x="30" y="77"/>
                  </a:cubicBezTo>
                  <a:cubicBezTo>
                    <a:pt x="28" y="76"/>
                    <a:pt x="28" y="76"/>
                    <a:pt x="28" y="76"/>
                  </a:cubicBezTo>
                  <a:cubicBezTo>
                    <a:pt x="28" y="76"/>
                    <a:pt x="28" y="77"/>
                    <a:pt x="28" y="78"/>
                  </a:cubicBezTo>
                  <a:cubicBezTo>
                    <a:pt x="28" y="78"/>
                    <a:pt x="27" y="79"/>
                    <a:pt x="27" y="79"/>
                  </a:cubicBezTo>
                  <a:cubicBezTo>
                    <a:pt x="27" y="79"/>
                    <a:pt x="25" y="79"/>
                    <a:pt x="25" y="79"/>
                  </a:cubicBezTo>
                  <a:cubicBezTo>
                    <a:pt x="25" y="79"/>
                    <a:pt x="25" y="77"/>
                    <a:pt x="25" y="77"/>
                  </a:cubicBezTo>
                  <a:cubicBezTo>
                    <a:pt x="25" y="77"/>
                    <a:pt x="26" y="76"/>
                    <a:pt x="26" y="76"/>
                  </a:cubicBezTo>
                  <a:cubicBezTo>
                    <a:pt x="26" y="76"/>
                    <a:pt x="25" y="75"/>
                    <a:pt x="25" y="75"/>
                  </a:cubicBezTo>
                  <a:cubicBezTo>
                    <a:pt x="25" y="75"/>
                    <a:pt x="24" y="74"/>
                    <a:pt x="24" y="74"/>
                  </a:cubicBezTo>
                  <a:cubicBezTo>
                    <a:pt x="24" y="74"/>
                    <a:pt x="22" y="73"/>
                    <a:pt x="22" y="72"/>
                  </a:cubicBezTo>
                  <a:cubicBezTo>
                    <a:pt x="22" y="72"/>
                    <a:pt x="21" y="72"/>
                    <a:pt x="21" y="73"/>
                  </a:cubicBezTo>
                  <a:cubicBezTo>
                    <a:pt x="21" y="73"/>
                    <a:pt x="20" y="74"/>
                    <a:pt x="20" y="74"/>
                  </a:cubicBezTo>
                  <a:cubicBezTo>
                    <a:pt x="20" y="75"/>
                    <a:pt x="18" y="78"/>
                    <a:pt x="18" y="78"/>
                  </a:cubicBezTo>
                  <a:cubicBezTo>
                    <a:pt x="18" y="79"/>
                    <a:pt x="17" y="81"/>
                    <a:pt x="17" y="81"/>
                  </a:cubicBezTo>
                  <a:cubicBezTo>
                    <a:pt x="17" y="81"/>
                    <a:pt x="15" y="83"/>
                    <a:pt x="15" y="83"/>
                  </a:cubicBezTo>
                  <a:cubicBezTo>
                    <a:pt x="15" y="83"/>
                    <a:pt x="16" y="86"/>
                    <a:pt x="16" y="87"/>
                  </a:cubicBezTo>
                  <a:cubicBezTo>
                    <a:pt x="16" y="87"/>
                    <a:pt x="17" y="91"/>
                    <a:pt x="17" y="91"/>
                  </a:cubicBezTo>
                  <a:cubicBezTo>
                    <a:pt x="17" y="91"/>
                    <a:pt x="14" y="91"/>
                    <a:pt x="14" y="91"/>
                  </a:cubicBezTo>
                  <a:cubicBezTo>
                    <a:pt x="14" y="92"/>
                    <a:pt x="12" y="92"/>
                    <a:pt x="12" y="92"/>
                  </a:cubicBezTo>
                  <a:cubicBezTo>
                    <a:pt x="12" y="92"/>
                    <a:pt x="12" y="94"/>
                    <a:pt x="12" y="94"/>
                  </a:cubicBezTo>
                  <a:cubicBezTo>
                    <a:pt x="12" y="95"/>
                    <a:pt x="11" y="97"/>
                    <a:pt x="11" y="97"/>
                  </a:cubicBezTo>
                  <a:cubicBezTo>
                    <a:pt x="11" y="97"/>
                    <a:pt x="10" y="98"/>
                    <a:pt x="10" y="98"/>
                  </a:cubicBezTo>
                  <a:cubicBezTo>
                    <a:pt x="9" y="99"/>
                    <a:pt x="6" y="99"/>
                    <a:pt x="6" y="99"/>
                  </a:cubicBezTo>
                  <a:cubicBezTo>
                    <a:pt x="2" y="100"/>
                    <a:pt x="2" y="100"/>
                    <a:pt x="2" y="100"/>
                  </a:cubicBezTo>
                  <a:cubicBezTo>
                    <a:pt x="2" y="100"/>
                    <a:pt x="2" y="102"/>
                    <a:pt x="2" y="103"/>
                  </a:cubicBezTo>
                  <a:cubicBezTo>
                    <a:pt x="2" y="103"/>
                    <a:pt x="2" y="106"/>
                    <a:pt x="2" y="106"/>
                  </a:cubicBezTo>
                  <a:cubicBezTo>
                    <a:pt x="2" y="106"/>
                    <a:pt x="1" y="107"/>
                    <a:pt x="1" y="107"/>
                  </a:cubicBezTo>
                  <a:cubicBezTo>
                    <a:pt x="2" y="109"/>
                    <a:pt x="2" y="109"/>
                    <a:pt x="2" y="109"/>
                  </a:cubicBezTo>
                  <a:cubicBezTo>
                    <a:pt x="1" y="110"/>
                    <a:pt x="1" y="110"/>
                    <a:pt x="1" y="110"/>
                  </a:cubicBezTo>
                  <a:cubicBezTo>
                    <a:pt x="1" y="110"/>
                    <a:pt x="0" y="111"/>
                    <a:pt x="0" y="112"/>
                  </a:cubicBezTo>
                  <a:cubicBezTo>
                    <a:pt x="0" y="112"/>
                    <a:pt x="2" y="112"/>
                    <a:pt x="2" y="112"/>
                  </a:cubicBezTo>
                  <a:cubicBezTo>
                    <a:pt x="2" y="112"/>
                    <a:pt x="3" y="115"/>
                    <a:pt x="3" y="115"/>
                  </a:cubicBezTo>
                  <a:cubicBezTo>
                    <a:pt x="4" y="115"/>
                    <a:pt x="4" y="117"/>
                    <a:pt x="4" y="117"/>
                  </a:cubicBezTo>
                  <a:cubicBezTo>
                    <a:pt x="4" y="117"/>
                    <a:pt x="6" y="118"/>
                    <a:pt x="6" y="118"/>
                  </a:cubicBezTo>
                  <a:cubicBezTo>
                    <a:pt x="6" y="118"/>
                    <a:pt x="6" y="119"/>
                    <a:pt x="6" y="119"/>
                  </a:cubicBezTo>
                  <a:cubicBezTo>
                    <a:pt x="5" y="121"/>
                    <a:pt x="5" y="121"/>
                    <a:pt x="5" y="121"/>
                  </a:cubicBezTo>
                  <a:cubicBezTo>
                    <a:pt x="5" y="121"/>
                    <a:pt x="8" y="122"/>
                    <a:pt x="8" y="122"/>
                  </a:cubicBezTo>
                  <a:cubicBezTo>
                    <a:pt x="8" y="122"/>
                    <a:pt x="9" y="126"/>
                    <a:pt x="9" y="126"/>
                  </a:cubicBezTo>
                  <a:cubicBezTo>
                    <a:pt x="12" y="128"/>
                    <a:pt x="12" y="128"/>
                    <a:pt x="12" y="128"/>
                  </a:cubicBezTo>
                  <a:cubicBezTo>
                    <a:pt x="12" y="128"/>
                    <a:pt x="11" y="129"/>
                    <a:pt x="11" y="129"/>
                  </a:cubicBezTo>
                  <a:cubicBezTo>
                    <a:pt x="11" y="130"/>
                    <a:pt x="11" y="131"/>
                    <a:pt x="11" y="131"/>
                  </a:cubicBezTo>
                  <a:cubicBezTo>
                    <a:pt x="11" y="131"/>
                    <a:pt x="15" y="134"/>
                    <a:pt x="15" y="134"/>
                  </a:cubicBezTo>
                  <a:cubicBezTo>
                    <a:pt x="17" y="134"/>
                    <a:pt x="17" y="134"/>
                    <a:pt x="17" y="134"/>
                  </a:cubicBezTo>
                  <a:cubicBezTo>
                    <a:pt x="18" y="137"/>
                    <a:pt x="18" y="137"/>
                    <a:pt x="18" y="137"/>
                  </a:cubicBezTo>
                  <a:cubicBezTo>
                    <a:pt x="21" y="138"/>
                    <a:pt x="21" y="138"/>
                    <a:pt x="21" y="138"/>
                  </a:cubicBezTo>
                  <a:cubicBezTo>
                    <a:pt x="23" y="138"/>
                    <a:pt x="23" y="138"/>
                    <a:pt x="23" y="138"/>
                  </a:cubicBezTo>
                  <a:cubicBezTo>
                    <a:pt x="25" y="139"/>
                    <a:pt x="25" y="139"/>
                    <a:pt x="25" y="139"/>
                  </a:cubicBezTo>
                  <a:cubicBezTo>
                    <a:pt x="25" y="139"/>
                    <a:pt x="24" y="140"/>
                    <a:pt x="24" y="140"/>
                  </a:cubicBezTo>
                  <a:cubicBezTo>
                    <a:pt x="24" y="140"/>
                    <a:pt x="23" y="141"/>
                    <a:pt x="23" y="141"/>
                  </a:cubicBezTo>
                  <a:cubicBezTo>
                    <a:pt x="24" y="142"/>
                    <a:pt x="24" y="142"/>
                    <a:pt x="24" y="142"/>
                  </a:cubicBezTo>
                  <a:cubicBezTo>
                    <a:pt x="24" y="143"/>
                    <a:pt x="24" y="143"/>
                    <a:pt x="24" y="143"/>
                  </a:cubicBezTo>
                  <a:cubicBezTo>
                    <a:pt x="24" y="143"/>
                    <a:pt x="25" y="146"/>
                    <a:pt x="25" y="146"/>
                  </a:cubicBezTo>
                  <a:cubicBezTo>
                    <a:pt x="25" y="146"/>
                    <a:pt x="28" y="148"/>
                    <a:pt x="28" y="148"/>
                  </a:cubicBezTo>
                  <a:cubicBezTo>
                    <a:pt x="30" y="149"/>
                    <a:pt x="30" y="149"/>
                    <a:pt x="30" y="149"/>
                  </a:cubicBezTo>
                  <a:cubicBezTo>
                    <a:pt x="30" y="149"/>
                    <a:pt x="32" y="150"/>
                    <a:pt x="32" y="150"/>
                  </a:cubicBezTo>
                  <a:cubicBezTo>
                    <a:pt x="32" y="150"/>
                    <a:pt x="33" y="152"/>
                    <a:pt x="33" y="152"/>
                  </a:cubicBezTo>
                  <a:cubicBezTo>
                    <a:pt x="33" y="153"/>
                    <a:pt x="38" y="152"/>
                    <a:pt x="38" y="152"/>
                  </a:cubicBezTo>
                  <a:cubicBezTo>
                    <a:pt x="44" y="146"/>
                    <a:pt x="44" y="146"/>
                    <a:pt x="44" y="146"/>
                  </a:cubicBezTo>
                  <a:cubicBezTo>
                    <a:pt x="49" y="151"/>
                    <a:pt x="49" y="151"/>
                    <a:pt x="49" y="151"/>
                  </a:cubicBezTo>
                  <a:cubicBezTo>
                    <a:pt x="52" y="149"/>
                    <a:pt x="52" y="149"/>
                    <a:pt x="52" y="149"/>
                  </a:cubicBezTo>
                  <a:cubicBezTo>
                    <a:pt x="54" y="149"/>
                    <a:pt x="54" y="149"/>
                    <a:pt x="54" y="149"/>
                  </a:cubicBezTo>
                  <a:cubicBezTo>
                    <a:pt x="61" y="148"/>
                    <a:pt x="61" y="148"/>
                    <a:pt x="61" y="148"/>
                  </a:cubicBezTo>
                  <a:cubicBezTo>
                    <a:pt x="62" y="146"/>
                    <a:pt x="62" y="146"/>
                    <a:pt x="62" y="146"/>
                  </a:cubicBezTo>
                  <a:cubicBezTo>
                    <a:pt x="61" y="145"/>
                    <a:pt x="61" y="145"/>
                    <a:pt x="61" y="145"/>
                  </a:cubicBezTo>
                  <a:cubicBezTo>
                    <a:pt x="62" y="143"/>
                    <a:pt x="62" y="143"/>
                    <a:pt x="62" y="143"/>
                  </a:cubicBezTo>
                  <a:cubicBezTo>
                    <a:pt x="63" y="144"/>
                    <a:pt x="63" y="144"/>
                    <a:pt x="63" y="144"/>
                  </a:cubicBezTo>
                  <a:cubicBezTo>
                    <a:pt x="66" y="145"/>
                    <a:pt x="66" y="145"/>
                    <a:pt x="66" y="145"/>
                  </a:cubicBezTo>
                  <a:cubicBezTo>
                    <a:pt x="70" y="142"/>
                    <a:pt x="70" y="142"/>
                    <a:pt x="70" y="142"/>
                  </a:cubicBezTo>
                  <a:cubicBezTo>
                    <a:pt x="73" y="140"/>
                    <a:pt x="73" y="140"/>
                    <a:pt x="73" y="140"/>
                  </a:cubicBezTo>
                  <a:cubicBezTo>
                    <a:pt x="75" y="143"/>
                    <a:pt x="75" y="143"/>
                    <a:pt x="75" y="143"/>
                  </a:cubicBezTo>
                  <a:cubicBezTo>
                    <a:pt x="81" y="139"/>
                    <a:pt x="81" y="139"/>
                    <a:pt x="81" y="139"/>
                  </a:cubicBezTo>
                  <a:cubicBezTo>
                    <a:pt x="81" y="139"/>
                    <a:pt x="81" y="138"/>
                    <a:pt x="80" y="138"/>
                  </a:cubicBezTo>
                  <a:cubicBezTo>
                    <a:pt x="80" y="138"/>
                    <a:pt x="80" y="137"/>
                    <a:pt x="80" y="136"/>
                  </a:cubicBezTo>
                  <a:cubicBezTo>
                    <a:pt x="80" y="136"/>
                    <a:pt x="83" y="135"/>
                    <a:pt x="83" y="135"/>
                  </a:cubicBezTo>
                  <a:cubicBezTo>
                    <a:pt x="83" y="134"/>
                    <a:pt x="83" y="134"/>
                    <a:pt x="83" y="134"/>
                  </a:cubicBezTo>
                  <a:cubicBezTo>
                    <a:pt x="83" y="134"/>
                    <a:pt x="82" y="132"/>
                    <a:pt x="82" y="132"/>
                  </a:cubicBezTo>
                  <a:cubicBezTo>
                    <a:pt x="82" y="132"/>
                    <a:pt x="82" y="130"/>
                    <a:pt x="82" y="130"/>
                  </a:cubicBezTo>
                  <a:cubicBezTo>
                    <a:pt x="84" y="125"/>
                    <a:pt x="84" y="125"/>
                    <a:pt x="84" y="125"/>
                  </a:cubicBezTo>
                  <a:cubicBezTo>
                    <a:pt x="84" y="125"/>
                    <a:pt x="85" y="123"/>
                    <a:pt x="85" y="123"/>
                  </a:cubicBezTo>
                  <a:cubicBezTo>
                    <a:pt x="85" y="123"/>
                    <a:pt x="88" y="121"/>
                    <a:pt x="88" y="121"/>
                  </a:cubicBezTo>
                  <a:cubicBezTo>
                    <a:pt x="88" y="120"/>
                    <a:pt x="91" y="117"/>
                    <a:pt x="91" y="117"/>
                  </a:cubicBezTo>
                  <a:cubicBezTo>
                    <a:pt x="91" y="117"/>
                    <a:pt x="93" y="115"/>
                    <a:pt x="93" y="115"/>
                  </a:cubicBezTo>
                  <a:cubicBezTo>
                    <a:pt x="93" y="115"/>
                    <a:pt x="94" y="113"/>
                    <a:pt x="94" y="113"/>
                  </a:cubicBezTo>
                  <a:cubicBezTo>
                    <a:pt x="93" y="111"/>
                    <a:pt x="93" y="111"/>
                    <a:pt x="93" y="111"/>
                  </a:cubicBezTo>
                  <a:cubicBezTo>
                    <a:pt x="94" y="109"/>
                    <a:pt x="94" y="109"/>
                    <a:pt x="94" y="109"/>
                  </a:cubicBezTo>
                  <a:cubicBezTo>
                    <a:pt x="95" y="108"/>
                    <a:pt x="95" y="108"/>
                    <a:pt x="95" y="108"/>
                  </a:cubicBezTo>
                  <a:cubicBezTo>
                    <a:pt x="98" y="106"/>
                    <a:pt x="98" y="106"/>
                    <a:pt x="98" y="106"/>
                  </a:cubicBezTo>
                  <a:cubicBezTo>
                    <a:pt x="98" y="104"/>
                    <a:pt x="98" y="104"/>
                    <a:pt x="98" y="104"/>
                  </a:cubicBezTo>
                  <a:cubicBezTo>
                    <a:pt x="98" y="104"/>
                    <a:pt x="101" y="102"/>
                    <a:pt x="101" y="102"/>
                  </a:cubicBezTo>
                  <a:cubicBezTo>
                    <a:pt x="101" y="101"/>
                    <a:pt x="101" y="101"/>
                    <a:pt x="101" y="101"/>
                  </a:cubicBezTo>
                  <a:cubicBezTo>
                    <a:pt x="101" y="101"/>
                    <a:pt x="102" y="99"/>
                    <a:pt x="102" y="99"/>
                  </a:cubicBezTo>
                  <a:cubicBezTo>
                    <a:pt x="103" y="95"/>
                    <a:pt x="103" y="95"/>
                    <a:pt x="103" y="95"/>
                  </a:cubicBezTo>
                  <a:cubicBezTo>
                    <a:pt x="103" y="91"/>
                    <a:pt x="103" y="91"/>
                    <a:pt x="103" y="91"/>
                  </a:cubicBezTo>
                  <a:cubicBezTo>
                    <a:pt x="103" y="91"/>
                    <a:pt x="106" y="92"/>
                    <a:pt x="106" y="92"/>
                  </a:cubicBezTo>
                  <a:cubicBezTo>
                    <a:pt x="107" y="93"/>
                    <a:pt x="108" y="94"/>
                    <a:pt x="108" y="94"/>
                  </a:cubicBezTo>
                  <a:cubicBezTo>
                    <a:pt x="108" y="94"/>
                    <a:pt x="109" y="97"/>
                    <a:pt x="109" y="97"/>
                  </a:cubicBezTo>
                  <a:cubicBezTo>
                    <a:pt x="109" y="97"/>
                    <a:pt x="116" y="99"/>
                    <a:pt x="116" y="99"/>
                  </a:cubicBezTo>
                  <a:cubicBezTo>
                    <a:pt x="116" y="99"/>
                    <a:pt x="121" y="89"/>
                    <a:pt x="121" y="89"/>
                  </a:cubicBezTo>
                  <a:cubicBezTo>
                    <a:pt x="121" y="88"/>
                    <a:pt x="123" y="89"/>
                    <a:pt x="123" y="89"/>
                  </a:cubicBezTo>
                  <a:cubicBezTo>
                    <a:pt x="123" y="89"/>
                    <a:pt x="123" y="85"/>
                    <a:pt x="123" y="85"/>
                  </a:cubicBezTo>
                  <a:cubicBezTo>
                    <a:pt x="123" y="85"/>
                    <a:pt x="126" y="80"/>
                    <a:pt x="126" y="80"/>
                  </a:cubicBezTo>
                  <a:cubicBezTo>
                    <a:pt x="130" y="84"/>
                    <a:pt x="130" y="84"/>
                    <a:pt x="130" y="84"/>
                  </a:cubicBezTo>
                  <a:cubicBezTo>
                    <a:pt x="132" y="81"/>
                    <a:pt x="132" y="81"/>
                    <a:pt x="132" y="81"/>
                  </a:cubicBezTo>
                  <a:cubicBezTo>
                    <a:pt x="133" y="79"/>
                    <a:pt x="133" y="79"/>
                    <a:pt x="133" y="79"/>
                  </a:cubicBezTo>
                  <a:cubicBezTo>
                    <a:pt x="135" y="76"/>
                    <a:pt x="135" y="76"/>
                    <a:pt x="135" y="76"/>
                  </a:cubicBezTo>
                  <a:cubicBezTo>
                    <a:pt x="135" y="78"/>
                    <a:pt x="135" y="78"/>
                    <a:pt x="135" y="78"/>
                  </a:cubicBezTo>
                  <a:cubicBezTo>
                    <a:pt x="137" y="76"/>
                    <a:pt x="137" y="76"/>
                    <a:pt x="137" y="76"/>
                  </a:cubicBezTo>
                  <a:cubicBezTo>
                    <a:pt x="139" y="74"/>
                    <a:pt x="139" y="74"/>
                    <a:pt x="139" y="74"/>
                  </a:cubicBezTo>
                  <a:cubicBezTo>
                    <a:pt x="139" y="75"/>
                    <a:pt x="139" y="75"/>
                    <a:pt x="139" y="75"/>
                  </a:cubicBezTo>
                  <a:cubicBezTo>
                    <a:pt x="139" y="75"/>
                    <a:pt x="141" y="72"/>
                    <a:pt x="141" y="72"/>
                  </a:cubicBezTo>
                  <a:cubicBezTo>
                    <a:pt x="141" y="72"/>
                    <a:pt x="146" y="66"/>
                    <a:pt x="146" y="66"/>
                  </a:cubicBezTo>
                  <a:cubicBezTo>
                    <a:pt x="146" y="66"/>
                    <a:pt x="146" y="65"/>
                    <a:pt x="146" y="65"/>
                  </a:cubicBezTo>
                  <a:cubicBezTo>
                    <a:pt x="146" y="65"/>
                    <a:pt x="145" y="64"/>
                    <a:pt x="145" y="64"/>
                  </a:cubicBezTo>
                  <a:cubicBezTo>
                    <a:pt x="147" y="61"/>
                    <a:pt x="147" y="61"/>
                    <a:pt x="147" y="61"/>
                  </a:cubicBezTo>
                  <a:cubicBezTo>
                    <a:pt x="149" y="58"/>
                    <a:pt x="149" y="58"/>
                    <a:pt x="149" y="58"/>
                  </a:cubicBezTo>
                  <a:cubicBezTo>
                    <a:pt x="148" y="57"/>
                    <a:pt x="148" y="57"/>
                    <a:pt x="148" y="57"/>
                  </a:cubicBezTo>
                  <a:cubicBezTo>
                    <a:pt x="148" y="52"/>
                    <a:pt x="148" y="52"/>
                    <a:pt x="148" y="52"/>
                  </a:cubicBezTo>
                  <a:cubicBezTo>
                    <a:pt x="166" y="67"/>
                    <a:pt x="166" y="67"/>
                    <a:pt x="166" y="67"/>
                  </a:cubicBezTo>
                  <a:cubicBezTo>
                    <a:pt x="170" y="59"/>
                    <a:pt x="170" y="59"/>
                    <a:pt x="170" y="59"/>
                  </a:cubicBezTo>
                  <a:cubicBezTo>
                    <a:pt x="169" y="58"/>
                    <a:pt x="169" y="58"/>
                    <a:pt x="169" y="58"/>
                  </a:cubicBezTo>
                  <a:lnTo>
                    <a:pt x="169" y="54"/>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8" name="Freeform 11">
              <a:extLst>
                <a:ext uri="{FF2B5EF4-FFF2-40B4-BE49-F238E27FC236}">
                  <a16:creationId xmlns:a16="http://schemas.microsoft.com/office/drawing/2014/main" id="{9ED48E35-FBAB-F641-F868-EDD9F8A22A3A}"/>
                </a:ext>
              </a:extLst>
            </p:cNvPr>
            <p:cNvSpPr>
              <a:spLocks noEditPoints="1"/>
            </p:cNvSpPr>
            <p:nvPr/>
          </p:nvSpPr>
          <p:spPr bwMode="auto">
            <a:xfrm>
              <a:off x="2519767" y="956552"/>
              <a:ext cx="1068976" cy="698882"/>
            </a:xfrm>
            <a:custGeom>
              <a:avLst/>
              <a:gdLst>
                <a:gd name="T0" fmla="*/ 65 w 270"/>
                <a:gd name="T1" fmla="*/ 93 h 176"/>
                <a:gd name="T2" fmla="*/ 79 w 270"/>
                <a:gd name="T3" fmla="*/ 83 h 176"/>
                <a:gd name="T4" fmla="*/ 75 w 270"/>
                <a:gd name="T5" fmla="*/ 48 h 176"/>
                <a:gd name="T6" fmla="*/ 72 w 270"/>
                <a:gd name="T7" fmla="*/ 39 h 176"/>
                <a:gd name="T8" fmla="*/ 72 w 270"/>
                <a:gd name="T9" fmla="*/ 33 h 176"/>
                <a:gd name="T10" fmla="*/ 73 w 270"/>
                <a:gd name="T11" fmla="*/ 45 h 176"/>
                <a:gd name="T12" fmla="*/ 78 w 270"/>
                <a:gd name="T13" fmla="*/ 53 h 176"/>
                <a:gd name="T14" fmla="*/ 81 w 270"/>
                <a:gd name="T15" fmla="*/ 51 h 176"/>
                <a:gd name="T16" fmla="*/ 57 w 270"/>
                <a:gd name="T17" fmla="*/ 21 h 176"/>
                <a:gd name="T18" fmla="*/ 65 w 270"/>
                <a:gd name="T19" fmla="*/ 30 h 176"/>
                <a:gd name="T20" fmla="*/ 64 w 270"/>
                <a:gd name="T21" fmla="*/ 30 h 176"/>
                <a:gd name="T22" fmla="*/ 67 w 270"/>
                <a:gd name="T23" fmla="*/ 17 h 176"/>
                <a:gd name="T24" fmla="*/ 63 w 270"/>
                <a:gd name="T25" fmla="*/ 22 h 176"/>
                <a:gd name="T26" fmla="*/ 73 w 270"/>
                <a:gd name="T27" fmla="*/ 25 h 176"/>
                <a:gd name="T28" fmla="*/ 67 w 270"/>
                <a:gd name="T29" fmla="*/ 0 h 176"/>
                <a:gd name="T30" fmla="*/ 68 w 270"/>
                <a:gd name="T31" fmla="*/ 7 h 176"/>
                <a:gd name="T32" fmla="*/ 74 w 270"/>
                <a:gd name="T33" fmla="*/ 12 h 176"/>
                <a:gd name="T34" fmla="*/ 80 w 270"/>
                <a:gd name="T35" fmla="*/ 21 h 176"/>
                <a:gd name="T36" fmla="*/ 75 w 270"/>
                <a:gd name="T37" fmla="*/ 28 h 176"/>
                <a:gd name="T38" fmla="*/ 76 w 270"/>
                <a:gd name="T39" fmla="*/ 32 h 176"/>
                <a:gd name="T40" fmla="*/ 83 w 270"/>
                <a:gd name="T41" fmla="*/ 37 h 176"/>
                <a:gd name="T42" fmla="*/ 76 w 270"/>
                <a:gd name="T43" fmla="*/ 41 h 176"/>
                <a:gd name="T44" fmla="*/ 79 w 270"/>
                <a:gd name="T45" fmla="*/ 46 h 176"/>
                <a:gd name="T46" fmla="*/ 82 w 270"/>
                <a:gd name="T47" fmla="*/ 43 h 176"/>
                <a:gd name="T48" fmla="*/ 86 w 270"/>
                <a:gd name="T49" fmla="*/ 54 h 176"/>
                <a:gd name="T50" fmla="*/ 81 w 270"/>
                <a:gd name="T51" fmla="*/ 66 h 176"/>
                <a:gd name="T52" fmla="*/ 82 w 270"/>
                <a:gd name="T53" fmla="*/ 74 h 176"/>
                <a:gd name="T54" fmla="*/ 83 w 270"/>
                <a:gd name="T55" fmla="*/ 87 h 176"/>
                <a:gd name="T56" fmla="*/ 75 w 270"/>
                <a:gd name="T57" fmla="*/ 92 h 176"/>
                <a:gd name="T58" fmla="*/ 63 w 270"/>
                <a:gd name="T59" fmla="*/ 98 h 176"/>
                <a:gd name="T60" fmla="*/ 62 w 270"/>
                <a:gd name="T61" fmla="*/ 92 h 176"/>
                <a:gd name="T62" fmla="*/ 67 w 270"/>
                <a:gd name="T63" fmla="*/ 91 h 176"/>
                <a:gd name="T64" fmla="*/ 72 w 270"/>
                <a:gd name="T65" fmla="*/ 85 h 176"/>
                <a:gd name="T66" fmla="*/ 77 w 270"/>
                <a:gd name="T67" fmla="*/ 75 h 176"/>
                <a:gd name="T68" fmla="*/ 77 w 270"/>
                <a:gd name="T69" fmla="*/ 59 h 176"/>
                <a:gd name="T70" fmla="*/ 67 w 270"/>
                <a:gd name="T71" fmla="*/ 70 h 176"/>
                <a:gd name="T72" fmla="*/ 66 w 270"/>
                <a:gd name="T73" fmla="*/ 65 h 176"/>
                <a:gd name="T74" fmla="*/ 72 w 270"/>
                <a:gd name="T75" fmla="*/ 61 h 176"/>
                <a:gd name="T76" fmla="*/ 66 w 270"/>
                <a:gd name="T77" fmla="*/ 46 h 176"/>
                <a:gd name="T78" fmla="*/ 61 w 270"/>
                <a:gd name="T79" fmla="*/ 48 h 176"/>
                <a:gd name="T80" fmla="*/ 43 w 270"/>
                <a:gd name="T81" fmla="*/ 46 h 176"/>
                <a:gd name="T82" fmla="*/ 20 w 270"/>
                <a:gd name="T83" fmla="*/ 41 h 176"/>
                <a:gd name="T84" fmla="*/ 1 w 270"/>
                <a:gd name="T85" fmla="*/ 35 h 176"/>
                <a:gd name="T86" fmla="*/ 3 w 270"/>
                <a:gd name="T87" fmla="*/ 56 h 176"/>
                <a:gd name="T88" fmla="*/ 11 w 270"/>
                <a:gd name="T89" fmla="*/ 68 h 176"/>
                <a:gd name="T90" fmla="*/ 14 w 270"/>
                <a:gd name="T91" fmla="*/ 84 h 176"/>
                <a:gd name="T92" fmla="*/ 20 w 270"/>
                <a:gd name="T93" fmla="*/ 101 h 176"/>
                <a:gd name="T94" fmla="*/ 26 w 270"/>
                <a:gd name="T95" fmla="*/ 109 h 176"/>
                <a:gd name="T96" fmla="*/ 25 w 270"/>
                <a:gd name="T97" fmla="*/ 118 h 176"/>
                <a:gd name="T98" fmla="*/ 28 w 270"/>
                <a:gd name="T99" fmla="*/ 125 h 176"/>
                <a:gd name="T100" fmla="*/ 25 w 270"/>
                <a:gd name="T101" fmla="*/ 133 h 176"/>
                <a:gd name="T102" fmla="*/ 24 w 270"/>
                <a:gd name="T103" fmla="*/ 135 h 176"/>
                <a:gd name="T104" fmla="*/ 43 w 270"/>
                <a:gd name="T105" fmla="*/ 140 h 176"/>
                <a:gd name="T106" fmla="*/ 64 w 270"/>
                <a:gd name="T107" fmla="*/ 150 h 176"/>
                <a:gd name="T108" fmla="*/ 81 w 270"/>
                <a:gd name="T109" fmla="*/ 175 h 176"/>
                <a:gd name="T110" fmla="*/ 109 w 270"/>
                <a:gd name="T111" fmla="*/ 168 h 176"/>
                <a:gd name="T112" fmla="*/ 126 w 270"/>
                <a:gd name="T113" fmla="*/ 172 h 176"/>
                <a:gd name="T114" fmla="*/ 154 w 270"/>
                <a:gd name="T115" fmla="*/ 168 h 176"/>
                <a:gd name="T116" fmla="*/ 179 w 270"/>
                <a:gd name="T117" fmla="*/ 158 h 176"/>
                <a:gd name="T118" fmla="*/ 199 w 270"/>
                <a:gd name="T119" fmla="*/ 15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0" h="176">
                  <a:moveTo>
                    <a:pt x="63" y="94"/>
                  </a:moveTo>
                  <a:cubicBezTo>
                    <a:pt x="63" y="94"/>
                    <a:pt x="63" y="94"/>
                    <a:pt x="63" y="94"/>
                  </a:cubicBezTo>
                  <a:cubicBezTo>
                    <a:pt x="63" y="94"/>
                    <a:pt x="63" y="93"/>
                    <a:pt x="63" y="93"/>
                  </a:cubicBezTo>
                  <a:cubicBezTo>
                    <a:pt x="63" y="93"/>
                    <a:pt x="63" y="92"/>
                    <a:pt x="63" y="92"/>
                  </a:cubicBezTo>
                  <a:cubicBezTo>
                    <a:pt x="63" y="92"/>
                    <a:pt x="63" y="91"/>
                    <a:pt x="64" y="91"/>
                  </a:cubicBezTo>
                  <a:cubicBezTo>
                    <a:pt x="64" y="91"/>
                    <a:pt x="64" y="91"/>
                    <a:pt x="64" y="90"/>
                  </a:cubicBezTo>
                  <a:cubicBezTo>
                    <a:pt x="64" y="90"/>
                    <a:pt x="64" y="90"/>
                    <a:pt x="64" y="90"/>
                  </a:cubicBezTo>
                  <a:cubicBezTo>
                    <a:pt x="65" y="90"/>
                    <a:pt x="65" y="90"/>
                    <a:pt x="65" y="90"/>
                  </a:cubicBezTo>
                  <a:cubicBezTo>
                    <a:pt x="65" y="90"/>
                    <a:pt x="65" y="91"/>
                    <a:pt x="65" y="91"/>
                  </a:cubicBezTo>
                  <a:cubicBezTo>
                    <a:pt x="65" y="91"/>
                    <a:pt x="65" y="92"/>
                    <a:pt x="65" y="92"/>
                  </a:cubicBezTo>
                  <a:cubicBezTo>
                    <a:pt x="65" y="93"/>
                    <a:pt x="65" y="93"/>
                    <a:pt x="65" y="93"/>
                  </a:cubicBezTo>
                  <a:cubicBezTo>
                    <a:pt x="66" y="93"/>
                    <a:pt x="66" y="93"/>
                    <a:pt x="65" y="93"/>
                  </a:cubicBezTo>
                  <a:cubicBezTo>
                    <a:pt x="65" y="94"/>
                    <a:pt x="65" y="94"/>
                    <a:pt x="65" y="94"/>
                  </a:cubicBezTo>
                  <a:cubicBezTo>
                    <a:pt x="65" y="94"/>
                    <a:pt x="65" y="95"/>
                    <a:pt x="65" y="95"/>
                  </a:cubicBezTo>
                  <a:cubicBezTo>
                    <a:pt x="65" y="95"/>
                    <a:pt x="64" y="95"/>
                    <a:pt x="64" y="95"/>
                  </a:cubicBezTo>
                  <a:cubicBezTo>
                    <a:pt x="64" y="95"/>
                    <a:pt x="64" y="95"/>
                    <a:pt x="63" y="94"/>
                  </a:cubicBezTo>
                  <a:close/>
                  <a:moveTo>
                    <a:pt x="77" y="85"/>
                  </a:moveTo>
                  <a:cubicBezTo>
                    <a:pt x="77" y="85"/>
                    <a:pt x="77" y="85"/>
                    <a:pt x="77" y="86"/>
                  </a:cubicBezTo>
                  <a:cubicBezTo>
                    <a:pt x="77" y="86"/>
                    <a:pt x="77" y="87"/>
                    <a:pt x="77" y="87"/>
                  </a:cubicBezTo>
                  <a:cubicBezTo>
                    <a:pt x="78" y="87"/>
                    <a:pt x="78" y="86"/>
                    <a:pt x="78" y="86"/>
                  </a:cubicBezTo>
                  <a:cubicBezTo>
                    <a:pt x="78" y="86"/>
                    <a:pt x="79" y="86"/>
                    <a:pt x="79" y="85"/>
                  </a:cubicBezTo>
                  <a:cubicBezTo>
                    <a:pt x="79" y="85"/>
                    <a:pt x="79" y="84"/>
                    <a:pt x="79" y="83"/>
                  </a:cubicBezTo>
                  <a:cubicBezTo>
                    <a:pt x="79" y="82"/>
                    <a:pt x="79" y="82"/>
                    <a:pt x="79" y="81"/>
                  </a:cubicBezTo>
                  <a:cubicBezTo>
                    <a:pt x="79" y="80"/>
                    <a:pt x="79" y="79"/>
                    <a:pt x="78" y="79"/>
                  </a:cubicBezTo>
                  <a:cubicBezTo>
                    <a:pt x="78" y="79"/>
                    <a:pt x="78" y="80"/>
                    <a:pt x="77" y="81"/>
                  </a:cubicBezTo>
                  <a:cubicBezTo>
                    <a:pt x="77" y="81"/>
                    <a:pt x="77" y="81"/>
                    <a:pt x="77" y="82"/>
                  </a:cubicBezTo>
                  <a:cubicBezTo>
                    <a:pt x="77" y="82"/>
                    <a:pt x="77" y="82"/>
                    <a:pt x="77" y="82"/>
                  </a:cubicBezTo>
                  <a:cubicBezTo>
                    <a:pt x="77" y="83"/>
                    <a:pt x="77" y="84"/>
                    <a:pt x="77" y="85"/>
                  </a:cubicBezTo>
                  <a:close/>
                  <a:moveTo>
                    <a:pt x="77" y="49"/>
                  </a:moveTo>
                  <a:cubicBezTo>
                    <a:pt x="77" y="49"/>
                    <a:pt x="77" y="50"/>
                    <a:pt x="76" y="50"/>
                  </a:cubicBezTo>
                  <a:cubicBezTo>
                    <a:pt x="76" y="51"/>
                    <a:pt x="76" y="51"/>
                    <a:pt x="76" y="50"/>
                  </a:cubicBezTo>
                  <a:cubicBezTo>
                    <a:pt x="76" y="50"/>
                    <a:pt x="76" y="49"/>
                    <a:pt x="76" y="49"/>
                  </a:cubicBezTo>
                  <a:cubicBezTo>
                    <a:pt x="75" y="49"/>
                    <a:pt x="76" y="48"/>
                    <a:pt x="75" y="48"/>
                  </a:cubicBezTo>
                  <a:cubicBezTo>
                    <a:pt x="75" y="47"/>
                    <a:pt x="75" y="47"/>
                    <a:pt x="75" y="46"/>
                  </a:cubicBezTo>
                  <a:cubicBezTo>
                    <a:pt x="75" y="46"/>
                    <a:pt x="75" y="46"/>
                    <a:pt x="75" y="45"/>
                  </a:cubicBezTo>
                  <a:cubicBezTo>
                    <a:pt x="75" y="45"/>
                    <a:pt x="75" y="45"/>
                    <a:pt x="75" y="45"/>
                  </a:cubicBezTo>
                  <a:cubicBezTo>
                    <a:pt x="75" y="44"/>
                    <a:pt x="75" y="44"/>
                    <a:pt x="74" y="44"/>
                  </a:cubicBezTo>
                  <a:cubicBezTo>
                    <a:pt x="74" y="44"/>
                    <a:pt x="74" y="43"/>
                    <a:pt x="74" y="43"/>
                  </a:cubicBezTo>
                  <a:cubicBezTo>
                    <a:pt x="74" y="43"/>
                    <a:pt x="74" y="43"/>
                    <a:pt x="73" y="42"/>
                  </a:cubicBezTo>
                  <a:cubicBezTo>
                    <a:pt x="73" y="42"/>
                    <a:pt x="73" y="43"/>
                    <a:pt x="72" y="42"/>
                  </a:cubicBezTo>
                  <a:cubicBezTo>
                    <a:pt x="72" y="42"/>
                    <a:pt x="72" y="42"/>
                    <a:pt x="72" y="42"/>
                  </a:cubicBezTo>
                  <a:cubicBezTo>
                    <a:pt x="72" y="42"/>
                    <a:pt x="71" y="41"/>
                    <a:pt x="71" y="41"/>
                  </a:cubicBezTo>
                  <a:cubicBezTo>
                    <a:pt x="71" y="41"/>
                    <a:pt x="71" y="40"/>
                    <a:pt x="71" y="40"/>
                  </a:cubicBezTo>
                  <a:cubicBezTo>
                    <a:pt x="72" y="40"/>
                    <a:pt x="72" y="40"/>
                    <a:pt x="72" y="39"/>
                  </a:cubicBezTo>
                  <a:cubicBezTo>
                    <a:pt x="72" y="39"/>
                    <a:pt x="72" y="39"/>
                    <a:pt x="73" y="39"/>
                  </a:cubicBezTo>
                  <a:cubicBezTo>
                    <a:pt x="73" y="39"/>
                    <a:pt x="73" y="39"/>
                    <a:pt x="73" y="39"/>
                  </a:cubicBezTo>
                  <a:cubicBezTo>
                    <a:pt x="74" y="39"/>
                    <a:pt x="74" y="39"/>
                    <a:pt x="74" y="39"/>
                  </a:cubicBezTo>
                  <a:cubicBezTo>
                    <a:pt x="74" y="39"/>
                    <a:pt x="74" y="38"/>
                    <a:pt x="74" y="38"/>
                  </a:cubicBezTo>
                  <a:cubicBezTo>
                    <a:pt x="75" y="38"/>
                    <a:pt x="75" y="38"/>
                    <a:pt x="75" y="38"/>
                  </a:cubicBezTo>
                  <a:cubicBezTo>
                    <a:pt x="75" y="38"/>
                    <a:pt x="75" y="38"/>
                    <a:pt x="75" y="38"/>
                  </a:cubicBezTo>
                  <a:cubicBezTo>
                    <a:pt x="76" y="38"/>
                    <a:pt x="76" y="38"/>
                    <a:pt x="76" y="38"/>
                  </a:cubicBezTo>
                  <a:cubicBezTo>
                    <a:pt x="76" y="37"/>
                    <a:pt x="77" y="37"/>
                    <a:pt x="77" y="36"/>
                  </a:cubicBezTo>
                  <a:cubicBezTo>
                    <a:pt x="77" y="36"/>
                    <a:pt x="76" y="35"/>
                    <a:pt x="75" y="35"/>
                  </a:cubicBezTo>
                  <a:cubicBezTo>
                    <a:pt x="74" y="35"/>
                    <a:pt x="74" y="34"/>
                    <a:pt x="73" y="33"/>
                  </a:cubicBezTo>
                  <a:cubicBezTo>
                    <a:pt x="73" y="33"/>
                    <a:pt x="72" y="33"/>
                    <a:pt x="72" y="33"/>
                  </a:cubicBezTo>
                  <a:cubicBezTo>
                    <a:pt x="72" y="34"/>
                    <a:pt x="72" y="34"/>
                    <a:pt x="71" y="34"/>
                  </a:cubicBezTo>
                  <a:cubicBezTo>
                    <a:pt x="71" y="34"/>
                    <a:pt x="71" y="35"/>
                    <a:pt x="71" y="35"/>
                  </a:cubicBezTo>
                  <a:cubicBezTo>
                    <a:pt x="71" y="36"/>
                    <a:pt x="70" y="36"/>
                    <a:pt x="70" y="36"/>
                  </a:cubicBezTo>
                  <a:cubicBezTo>
                    <a:pt x="70" y="37"/>
                    <a:pt x="70" y="37"/>
                    <a:pt x="70" y="37"/>
                  </a:cubicBezTo>
                  <a:cubicBezTo>
                    <a:pt x="70" y="38"/>
                    <a:pt x="70" y="38"/>
                    <a:pt x="70" y="39"/>
                  </a:cubicBezTo>
                  <a:cubicBezTo>
                    <a:pt x="69" y="39"/>
                    <a:pt x="69" y="39"/>
                    <a:pt x="69" y="40"/>
                  </a:cubicBezTo>
                  <a:cubicBezTo>
                    <a:pt x="69" y="40"/>
                    <a:pt x="69" y="40"/>
                    <a:pt x="69" y="41"/>
                  </a:cubicBezTo>
                  <a:cubicBezTo>
                    <a:pt x="69" y="41"/>
                    <a:pt x="69" y="41"/>
                    <a:pt x="69" y="42"/>
                  </a:cubicBezTo>
                  <a:cubicBezTo>
                    <a:pt x="69" y="42"/>
                    <a:pt x="69" y="42"/>
                    <a:pt x="69" y="43"/>
                  </a:cubicBezTo>
                  <a:cubicBezTo>
                    <a:pt x="70" y="43"/>
                    <a:pt x="70" y="44"/>
                    <a:pt x="71" y="44"/>
                  </a:cubicBezTo>
                  <a:cubicBezTo>
                    <a:pt x="71" y="45"/>
                    <a:pt x="72" y="45"/>
                    <a:pt x="73" y="45"/>
                  </a:cubicBezTo>
                  <a:cubicBezTo>
                    <a:pt x="73" y="45"/>
                    <a:pt x="73" y="45"/>
                    <a:pt x="73" y="46"/>
                  </a:cubicBezTo>
                  <a:cubicBezTo>
                    <a:pt x="73" y="47"/>
                    <a:pt x="73" y="48"/>
                    <a:pt x="73" y="49"/>
                  </a:cubicBezTo>
                  <a:cubicBezTo>
                    <a:pt x="74" y="49"/>
                    <a:pt x="74" y="50"/>
                    <a:pt x="74" y="50"/>
                  </a:cubicBezTo>
                  <a:cubicBezTo>
                    <a:pt x="74" y="50"/>
                    <a:pt x="74" y="50"/>
                    <a:pt x="74" y="51"/>
                  </a:cubicBezTo>
                  <a:cubicBezTo>
                    <a:pt x="74" y="51"/>
                    <a:pt x="74" y="52"/>
                    <a:pt x="75" y="52"/>
                  </a:cubicBezTo>
                  <a:cubicBezTo>
                    <a:pt x="75" y="52"/>
                    <a:pt x="75" y="53"/>
                    <a:pt x="75" y="53"/>
                  </a:cubicBezTo>
                  <a:cubicBezTo>
                    <a:pt x="75" y="53"/>
                    <a:pt x="75" y="53"/>
                    <a:pt x="75" y="53"/>
                  </a:cubicBezTo>
                  <a:cubicBezTo>
                    <a:pt x="76" y="54"/>
                    <a:pt x="76" y="54"/>
                    <a:pt x="76" y="55"/>
                  </a:cubicBezTo>
                  <a:cubicBezTo>
                    <a:pt x="76" y="55"/>
                    <a:pt x="76" y="54"/>
                    <a:pt x="76" y="54"/>
                  </a:cubicBezTo>
                  <a:cubicBezTo>
                    <a:pt x="77" y="54"/>
                    <a:pt x="77" y="54"/>
                    <a:pt x="77" y="54"/>
                  </a:cubicBezTo>
                  <a:cubicBezTo>
                    <a:pt x="77" y="54"/>
                    <a:pt x="77" y="54"/>
                    <a:pt x="78" y="53"/>
                  </a:cubicBezTo>
                  <a:cubicBezTo>
                    <a:pt x="78" y="53"/>
                    <a:pt x="78" y="53"/>
                    <a:pt x="79" y="54"/>
                  </a:cubicBezTo>
                  <a:cubicBezTo>
                    <a:pt x="79" y="54"/>
                    <a:pt x="79" y="55"/>
                    <a:pt x="79" y="55"/>
                  </a:cubicBezTo>
                  <a:cubicBezTo>
                    <a:pt x="79" y="56"/>
                    <a:pt x="79" y="56"/>
                    <a:pt x="79" y="57"/>
                  </a:cubicBezTo>
                  <a:cubicBezTo>
                    <a:pt x="79" y="57"/>
                    <a:pt x="79" y="58"/>
                    <a:pt x="80" y="58"/>
                  </a:cubicBezTo>
                  <a:cubicBezTo>
                    <a:pt x="80" y="58"/>
                    <a:pt x="81" y="57"/>
                    <a:pt x="81" y="57"/>
                  </a:cubicBezTo>
                  <a:cubicBezTo>
                    <a:pt x="81" y="57"/>
                    <a:pt x="81" y="57"/>
                    <a:pt x="82" y="56"/>
                  </a:cubicBezTo>
                  <a:cubicBezTo>
                    <a:pt x="82" y="56"/>
                    <a:pt x="82" y="56"/>
                    <a:pt x="82" y="56"/>
                  </a:cubicBezTo>
                  <a:cubicBezTo>
                    <a:pt x="82" y="55"/>
                    <a:pt x="82" y="54"/>
                    <a:pt x="82" y="54"/>
                  </a:cubicBezTo>
                  <a:cubicBezTo>
                    <a:pt x="82" y="54"/>
                    <a:pt x="82" y="54"/>
                    <a:pt x="82" y="53"/>
                  </a:cubicBezTo>
                  <a:cubicBezTo>
                    <a:pt x="82" y="53"/>
                    <a:pt x="81" y="53"/>
                    <a:pt x="81" y="52"/>
                  </a:cubicBezTo>
                  <a:cubicBezTo>
                    <a:pt x="81" y="52"/>
                    <a:pt x="81" y="51"/>
                    <a:pt x="81" y="51"/>
                  </a:cubicBezTo>
                  <a:cubicBezTo>
                    <a:pt x="80" y="50"/>
                    <a:pt x="80" y="50"/>
                    <a:pt x="79" y="50"/>
                  </a:cubicBezTo>
                  <a:cubicBezTo>
                    <a:pt x="79" y="49"/>
                    <a:pt x="78" y="50"/>
                    <a:pt x="78" y="49"/>
                  </a:cubicBezTo>
                  <a:cubicBezTo>
                    <a:pt x="78" y="49"/>
                    <a:pt x="77" y="49"/>
                    <a:pt x="77" y="49"/>
                  </a:cubicBezTo>
                  <a:cubicBezTo>
                    <a:pt x="77" y="48"/>
                    <a:pt x="77" y="48"/>
                    <a:pt x="77" y="48"/>
                  </a:cubicBezTo>
                  <a:cubicBezTo>
                    <a:pt x="77" y="48"/>
                    <a:pt x="77" y="49"/>
                    <a:pt x="77" y="49"/>
                  </a:cubicBezTo>
                  <a:close/>
                  <a:moveTo>
                    <a:pt x="59" y="27"/>
                  </a:moveTo>
                  <a:cubicBezTo>
                    <a:pt x="59" y="26"/>
                    <a:pt x="60" y="25"/>
                    <a:pt x="59" y="25"/>
                  </a:cubicBezTo>
                  <a:cubicBezTo>
                    <a:pt x="59" y="25"/>
                    <a:pt x="59" y="24"/>
                    <a:pt x="59" y="24"/>
                  </a:cubicBezTo>
                  <a:cubicBezTo>
                    <a:pt x="59" y="24"/>
                    <a:pt x="59" y="24"/>
                    <a:pt x="58" y="23"/>
                  </a:cubicBezTo>
                  <a:cubicBezTo>
                    <a:pt x="58" y="23"/>
                    <a:pt x="57" y="23"/>
                    <a:pt x="57" y="22"/>
                  </a:cubicBezTo>
                  <a:cubicBezTo>
                    <a:pt x="57" y="22"/>
                    <a:pt x="57" y="21"/>
                    <a:pt x="57" y="21"/>
                  </a:cubicBezTo>
                  <a:cubicBezTo>
                    <a:pt x="56" y="20"/>
                    <a:pt x="56" y="21"/>
                    <a:pt x="55" y="21"/>
                  </a:cubicBezTo>
                  <a:cubicBezTo>
                    <a:pt x="55" y="22"/>
                    <a:pt x="54" y="22"/>
                    <a:pt x="55" y="23"/>
                  </a:cubicBezTo>
                  <a:cubicBezTo>
                    <a:pt x="55" y="23"/>
                    <a:pt x="54" y="23"/>
                    <a:pt x="55" y="24"/>
                  </a:cubicBezTo>
                  <a:cubicBezTo>
                    <a:pt x="55" y="25"/>
                    <a:pt x="55" y="25"/>
                    <a:pt x="55" y="25"/>
                  </a:cubicBezTo>
                  <a:cubicBezTo>
                    <a:pt x="55" y="26"/>
                    <a:pt x="55" y="26"/>
                    <a:pt x="56" y="27"/>
                  </a:cubicBezTo>
                  <a:cubicBezTo>
                    <a:pt x="56" y="27"/>
                    <a:pt x="57" y="27"/>
                    <a:pt x="57" y="28"/>
                  </a:cubicBezTo>
                  <a:cubicBezTo>
                    <a:pt x="58" y="28"/>
                    <a:pt x="58" y="28"/>
                    <a:pt x="59" y="29"/>
                  </a:cubicBezTo>
                  <a:cubicBezTo>
                    <a:pt x="60" y="29"/>
                    <a:pt x="59" y="27"/>
                    <a:pt x="59" y="27"/>
                  </a:cubicBezTo>
                  <a:close/>
                  <a:moveTo>
                    <a:pt x="64" y="30"/>
                  </a:moveTo>
                  <a:cubicBezTo>
                    <a:pt x="64" y="30"/>
                    <a:pt x="64" y="30"/>
                    <a:pt x="65" y="30"/>
                  </a:cubicBezTo>
                  <a:cubicBezTo>
                    <a:pt x="65" y="30"/>
                    <a:pt x="65" y="31"/>
                    <a:pt x="65" y="30"/>
                  </a:cubicBezTo>
                  <a:cubicBezTo>
                    <a:pt x="66" y="30"/>
                    <a:pt x="65" y="30"/>
                    <a:pt x="65" y="30"/>
                  </a:cubicBezTo>
                  <a:cubicBezTo>
                    <a:pt x="65" y="29"/>
                    <a:pt x="65" y="29"/>
                    <a:pt x="65" y="28"/>
                  </a:cubicBezTo>
                  <a:cubicBezTo>
                    <a:pt x="65" y="28"/>
                    <a:pt x="65" y="27"/>
                    <a:pt x="65" y="26"/>
                  </a:cubicBezTo>
                  <a:cubicBezTo>
                    <a:pt x="65" y="26"/>
                    <a:pt x="65" y="26"/>
                    <a:pt x="65" y="25"/>
                  </a:cubicBezTo>
                  <a:cubicBezTo>
                    <a:pt x="65" y="25"/>
                    <a:pt x="65" y="25"/>
                    <a:pt x="65" y="25"/>
                  </a:cubicBezTo>
                  <a:cubicBezTo>
                    <a:pt x="64" y="25"/>
                    <a:pt x="64" y="25"/>
                    <a:pt x="64" y="26"/>
                  </a:cubicBezTo>
                  <a:cubicBezTo>
                    <a:pt x="64" y="26"/>
                    <a:pt x="64" y="26"/>
                    <a:pt x="64" y="27"/>
                  </a:cubicBezTo>
                  <a:cubicBezTo>
                    <a:pt x="64" y="27"/>
                    <a:pt x="63" y="27"/>
                    <a:pt x="63" y="27"/>
                  </a:cubicBezTo>
                  <a:cubicBezTo>
                    <a:pt x="63" y="28"/>
                    <a:pt x="63" y="28"/>
                    <a:pt x="63" y="29"/>
                  </a:cubicBezTo>
                  <a:cubicBezTo>
                    <a:pt x="63" y="29"/>
                    <a:pt x="62" y="29"/>
                    <a:pt x="62" y="29"/>
                  </a:cubicBezTo>
                  <a:cubicBezTo>
                    <a:pt x="63" y="30"/>
                    <a:pt x="63" y="30"/>
                    <a:pt x="64" y="30"/>
                  </a:cubicBezTo>
                  <a:close/>
                  <a:moveTo>
                    <a:pt x="63" y="18"/>
                  </a:moveTo>
                  <a:cubicBezTo>
                    <a:pt x="63" y="18"/>
                    <a:pt x="63" y="18"/>
                    <a:pt x="64" y="18"/>
                  </a:cubicBezTo>
                  <a:cubicBezTo>
                    <a:pt x="64" y="17"/>
                    <a:pt x="64" y="18"/>
                    <a:pt x="64" y="18"/>
                  </a:cubicBezTo>
                  <a:cubicBezTo>
                    <a:pt x="64" y="19"/>
                    <a:pt x="65" y="19"/>
                    <a:pt x="65" y="19"/>
                  </a:cubicBezTo>
                  <a:cubicBezTo>
                    <a:pt x="65" y="20"/>
                    <a:pt x="65" y="20"/>
                    <a:pt x="66" y="20"/>
                  </a:cubicBezTo>
                  <a:cubicBezTo>
                    <a:pt x="66" y="21"/>
                    <a:pt x="66" y="21"/>
                    <a:pt x="66" y="21"/>
                  </a:cubicBezTo>
                  <a:cubicBezTo>
                    <a:pt x="66" y="22"/>
                    <a:pt x="67" y="21"/>
                    <a:pt x="67" y="21"/>
                  </a:cubicBezTo>
                  <a:cubicBezTo>
                    <a:pt x="67" y="21"/>
                    <a:pt x="68" y="20"/>
                    <a:pt x="68" y="20"/>
                  </a:cubicBezTo>
                  <a:cubicBezTo>
                    <a:pt x="69" y="20"/>
                    <a:pt x="69" y="19"/>
                    <a:pt x="69" y="19"/>
                  </a:cubicBezTo>
                  <a:cubicBezTo>
                    <a:pt x="69" y="18"/>
                    <a:pt x="68" y="18"/>
                    <a:pt x="68" y="18"/>
                  </a:cubicBezTo>
                  <a:cubicBezTo>
                    <a:pt x="67" y="18"/>
                    <a:pt x="67" y="18"/>
                    <a:pt x="67" y="17"/>
                  </a:cubicBezTo>
                  <a:cubicBezTo>
                    <a:pt x="67" y="17"/>
                    <a:pt x="66" y="17"/>
                    <a:pt x="66" y="17"/>
                  </a:cubicBezTo>
                  <a:cubicBezTo>
                    <a:pt x="65" y="17"/>
                    <a:pt x="65" y="16"/>
                    <a:pt x="64" y="16"/>
                  </a:cubicBezTo>
                  <a:cubicBezTo>
                    <a:pt x="64" y="16"/>
                    <a:pt x="63" y="16"/>
                    <a:pt x="62" y="16"/>
                  </a:cubicBezTo>
                  <a:cubicBezTo>
                    <a:pt x="62" y="16"/>
                    <a:pt x="62" y="17"/>
                    <a:pt x="61" y="17"/>
                  </a:cubicBezTo>
                  <a:cubicBezTo>
                    <a:pt x="61" y="17"/>
                    <a:pt x="61" y="18"/>
                    <a:pt x="60" y="18"/>
                  </a:cubicBezTo>
                  <a:cubicBezTo>
                    <a:pt x="60" y="19"/>
                    <a:pt x="59" y="19"/>
                    <a:pt x="60" y="19"/>
                  </a:cubicBezTo>
                  <a:cubicBezTo>
                    <a:pt x="60" y="20"/>
                    <a:pt x="60" y="20"/>
                    <a:pt x="60" y="20"/>
                  </a:cubicBezTo>
                  <a:cubicBezTo>
                    <a:pt x="60" y="21"/>
                    <a:pt x="60" y="21"/>
                    <a:pt x="61" y="21"/>
                  </a:cubicBezTo>
                  <a:cubicBezTo>
                    <a:pt x="61" y="21"/>
                    <a:pt x="61" y="21"/>
                    <a:pt x="61" y="22"/>
                  </a:cubicBezTo>
                  <a:cubicBezTo>
                    <a:pt x="61" y="22"/>
                    <a:pt x="61" y="22"/>
                    <a:pt x="61" y="22"/>
                  </a:cubicBezTo>
                  <a:cubicBezTo>
                    <a:pt x="62" y="22"/>
                    <a:pt x="62" y="22"/>
                    <a:pt x="63" y="22"/>
                  </a:cubicBezTo>
                  <a:cubicBezTo>
                    <a:pt x="63" y="22"/>
                    <a:pt x="63" y="22"/>
                    <a:pt x="64" y="22"/>
                  </a:cubicBezTo>
                  <a:cubicBezTo>
                    <a:pt x="64" y="22"/>
                    <a:pt x="64" y="22"/>
                    <a:pt x="64" y="21"/>
                  </a:cubicBezTo>
                  <a:cubicBezTo>
                    <a:pt x="64" y="21"/>
                    <a:pt x="64" y="20"/>
                    <a:pt x="64" y="20"/>
                  </a:cubicBezTo>
                  <a:cubicBezTo>
                    <a:pt x="64" y="20"/>
                    <a:pt x="63" y="19"/>
                    <a:pt x="63" y="19"/>
                  </a:cubicBezTo>
                  <a:cubicBezTo>
                    <a:pt x="63" y="19"/>
                    <a:pt x="63" y="19"/>
                    <a:pt x="63" y="18"/>
                  </a:cubicBezTo>
                  <a:close/>
                  <a:moveTo>
                    <a:pt x="74" y="26"/>
                  </a:moveTo>
                  <a:cubicBezTo>
                    <a:pt x="74" y="26"/>
                    <a:pt x="75" y="25"/>
                    <a:pt x="74" y="25"/>
                  </a:cubicBezTo>
                  <a:cubicBezTo>
                    <a:pt x="74" y="25"/>
                    <a:pt x="74" y="25"/>
                    <a:pt x="74" y="24"/>
                  </a:cubicBezTo>
                  <a:cubicBezTo>
                    <a:pt x="74" y="24"/>
                    <a:pt x="73" y="23"/>
                    <a:pt x="73" y="24"/>
                  </a:cubicBezTo>
                  <a:cubicBezTo>
                    <a:pt x="73" y="24"/>
                    <a:pt x="73" y="24"/>
                    <a:pt x="73" y="24"/>
                  </a:cubicBezTo>
                  <a:cubicBezTo>
                    <a:pt x="73" y="25"/>
                    <a:pt x="73" y="25"/>
                    <a:pt x="73" y="25"/>
                  </a:cubicBezTo>
                  <a:cubicBezTo>
                    <a:pt x="73" y="26"/>
                    <a:pt x="74" y="26"/>
                    <a:pt x="74" y="26"/>
                  </a:cubicBezTo>
                  <a:close/>
                  <a:moveTo>
                    <a:pt x="269" y="147"/>
                  </a:moveTo>
                  <a:cubicBezTo>
                    <a:pt x="269" y="146"/>
                    <a:pt x="270" y="145"/>
                    <a:pt x="269" y="145"/>
                  </a:cubicBezTo>
                  <a:cubicBezTo>
                    <a:pt x="269" y="145"/>
                    <a:pt x="268" y="145"/>
                    <a:pt x="268" y="144"/>
                  </a:cubicBezTo>
                  <a:cubicBezTo>
                    <a:pt x="268" y="143"/>
                    <a:pt x="268" y="141"/>
                    <a:pt x="268" y="141"/>
                  </a:cubicBezTo>
                  <a:cubicBezTo>
                    <a:pt x="268" y="140"/>
                    <a:pt x="268" y="139"/>
                    <a:pt x="267" y="139"/>
                  </a:cubicBezTo>
                  <a:cubicBezTo>
                    <a:pt x="266" y="138"/>
                    <a:pt x="265" y="137"/>
                    <a:pt x="265" y="137"/>
                  </a:cubicBezTo>
                  <a:cubicBezTo>
                    <a:pt x="265" y="136"/>
                    <a:pt x="265" y="136"/>
                    <a:pt x="265" y="135"/>
                  </a:cubicBezTo>
                  <a:cubicBezTo>
                    <a:pt x="265" y="135"/>
                    <a:pt x="266" y="133"/>
                    <a:pt x="266" y="133"/>
                  </a:cubicBezTo>
                  <a:cubicBezTo>
                    <a:pt x="266" y="0"/>
                    <a:pt x="266" y="0"/>
                    <a:pt x="266" y="0"/>
                  </a:cubicBezTo>
                  <a:cubicBezTo>
                    <a:pt x="67" y="0"/>
                    <a:pt x="67" y="0"/>
                    <a:pt x="67" y="0"/>
                  </a:cubicBezTo>
                  <a:cubicBezTo>
                    <a:pt x="68" y="1"/>
                    <a:pt x="69" y="2"/>
                    <a:pt x="69" y="2"/>
                  </a:cubicBezTo>
                  <a:cubicBezTo>
                    <a:pt x="69" y="3"/>
                    <a:pt x="69" y="3"/>
                    <a:pt x="69" y="3"/>
                  </a:cubicBezTo>
                  <a:cubicBezTo>
                    <a:pt x="69" y="3"/>
                    <a:pt x="69" y="3"/>
                    <a:pt x="68" y="3"/>
                  </a:cubicBezTo>
                  <a:cubicBezTo>
                    <a:pt x="68" y="3"/>
                    <a:pt x="68" y="2"/>
                    <a:pt x="68" y="2"/>
                  </a:cubicBezTo>
                  <a:cubicBezTo>
                    <a:pt x="67" y="2"/>
                    <a:pt x="67" y="3"/>
                    <a:pt x="67" y="3"/>
                  </a:cubicBezTo>
                  <a:cubicBezTo>
                    <a:pt x="67" y="3"/>
                    <a:pt x="66" y="3"/>
                    <a:pt x="66" y="4"/>
                  </a:cubicBezTo>
                  <a:cubicBezTo>
                    <a:pt x="67" y="4"/>
                    <a:pt x="68" y="4"/>
                    <a:pt x="68" y="4"/>
                  </a:cubicBezTo>
                  <a:cubicBezTo>
                    <a:pt x="69" y="4"/>
                    <a:pt x="68" y="4"/>
                    <a:pt x="68" y="5"/>
                  </a:cubicBezTo>
                  <a:cubicBezTo>
                    <a:pt x="68" y="5"/>
                    <a:pt x="68" y="5"/>
                    <a:pt x="68" y="6"/>
                  </a:cubicBezTo>
                  <a:cubicBezTo>
                    <a:pt x="68" y="6"/>
                    <a:pt x="67" y="6"/>
                    <a:pt x="67" y="6"/>
                  </a:cubicBezTo>
                  <a:cubicBezTo>
                    <a:pt x="67" y="7"/>
                    <a:pt x="68" y="7"/>
                    <a:pt x="68" y="7"/>
                  </a:cubicBezTo>
                  <a:cubicBezTo>
                    <a:pt x="68" y="8"/>
                    <a:pt x="69" y="8"/>
                    <a:pt x="69" y="8"/>
                  </a:cubicBezTo>
                  <a:cubicBezTo>
                    <a:pt x="69" y="8"/>
                    <a:pt x="69" y="8"/>
                    <a:pt x="70" y="8"/>
                  </a:cubicBezTo>
                  <a:cubicBezTo>
                    <a:pt x="70" y="9"/>
                    <a:pt x="70" y="9"/>
                    <a:pt x="70" y="10"/>
                  </a:cubicBezTo>
                  <a:cubicBezTo>
                    <a:pt x="70" y="10"/>
                    <a:pt x="70" y="11"/>
                    <a:pt x="70" y="11"/>
                  </a:cubicBezTo>
                  <a:cubicBezTo>
                    <a:pt x="70" y="11"/>
                    <a:pt x="71" y="12"/>
                    <a:pt x="71" y="12"/>
                  </a:cubicBezTo>
                  <a:cubicBezTo>
                    <a:pt x="71" y="12"/>
                    <a:pt x="71" y="12"/>
                    <a:pt x="72" y="12"/>
                  </a:cubicBezTo>
                  <a:cubicBezTo>
                    <a:pt x="72" y="12"/>
                    <a:pt x="72" y="12"/>
                    <a:pt x="72" y="13"/>
                  </a:cubicBezTo>
                  <a:cubicBezTo>
                    <a:pt x="72" y="13"/>
                    <a:pt x="72" y="13"/>
                    <a:pt x="72" y="14"/>
                  </a:cubicBezTo>
                  <a:cubicBezTo>
                    <a:pt x="72" y="14"/>
                    <a:pt x="73" y="15"/>
                    <a:pt x="73" y="14"/>
                  </a:cubicBezTo>
                  <a:cubicBezTo>
                    <a:pt x="73" y="14"/>
                    <a:pt x="73" y="14"/>
                    <a:pt x="73" y="13"/>
                  </a:cubicBezTo>
                  <a:cubicBezTo>
                    <a:pt x="73" y="13"/>
                    <a:pt x="74" y="13"/>
                    <a:pt x="74" y="12"/>
                  </a:cubicBezTo>
                  <a:cubicBezTo>
                    <a:pt x="74" y="12"/>
                    <a:pt x="75" y="13"/>
                    <a:pt x="76" y="13"/>
                  </a:cubicBezTo>
                  <a:cubicBezTo>
                    <a:pt x="76" y="13"/>
                    <a:pt x="76" y="13"/>
                    <a:pt x="76" y="13"/>
                  </a:cubicBezTo>
                  <a:cubicBezTo>
                    <a:pt x="76" y="14"/>
                    <a:pt x="76" y="14"/>
                    <a:pt x="77" y="14"/>
                  </a:cubicBezTo>
                  <a:cubicBezTo>
                    <a:pt x="77" y="14"/>
                    <a:pt x="78" y="14"/>
                    <a:pt x="78" y="14"/>
                  </a:cubicBezTo>
                  <a:cubicBezTo>
                    <a:pt x="78" y="14"/>
                    <a:pt x="78" y="15"/>
                    <a:pt x="78" y="15"/>
                  </a:cubicBezTo>
                  <a:cubicBezTo>
                    <a:pt x="78" y="15"/>
                    <a:pt x="77" y="15"/>
                    <a:pt x="77" y="16"/>
                  </a:cubicBezTo>
                  <a:cubicBezTo>
                    <a:pt x="77" y="16"/>
                    <a:pt x="77" y="17"/>
                    <a:pt x="77" y="18"/>
                  </a:cubicBezTo>
                  <a:cubicBezTo>
                    <a:pt x="78" y="18"/>
                    <a:pt x="78" y="18"/>
                    <a:pt x="78" y="18"/>
                  </a:cubicBezTo>
                  <a:cubicBezTo>
                    <a:pt x="78" y="19"/>
                    <a:pt x="78" y="19"/>
                    <a:pt x="79" y="19"/>
                  </a:cubicBezTo>
                  <a:cubicBezTo>
                    <a:pt x="79" y="20"/>
                    <a:pt x="79" y="20"/>
                    <a:pt x="79" y="21"/>
                  </a:cubicBezTo>
                  <a:cubicBezTo>
                    <a:pt x="79" y="21"/>
                    <a:pt x="80" y="21"/>
                    <a:pt x="80" y="21"/>
                  </a:cubicBezTo>
                  <a:cubicBezTo>
                    <a:pt x="80" y="22"/>
                    <a:pt x="80" y="22"/>
                    <a:pt x="79" y="23"/>
                  </a:cubicBezTo>
                  <a:cubicBezTo>
                    <a:pt x="79" y="23"/>
                    <a:pt x="78" y="23"/>
                    <a:pt x="78" y="23"/>
                  </a:cubicBezTo>
                  <a:cubicBezTo>
                    <a:pt x="78" y="23"/>
                    <a:pt x="77" y="24"/>
                    <a:pt x="77" y="24"/>
                  </a:cubicBezTo>
                  <a:cubicBezTo>
                    <a:pt x="78" y="24"/>
                    <a:pt x="78" y="24"/>
                    <a:pt x="78" y="25"/>
                  </a:cubicBezTo>
                  <a:cubicBezTo>
                    <a:pt x="78" y="25"/>
                    <a:pt x="78" y="25"/>
                    <a:pt x="78" y="25"/>
                  </a:cubicBezTo>
                  <a:cubicBezTo>
                    <a:pt x="78" y="26"/>
                    <a:pt x="78" y="27"/>
                    <a:pt x="78" y="28"/>
                  </a:cubicBezTo>
                  <a:cubicBezTo>
                    <a:pt x="78" y="28"/>
                    <a:pt x="78" y="29"/>
                    <a:pt x="78" y="29"/>
                  </a:cubicBezTo>
                  <a:cubicBezTo>
                    <a:pt x="78" y="29"/>
                    <a:pt x="77" y="29"/>
                    <a:pt x="77" y="29"/>
                  </a:cubicBezTo>
                  <a:cubicBezTo>
                    <a:pt x="77" y="29"/>
                    <a:pt x="77" y="29"/>
                    <a:pt x="76" y="29"/>
                  </a:cubicBezTo>
                  <a:cubicBezTo>
                    <a:pt x="76" y="29"/>
                    <a:pt x="76" y="29"/>
                    <a:pt x="76" y="29"/>
                  </a:cubicBezTo>
                  <a:cubicBezTo>
                    <a:pt x="76" y="28"/>
                    <a:pt x="76" y="28"/>
                    <a:pt x="75" y="28"/>
                  </a:cubicBezTo>
                  <a:cubicBezTo>
                    <a:pt x="75" y="27"/>
                    <a:pt x="75" y="27"/>
                    <a:pt x="74" y="27"/>
                  </a:cubicBezTo>
                  <a:cubicBezTo>
                    <a:pt x="74" y="27"/>
                    <a:pt x="73" y="26"/>
                    <a:pt x="73" y="27"/>
                  </a:cubicBezTo>
                  <a:cubicBezTo>
                    <a:pt x="72" y="27"/>
                    <a:pt x="72" y="27"/>
                    <a:pt x="72" y="28"/>
                  </a:cubicBezTo>
                  <a:cubicBezTo>
                    <a:pt x="72" y="28"/>
                    <a:pt x="72" y="29"/>
                    <a:pt x="72" y="29"/>
                  </a:cubicBezTo>
                  <a:cubicBezTo>
                    <a:pt x="72" y="29"/>
                    <a:pt x="71" y="30"/>
                    <a:pt x="72" y="30"/>
                  </a:cubicBezTo>
                  <a:cubicBezTo>
                    <a:pt x="72" y="30"/>
                    <a:pt x="72" y="31"/>
                    <a:pt x="72" y="31"/>
                  </a:cubicBezTo>
                  <a:cubicBezTo>
                    <a:pt x="73" y="31"/>
                    <a:pt x="72" y="32"/>
                    <a:pt x="73" y="32"/>
                  </a:cubicBezTo>
                  <a:cubicBezTo>
                    <a:pt x="73" y="32"/>
                    <a:pt x="73" y="32"/>
                    <a:pt x="73" y="31"/>
                  </a:cubicBezTo>
                  <a:cubicBezTo>
                    <a:pt x="74" y="31"/>
                    <a:pt x="74" y="31"/>
                    <a:pt x="74" y="31"/>
                  </a:cubicBezTo>
                  <a:cubicBezTo>
                    <a:pt x="74" y="31"/>
                    <a:pt x="75" y="31"/>
                    <a:pt x="75" y="31"/>
                  </a:cubicBezTo>
                  <a:cubicBezTo>
                    <a:pt x="75" y="32"/>
                    <a:pt x="76" y="32"/>
                    <a:pt x="76" y="32"/>
                  </a:cubicBezTo>
                  <a:cubicBezTo>
                    <a:pt x="76" y="32"/>
                    <a:pt x="76" y="33"/>
                    <a:pt x="76" y="33"/>
                  </a:cubicBezTo>
                  <a:cubicBezTo>
                    <a:pt x="76" y="33"/>
                    <a:pt x="77" y="33"/>
                    <a:pt x="77" y="34"/>
                  </a:cubicBezTo>
                  <a:cubicBezTo>
                    <a:pt x="77" y="34"/>
                    <a:pt x="77" y="34"/>
                    <a:pt x="78" y="34"/>
                  </a:cubicBezTo>
                  <a:cubicBezTo>
                    <a:pt x="78" y="34"/>
                    <a:pt x="78" y="34"/>
                    <a:pt x="79" y="35"/>
                  </a:cubicBezTo>
                  <a:cubicBezTo>
                    <a:pt x="79" y="35"/>
                    <a:pt x="80" y="35"/>
                    <a:pt x="80" y="35"/>
                  </a:cubicBezTo>
                  <a:cubicBezTo>
                    <a:pt x="80" y="35"/>
                    <a:pt x="80" y="35"/>
                    <a:pt x="80" y="36"/>
                  </a:cubicBezTo>
                  <a:cubicBezTo>
                    <a:pt x="80" y="36"/>
                    <a:pt x="81" y="36"/>
                    <a:pt x="81" y="36"/>
                  </a:cubicBezTo>
                  <a:cubicBezTo>
                    <a:pt x="81" y="36"/>
                    <a:pt x="82" y="36"/>
                    <a:pt x="82" y="36"/>
                  </a:cubicBezTo>
                  <a:cubicBezTo>
                    <a:pt x="82" y="37"/>
                    <a:pt x="82" y="37"/>
                    <a:pt x="83" y="37"/>
                  </a:cubicBezTo>
                  <a:cubicBezTo>
                    <a:pt x="83" y="37"/>
                    <a:pt x="83" y="37"/>
                    <a:pt x="83" y="37"/>
                  </a:cubicBezTo>
                  <a:cubicBezTo>
                    <a:pt x="83" y="37"/>
                    <a:pt x="83" y="37"/>
                    <a:pt x="83" y="37"/>
                  </a:cubicBezTo>
                  <a:cubicBezTo>
                    <a:pt x="82" y="38"/>
                    <a:pt x="82" y="38"/>
                    <a:pt x="82" y="38"/>
                  </a:cubicBezTo>
                  <a:cubicBezTo>
                    <a:pt x="82" y="38"/>
                    <a:pt x="82" y="39"/>
                    <a:pt x="81" y="39"/>
                  </a:cubicBezTo>
                  <a:cubicBezTo>
                    <a:pt x="81" y="39"/>
                    <a:pt x="81" y="40"/>
                    <a:pt x="81" y="40"/>
                  </a:cubicBezTo>
                  <a:cubicBezTo>
                    <a:pt x="81" y="40"/>
                    <a:pt x="80" y="40"/>
                    <a:pt x="80" y="40"/>
                  </a:cubicBezTo>
                  <a:cubicBezTo>
                    <a:pt x="80" y="40"/>
                    <a:pt x="80" y="40"/>
                    <a:pt x="80" y="40"/>
                  </a:cubicBezTo>
                  <a:cubicBezTo>
                    <a:pt x="80" y="39"/>
                    <a:pt x="80" y="40"/>
                    <a:pt x="80" y="39"/>
                  </a:cubicBezTo>
                  <a:cubicBezTo>
                    <a:pt x="80" y="39"/>
                    <a:pt x="80" y="39"/>
                    <a:pt x="79" y="39"/>
                  </a:cubicBezTo>
                  <a:cubicBezTo>
                    <a:pt x="79" y="39"/>
                    <a:pt x="79" y="39"/>
                    <a:pt x="78" y="39"/>
                  </a:cubicBezTo>
                  <a:cubicBezTo>
                    <a:pt x="78" y="39"/>
                    <a:pt x="78" y="39"/>
                    <a:pt x="78" y="39"/>
                  </a:cubicBezTo>
                  <a:cubicBezTo>
                    <a:pt x="78" y="40"/>
                    <a:pt x="78" y="40"/>
                    <a:pt x="77" y="40"/>
                  </a:cubicBezTo>
                  <a:cubicBezTo>
                    <a:pt x="77" y="40"/>
                    <a:pt x="76" y="40"/>
                    <a:pt x="76" y="41"/>
                  </a:cubicBezTo>
                  <a:cubicBezTo>
                    <a:pt x="76" y="41"/>
                    <a:pt x="76" y="42"/>
                    <a:pt x="76" y="42"/>
                  </a:cubicBezTo>
                  <a:cubicBezTo>
                    <a:pt x="76" y="43"/>
                    <a:pt x="76" y="43"/>
                    <a:pt x="76" y="43"/>
                  </a:cubicBezTo>
                  <a:cubicBezTo>
                    <a:pt x="77" y="44"/>
                    <a:pt x="77" y="44"/>
                    <a:pt x="77" y="44"/>
                  </a:cubicBezTo>
                  <a:cubicBezTo>
                    <a:pt x="77" y="45"/>
                    <a:pt x="77" y="45"/>
                    <a:pt x="77" y="46"/>
                  </a:cubicBezTo>
                  <a:cubicBezTo>
                    <a:pt x="77" y="46"/>
                    <a:pt x="77" y="46"/>
                    <a:pt x="78" y="46"/>
                  </a:cubicBezTo>
                  <a:cubicBezTo>
                    <a:pt x="78" y="47"/>
                    <a:pt x="78" y="47"/>
                    <a:pt x="78" y="47"/>
                  </a:cubicBezTo>
                  <a:cubicBezTo>
                    <a:pt x="79" y="47"/>
                    <a:pt x="79" y="47"/>
                    <a:pt x="79" y="47"/>
                  </a:cubicBezTo>
                  <a:cubicBezTo>
                    <a:pt x="80" y="47"/>
                    <a:pt x="80" y="48"/>
                    <a:pt x="80" y="48"/>
                  </a:cubicBezTo>
                  <a:cubicBezTo>
                    <a:pt x="80" y="48"/>
                    <a:pt x="80" y="47"/>
                    <a:pt x="80" y="47"/>
                  </a:cubicBezTo>
                  <a:cubicBezTo>
                    <a:pt x="80" y="47"/>
                    <a:pt x="80" y="47"/>
                    <a:pt x="80" y="47"/>
                  </a:cubicBezTo>
                  <a:cubicBezTo>
                    <a:pt x="79" y="47"/>
                    <a:pt x="79" y="47"/>
                    <a:pt x="79" y="46"/>
                  </a:cubicBezTo>
                  <a:cubicBezTo>
                    <a:pt x="79" y="46"/>
                    <a:pt x="79" y="46"/>
                    <a:pt x="79" y="46"/>
                  </a:cubicBezTo>
                  <a:cubicBezTo>
                    <a:pt x="79" y="46"/>
                    <a:pt x="79" y="45"/>
                    <a:pt x="79" y="45"/>
                  </a:cubicBezTo>
                  <a:cubicBezTo>
                    <a:pt x="79" y="45"/>
                    <a:pt x="79" y="45"/>
                    <a:pt x="79" y="44"/>
                  </a:cubicBezTo>
                  <a:cubicBezTo>
                    <a:pt x="79" y="44"/>
                    <a:pt x="79" y="44"/>
                    <a:pt x="78" y="44"/>
                  </a:cubicBezTo>
                  <a:cubicBezTo>
                    <a:pt x="78" y="44"/>
                    <a:pt x="78" y="44"/>
                    <a:pt x="78" y="44"/>
                  </a:cubicBezTo>
                  <a:cubicBezTo>
                    <a:pt x="78" y="43"/>
                    <a:pt x="78" y="43"/>
                    <a:pt x="78" y="43"/>
                  </a:cubicBezTo>
                  <a:cubicBezTo>
                    <a:pt x="79" y="43"/>
                    <a:pt x="79" y="43"/>
                    <a:pt x="79" y="42"/>
                  </a:cubicBezTo>
                  <a:cubicBezTo>
                    <a:pt x="79" y="42"/>
                    <a:pt x="79" y="42"/>
                    <a:pt x="80" y="42"/>
                  </a:cubicBezTo>
                  <a:cubicBezTo>
                    <a:pt x="80" y="42"/>
                    <a:pt x="80" y="42"/>
                    <a:pt x="80" y="42"/>
                  </a:cubicBezTo>
                  <a:cubicBezTo>
                    <a:pt x="80" y="42"/>
                    <a:pt x="81" y="42"/>
                    <a:pt x="81" y="42"/>
                  </a:cubicBezTo>
                  <a:cubicBezTo>
                    <a:pt x="82" y="42"/>
                    <a:pt x="81" y="43"/>
                    <a:pt x="82" y="43"/>
                  </a:cubicBezTo>
                  <a:cubicBezTo>
                    <a:pt x="82" y="44"/>
                    <a:pt x="82" y="45"/>
                    <a:pt x="82" y="45"/>
                  </a:cubicBezTo>
                  <a:cubicBezTo>
                    <a:pt x="82" y="46"/>
                    <a:pt x="82" y="46"/>
                    <a:pt x="82" y="46"/>
                  </a:cubicBezTo>
                  <a:cubicBezTo>
                    <a:pt x="82" y="46"/>
                    <a:pt x="82" y="47"/>
                    <a:pt x="83" y="47"/>
                  </a:cubicBezTo>
                  <a:cubicBezTo>
                    <a:pt x="83" y="47"/>
                    <a:pt x="83" y="48"/>
                    <a:pt x="83" y="48"/>
                  </a:cubicBezTo>
                  <a:cubicBezTo>
                    <a:pt x="83" y="48"/>
                    <a:pt x="84" y="48"/>
                    <a:pt x="84" y="49"/>
                  </a:cubicBezTo>
                  <a:cubicBezTo>
                    <a:pt x="84" y="49"/>
                    <a:pt x="85" y="49"/>
                    <a:pt x="85" y="50"/>
                  </a:cubicBezTo>
                  <a:cubicBezTo>
                    <a:pt x="86" y="50"/>
                    <a:pt x="86" y="51"/>
                    <a:pt x="86" y="51"/>
                  </a:cubicBezTo>
                  <a:cubicBezTo>
                    <a:pt x="86" y="52"/>
                    <a:pt x="87" y="52"/>
                    <a:pt x="87" y="52"/>
                  </a:cubicBezTo>
                  <a:cubicBezTo>
                    <a:pt x="87" y="52"/>
                    <a:pt x="88" y="52"/>
                    <a:pt x="88" y="52"/>
                  </a:cubicBezTo>
                  <a:cubicBezTo>
                    <a:pt x="88" y="52"/>
                    <a:pt x="87" y="52"/>
                    <a:pt x="87" y="53"/>
                  </a:cubicBezTo>
                  <a:cubicBezTo>
                    <a:pt x="87" y="53"/>
                    <a:pt x="86" y="53"/>
                    <a:pt x="86" y="54"/>
                  </a:cubicBezTo>
                  <a:cubicBezTo>
                    <a:pt x="86" y="54"/>
                    <a:pt x="86" y="54"/>
                    <a:pt x="85" y="55"/>
                  </a:cubicBezTo>
                  <a:cubicBezTo>
                    <a:pt x="85" y="55"/>
                    <a:pt x="85" y="56"/>
                    <a:pt x="85" y="56"/>
                  </a:cubicBezTo>
                  <a:cubicBezTo>
                    <a:pt x="84" y="56"/>
                    <a:pt x="84" y="56"/>
                    <a:pt x="84" y="57"/>
                  </a:cubicBezTo>
                  <a:cubicBezTo>
                    <a:pt x="84" y="57"/>
                    <a:pt x="84" y="57"/>
                    <a:pt x="84" y="57"/>
                  </a:cubicBezTo>
                  <a:cubicBezTo>
                    <a:pt x="84" y="58"/>
                    <a:pt x="84" y="58"/>
                    <a:pt x="83" y="58"/>
                  </a:cubicBezTo>
                  <a:cubicBezTo>
                    <a:pt x="83" y="58"/>
                    <a:pt x="83" y="58"/>
                    <a:pt x="83" y="59"/>
                  </a:cubicBezTo>
                  <a:cubicBezTo>
                    <a:pt x="83" y="59"/>
                    <a:pt x="83" y="60"/>
                    <a:pt x="83" y="60"/>
                  </a:cubicBezTo>
                  <a:cubicBezTo>
                    <a:pt x="83" y="61"/>
                    <a:pt x="82" y="61"/>
                    <a:pt x="82" y="62"/>
                  </a:cubicBezTo>
                  <a:cubicBezTo>
                    <a:pt x="82" y="62"/>
                    <a:pt x="82" y="63"/>
                    <a:pt x="81" y="63"/>
                  </a:cubicBezTo>
                  <a:cubicBezTo>
                    <a:pt x="81" y="64"/>
                    <a:pt x="81" y="64"/>
                    <a:pt x="81" y="64"/>
                  </a:cubicBezTo>
                  <a:cubicBezTo>
                    <a:pt x="81" y="65"/>
                    <a:pt x="81" y="65"/>
                    <a:pt x="81" y="66"/>
                  </a:cubicBezTo>
                  <a:cubicBezTo>
                    <a:pt x="82" y="66"/>
                    <a:pt x="82" y="66"/>
                    <a:pt x="82" y="67"/>
                  </a:cubicBezTo>
                  <a:cubicBezTo>
                    <a:pt x="81" y="67"/>
                    <a:pt x="81" y="67"/>
                    <a:pt x="81" y="68"/>
                  </a:cubicBezTo>
                  <a:cubicBezTo>
                    <a:pt x="81" y="68"/>
                    <a:pt x="81" y="69"/>
                    <a:pt x="81" y="69"/>
                  </a:cubicBezTo>
                  <a:cubicBezTo>
                    <a:pt x="81" y="69"/>
                    <a:pt x="80" y="69"/>
                    <a:pt x="80" y="69"/>
                  </a:cubicBezTo>
                  <a:cubicBezTo>
                    <a:pt x="80" y="69"/>
                    <a:pt x="80" y="70"/>
                    <a:pt x="80" y="70"/>
                  </a:cubicBezTo>
                  <a:cubicBezTo>
                    <a:pt x="80" y="70"/>
                    <a:pt x="80" y="71"/>
                    <a:pt x="80" y="71"/>
                  </a:cubicBezTo>
                  <a:cubicBezTo>
                    <a:pt x="80" y="71"/>
                    <a:pt x="80" y="71"/>
                    <a:pt x="80" y="71"/>
                  </a:cubicBezTo>
                  <a:cubicBezTo>
                    <a:pt x="80" y="71"/>
                    <a:pt x="81" y="72"/>
                    <a:pt x="81" y="72"/>
                  </a:cubicBezTo>
                  <a:cubicBezTo>
                    <a:pt x="81" y="72"/>
                    <a:pt x="81" y="72"/>
                    <a:pt x="82" y="73"/>
                  </a:cubicBezTo>
                  <a:cubicBezTo>
                    <a:pt x="82" y="73"/>
                    <a:pt x="82" y="73"/>
                    <a:pt x="82" y="73"/>
                  </a:cubicBezTo>
                  <a:cubicBezTo>
                    <a:pt x="82" y="74"/>
                    <a:pt x="83" y="74"/>
                    <a:pt x="82" y="74"/>
                  </a:cubicBezTo>
                  <a:cubicBezTo>
                    <a:pt x="82" y="74"/>
                    <a:pt x="82" y="74"/>
                    <a:pt x="82" y="74"/>
                  </a:cubicBezTo>
                  <a:cubicBezTo>
                    <a:pt x="81" y="74"/>
                    <a:pt x="80" y="74"/>
                    <a:pt x="80" y="75"/>
                  </a:cubicBezTo>
                  <a:cubicBezTo>
                    <a:pt x="80" y="75"/>
                    <a:pt x="80" y="76"/>
                    <a:pt x="80" y="76"/>
                  </a:cubicBezTo>
                  <a:cubicBezTo>
                    <a:pt x="81" y="76"/>
                    <a:pt x="81" y="77"/>
                    <a:pt x="81" y="77"/>
                  </a:cubicBezTo>
                  <a:cubicBezTo>
                    <a:pt x="81" y="77"/>
                    <a:pt x="81" y="78"/>
                    <a:pt x="81" y="78"/>
                  </a:cubicBezTo>
                  <a:cubicBezTo>
                    <a:pt x="81" y="79"/>
                    <a:pt x="81" y="79"/>
                    <a:pt x="81" y="79"/>
                  </a:cubicBezTo>
                  <a:cubicBezTo>
                    <a:pt x="81" y="80"/>
                    <a:pt x="82" y="80"/>
                    <a:pt x="82" y="80"/>
                  </a:cubicBezTo>
                  <a:cubicBezTo>
                    <a:pt x="82" y="81"/>
                    <a:pt x="83" y="81"/>
                    <a:pt x="83" y="82"/>
                  </a:cubicBezTo>
                  <a:cubicBezTo>
                    <a:pt x="83" y="82"/>
                    <a:pt x="83" y="82"/>
                    <a:pt x="83" y="82"/>
                  </a:cubicBezTo>
                  <a:cubicBezTo>
                    <a:pt x="83" y="86"/>
                    <a:pt x="83" y="86"/>
                    <a:pt x="83" y="86"/>
                  </a:cubicBezTo>
                  <a:cubicBezTo>
                    <a:pt x="83" y="87"/>
                    <a:pt x="83" y="87"/>
                    <a:pt x="83" y="87"/>
                  </a:cubicBezTo>
                  <a:cubicBezTo>
                    <a:pt x="83" y="87"/>
                    <a:pt x="82" y="87"/>
                    <a:pt x="82" y="88"/>
                  </a:cubicBezTo>
                  <a:cubicBezTo>
                    <a:pt x="81" y="88"/>
                    <a:pt x="81" y="88"/>
                    <a:pt x="81" y="88"/>
                  </a:cubicBezTo>
                  <a:cubicBezTo>
                    <a:pt x="81" y="88"/>
                    <a:pt x="80" y="88"/>
                    <a:pt x="80" y="88"/>
                  </a:cubicBezTo>
                  <a:cubicBezTo>
                    <a:pt x="80" y="89"/>
                    <a:pt x="80" y="89"/>
                    <a:pt x="81" y="90"/>
                  </a:cubicBezTo>
                  <a:cubicBezTo>
                    <a:pt x="81" y="90"/>
                    <a:pt x="81" y="90"/>
                    <a:pt x="81" y="90"/>
                  </a:cubicBezTo>
                  <a:cubicBezTo>
                    <a:pt x="80" y="91"/>
                    <a:pt x="80" y="90"/>
                    <a:pt x="80" y="90"/>
                  </a:cubicBezTo>
                  <a:cubicBezTo>
                    <a:pt x="80" y="90"/>
                    <a:pt x="79" y="90"/>
                    <a:pt x="79" y="90"/>
                  </a:cubicBezTo>
                  <a:cubicBezTo>
                    <a:pt x="79" y="90"/>
                    <a:pt x="79" y="89"/>
                    <a:pt x="78" y="89"/>
                  </a:cubicBezTo>
                  <a:cubicBezTo>
                    <a:pt x="78" y="89"/>
                    <a:pt x="77" y="89"/>
                    <a:pt x="77" y="89"/>
                  </a:cubicBezTo>
                  <a:cubicBezTo>
                    <a:pt x="77" y="90"/>
                    <a:pt x="77" y="91"/>
                    <a:pt x="76" y="91"/>
                  </a:cubicBezTo>
                  <a:cubicBezTo>
                    <a:pt x="76" y="91"/>
                    <a:pt x="75" y="92"/>
                    <a:pt x="75" y="92"/>
                  </a:cubicBezTo>
                  <a:cubicBezTo>
                    <a:pt x="75" y="93"/>
                    <a:pt x="75" y="93"/>
                    <a:pt x="75" y="94"/>
                  </a:cubicBezTo>
                  <a:cubicBezTo>
                    <a:pt x="75" y="94"/>
                    <a:pt x="74" y="95"/>
                    <a:pt x="74" y="95"/>
                  </a:cubicBezTo>
                  <a:cubicBezTo>
                    <a:pt x="73" y="96"/>
                    <a:pt x="73" y="97"/>
                    <a:pt x="72" y="98"/>
                  </a:cubicBezTo>
                  <a:cubicBezTo>
                    <a:pt x="71" y="99"/>
                    <a:pt x="70" y="99"/>
                    <a:pt x="70" y="99"/>
                  </a:cubicBezTo>
                  <a:cubicBezTo>
                    <a:pt x="69" y="98"/>
                    <a:pt x="69" y="98"/>
                    <a:pt x="69" y="98"/>
                  </a:cubicBezTo>
                  <a:cubicBezTo>
                    <a:pt x="68" y="98"/>
                    <a:pt x="68" y="97"/>
                    <a:pt x="68" y="97"/>
                  </a:cubicBezTo>
                  <a:cubicBezTo>
                    <a:pt x="67" y="97"/>
                    <a:pt x="67" y="96"/>
                    <a:pt x="66" y="96"/>
                  </a:cubicBezTo>
                  <a:cubicBezTo>
                    <a:pt x="66" y="95"/>
                    <a:pt x="65" y="96"/>
                    <a:pt x="65" y="96"/>
                  </a:cubicBezTo>
                  <a:cubicBezTo>
                    <a:pt x="65" y="96"/>
                    <a:pt x="65" y="96"/>
                    <a:pt x="64" y="97"/>
                  </a:cubicBezTo>
                  <a:cubicBezTo>
                    <a:pt x="64" y="97"/>
                    <a:pt x="64" y="96"/>
                    <a:pt x="64" y="97"/>
                  </a:cubicBezTo>
                  <a:cubicBezTo>
                    <a:pt x="63" y="97"/>
                    <a:pt x="63" y="98"/>
                    <a:pt x="63" y="98"/>
                  </a:cubicBezTo>
                  <a:cubicBezTo>
                    <a:pt x="63" y="98"/>
                    <a:pt x="64" y="100"/>
                    <a:pt x="63" y="100"/>
                  </a:cubicBezTo>
                  <a:cubicBezTo>
                    <a:pt x="63" y="100"/>
                    <a:pt x="63" y="99"/>
                    <a:pt x="63" y="99"/>
                  </a:cubicBezTo>
                  <a:cubicBezTo>
                    <a:pt x="62" y="98"/>
                    <a:pt x="62" y="99"/>
                    <a:pt x="62" y="99"/>
                  </a:cubicBezTo>
                  <a:cubicBezTo>
                    <a:pt x="61" y="99"/>
                    <a:pt x="61" y="100"/>
                    <a:pt x="60" y="100"/>
                  </a:cubicBezTo>
                  <a:cubicBezTo>
                    <a:pt x="60" y="99"/>
                    <a:pt x="61" y="99"/>
                    <a:pt x="61" y="99"/>
                  </a:cubicBezTo>
                  <a:cubicBezTo>
                    <a:pt x="61" y="98"/>
                    <a:pt x="61" y="98"/>
                    <a:pt x="62" y="97"/>
                  </a:cubicBezTo>
                  <a:cubicBezTo>
                    <a:pt x="62" y="97"/>
                    <a:pt x="62" y="97"/>
                    <a:pt x="62" y="96"/>
                  </a:cubicBezTo>
                  <a:cubicBezTo>
                    <a:pt x="62" y="96"/>
                    <a:pt x="62" y="96"/>
                    <a:pt x="61" y="96"/>
                  </a:cubicBezTo>
                  <a:cubicBezTo>
                    <a:pt x="61" y="95"/>
                    <a:pt x="61" y="95"/>
                    <a:pt x="62" y="95"/>
                  </a:cubicBezTo>
                  <a:cubicBezTo>
                    <a:pt x="62" y="95"/>
                    <a:pt x="62" y="94"/>
                    <a:pt x="62" y="94"/>
                  </a:cubicBezTo>
                  <a:cubicBezTo>
                    <a:pt x="62" y="93"/>
                    <a:pt x="62" y="93"/>
                    <a:pt x="62" y="92"/>
                  </a:cubicBezTo>
                  <a:cubicBezTo>
                    <a:pt x="62" y="92"/>
                    <a:pt x="62" y="91"/>
                    <a:pt x="62" y="91"/>
                  </a:cubicBezTo>
                  <a:cubicBezTo>
                    <a:pt x="63" y="90"/>
                    <a:pt x="63" y="90"/>
                    <a:pt x="63" y="89"/>
                  </a:cubicBezTo>
                  <a:cubicBezTo>
                    <a:pt x="64" y="89"/>
                    <a:pt x="64" y="88"/>
                    <a:pt x="64" y="88"/>
                  </a:cubicBezTo>
                  <a:cubicBezTo>
                    <a:pt x="65" y="88"/>
                    <a:pt x="65" y="88"/>
                    <a:pt x="65" y="88"/>
                  </a:cubicBezTo>
                  <a:cubicBezTo>
                    <a:pt x="66" y="88"/>
                    <a:pt x="66" y="87"/>
                    <a:pt x="66" y="87"/>
                  </a:cubicBezTo>
                  <a:cubicBezTo>
                    <a:pt x="66" y="87"/>
                    <a:pt x="65" y="86"/>
                    <a:pt x="66" y="86"/>
                  </a:cubicBezTo>
                  <a:cubicBezTo>
                    <a:pt x="66" y="86"/>
                    <a:pt x="67" y="86"/>
                    <a:pt x="67" y="87"/>
                  </a:cubicBezTo>
                  <a:cubicBezTo>
                    <a:pt x="67" y="87"/>
                    <a:pt x="67" y="87"/>
                    <a:pt x="67" y="87"/>
                  </a:cubicBezTo>
                  <a:cubicBezTo>
                    <a:pt x="67" y="88"/>
                    <a:pt x="67" y="88"/>
                    <a:pt x="67" y="88"/>
                  </a:cubicBezTo>
                  <a:cubicBezTo>
                    <a:pt x="67" y="89"/>
                    <a:pt x="67" y="89"/>
                    <a:pt x="67" y="90"/>
                  </a:cubicBezTo>
                  <a:cubicBezTo>
                    <a:pt x="67" y="90"/>
                    <a:pt x="67" y="90"/>
                    <a:pt x="67" y="91"/>
                  </a:cubicBezTo>
                  <a:cubicBezTo>
                    <a:pt x="67" y="91"/>
                    <a:pt x="67" y="92"/>
                    <a:pt x="67" y="92"/>
                  </a:cubicBezTo>
                  <a:cubicBezTo>
                    <a:pt x="67" y="92"/>
                    <a:pt x="67" y="93"/>
                    <a:pt x="67" y="93"/>
                  </a:cubicBezTo>
                  <a:cubicBezTo>
                    <a:pt x="67" y="93"/>
                    <a:pt x="67" y="93"/>
                    <a:pt x="67" y="94"/>
                  </a:cubicBezTo>
                  <a:cubicBezTo>
                    <a:pt x="67" y="94"/>
                    <a:pt x="67" y="94"/>
                    <a:pt x="67" y="94"/>
                  </a:cubicBezTo>
                  <a:cubicBezTo>
                    <a:pt x="68" y="95"/>
                    <a:pt x="68" y="95"/>
                    <a:pt x="68" y="95"/>
                  </a:cubicBezTo>
                  <a:cubicBezTo>
                    <a:pt x="69" y="95"/>
                    <a:pt x="69" y="95"/>
                    <a:pt x="69" y="94"/>
                  </a:cubicBezTo>
                  <a:cubicBezTo>
                    <a:pt x="69" y="93"/>
                    <a:pt x="69" y="93"/>
                    <a:pt x="69" y="92"/>
                  </a:cubicBezTo>
                  <a:cubicBezTo>
                    <a:pt x="69" y="91"/>
                    <a:pt x="70" y="90"/>
                    <a:pt x="70" y="89"/>
                  </a:cubicBezTo>
                  <a:cubicBezTo>
                    <a:pt x="70" y="89"/>
                    <a:pt x="70" y="88"/>
                    <a:pt x="70" y="87"/>
                  </a:cubicBezTo>
                  <a:cubicBezTo>
                    <a:pt x="70" y="87"/>
                    <a:pt x="70" y="87"/>
                    <a:pt x="71" y="86"/>
                  </a:cubicBezTo>
                  <a:cubicBezTo>
                    <a:pt x="71" y="86"/>
                    <a:pt x="72" y="85"/>
                    <a:pt x="72" y="85"/>
                  </a:cubicBezTo>
                  <a:cubicBezTo>
                    <a:pt x="72" y="86"/>
                    <a:pt x="73" y="86"/>
                    <a:pt x="72" y="86"/>
                  </a:cubicBezTo>
                  <a:cubicBezTo>
                    <a:pt x="72" y="87"/>
                    <a:pt x="72" y="87"/>
                    <a:pt x="72" y="87"/>
                  </a:cubicBezTo>
                  <a:cubicBezTo>
                    <a:pt x="72" y="88"/>
                    <a:pt x="72" y="88"/>
                    <a:pt x="72" y="89"/>
                  </a:cubicBezTo>
                  <a:cubicBezTo>
                    <a:pt x="72" y="89"/>
                    <a:pt x="72" y="89"/>
                    <a:pt x="73" y="90"/>
                  </a:cubicBezTo>
                  <a:cubicBezTo>
                    <a:pt x="73" y="90"/>
                    <a:pt x="73" y="90"/>
                    <a:pt x="74" y="90"/>
                  </a:cubicBezTo>
                  <a:cubicBezTo>
                    <a:pt x="74" y="91"/>
                    <a:pt x="75" y="91"/>
                    <a:pt x="75" y="90"/>
                  </a:cubicBezTo>
                  <a:cubicBezTo>
                    <a:pt x="75" y="90"/>
                    <a:pt x="75" y="90"/>
                    <a:pt x="75" y="90"/>
                  </a:cubicBezTo>
                  <a:cubicBezTo>
                    <a:pt x="75" y="78"/>
                    <a:pt x="75" y="78"/>
                    <a:pt x="75" y="78"/>
                  </a:cubicBezTo>
                  <a:cubicBezTo>
                    <a:pt x="75" y="75"/>
                    <a:pt x="75" y="75"/>
                    <a:pt x="75" y="75"/>
                  </a:cubicBezTo>
                  <a:cubicBezTo>
                    <a:pt x="75" y="75"/>
                    <a:pt x="75" y="75"/>
                    <a:pt x="76" y="75"/>
                  </a:cubicBezTo>
                  <a:cubicBezTo>
                    <a:pt x="76" y="74"/>
                    <a:pt x="76" y="75"/>
                    <a:pt x="77" y="75"/>
                  </a:cubicBezTo>
                  <a:cubicBezTo>
                    <a:pt x="78" y="75"/>
                    <a:pt x="77" y="73"/>
                    <a:pt x="77" y="73"/>
                  </a:cubicBezTo>
                  <a:cubicBezTo>
                    <a:pt x="77" y="72"/>
                    <a:pt x="77" y="72"/>
                    <a:pt x="77" y="71"/>
                  </a:cubicBezTo>
                  <a:cubicBezTo>
                    <a:pt x="77" y="71"/>
                    <a:pt x="77" y="70"/>
                    <a:pt x="77" y="70"/>
                  </a:cubicBezTo>
                  <a:cubicBezTo>
                    <a:pt x="77" y="70"/>
                    <a:pt x="77" y="70"/>
                    <a:pt x="77" y="70"/>
                  </a:cubicBezTo>
                  <a:cubicBezTo>
                    <a:pt x="76" y="69"/>
                    <a:pt x="77" y="68"/>
                    <a:pt x="76" y="68"/>
                  </a:cubicBezTo>
                  <a:cubicBezTo>
                    <a:pt x="76" y="68"/>
                    <a:pt x="75" y="68"/>
                    <a:pt x="76" y="67"/>
                  </a:cubicBezTo>
                  <a:cubicBezTo>
                    <a:pt x="76" y="67"/>
                    <a:pt x="77" y="67"/>
                    <a:pt x="77" y="67"/>
                  </a:cubicBezTo>
                  <a:cubicBezTo>
                    <a:pt x="78" y="67"/>
                    <a:pt x="78" y="66"/>
                    <a:pt x="78" y="65"/>
                  </a:cubicBezTo>
                  <a:cubicBezTo>
                    <a:pt x="78" y="64"/>
                    <a:pt x="78" y="63"/>
                    <a:pt x="78" y="62"/>
                  </a:cubicBezTo>
                  <a:cubicBezTo>
                    <a:pt x="78" y="62"/>
                    <a:pt x="77" y="61"/>
                    <a:pt x="77" y="61"/>
                  </a:cubicBezTo>
                  <a:cubicBezTo>
                    <a:pt x="77" y="60"/>
                    <a:pt x="77" y="60"/>
                    <a:pt x="77" y="59"/>
                  </a:cubicBezTo>
                  <a:cubicBezTo>
                    <a:pt x="77" y="59"/>
                    <a:pt x="77" y="59"/>
                    <a:pt x="77" y="58"/>
                  </a:cubicBezTo>
                  <a:cubicBezTo>
                    <a:pt x="76" y="58"/>
                    <a:pt x="76" y="58"/>
                    <a:pt x="76" y="58"/>
                  </a:cubicBezTo>
                  <a:cubicBezTo>
                    <a:pt x="75" y="58"/>
                    <a:pt x="75" y="58"/>
                    <a:pt x="75" y="59"/>
                  </a:cubicBezTo>
                  <a:cubicBezTo>
                    <a:pt x="74" y="59"/>
                    <a:pt x="74" y="59"/>
                    <a:pt x="74" y="60"/>
                  </a:cubicBezTo>
                  <a:cubicBezTo>
                    <a:pt x="73" y="60"/>
                    <a:pt x="73" y="60"/>
                    <a:pt x="73" y="61"/>
                  </a:cubicBezTo>
                  <a:cubicBezTo>
                    <a:pt x="72" y="62"/>
                    <a:pt x="72" y="62"/>
                    <a:pt x="72" y="63"/>
                  </a:cubicBezTo>
                  <a:cubicBezTo>
                    <a:pt x="71" y="63"/>
                    <a:pt x="71" y="63"/>
                    <a:pt x="71" y="64"/>
                  </a:cubicBezTo>
                  <a:cubicBezTo>
                    <a:pt x="70" y="65"/>
                    <a:pt x="70" y="65"/>
                    <a:pt x="70" y="66"/>
                  </a:cubicBezTo>
                  <a:cubicBezTo>
                    <a:pt x="70" y="66"/>
                    <a:pt x="70" y="67"/>
                    <a:pt x="69" y="68"/>
                  </a:cubicBezTo>
                  <a:cubicBezTo>
                    <a:pt x="69" y="68"/>
                    <a:pt x="69" y="69"/>
                    <a:pt x="69" y="69"/>
                  </a:cubicBezTo>
                  <a:cubicBezTo>
                    <a:pt x="68" y="70"/>
                    <a:pt x="68" y="70"/>
                    <a:pt x="67" y="70"/>
                  </a:cubicBezTo>
                  <a:cubicBezTo>
                    <a:pt x="65" y="71"/>
                    <a:pt x="62" y="73"/>
                    <a:pt x="61" y="76"/>
                  </a:cubicBezTo>
                  <a:cubicBezTo>
                    <a:pt x="61" y="76"/>
                    <a:pt x="61" y="77"/>
                    <a:pt x="60" y="77"/>
                  </a:cubicBezTo>
                  <a:cubicBezTo>
                    <a:pt x="59" y="77"/>
                    <a:pt x="59" y="77"/>
                    <a:pt x="59" y="76"/>
                  </a:cubicBezTo>
                  <a:cubicBezTo>
                    <a:pt x="59" y="76"/>
                    <a:pt x="59" y="76"/>
                    <a:pt x="59" y="75"/>
                  </a:cubicBezTo>
                  <a:cubicBezTo>
                    <a:pt x="60" y="75"/>
                    <a:pt x="60" y="74"/>
                    <a:pt x="60" y="74"/>
                  </a:cubicBezTo>
                  <a:cubicBezTo>
                    <a:pt x="60" y="74"/>
                    <a:pt x="61" y="73"/>
                    <a:pt x="61" y="73"/>
                  </a:cubicBezTo>
                  <a:cubicBezTo>
                    <a:pt x="62" y="73"/>
                    <a:pt x="62" y="72"/>
                    <a:pt x="63" y="72"/>
                  </a:cubicBezTo>
                  <a:cubicBezTo>
                    <a:pt x="63" y="71"/>
                    <a:pt x="63" y="70"/>
                    <a:pt x="63" y="69"/>
                  </a:cubicBezTo>
                  <a:cubicBezTo>
                    <a:pt x="63" y="69"/>
                    <a:pt x="64" y="68"/>
                    <a:pt x="65" y="67"/>
                  </a:cubicBezTo>
                  <a:cubicBezTo>
                    <a:pt x="65" y="67"/>
                    <a:pt x="65" y="66"/>
                    <a:pt x="66" y="66"/>
                  </a:cubicBezTo>
                  <a:cubicBezTo>
                    <a:pt x="66" y="66"/>
                    <a:pt x="66" y="66"/>
                    <a:pt x="66" y="65"/>
                  </a:cubicBezTo>
                  <a:cubicBezTo>
                    <a:pt x="67" y="65"/>
                    <a:pt x="67" y="65"/>
                    <a:pt x="67" y="65"/>
                  </a:cubicBezTo>
                  <a:cubicBezTo>
                    <a:pt x="67" y="66"/>
                    <a:pt x="67" y="66"/>
                    <a:pt x="67" y="67"/>
                  </a:cubicBezTo>
                  <a:cubicBezTo>
                    <a:pt x="67" y="67"/>
                    <a:pt x="66" y="68"/>
                    <a:pt x="67" y="69"/>
                  </a:cubicBezTo>
                  <a:cubicBezTo>
                    <a:pt x="67" y="70"/>
                    <a:pt x="68" y="69"/>
                    <a:pt x="68" y="68"/>
                  </a:cubicBezTo>
                  <a:cubicBezTo>
                    <a:pt x="68" y="68"/>
                    <a:pt x="68" y="67"/>
                    <a:pt x="68" y="66"/>
                  </a:cubicBezTo>
                  <a:cubicBezTo>
                    <a:pt x="68" y="66"/>
                    <a:pt x="68" y="66"/>
                    <a:pt x="68" y="66"/>
                  </a:cubicBezTo>
                  <a:cubicBezTo>
                    <a:pt x="68" y="65"/>
                    <a:pt x="69" y="65"/>
                    <a:pt x="69" y="64"/>
                  </a:cubicBezTo>
                  <a:cubicBezTo>
                    <a:pt x="69" y="64"/>
                    <a:pt x="69" y="64"/>
                    <a:pt x="69" y="63"/>
                  </a:cubicBezTo>
                  <a:cubicBezTo>
                    <a:pt x="69" y="63"/>
                    <a:pt x="70" y="63"/>
                    <a:pt x="70" y="62"/>
                  </a:cubicBezTo>
                  <a:cubicBezTo>
                    <a:pt x="70" y="62"/>
                    <a:pt x="71" y="62"/>
                    <a:pt x="71" y="61"/>
                  </a:cubicBezTo>
                  <a:cubicBezTo>
                    <a:pt x="71" y="61"/>
                    <a:pt x="72" y="61"/>
                    <a:pt x="72" y="61"/>
                  </a:cubicBezTo>
                  <a:cubicBezTo>
                    <a:pt x="72" y="60"/>
                    <a:pt x="72" y="60"/>
                    <a:pt x="72" y="60"/>
                  </a:cubicBezTo>
                  <a:cubicBezTo>
                    <a:pt x="72" y="59"/>
                    <a:pt x="72" y="59"/>
                    <a:pt x="72" y="59"/>
                  </a:cubicBezTo>
                  <a:cubicBezTo>
                    <a:pt x="72" y="58"/>
                    <a:pt x="72" y="58"/>
                    <a:pt x="72" y="58"/>
                  </a:cubicBezTo>
                  <a:cubicBezTo>
                    <a:pt x="72" y="56"/>
                    <a:pt x="70" y="55"/>
                    <a:pt x="70" y="54"/>
                  </a:cubicBezTo>
                  <a:cubicBezTo>
                    <a:pt x="70" y="53"/>
                    <a:pt x="70" y="53"/>
                    <a:pt x="70" y="53"/>
                  </a:cubicBezTo>
                  <a:cubicBezTo>
                    <a:pt x="70" y="52"/>
                    <a:pt x="70" y="52"/>
                    <a:pt x="70" y="52"/>
                  </a:cubicBezTo>
                  <a:cubicBezTo>
                    <a:pt x="69" y="51"/>
                    <a:pt x="69" y="51"/>
                    <a:pt x="69" y="50"/>
                  </a:cubicBezTo>
                  <a:cubicBezTo>
                    <a:pt x="68" y="50"/>
                    <a:pt x="68" y="49"/>
                    <a:pt x="67" y="49"/>
                  </a:cubicBezTo>
                  <a:cubicBezTo>
                    <a:pt x="67" y="48"/>
                    <a:pt x="67" y="48"/>
                    <a:pt x="67" y="47"/>
                  </a:cubicBezTo>
                  <a:cubicBezTo>
                    <a:pt x="68" y="47"/>
                    <a:pt x="69" y="46"/>
                    <a:pt x="68" y="46"/>
                  </a:cubicBezTo>
                  <a:cubicBezTo>
                    <a:pt x="68" y="45"/>
                    <a:pt x="67" y="45"/>
                    <a:pt x="66" y="46"/>
                  </a:cubicBezTo>
                  <a:cubicBezTo>
                    <a:pt x="66" y="46"/>
                    <a:pt x="66" y="46"/>
                    <a:pt x="66" y="46"/>
                  </a:cubicBezTo>
                  <a:cubicBezTo>
                    <a:pt x="66" y="46"/>
                    <a:pt x="65" y="46"/>
                    <a:pt x="65" y="47"/>
                  </a:cubicBezTo>
                  <a:cubicBezTo>
                    <a:pt x="65" y="47"/>
                    <a:pt x="65" y="47"/>
                    <a:pt x="65" y="47"/>
                  </a:cubicBezTo>
                  <a:cubicBezTo>
                    <a:pt x="65" y="48"/>
                    <a:pt x="65" y="48"/>
                    <a:pt x="65" y="48"/>
                  </a:cubicBezTo>
                  <a:cubicBezTo>
                    <a:pt x="64" y="48"/>
                    <a:pt x="64" y="49"/>
                    <a:pt x="64" y="50"/>
                  </a:cubicBezTo>
                  <a:cubicBezTo>
                    <a:pt x="64" y="50"/>
                    <a:pt x="65" y="50"/>
                    <a:pt x="65" y="51"/>
                  </a:cubicBezTo>
                  <a:cubicBezTo>
                    <a:pt x="65" y="51"/>
                    <a:pt x="66" y="52"/>
                    <a:pt x="66" y="52"/>
                  </a:cubicBezTo>
                  <a:cubicBezTo>
                    <a:pt x="65" y="53"/>
                    <a:pt x="65" y="52"/>
                    <a:pt x="64" y="52"/>
                  </a:cubicBezTo>
                  <a:cubicBezTo>
                    <a:pt x="64" y="51"/>
                    <a:pt x="64" y="51"/>
                    <a:pt x="63" y="51"/>
                  </a:cubicBezTo>
                  <a:cubicBezTo>
                    <a:pt x="63" y="50"/>
                    <a:pt x="62" y="50"/>
                    <a:pt x="62" y="49"/>
                  </a:cubicBezTo>
                  <a:cubicBezTo>
                    <a:pt x="62" y="49"/>
                    <a:pt x="61" y="49"/>
                    <a:pt x="61" y="48"/>
                  </a:cubicBezTo>
                  <a:cubicBezTo>
                    <a:pt x="61" y="48"/>
                    <a:pt x="61" y="48"/>
                    <a:pt x="60" y="49"/>
                  </a:cubicBezTo>
                  <a:cubicBezTo>
                    <a:pt x="60" y="49"/>
                    <a:pt x="61" y="50"/>
                    <a:pt x="60" y="51"/>
                  </a:cubicBezTo>
                  <a:cubicBezTo>
                    <a:pt x="60" y="52"/>
                    <a:pt x="60" y="51"/>
                    <a:pt x="60" y="51"/>
                  </a:cubicBezTo>
                  <a:cubicBezTo>
                    <a:pt x="59" y="50"/>
                    <a:pt x="59" y="50"/>
                    <a:pt x="59" y="49"/>
                  </a:cubicBezTo>
                  <a:cubicBezTo>
                    <a:pt x="58" y="49"/>
                    <a:pt x="58" y="48"/>
                    <a:pt x="58" y="48"/>
                  </a:cubicBezTo>
                  <a:cubicBezTo>
                    <a:pt x="58" y="47"/>
                    <a:pt x="57" y="47"/>
                    <a:pt x="57" y="46"/>
                  </a:cubicBezTo>
                  <a:cubicBezTo>
                    <a:pt x="56" y="46"/>
                    <a:pt x="56" y="44"/>
                    <a:pt x="55" y="45"/>
                  </a:cubicBezTo>
                  <a:cubicBezTo>
                    <a:pt x="55" y="46"/>
                    <a:pt x="54" y="46"/>
                    <a:pt x="53" y="46"/>
                  </a:cubicBezTo>
                  <a:cubicBezTo>
                    <a:pt x="53" y="46"/>
                    <a:pt x="52" y="47"/>
                    <a:pt x="52" y="47"/>
                  </a:cubicBezTo>
                  <a:cubicBezTo>
                    <a:pt x="45" y="47"/>
                    <a:pt x="45" y="47"/>
                    <a:pt x="45" y="47"/>
                  </a:cubicBezTo>
                  <a:cubicBezTo>
                    <a:pt x="45" y="47"/>
                    <a:pt x="44" y="46"/>
                    <a:pt x="43" y="46"/>
                  </a:cubicBezTo>
                  <a:cubicBezTo>
                    <a:pt x="42" y="46"/>
                    <a:pt x="42" y="45"/>
                    <a:pt x="41" y="45"/>
                  </a:cubicBezTo>
                  <a:cubicBezTo>
                    <a:pt x="41" y="45"/>
                    <a:pt x="41" y="45"/>
                    <a:pt x="41" y="45"/>
                  </a:cubicBezTo>
                  <a:cubicBezTo>
                    <a:pt x="27" y="45"/>
                    <a:pt x="27" y="45"/>
                    <a:pt x="27" y="45"/>
                  </a:cubicBezTo>
                  <a:cubicBezTo>
                    <a:pt x="27" y="45"/>
                    <a:pt x="26" y="45"/>
                    <a:pt x="26" y="44"/>
                  </a:cubicBezTo>
                  <a:cubicBezTo>
                    <a:pt x="26" y="44"/>
                    <a:pt x="26" y="44"/>
                    <a:pt x="25" y="44"/>
                  </a:cubicBezTo>
                  <a:cubicBezTo>
                    <a:pt x="25" y="44"/>
                    <a:pt x="25" y="44"/>
                    <a:pt x="24" y="44"/>
                  </a:cubicBezTo>
                  <a:cubicBezTo>
                    <a:pt x="24" y="44"/>
                    <a:pt x="24" y="44"/>
                    <a:pt x="24" y="44"/>
                  </a:cubicBezTo>
                  <a:cubicBezTo>
                    <a:pt x="23" y="43"/>
                    <a:pt x="23" y="43"/>
                    <a:pt x="22" y="43"/>
                  </a:cubicBezTo>
                  <a:cubicBezTo>
                    <a:pt x="22" y="43"/>
                    <a:pt x="22" y="42"/>
                    <a:pt x="22" y="42"/>
                  </a:cubicBezTo>
                  <a:cubicBezTo>
                    <a:pt x="22" y="42"/>
                    <a:pt x="22" y="42"/>
                    <a:pt x="21" y="42"/>
                  </a:cubicBezTo>
                  <a:cubicBezTo>
                    <a:pt x="21" y="42"/>
                    <a:pt x="21" y="41"/>
                    <a:pt x="20" y="41"/>
                  </a:cubicBezTo>
                  <a:cubicBezTo>
                    <a:pt x="20" y="41"/>
                    <a:pt x="19" y="41"/>
                    <a:pt x="19" y="41"/>
                  </a:cubicBezTo>
                  <a:cubicBezTo>
                    <a:pt x="18" y="40"/>
                    <a:pt x="17" y="40"/>
                    <a:pt x="17" y="40"/>
                  </a:cubicBezTo>
                  <a:cubicBezTo>
                    <a:pt x="16" y="40"/>
                    <a:pt x="15" y="39"/>
                    <a:pt x="14" y="39"/>
                  </a:cubicBezTo>
                  <a:cubicBezTo>
                    <a:pt x="13" y="38"/>
                    <a:pt x="12" y="38"/>
                    <a:pt x="11" y="37"/>
                  </a:cubicBezTo>
                  <a:cubicBezTo>
                    <a:pt x="10" y="36"/>
                    <a:pt x="9" y="36"/>
                    <a:pt x="7" y="35"/>
                  </a:cubicBezTo>
                  <a:cubicBezTo>
                    <a:pt x="6" y="35"/>
                    <a:pt x="6" y="34"/>
                    <a:pt x="5" y="34"/>
                  </a:cubicBezTo>
                  <a:cubicBezTo>
                    <a:pt x="4" y="34"/>
                    <a:pt x="3" y="34"/>
                    <a:pt x="2" y="34"/>
                  </a:cubicBezTo>
                  <a:cubicBezTo>
                    <a:pt x="2" y="34"/>
                    <a:pt x="2" y="34"/>
                    <a:pt x="1" y="33"/>
                  </a:cubicBezTo>
                  <a:cubicBezTo>
                    <a:pt x="1" y="33"/>
                    <a:pt x="1" y="33"/>
                    <a:pt x="1" y="33"/>
                  </a:cubicBezTo>
                  <a:cubicBezTo>
                    <a:pt x="0" y="33"/>
                    <a:pt x="1" y="34"/>
                    <a:pt x="1" y="34"/>
                  </a:cubicBezTo>
                  <a:cubicBezTo>
                    <a:pt x="1" y="34"/>
                    <a:pt x="1" y="35"/>
                    <a:pt x="1" y="35"/>
                  </a:cubicBezTo>
                  <a:cubicBezTo>
                    <a:pt x="1" y="36"/>
                    <a:pt x="2" y="36"/>
                    <a:pt x="2" y="37"/>
                  </a:cubicBezTo>
                  <a:cubicBezTo>
                    <a:pt x="2" y="37"/>
                    <a:pt x="2" y="38"/>
                    <a:pt x="2" y="39"/>
                  </a:cubicBezTo>
                  <a:cubicBezTo>
                    <a:pt x="2" y="40"/>
                    <a:pt x="2" y="40"/>
                    <a:pt x="2" y="41"/>
                  </a:cubicBezTo>
                  <a:cubicBezTo>
                    <a:pt x="2" y="41"/>
                    <a:pt x="2" y="42"/>
                    <a:pt x="1" y="42"/>
                  </a:cubicBezTo>
                  <a:cubicBezTo>
                    <a:pt x="1" y="42"/>
                    <a:pt x="1" y="43"/>
                    <a:pt x="1" y="44"/>
                  </a:cubicBezTo>
                  <a:cubicBezTo>
                    <a:pt x="1" y="45"/>
                    <a:pt x="1" y="45"/>
                    <a:pt x="2" y="46"/>
                  </a:cubicBezTo>
                  <a:cubicBezTo>
                    <a:pt x="2" y="47"/>
                    <a:pt x="2" y="48"/>
                    <a:pt x="2" y="49"/>
                  </a:cubicBezTo>
                  <a:cubicBezTo>
                    <a:pt x="2" y="49"/>
                    <a:pt x="2" y="50"/>
                    <a:pt x="2" y="50"/>
                  </a:cubicBezTo>
                  <a:cubicBezTo>
                    <a:pt x="2" y="51"/>
                    <a:pt x="2" y="51"/>
                    <a:pt x="2" y="51"/>
                  </a:cubicBezTo>
                  <a:cubicBezTo>
                    <a:pt x="2" y="52"/>
                    <a:pt x="2" y="53"/>
                    <a:pt x="2" y="54"/>
                  </a:cubicBezTo>
                  <a:cubicBezTo>
                    <a:pt x="3" y="54"/>
                    <a:pt x="3" y="55"/>
                    <a:pt x="3" y="56"/>
                  </a:cubicBezTo>
                  <a:cubicBezTo>
                    <a:pt x="3" y="56"/>
                    <a:pt x="3" y="56"/>
                    <a:pt x="3" y="56"/>
                  </a:cubicBezTo>
                  <a:cubicBezTo>
                    <a:pt x="3" y="57"/>
                    <a:pt x="3" y="58"/>
                    <a:pt x="4" y="58"/>
                  </a:cubicBezTo>
                  <a:cubicBezTo>
                    <a:pt x="4" y="59"/>
                    <a:pt x="4" y="59"/>
                    <a:pt x="4" y="59"/>
                  </a:cubicBezTo>
                  <a:cubicBezTo>
                    <a:pt x="5" y="60"/>
                    <a:pt x="5" y="60"/>
                    <a:pt x="5" y="60"/>
                  </a:cubicBezTo>
                  <a:cubicBezTo>
                    <a:pt x="6" y="61"/>
                    <a:pt x="7" y="61"/>
                    <a:pt x="8" y="62"/>
                  </a:cubicBezTo>
                  <a:cubicBezTo>
                    <a:pt x="8" y="62"/>
                    <a:pt x="9" y="62"/>
                    <a:pt x="9" y="63"/>
                  </a:cubicBezTo>
                  <a:cubicBezTo>
                    <a:pt x="9" y="63"/>
                    <a:pt x="9" y="64"/>
                    <a:pt x="10" y="64"/>
                  </a:cubicBezTo>
                  <a:cubicBezTo>
                    <a:pt x="10" y="64"/>
                    <a:pt x="10" y="64"/>
                    <a:pt x="10" y="65"/>
                  </a:cubicBezTo>
                  <a:cubicBezTo>
                    <a:pt x="10" y="65"/>
                    <a:pt x="10" y="65"/>
                    <a:pt x="10" y="66"/>
                  </a:cubicBezTo>
                  <a:cubicBezTo>
                    <a:pt x="11" y="66"/>
                    <a:pt x="11" y="66"/>
                    <a:pt x="11" y="67"/>
                  </a:cubicBezTo>
                  <a:cubicBezTo>
                    <a:pt x="11" y="67"/>
                    <a:pt x="11" y="67"/>
                    <a:pt x="11" y="68"/>
                  </a:cubicBezTo>
                  <a:cubicBezTo>
                    <a:pt x="11" y="68"/>
                    <a:pt x="11" y="68"/>
                    <a:pt x="11" y="69"/>
                  </a:cubicBezTo>
                  <a:cubicBezTo>
                    <a:pt x="12" y="69"/>
                    <a:pt x="12" y="69"/>
                    <a:pt x="12" y="69"/>
                  </a:cubicBezTo>
                  <a:cubicBezTo>
                    <a:pt x="12" y="70"/>
                    <a:pt x="12" y="71"/>
                    <a:pt x="12" y="71"/>
                  </a:cubicBezTo>
                  <a:cubicBezTo>
                    <a:pt x="12" y="72"/>
                    <a:pt x="13" y="73"/>
                    <a:pt x="13" y="74"/>
                  </a:cubicBezTo>
                  <a:cubicBezTo>
                    <a:pt x="13" y="74"/>
                    <a:pt x="12" y="75"/>
                    <a:pt x="13" y="75"/>
                  </a:cubicBezTo>
                  <a:cubicBezTo>
                    <a:pt x="13" y="75"/>
                    <a:pt x="13" y="75"/>
                    <a:pt x="13" y="76"/>
                  </a:cubicBezTo>
                  <a:cubicBezTo>
                    <a:pt x="13" y="76"/>
                    <a:pt x="13" y="76"/>
                    <a:pt x="13" y="76"/>
                  </a:cubicBezTo>
                  <a:cubicBezTo>
                    <a:pt x="13" y="77"/>
                    <a:pt x="13" y="79"/>
                    <a:pt x="13" y="80"/>
                  </a:cubicBezTo>
                  <a:cubicBezTo>
                    <a:pt x="13" y="80"/>
                    <a:pt x="13" y="81"/>
                    <a:pt x="14" y="81"/>
                  </a:cubicBezTo>
                  <a:cubicBezTo>
                    <a:pt x="14" y="81"/>
                    <a:pt x="14" y="82"/>
                    <a:pt x="14" y="82"/>
                  </a:cubicBezTo>
                  <a:cubicBezTo>
                    <a:pt x="14" y="83"/>
                    <a:pt x="14" y="84"/>
                    <a:pt x="14" y="84"/>
                  </a:cubicBezTo>
                  <a:cubicBezTo>
                    <a:pt x="15" y="85"/>
                    <a:pt x="15" y="86"/>
                    <a:pt x="16" y="87"/>
                  </a:cubicBezTo>
                  <a:cubicBezTo>
                    <a:pt x="16" y="87"/>
                    <a:pt x="16" y="88"/>
                    <a:pt x="17" y="89"/>
                  </a:cubicBezTo>
                  <a:cubicBezTo>
                    <a:pt x="17" y="89"/>
                    <a:pt x="18" y="90"/>
                    <a:pt x="18" y="91"/>
                  </a:cubicBezTo>
                  <a:cubicBezTo>
                    <a:pt x="18" y="92"/>
                    <a:pt x="18" y="92"/>
                    <a:pt x="18" y="93"/>
                  </a:cubicBezTo>
                  <a:cubicBezTo>
                    <a:pt x="18" y="93"/>
                    <a:pt x="18" y="93"/>
                    <a:pt x="19" y="93"/>
                  </a:cubicBezTo>
                  <a:cubicBezTo>
                    <a:pt x="19" y="94"/>
                    <a:pt x="19" y="94"/>
                    <a:pt x="19" y="94"/>
                  </a:cubicBezTo>
                  <a:cubicBezTo>
                    <a:pt x="19" y="95"/>
                    <a:pt x="18" y="95"/>
                    <a:pt x="19" y="96"/>
                  </a:cubicBezTo>
                  <a:cubicBezTo>
                    <a:pt x="19" y="96"/>
                    <a:pt x="19" y="96"/>
                    <a:pt x="19" y="97"/>
                  </a:cubicBezTo>
                  <a:cubicBezTo>
                    <a:pt x="19" y="97"/>
                    <a:pt x="19" y="97"/>
                    <a:pt x="19" y="97"/>
                  </a:cubicBezTo>
                  <a:cubicBezTo>
                    <a:pt x="19" y="98"/>
                    <a:pt x="19" y="98"/>
                    <a:pt x="19" y="99"/>
                  </a:cubicBezTo>
                  <a:cubicBezTo>
                    <a:pt x="19" y="100"/>
                    <a:pt x="19" y="100"/>
                    <a:pt x="20" y="101"/>
                  </a:cubicBezTo>
                  <a:cubicBezTo>
                    <a:pt x="20" y="101"/>
                    <a:pt x="20" y="102"/>
                    <a:pt x="20" y="103"/>
                  </a:cubicBezTo>
                  <a:cubicBezTo>
                    <a:pt x="20" y="103"/>
                    <a:pt x="21" y="103"/>
                    <a:pt x="21" y="103"/>
                  </a:cubicBezTo>
                  <a:cubicBezTo>
                    <a:pt x="21" y="103"/>
                    <a:pt x="22" y="102"/>
                    <a:pt x="22" y="102"/>
                  </a:cubicBezTo>
                  <a:cubicBezTo>
                    <a:pt x="23" y="103"/>
                    <a:pt x="23" y="103"/>
                    <a:pt x="23" y="103"/>
                  </a:cubicBezTo>
                  <a:cubicBezTo>
                    <a:pt x="23" y="103"/>
                    <a:pt x="24" y="103"/>
                    <a:pt x="24" y="103"/>
                  </a:cubicBezTo>
                  <a:cubicBezTo>
                    <a:pt x="25" y="104"/>
                    <a:pt x="26" y="104"/>
                    <a:pt x="28" y="105"/>
                  </a:cubicBezTo>
                  <a:cubicBezTo>
                    <a:pt x="28" y="105"/>
                    <a:pt x="29" y="105"/>
                    <a:pt x="29" y="106"/>
                  </a:cubicBezTo>
                  <a:cubicBezTo>
                    <a:pt x="30" y="106"/>
                    <a:pt x="30" y="106"/>
                    <a:pt x="30" y="106"/>
                  </a:cubicBezTo>
                  <a:cubicBezTo>
                    <a:pt x="29" y="107"/>
                    <a:pt x="28" y="107"/>
                    <a:pt x="28" y="108"/>
                  </a:cubicBezTo>
                  <a:cubicBezTo>
                    <a:pt x="27" y="108"/>
                    <a:pt x="27" y="108"/>
                    <a:pt x="27" y="108"/>
                  </a:cubicBezTo>
                  <a:cubicBezTo>
                    <a:pt x="26" y="109"/>
                    <a:pt x="26" y="109"/>
                    <a:pt x="26" y="109"/>
                  </a:cubicBezTo>
                  <a:cubicBezTo>
                    <a:pt x="25" y="109"/>
                    <a:pt x="24" y="110"/>
                    <a:pt x="24" y="110"/>
                  </a:cubicBezTo>
                  <a:cubicBezTo>
                    <a:pt x="23" y="111"/>
                    <a:pt x="22" y="110"/>
                    <a:pt x="22" y="110"/>
                  </a:cubicBezTo>
                  <a:cubicBezTo>
                    <a:pt x="22" y="110"/>
                    <a:pt x="22" y="109"/>
                    <a:pt x="21" y="109"/>
                  </a:cubicBezTo>
                  <a:cubicBezTo>
                    <a:pt x="21" y="109"/>
                    <a:pt x="21" y="110"/>
                    <a:pt x="21" y="110"/>
                  </a:cubicBezTo>
                  <a:cubicBezTo>
                    <a:pt x="21" y="111"/>
                    <a:pt x="22" y="111"/>
                    <a:pt x="22" y="112"/>
                  </a:cubicBezTo>
                  <a:cubicBezTo>
                    <a:pt x="22" y="113"/>
                    <a:pt x="22" y="113"/>
                    <a:pt x="22" y="114"/>
                  </a:cubicBezTo>
                  <a:cubicBezTo>
                    <a:pt x="22" y="114"/>
                    <a:pt x="22" y="115"/>
                    <a:pt x="22" y="115"/>
                  </a:cubicBezTo>
                  <a:cubicBezTo>
                    <a:pt x="22" y="115"/>
                    <a:pt x="23" y="116"/>
                    <a:pt x="23" y="116"/>
                  </a:cubicBezTo>
                  <a:cubicBezTo>
                    <a:pt x="23" y="117"/>
                    <a:pt x="23" y="117"/>
                    <a:pt x="23" y="117"/>
                  </a:cubicBezTo>
                  <a:cubicBezTo>
                    <a:pt x="23" y="118"/>
                    <a:pt x="24" y="118"/>
                    <a:pt x="24" y="118"/>
                  </a:cubicBezTo>
                  <a:cubicBezTo>
                    <a:pt x="25" y="118"/>
                    <a:pt x="25" y="118"/>
                    <a:pt x="25" y="118"/>
                  </a:cubicBezTo>
                  <a:cubicBezTo>
                    <a:pt x="25" y="119"/>
                    <a:pt x="26" y="119"/>
                    <a:pt x="27" y="118"/>
                  </a:cubicBezTo>
                  <a:cubicBezTo>
                    <a:pt x="27" y="118"/>
                    <a:pt x="27" y="118"/>
                    <a:pt x="27" y="117"/>
                  </a:cubicBezTo>
                  <a:cubicBezTo>
                    <a:pt x="28" y="117"/>
                    <a:pt x="29" y="117"/>
                    <a:pt x="30" y="118"/>
                  </a:cubicBezTo>
                  <a:cubicBezTo>
                    <a:pt x="31" y="118"/>
                    <a:pt x="31" y="118"/>
                    <a:pt x="31" y="119"/>
                  </a:cubicBezTo>
                  <a:cubicBezTo>
                    <a:pt x="31" y="119"/>
                    <a:pt x="31" y="119"/>
                    <a:pt x="31" y="120"/>
                  </a:cubicBezTo>
                  <a:cubicBezTo>
                    <a:pt x="30" y="120"/>
                    <a:pt x="30" y="120"/>
                    <a:pt x="29" y="120"/>
                  </a:cubicBezTo>
                  <a:cubicBezTo>
                    <a:pt x="29" y="120"/>
                    <a:pt x="29" y="120"/>
                    <a:pt x="28" y="121"/>
                  </a:cubicBezTo>
                  <a:cubicBezTo>
                    <a:pt x="28" y="121"/>
                    <a:pt x="28" y="121"/>
                    <a:pt x="28" y="122"/>
                  </a:cubicBezTo>
                  <a:cubicBezTo>
                    <a:pt x="28" y="122"/>
                    <a:pt x="27" y="123"/>
                    <a:pt x="27" y="123"/>
                  </a:cubicBezTo>
                  <a:cubicBezTo>
                    <a:pt x="27" y="124"/>
                    <a:pt x="27" y="124"/>
                    <a:pt x="27" y="124"/>
                  </a:cubicBezTo>
                  <a:cubicBezTo>
                    <a:pt x="28" y="125"/>
                    <a:pt x="28" y="125"/>
                    <a:pt x="28" y="125"/>
                  </a:cubicBezTo>
                  <a:cubicBezTo>
                    <a:pt x="29" y="126"/>
                    <a:pt x="29" y="126"/>
                    <a:pt x="29" y="127"/>
                  </a:cubicBezTo>
                  <a:cubicBezTo>
                    <a:pt x="29" y="127"/>
                    <a:pt x="29" y="127"/>
                    <a:pt x="29" y="128"/>
                  </a:cubicBezTo>
                  <a:cubicBezTo>
                    <a:pt x="28" y="128"/>
                    <a:pt x="29" y="129"/>
                    <a:pt x="29" y="129"/>
                  </a:cubicBezTo>
                  <a:cubicBezTo>
                    <a:pt x="28" y="130"/>
                    <a:pt x="28" y="130"/>
                    <a:pt x="28" y="130"/>
                  </a:cubicBezTo>
                  <a:cubicBezTo>
                    <a:pt x="28" y="131"/>
                    <a:pt x="28" y="131"/>
                    <a:pt x="28" y="132"/>
                  </a:cubicBezTo>
                  <a:cubicBezTo>
                    <a:pt x="29" y="132"/>
                    <a:pt x="29" y="132"/>
                    <a:pt x="29" y="133"/>
                  </a:cubicBezTo>
                  <a:cubicBezTo>
                    <a:pt x="29" y="134"/>
                    <a:pt x="28" y="134"/>
                    <a:pt x="28" y="134"/>
                  </a:cubicBezTo>
                  <a:cubicBezTo>
                    <a:pt x="28" y="135"/>
                    <a:pt x="28" y="135"/>
                    <a:pt x="27" y="136"/>
                  </a:cubicBezTo>
                  <a:cubicBezTo>
                    <a:pt x="27" y="136"/>
                    <a:pt x="26" y="136"/>
                    <a:pt x="26" y="136"/>
                  </a:cubicBezTo>
                  <a:cubicBezTo>
                    <a:pt x="26" y="135"/>
                    <a:pt x="26" y="135"/>
                    <a:pt x="26" y="135"/>
                  </a:cubicBezTo>
                  <a:cubicBezTo>
                    <a:pt x="25" y="134"/>
                    <a:pt x="25" y="134"/>
                    <a:pt x="25" y="133"/>
                  </a:cubicBezTo>
                  <a:cubicBezTo>
                    <a:pt x="25" y="133"/>
                    <a:pt x="26" y="132"/>
                    <a:pt x="25" y="132"/>
                  </a:cubicBezTo>
                  <a:cubicBezTo>
                    <a:pt x="25" y="132"/>
                    <a:pt x="25" y="132"/>
                    <a:pt x="25" y="131"/>
                  </a:cubicBezTo>
                  <a:cubicBezTo>
                    <a:pt x="25" y="131"/>
                    <a:pt x="25" y="131"/>
                    <a:pt x="25" y="130"/>
                  </a:cubicBezTo>
                  <a:cubicBezTo>
                    <a:pt x="24" y="129"/>
                    <a:pt x="25" y="128"/>
                    <a:pt x="25" y="126"/>
                  </a:cubicBezTo>
                  <a:cubicBezTo>
                    <a:pt x="25" y="126"/>
                    <a:pt x="25" y="125"/>
                    <a:pt x="25" y="125"/>
                  </a:cubicBezTo>
                  <a:cubicBezTo>
                    <a:pt x="25" y="125"/>
                    <a:pt x="24" y="124"/>
                    <a:pt x="24" y="124"/>
                  </a:cubicBezTo>
                  <a:cubicBezTo>
                    <a:pt x="24" y="124"/>
                    <a:pt x="24" y="123"/>
                    <a:pt x="24" y="123"/>
                  </a:cubicBezTo>
                  <a:cubicBezTo>
                    <a:pt x="24" y="123"/>
                    <a:pt x="24" y="124"/>
                    <a:pt x="23" y="124"/>
                  </a:cubicBezTo>
                  <a:cubicBezTo>
                    <a:pt x="23" y="125"/>
                    <a:pt x="23" y="127"/>
                    <a:pt x="23" y="128"/>
                  </a:cubicBezTo>
                  <a:cubicBezTo>
                    <a:pt x="23" y="129"/>
                    <a:pt x="23" y="131"/>
                    <a:pt x="23" y="132"/>
                  </a:cubicBezTo>
                  <a:cubicBezTo>
                    <a:pt x="23" y="133"/>
                    <a:pt x="23" y="134"/>
                    <a:pt x="24" y="135"/>
                  </a:cubicBezTo>
                  <a:cubicBezTo>
                    <a:pt x="24" y="136"/>
                    <a:pt x="24" y="137"/>
                    <a:pt x="24" y="138"/>
                  </a:cubicBezTo>
                  <a:cubicBezTo>
                    <a:pt x="24" y="139"/>
                    <a:pt x="25" y="139"/>
                    <a:pt x="26" y="139"/>
                  </a:cubicBezTo>
                  <a:cubicBezTo>
                    <a:pt x="27" y="140"/>
                    <a:pt x="27" y="140"/>
                    <a:pt x="28" y="141"/>
                  </a:cubicBezTo>
                  <a:cubicBezTo>
                    <a:pt x="28" y="141"/>
                    <a:pt x="28" y="142"/>
                    <a:pt x="29" y="142"/>
                  </a:cubicBezTo>
                  <a:cubicBezTo>
                    <a:pt x="29" y="142"/>
                    <a:pt x="30" y="141"/>
                    <a:pt x="30" y="141"/>
                  </a:cubicBezTo>
                  <a:cubicBezTo>
                    <a:pt x="31" y="141"/>
                    <a:pt x="31" y="141"/>
                    <a:pt x="32" y="141"/>
                  </a:cubicBezTo>
                  <a:cubicBezTo>
                    <a:pt x="33" y="141"/>
                    <a:pt x="34" y="140"/>
                    <a:pt x="35" y="139"/>
                  </a:cubicBezTo>
                  <a:cubicBezTo>
                    <a:pt x="35" y="139"/>
                    <a:pt x="36" y="139"/>
                    <a:pt x="36" y="140"/>
                  </a:cubicBezTo>
                  <a:cubicBezTo>
                    <a:pt x="36" y="140"/>
                    <a:pt x="36" y="140"/>
                    <a:pt x="37" y="140"/>
                  </a:cubicBezTo>
                  <a:cubicBezTo>
                    <a:pt x="38" y="141"/>
                    <a:pt x="39" y="140"/>
                    <a:pt x="40" y="140"/>
                  </a:cubicBezTo>
                  <a:cubicBezTo>
                    <a:pt x="41" y="140"/>
                    <a:pt x="42" y="140"/>
                    <a:pt x="43" y="140"/>
                  </a:cubicBezTo>
                  <a:cubicBezTo>
                    <a:pt x="44" y="141"/>
                    <a:pt x="45" y="142"/>
                    <a:pt x="45" y="142"/>
                  </a:cubicBezTo>
                  <a:cubicBezTo>
                    <a:pt x="46" y="143"/>
                    <a:pt x="47" y="144"/>
                    <a:pt x="48" y="145"/>
                  </a:cubicBezTo>
                  <a:cubicBezTo>
                    <a:pt x="48" y="145"/>
                    <a:pt x="49" y="146"/>
                    <a:pt x="49" y="146"/>
                  </a:cubicBezTo>
                  <a:cubicBezTo>
                    <a:pt x="50" y="146"/>
                    <a:pt x="50" y="146"/>
                    <a:pt x="50" y="146"/>
                  </a:cubicBezTo>
                  <a:cubicBezTo>
                    <a:pt x="51" y="146"/>
                    <a:pt x="51" y="146"/>
                    <a:pt x="52" y="146"/>
                  </a:cubicBezTo>
                  <a:cubicBezTo>
                    <a:pt x="52" y="146"/>
                    <a:pt x="53" y="145"/>
                    <a:pt x="54" y="145"/>
                  </a:cubicBezTo>
                  <a:cubicBezTo>
                    <a:pt x="54" y="145"/>
                    <a:pt x="55" y="145"/>
                    <a:pt x="55" y="145"/>
                  </a:cubicBezTo>
                  <a:cubicBezTo>
                    <a:pt x="56" y="145"/>
                    <a:pt x="57" y="145"/>
                    <a:pt x="58" y="146"/>
                  </a:cubicBezTo>
                  <a:cubicBezTo>
                    <a:pt x="59" y="146"/>
                    <a:pt x="59" y="147"/>
                    <a:pt x="60" y="147"/>
                  </a:cubicBezTo>
                  <a:cubicBezTo>
                    <a:pt x="60" y="148"/>
                    <a:pt x="61" y="148"/>
                    <a:pt x="61" y="148"/>
                  </a:cubicBezTo>
                  <a:cubicBezTo>
                    <a:pt x="62" y="149"/>
                    <a:pt x="63" y="149"/>
                    <a:pt x="64" y="150"/>
                  </a:cubicBezTo>
                  <a:cubicBezTo>
                    <a:pt x="64" y="151"/>
                    <a:pt x="64" y="152"/>
                    <a:pt x="64" y="153"/>
                  </a:cubicBezTo>
                  <a:cubicBezTo>
                    <a:pt x="65" y="154"/>
                    <a:pt x="65" y="155"/>
                    <a:pt x="66" y="156"/>
                  </a:cubicBezTo>
                  <a:cubicBezTo>
                    <a:pt x="66" y="156"/>
                    <a:pt x="67" y="157"/>
                    <a:pt x="67" y="157"/>
                  </a:cubicBezTo>
                  <a:cubicBezTo>
                    <a:pt x="68" y="158"/>
                    <a:pt x="68" y="159"/>
                    <a:pt x="68" y="161"/>
                  </a:cubicBezTo>
                  <a:cubicBezTo>
                    <a:pt x="68" y="162"/>
                    <a:pt x="68" y="163"/>
                    <a:pt x="68" y="164"/>
                  </a:cubicBezTo>
                  <a:cubicBezTo>
                    <a:pt x="68" y="165"/>
                    <a:pt x="69" y="166"/>
                    <a:pt x="69" y="167"/>
                  </a:cubicBezTo>
                  <a:cubicBezTo>
                    <a:pt x="69" y="167"/>
                    <a:pt x="69" y="168"/>
                    <a:pt x="69" y="168"/>
                  </a:cubicBezTo>
                  <a:cubicBezTo>
                    <a:pt x="69" y="169"/>
                    <a:pt x="69" y="169"/>
                    <a:pt x="69" y="170"/>
                  </a:cubicBezTo>
                  <a:cubicBezTo>
                    <a:pt x="70" y="171"/>
                    <a:pt x="70" y="171"/>
                    <a:pt x="71" y="172"/>
                  </a:cubicBezTo>
                  <a:cubicBezTo>
                    <a:pt x="73" y="174"/>
                    <a:pt x="76" y="174"/>
                    <a:pt x="78" y="175"/>
                  </a:cubicBezTo>
                  <a:cubicBezTo>
                    <a:pt x="79" y="175"/>
                    <a:pt x="80" y="175"/>
                    <a:pt x="81" y="175"/>
                  </a:cubicBezTo>
                  <a:cubicBezTo>
                    <a:pt x="82" y="175"/>
                    <a:pt x="82" y="175"/>
                    <a:pt x="83" y="176"/>
                  </a:cubicBezTo>
                  <a:cubicBezTo>
                    <a:pt x="83" y="176"/>
                    <a:pt x="84" y="176"/>
                    <a:pt x="84" y="176"/>
                  </a:cubicBezTo>
                  <a:cubicBezTo>
                    <a:pt x="87" y="176"/>
                    <a:pt x="87" y="176"/>
                    <a:pt x="87" y="176"/>
                  </a:cubicBezTo>
                  <a:cubicBezTo>
                    <a:pt x="88" y="176"/>
                    <a:pt x="89" y="175"/>
                    <a:pt x="90" y="175"/>
                  </a:cubicBezTo>
                  <a:cubicBezTo>
                    <a:pt x="92" y="174"/>
                    <a:pt x="94" y="173"/>
                    <a:pt x="95" y="172"/>
                  </a:cubicBezTo>
                  <a:cubicBezTo>
                    <a:pt x="96" y="171"/>
                    <a:pt x="97" y="171"/>
                    <a:pt x="98" y="170"/>
                  </a:cubicBezTo>
                  <a:cubicBezTo>
                    <a:pt x="99" y="170"/>
                    <a:pt x="100" y="169"/>
                    <a:pt x="101" y="169"/>
                  </a:cubicBezTo>
                  <a:cubicBezTo>
                    <a:pt x="101" y="169"/>
                    <a:pt x="102" y="169"/>
                    <a:pt x="102" y="169"/>
                  </a:cubicBezTo>
                  <a:cubicBezTo>
                    <a:pt x="104" y="169"/>
                    <a:pt x="106" y="170"/>
                    <a:pt x="107" y="169"/>
                  </a:cubicBezTo>
                  <a:cubicBezTo>
                    <a:pt x="107" y="169"/>
                    <a:pt x="108" y="169"/>
                    <a:pt x="108" y="168"/>
                  </a:cubicBezTo>
                  <a:cubicBezTo>
                    <a:pt x="108" y="168"/>
                    <a:pt x="109" y="168"/>
                    <a:pt x="109" y="168"/>
                  </a:cubicBezTo>
                  <a:cubicBezTo>
                    <a:pt x="110" y="168"/>
                    <a:pt x="111" y="168"/>
                    <a:pt x="112" y="168"/>
                  </a:cubicBezTo>
                  <a:cubicBezTo>
                    <a:pt x="113" y="169"/>
                    <a:pt x="113" y="169"/>
                    <a:pt x="113" y="169"/>
                  </a:cubicBezTo>
                  <a:cubicBezTo>
                    <a:pt x="114" y="169"/>
                    <a:pt x="114" y="169"/>
                    <a:pt x="115" y="169"/>
                  </a:cubicBezTo>
                  <a:cubicBezTo>
                    <a:pt x="115" y="169"/>
                    <a:pt x="116" y="169"/>
                    <a:pt x="116" y="169"/>
                  </a:cubicBezTo>
                  <a:cubicBezTo>
                    <a:pt x="116" y="169"/>
                    <a:pt x="117" y="169"/>
                    <a:pt x="117" y="169"/>
                  </a:cubicBezTo>
                  <a:cubicBezTo>
                    <a:pt x="118" y="169"/>
                    <a:pt x="118" y="169"/>
                    <a:pt x="119" y="170"/>
                  </a:cubicBezTo>
                  <a:cubicBezTo>
                    <a:pt x="120" y="170"/>
                    <a:pt x="120" y="170"/>
                    <a:pt x="121" y="170"/>
                  </a:cubicBezTo>
                  <a:cubicBezTo>
                    <a:pt x="121" y="171"/>
                    <a:pt x="121" y="171"/>
                    <a:pt x="121" y="171"/>
                  </a:cubicBezTo>
                  <a:cubicBezTo>
                    <a:pt x="122" y="172"/>
                    <a:pt x="121" y="173"/>
                    <a:pt x="122" y="173"/>
                  </a:cubicBezTo>
                  <a:cubicBezTo>
                    <a:pt x="123" y="174"/>
                    <a:pt x="124" y="174"/>
                    <a:pt x="124" y="173"/>
                  </a:cubicBezTo>
                  <a:cubicBezTo>
                    <a:pt x="125" y="173"/>
                    <a:pt x="125" y="172"/>
                    <a:pt x="126" y="172"/>
                  </a:cubicBezTo>
                  <a:cubicBezTo>
                    <a:pt x="126" y="171"/>
                    <a:pt x="127" y="171"/>
                    <a:pt x="128" y="171"/>
                  </a:cubicBezTo>
                  <a:cubicBezTo>
                    <a:pt x="128" y="171"/>
                    <a:pt x="129" y="171"/>
                    <a:pt x="130" y="171"/>
                  </a:cubicBezTo>
                  <a:cubicBezTo>
                    <a:pt x="131" y="171"/>
                    <a:pt x="132" y="172"/>
                    <a:pt x="133" y="172"/>
                  </a:cubicBezTo>
                  <a:cubicBezTo>
                    <a:pt x="134" y="171"/>
                    <a:pt x="135" y="171"/>
                    <a:pt x="136" y="170"/>
                  </a:cubicBezTo>
                  <a:cubicBezTo>
                    <a:pt x="137" y="169"/>
                    <a:pt x="138" y="169"/>
                    <a:pt x="139" y="168"/>
                  </a:cubicBezTo>
                  <a:cubicBezTo>
                    <a:pt x="139" y="168"/>
                    <a:pt x="140" y="168"/>
                    <a:pt x="141" y="167"/>
                  </a:cubicBezTo>
                  <a:cubicBezTo>
                    <a:pt x="141" y="167"/>
                    <a:pt x="142" y="167"/>
                    <a:pt x="143" y="167"/>
                  </a:cubicBezTo>
                  <a:cubicBezTo>
                    <a:pt x="143" y="167"/>
                    <a:pt x="144" y="167"/>
                    <a:pt x="144" y="168"/>
                  </a:cubicBezTo>
                  <a:cubicBezTo>
                    <a:pt x="145" y="168"/>
                    <a:pt x="145" y="168"/>
                    <a:pt x="146" y="169"/>
                  </a:cubicBezTo>
                  <a:cubicBezTo>
                    <a:pt x="147" y="169"/>
                    <a:pt x="149" y="169"/>
                    <a:pt x="150" y="169"/>
                  </a:cubicBezTo>
                  <a:cubicBezTo>
                    <a:pt x="151" y="169"/>
                    <a:pt x="153" y="169"/>
                    <a:pt x="154" y="168"/>
                  </a:cubicBezTo>
                  <a:cubicBezTo>
                    <a:pt x="155" y="168"/>
                    <a:pt x="156" y="168"/>
                    <a:pt x="157" y="167"/>
                  </a:cubicBezTo>
                  <a:cubicBezTo>
                    <a:pt x="159" y="166"/>
                    <a:pt x="161" y="164"/>
                    <a:pt x="163" y="164"/>
                  </a:cubicBezTo>
                  <a:cubicBezTo>
                    <a:pt x="164" y="163"/>
                    <a:pt x="165" y="163"/>
                    <a:pt x="166" y="163"/>
                  </a:cubicBezTo>
                  <a:cubicBezTo>
                    <a:pt x="167" y="163"/>
                    <a:pt x="167" y="163"/>
                    <a:pt x="168" y="162"/>
                  </a:cubicBezTo>
                  <a:cubicBezTo>
                    <a:pt x="168" y="162"/>
                    <a:pt x="168" y="162"/>
                    <a:pt x="169" y="162"/>
                  </a:cubicBezTo>
                  <a:cubicBezTo>
                    <a:pt x="169" y="162"/>
                    <a:pt x="170" y="162"/>
                    <a:pt x="171" y="162"/>
                  </a:cubicBezTo>
                  <a:cubicBezTo>
                    <a:pt x="171" y="162"/>
                    <a:pt x="172" y="162"/>
                    <a:pt x="172" y="162"/>
                  </a:cubicBezTo>
                  <a:cubicBezTo>
                    <a:pt x="173" y="161"/>
                    <a:pt x="174" y="161"/>
                    <a:pt x="175" y="160"/>
                  </a:cubicBezTo>
                  <a:cubicBezTo>
                    <a:pt x="175" y="160"/>
                    <a:pt x="175" y="160"/>
                    <a:pt x="176" y="159"/>
                  </a:cubicBezTo>
                  <a:cubicBezTo>
                    <a:pt x="176" y="159"/>
                    <a:pt x="176" y="159"/>
                    <a:pt x="177" y="158"/>
                  </a:cubicBezTo>
                  <a:cubicBezTo>
                    <a:pt x="177" y="158"/>
                    <a:pt x="178" y="158"/>
                    <a:pt x="179" y="158"/>
                  </a:cubicBezTo>
                  <a:cubicBezTo>
                    <a:pt x="180" y="158"/>
                    <a:pt x="181" y="158"/>
                    <a:pt x="181" y="158"/>
                  </a:cubicBezTo>
                  <a:cubicBezTo>
                    <a:pt x="182" y="159"/>
                    <a:pt x="182" y="158"/>
                    <a:pt x="183" y="158"/>
                  </a:cubicBezTo>
                  <a:cubicBezTo>
                    <a:pt x="183" y="158"/>
                    <a:pt x="184" y="158"/>
                    <a:pt x="185" y="158"/>
                  </a:cubicBezTo>
                  <a:cubicBezTo>
                    <a:pt x="185" y="158"/>
                    <a:pt x="185" y="158"/>
                    <a:pt x="186" y="157"/>
                  </a:cubicBezTo>
                  <a:cubicBezTo>
                    <a:pt x="186" y="157"/>
                    <a:pt x="187" y="157"/>
                    <a:pt x="187" y="157"/>
                  </a:cubicBezTo>
                  <a:cubicBezTo>
                    <a:pt x="187" y="157"/>
                    <a:pt x="188" y="157"/>
                    <a:pt x="188" y="157"/>
                  </a:cubicBezTo>
                  <a:cubicBezTo>
                    <a:pt x="189" y="157"/>
                    <a:pt x="191" y="157"/>
                    <a:pt x="192" y="157"/>
                  </a:cubicBezTo>
                  <a:cubicBezTo>
                    <a:pt x="193" y="157"/>
                    <a:pt x="193" y="157"/>
                    <a:pt x="194" y="157"/>
                  </a:cubicBezTo>
                  <a:cubicBezTo>
                    <a:pt x="195" y="156"/>
                    <a:pt x="195" y="156"/>
                    <a:pt x="196" y="155"/>
                  </a:cubicBezTo>
                  <a:cubicBezTo>
                    <a:pt x="196" y="155"/>
                    <a:pt x="197" y="155"/>
                    <a:pt x="197" y="154"/>
                  </a:cubicBezTo>
                  <a:cubicBezTo>
                    <a:pt x="198" y="154"/>
                    <a:pt x="198" y="154"/>
                    <a:pt x="199" y="154"/>
                  </a:cubicBezTo>
                  <a:cubicBezTo>
                    <a:pt x="270" y="154"/>
                    <a:pt x="270" y="154"/>
                    <a:pt x="270" y="154"/>
                  </a:cubicBezTo>
                  <a:cubicBezTo>
                    <a:pt x="267" y="150"/>
                    <a:pt x="267" y="150"/>
                    <a:pt x="267" y="150"/>
                  </a:cubicBezTo>
                  <a:cubicBezTo>
                    <a:pt x="267" y="150"/>
                    <a:pt x="269" y="147"/>
                    <a:pt x="269" y="147"/>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9" name="Freeform 12">
              <a:extLst>
                <a:ext uri="{FF2B5EF4-FFF2-40B4-BE49-F238E27FC236}">
                  <a16:creationId xmlns:a16="http://schemas.microsoft.com/office/drawing/2014/main" id="{3E139BED-B6AE-BDD3-DEDA-C7984745F73D}"/>
                </a:ext>
              </a:extLst>
            </p:cNvPr>
            <p:cNvSpPr>
              <a:spLocks noEditPoints="1"/>
            </p:cNvSpPr>
            <p:nvPr/>
          </p:nvSpPr>
          <p:spPr bwMode="auto">
            <a:xfrm>
              <a:off x="8137259" y="2785543"/>
              <a:ext cx="1151586" cy="510531"/>
            </a:xfrm>
            <a:custGeom>
              <a:avLst/>
              <a:gdLst>
                <a:gd name="T0" fmla="*/ 270 w 291"/>
                <a:gd name="T1" fmla="*/ 129 h 129"/>
                <a:gd name="T2" fmla="*/ 290 w 291"/>
                <a:gd name="T3" fmla="*/ 67 h 129"/>
                <a:gd name="T4" fmla="*/ 288 w 291"/>
                <a:gd name="T5" fmla="*/ 67 h 129"/>
                <a:gd name="T6" fmla="*/ 278 w 291"/>
                <a:gd name="T7" fmla="*/ 65 h 129"/>
                <a:gd name="T8" fmla="*/ 283 w 291"/>
                <a:gd name="T9" fmla="*/ 72 h 129"/>
                <a:gd name="T10" fmla="*/ 276 w 291"/>
                <a:gd name="T11" fmla="*/ 83 h 129"/>
                <a:gd name="T12" fmla="*/ 270 w 291"/>
                <a:gd name="T13" fmla="*/ 93 h 129"/>
                <a:gd name="T14" fmla="*/ 267 w 291"/>
                <a:gd name="T15" fmla="*/ 101 h 129"/>
                <a:gd name="T16" fmla="*/ 264 w 291"/>
                <a:gd name="T17" fmla="*/ 97 h 129"/>
                <a:gd name="T18" fmla="*/ 266 w 291"/>
                <a:gd name="T19" fmla="*/ 88 h 129"/>
                <a:gd name="T20" fmla="*/ 274 w 291"/>
                <a:gd name="T21" fmla="*/ 73 h 129"/>
                <a:gd name="T22" fmla="*/ 278 w 291"/>
                <a:gd name="T23" fmla="*/ 65 h 129"/>
                <a:gd name="T24" fmla="*/ 69 w 291"/>
                <a:gd name="T25" fmla="*/ 126 h 129"/>
                <a:gd name="T26" fmla="*/ 18 w 291"/>
                <a:gd name="T27" fmla="*/ 120 h 129"/>
                <a:gd name="T28" fmla="*/ 28 w 291"/>
                <a:gd name="T29" fmla="*/ 110 h 129"/>
                <a:gd name="T30" fmla="*/ 46 w 291"/>
                <a:gd name="T31" fmla="*/ 97 h 129"/>
                <a:gd name="T32" fmla="*/ 59 w 291"/>
                <a:gd name="T33" fmla="*/ 90 h 129"/>
                <a:gd name="T34" fmla="*/ 68 w 291"/>
                <a:gd name="T35" fmla="*/ 100 h 129"/>
                <a:gd name="T36" fmla="*/ 96 w 291"/>
                <a:gd name="T37" fmla="*/ 96 h 129"/>
                <a:gd name="T38" fmla="*/ 105 w 291"/>
                <a:gd name="T39" fmla="*/ 90 h 129"/>
                <a:gd name="T40" fmla="*/ 118 w 291"/>
                <a:gd name="T41" fmla="*/ 83 h 129"/>
                <a:gd name="T42" fmla="*/ 123 w 291"/>
                <a:gd name="T43" fmla="*/ 69 h 129"/>
                <a:gd name="T44" fmla="*/ 130 w 291"/>
                <a:gd name="T45" fmla="*/ 56 h 129"/>
                <a:gd name="T46" fmla="*/ 138 w 291"/>
                <a:gd name="T47" fmla="*/ 43 h 129"/>
                <a:gd name="T48" fmla="*/ 156 w 291"/>
                <a:gd name="T49" fmla="*/ 37 h 129"/>
                <a:gd name="T50" fmla="*/ 168 w 291"/>
                <a:gd name="T51" fmla="*/ 27 h 129"/>
                <a:gd name="T52" fmla="*/ 176 w 291"/>
                <a:gd name="T53" fmla="*/ 20 h 129"/>
                <a:gd name="T54" fmla="*/ 183 w 291"/>
                <a:gd name="T55" fmla="*/ 5 h 129"/>
                <a:gd name="T56" fmla="*/ 212 w 291"/>
                <a:gd name="T57" fmla="*/ 14 h 129"/>
                <a:gd name="T58" fmla="*/ 224 w 291"/>
                <a:gd name="T59" fmla="*/ 22 h 129"/>
                <a:gd name="T60" fmla="*/ 229 w 291"/>
                <a:gd name="T61" fmla="*/ 28 h 129"/>
                <a:gd name="T62" fmla="*/ 226 w 291"/>
                <a:gd name="T63" fmla="*/ 37 h 129"/>
                <a:gd name="T64" fmla="*/ 221 w 291"/>
                <a:gd name="T65" fmla="*/ 42 h 129"/>
                <a:gd name="T66" fmla="*/ 228 w 291"/>
                <a:gd name="T67" fmla="*/ 50 h 129"/>
                <a:gd name="T68" fmla="*/ 239 w 291"/>
                <a:gd name="T69" fmla="*/ 60 h 129"/>
                <a:gd name="T70" fmla="*/ 250 w 291"/>
                <a:gd name="T71" fmla="*/ 67 h 129"/>
                <a:gd name="T72" fmla="*/ 254 w 291"/>
                <a:gd name="T73" fmla="*/ 73 h 129"/>
                <a:gd name="T74" fmla="*/ 252 w 291"/>
                <a:gd name="T75" fmla="*/ 72 h 129"/>
                <a:gd name="T76" fmla="*/ 253 w 291"/>
                <a:gd name="T77" fmla="*/ 81 h 129"/>
                <a:gd name="T78" fmla="*/ 246 w 291"/>
                <a:gd name="T79" fmla="*/ 79 h 129"/>
                <a:gd name="T80" fmla="*/ 237 w 291"/>
                <a:gd name="T81" fmla="*/ 69 h 129"/>
                <a:gd name="T82" fmla="*/ 239 w 291"/>
                <a:gd name="T83" fmla="*/ 73 h 129"/>
                <a:gd name="T84" fmla="*/ 245 w 291"/>
                <a:gd name="T85" fmla="*/ 81 h 129"/>
                <a:gd name="T86" fmla="*/ 252 w 291"/>
                <a:gd name="T87" fmla="*/ 86 h 129"/>
                <a:gd name="T88" fmla="*/ 255 w 291"/>
                <a:gd name="T89" fmla="*/ 90 h 129"/>
                <a:gd name="T90" fmla="*/ 254 w 291"/>
                <a:gd name="T91" fmla="*/ 95 h 129"/>
                <a:gd name="T92" fmla="*/ 249 w 291"/>
                <a:gd name="T93" fmla="*/ 92 h 129"/>
                <a:gd name="T94" fmla="*/ 251 w 291"/>
                <a:gd name="T95" fmla="*/ 100 h 129"/>
                <a:gd name="T96" fmla="*/ 254 w 291"/>
                <a:gd name="T97" fmla="*/ 109 h 129"/>
                <a:gd name="T98" fmla="*/ 248 w 291"/>
                <a:gd name="T99" fmla="*/ 109 h 129"/>
                <a:gd name="T100" fmla="*/ 241 w 291"/>
                <a:gd name="T101" fmla="*/ 100 h 129"/>
                <a:gd name="T102" fmla="*/ 232 w 291"/>
                <a:gd name="T103" fmla="*/ 99 h 129"/>
                <a:gd name="T104" fmla="*/ 236 w 291"/>
                <a:gd name="T105" fmla="*/ 100 h 129"/>
                <a:gd name="T106" fmla="*/ 245 w 291"/>
                <a:gd name="T107" fmla="*/ 110 h 129"/>
                <a:gd name="T108" fmla="*/ 247 w 291"/>
                <a:gd name="T109" fmla="*/ 116 h 129"/>
                <a:gd name="T110" fmla="*/ 253 w 291"/>
                <a:gd name="T111" fmla="*/ 117 h 129"/>
                <a:gd name="T112" fmla="*/ 259 w 291"/>
                <a:gd name="T113" fmla="*/ 113 h 129"/>
                <a:gd name="T114" fmla="*/ 265 w 291"/>
                <a:gd name="T115" fmla="*/ 115 h 129"/>
                <a:gd name="T116" fmla="*/ 267 w 291"/>
                <a:gd name="T11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1" h="129">
                  <a:moveTo>
                    <a:pt x="270" y="129"/>
                  </a:moveTo>
                  <a:cubicBezTo>
                    <a:pt x="268" y="129"/>
                    <a:pt x="268" y="129"/>
                    <a:pt x="268" y="129"/>
                  </a:cubicBezTo>
                  <a:cubicBezTo>
                    <a:pt x="268" y="128"/>
                    <a:pt x="268" y="128"/>
                    <a:pt x="268" y="128"/>
                  </a:cubicBezTo>
                  <a:cubicBezTo>
                    <a:pt x="268" y="127"/>
                    <a:pt x="268" y="127"/>
                    <a:pt x="268" y="127"/>
                  </a:cubicBezTo>
                  <a:cubicBezTo>
                    <a:pt x="269" y="126"/>
                    <a:pt x="270" y="128"/>
                    <a:pt x="270" y="128"/>
                  </a:cubicBezTo>
                  <a:cubicBezTo>
                    <a:pt x="270" y="128"/>
                    <a:pt x="270" y="128"/>
                    <a:pt x="270" y="129"/>
                  </a:cubicBezTo>
                  <a:close/>
                  <a:moveTo>
                    <a:pt x="287" y="71"/>
                  </a:moveTo>
                  <a:cubicBezTo>
                    <a:pt x="288" y="70"/>
                    <a:pt x="288" y="70"/>
                    <a:pt x="288" y="70"/>
                  </a:cubicBezTo>
                  <a:cubicBezTo>
                    <a:pt x="288" y="70"/>
                    <a:pt x="288" y="69"/>
                    <a:pt x="288" y="69"/>
                  </a:cubicBezTo>
                  <a:cubicBezTo>
                    <a:pt x="289" y="69"/>
                    <a:pt x="289" y="68"/>
                    <a:pt x="289" y="68"/>
                  </a:cubicBezTo>
                  <a:cubicBezTo>
                    <a:pt x="289" y="68"/>
                    <a:pt x="289" y="68"/>
                    <a:pt x="289" y="67"/>
                  </a:cubicBezTo>
                  <a:cubicBezTo>
                    <a:pt x="289" y="67"/>
                    <a:pt x="290" y="67"/>
                    <a:pt x="290" y="67"/>
                  </a:cubicBezTo>
                  <a:cubicBezTo>
                    <a:pt x="290" y="67"/>
                    <a:pt x="290" y="66"/>
                    <a:pt x="290" y="66"/>
                  </a:cubicBezTo>
                  <a:cubicBezTo>
                    <a:pt x="290" y="66"/>
                    <a:pt x="290" y="66"/>
                    <a:pt x="290" y="66"/>
                  </a:cubicBezTo>
                  <a:cubicBezTo>
                    <a:pt x="291" y="65"/>
                    <a:pt x="291" y="65"/>
                    <a:pt x="291" y="65"/>
                  </a:cubicBezTo>
                  <a:cubicBezTo>
                    <a:pt x="291" y="65"/>
                    <a:pt x="290" y="65"/>
                    <a:pt x="290" y="65"/>
                  </a:cubicBezTo>
                  <a:cubicBezTo>
                    <a:pt x="290" y="65"/>
                    <a:pt x="290" y="66"/>
                    <a:pt x="289" y="66"/>
                  </a:cubicBezTo>
                  <a:cubicBezTo>
                    <a:pt x="289" y="66"/>
                    <a:pt x="289" y="67"/>
                    <a:pt x="288" y="67"/>
                  </a:cubicBezTo>
                  <a:cubicBezTo>
                    <a:pt x="288" y="67"/>
                    <a:pt x="287" y="68"/>
                    <a:pt x="287" y="68"/>
                  </a:cubicBezTo>
                  <a:cubicBezTo>
                    <a:pt x="287" y="68"/>
                    <a:pt x="287" y="69"/>
                    <a:pt x="287" y="69"/>
                  </a:cubicBezTo>
                  <a:cubicBezTo>
                    <a:pt x="287" y="69"/>
                    <a:pt x="287" y="69"/>
                    <a:pt x="287" y="69"/>
                  </a:cubicBezTo>
                  <a:cubicBezTo>
                    <a:pt x="287" y="70"/>
                    <a:pt x="287" y="70"/>
                    <a:pt x="287" y="70"/>
                  </a:cubicBezTo>
                  <a:cubicBezTo>
                    <a:pt x="287" y="70"/>
                    <a:pt x="287" y="71"/>
                    <a:pt x="287" y="71"/>
                  </a:cubicBezTo>
                  <a:close/>
                  <a:moveTo>
                    <a:pt x="278" y="65"/>
                  </a:moveTo>
                  <a:cubicBezTo>
                    <a:pt x="285" y="65"/>
                    <a:pt x="285" y="65"/>
                    <a:pt x="285" y="65"/>
                  </a:cubicBezTo>
                  <a:cubicBezTo>
                    <a:pt x="285" y="65"/>
                    <a:pt x="285" y="65"/>
                    <a:pt x="285" y="65"/>
                  </a:cubicBezTo>
                  <a:cubicBezTo>
                    <a:pt x="285" y="66"/>
                    <a:pt x="284" y="67"/>
                    <a:pt x="284" y="68"/>
                  </a:cubicBezTo>
                  <a:cubicBezTo>
                    <a:pt x="284" y="68"/>
                    <a:pt x="284" y="69"/>
                    <a:pt x="284" y="69"/>
                  </a:cubicBezTo>
                  <a:cubicBezTo>
                    <a:pt x="284" y="69"/>
                    <a:pt x="284" y="70"/>
                    <a:pt x="284" y="70"/>
                  </a:cubicBezTo>
                  <a:cubicBezTo>
                    <a:pt x="283" y="71"/>
                    <a:pt x="283" y="71"/>
                    <a:pt x="283" y="72"/>
                  </a:cubicBezTo>
                  <a:cubicBezTo>
                    <a:pt x="283" y="72"/>
                    <a:pt x="283" y="72"/>
                    <a:pt x="282" y="72"/>
                  </a:cubicBezTo>
                  <a:cubicBezTo>
                    <a:pt x="282" y="73"/>
                    <a:pt x="282" y="73"/>
                    <a:pt x="282" y="73"/>
                  </a:cubicBezTo>
                  <a:cubicBezTo>
                    <a:pt x="282" y="74"/>
                    <a:pt x="281" y="74"/>
                    <a:pt x="281" y="75"/>
                  </a:cubicBezTo>
                  <a:cubicBezTo>
                    <a:pt x="281" y="75"/>
                    <a:pt x="281" y="76"/>
                    <a:pt x="280" y="76"/>
                  </a:cubicBezTo>
                  <a:cubicBezTo>
                    <a:pt x="279" y="78"/>
                    <a:pt x="278" y="79"/>
                    <a:pt x="277" y="81"/>
                  </a:cubicBezTo>
                  <a:cubicBezTo>
                    <a:pt x="277" y="82"/>
                    <a:pt x="276" y="82"/>
                    <a:pt x="276" y="83"/>
                  </a:cubicBezTo>
                  <a:cubicBezTo>
                    <a:pt x="276" y="85"/>
                    <a:pt x="276" y="86"/>
                    <a:pt x="276" y="87"/>
                  </a:cubicBezTo>
                  <a:cubicBezTo>
                    <a:pt x="276" y="88"/>
                    <a:pt x="276" y="89"/>
                    <a:pt x="274" y="89"/>
                  </a:cubicBezTo>
                  <a:cubicBezTo>
                    <a:pt x="274" y="89"/>
                    <a:pt x="274" y="89"/>
                    <a:pt x="273" y="89"/>
                  </a:cubicBezTo>
                  <a:cubicBezTo>
                    <a:pt x="273" y="89"/>
                    <a:pt x="272" y="89"/>
                    <a:pt x="272" y="90"/>
                  </a:cubicBezTo>
                  <a:cubicBezTo>
                    <a:pt x="271" y="90"/>
                    <a:pt x="271" y="91"/>
                    <a:pt x="271" y="92"/>
                  </a:cubicBezTo>
                  <a:cubicBezTo>
                    <a:pt x="271" y="92"/>
                    <a:pt x="271" y="92"/>
                    <a:pt x="270" y="93"/>
                  </a:cubicBezTo>
                  <a:cubicBezTo>
                    <a:pt x="269" y="93"/>
                    <a:pt x="269" y="94"/>
                    <a:pt x="269" y="94"/>
                  </a:cubicBezTo>
                  <a:cubicBezTo>
                    <a:pt x="268" y="94"/>
                    <a:pt x="268" y="95"/>
                    <a:pt x="268" y="95"/>
                  </a:cubicBezTo>
                  <a:cubicBezTo>
                    <a:pt x="268" y="96"/>
                    <a:pt x="268" y="96"/>
                    <a:pt x="268" y="96"/>
                  </a:cubicBezTo>
                  <a:cubicBezTo>
                    <a:pt x="267" y="97"/>
                    <a:pt x="267" y="97"/>
                    <a:pt x="268" y="98"/>
                  </a:cubicBezTo>
                  <a:cubicBezTo>
                    <a:pt x="268" y="98"/>
                    <a:pt x="268" y="99"/>
                    <a:pt x="268" y="99"/>
                  </a:cubicBezTo>
                  <a:cubicBezTo>
                    <a:pt x="268" y="100"/>
                    <a:pt x="268" y="101"/>
                    <a:pt x="267" y="101"/>
                  </a:cubicBezTo>
                  <a:cubicBezTo>
                    <a:pt x="267" y="102"/>
                    <a:pt x="267" y="103"/>
                    <a:pt x="266" y="103"/>
                  </a:cubicBezTo>
                  <a:cubicBezTo>
                    <a:pt x="266" y="103"/>
                    <a:pt x="266" y="102"/>
                    <a:pt x="266" y="102"/>
                  </a:cubicBezTo>
                  <a:cubicBezTo>
                    <a:pt x="266" y="101"/>
                    <a:pt x="266" y="101"/>
                    <a:pt x="265" y="101"/>
                  </a:cubicBezTo>
                  <a:cubicBezTo>
                    <a:pt x="265" y="101"/>
                    <a:pt x="265" y="100"/>
                    <a:pt x="265" y="100"/>
                  </a:cubicBezTo>
                  <a:cubicBezTo>
                    <a:pt x="264" y="100"/>
                    <a:pt x="264" y="99"/>
                    <a:pt x="264" y="98"/>
                  </a:cubicBezTo>
                  <a:cubicBezTo>
                    <a:pt x="264" y="98"/>
                    <a:pt x="264" y="97"/>
                    <a:pt x="264" y="97"/>
                  </a:cubicBezTo>
                  <a:cubicBezTo>
                    <a:pt x="264" y="97"/>
                    <a:pt x="264" y="96"/>
                    <a:pt x="264" y="96"/>
                  </a:cubicBezTo>
                  <a:cubicBezTo>
                    <a:pt x="264" y="95"/>
                    <a:pt x="265" y="95"/>
                    <a:pt x="265" y="94"/>
                  </a:cubicBezTo>
                  <a:cubicBezTo>
                    <a:pt x="265" y="93"/>
                    <a:pt x="265" y="93"/>
                    <a:pt x="266" y="92"/>
                  </a:cubicBezTo>
                  <a:cubicBezTo>
                    <a:pt x="266" y="92"/>
                    <a:pt x="266" y="91"/>
                    <a:pt x="266" y="91"/>
                  </a:cubicBezTo>
                  <a:cubicBezTo>
                    <a:pt x="266" y="90"/>
                    <a:pt x="266" y="90"/>
                    <a:pt x="266" y="89"/>
                  </a:cubicBezTo>
                  <a:cubicBezTo>
                    <a:pt x="266" y="89"/>
                    <a:pt x="266" y="89"/>
                    <a:pt x="266" y="88"/>
                  </a:cubicBezTo>
                  <a:cubicBezTo>
                    <a:pt x="267" y="87"/>
                    <a:pt x="267" y="86"/>
                    <a:pt x="267" y="86"/>
                  </a:cubicBezTo>
                  <a:cubicBezTo>
                    <a:pt x="267" y="85"/>
                    <a:pt x="268" y="83"/>
                    <a:pt x="268" y="82"/>
                  </a:cubicBezTo>
                  <a:cubicBezTo>
                    <a:pt x="269" y="82"/>
                    <a:pt x="269" y="81"/>
                    <a:pt x="269" y="81"/>
                  </a:cubicBezTo>
                  <a:cubicBezTo>
                    <a:pt x="269" y="80"/>
                    <a:pt x="270" y="80"/>
                    <a:pt x="270" y="79"/>
                  </a:cubicBezTo>
                  <a:cubicBezTo>
                    <a:pt x="271" y="78"/>
                    <a:pt x="272" y="77"/>
                    <a:pt x="272" y="76"/>
                  </a:cubicBezTo>
                  <a:cubicBezTo>
                    <a:pt x="273" y="75"/>
                    <a:pt x="274" y="74"/>
                    <a:pt x="274" y="73"/>
                  </a:cubicBezTo>
                  <a:cubicBezTo>
                    <a:pt x="275" y="73"/>
                    <a:pt x="276" y="72"/>
                    <a:pt x="276" y="71"/>
                  </a:cubicBezTo>
                  <a:cubicBezTo>
                    <a:pt x="276" y="70"/>
                    <a:pt x="274" y="71"/>
                    <a:pt x="274" y="70"/>
                  </a:cubicBezTo>
                  <a:cubicBezTo>
                    <a:pt x="274" y="69"/>
                    <a:pt x="276" y="69"/>
                    <a:pt x="276" y="69"/>
                  </a:cubicBezTo>
                  <a:cubicBezTo>
                    <a:pt x="276" y="68"/>
                    <a:pt x="276" y="68"/>
                    <a:pt x="276" y="68"/>
                  </a:cubicBezTo>
                  <a:cubicBezTo>
                    <a:pt x="276" y="68"/>
                    <a:pt x="276" y="68"/>
                    <a:pt x="276" y="68"/>
                  </a:cubicBezTo>
                  <a:lnTo>
                    <a:pt x="278" y="65"/>
                  </a:lnTo>
                  <a:close/>
                  <a:moveTo>
                    <a:pt x="266" y="128"/>
                  </a:moveTo>
                  <a:cubicBezTo>
                    <a:pt x="266" y="129"/>
                    <a:pt x="266" y="129"/>
                    <a:pt x="267" y="129"/>
                  </a:cubicBezTo>
                  <a:cubicBezTo>
                    <a:pt x="164" y="129"/>
                    <a:pt x="164" y="129"/>
                    <a:pt x="164" y="129"/>
                  </a:cubicBezTo>
                  <a:cubicBezTo>
                    <a:pt x="100" y="127"/>
                    <a:pt x="100" y="127"/>
                    <a:pt x="100" y="127"/>
                  </a:cubicBezTo>
                  <a:cubicBezTo>
                    <a:pt x="69" y="127"/>
                    <a:pt x="69" y="127"/>
                    <a:pt x="69" y="127"/>
                  </a:cubicBezTo>
                  <a:cubicBezTo>
                    <a:pt x="69" y="126"/>
                    <a:pt x="69" y="126"/>
                    <a:pt x="69" y="126"/>
                  </a:cubicBezTo>
                  <a:cubicBezTo>
                    <a:pt x="31" y="126"/>
                    <a:pt x="31" y="126"/>
                    <a:pt x="31" y="126"/>
                  </a:cubicBezTo>
                  <a:cubicBezTo>
                    <a:pt x="0" y="126"/>
                    <a:pt x="0" y="126"/>
                    <a:pt x="0" y="126"/>
                  </a:cubicBezTo>
                  <a:cubicBezTo>
                    <a:pt x="6" y="123"/>
                    <a:pt x="6" y="123"/>
                    <a:pt x="6" y="123"/>
                  </a:cubicBezTo>
                  <a:cubicBezTo>
                    <a:pt x="6" y="123"/>
                    <a:pt x="9" y="123"/>
                    <a:pt x="9" y="123"/>
                  </a:cubicBezTo>
                  <a:cubicBezTo>
                    <a:pt x="9" y="123"/>
                    <a:pt x="13" y="122"/>
                    <a:pt x="14" y="122"/>
                  </a:cubicBezTo>
                  <a:cubicBezTo>
                    <a:pt x="14" y="121"/>
                    <a:pt x="17" y="121"/>
                    <a:pt x="18" y="120"/>
                  </a:cubicBezTo>
                  <a:cubicBezTo>
                    <a:pt x="18" y="120"/>
                    <a:pt x="19" y="119"/>
                    <a:pt x="19" y="119"/>
                  </a:cubicBezTo>
                  <a:cubicBezTo>
                    <a:pt x="19" y="118"/>
                    <a:pt x="20" y="116"/>
                    <a:pt x="20" y="116"/>
                  </a:cubicBezTo>
                  <a:cubicBezTo>
                    <a:pt x="21" y="116"/>
                    <a:pt x="23" y="115"/>
                    <a:pt x="24" y="115"/>
                  </a:cubicBezTo>
                  <a:cubicBezTo>
                    <a:pt x="25" y="115"/>
                    <a:pt x="25" y="115"/>
                    <a:pt x="26" y="115"/>
                  </a:cubicBezTo>
                  <a:cubicBezTo>
                    <a:pt x="26" y="114"/>
                    <a:pt x="27" y="113"/>
                    <a:pt x="28" y="113"/>
                  </a:cubicBezTo>
                  <a:cubicBezTo>
                    <a:pt x="28" y="112"/>
                    <a:pt x="27" y="110"/>
                    <a:pt x="28" y="110"/>
                  </a:cubicBezTo>
                  <a:cubicBezTo>
                    <a:pt x="29" y="109"/>
                    <a:pt x="31" y="108"/>
                    <a:pt x="31" y="108"/>
                  </a:cubicBezTo>
                  <a:cubicBezTo>
                    <a:pt x="32" y="107"/>
                    <a:pt x="32" y="108"/>
                    <a:pt x="32" y="107"/>
                  </a:cubicBezTo>
                  <a:cubicBezTo>
                    <a:pt x="33" y="106"/>
                    <a:pt x="33" y="105"/>
                    <a:pt x="33" y="104"/>
                  </a:cubicBezTo>
                  <a:cubicBezTo>
                    <a:pt x="33" y="104"/>
                    <a:pt x="35" y="103"/>
                    <a:pt x="36" y="102"/>
                  </a:cubicBezTo>
                  <a:cubicBezTo>
                    <a:pt x="37" y="101"/>
                    <a:pt x="40" y="99"/>
                    <a:pt x="41" y="99"/>
                  </a:cubicBezTo>
                  <a:cubicBezTo>
                    <a:pt x="43" y="98"/>
                    <a:pt x="45" y="98"/>
                    <a:pt x="46" y="97"/>
                  </a:cubicBezTo>
                  <a:cubicBezTo>
                    <a:pt x="47" y="97"/>
                    <a:pt x="48" y="95"/>
                    <a:pt x="49" y="94"/>
                  </a:cubicBezTo>
                  <a:cubicBezTo>
                    <a:pt x="50" y="94"/>
                    <a:pt x="58" y="86"/>
                    <a:pt x="58" y="86"/>
                  </a:cubicBezTo>
                  <a:cubicBezTo>
                    <a:pt x="60" y="87"/>
                    <a:pt x="60" y="87"/>
                    <a:pt x="60" y="87"/>
                  </a:cubicBezTo>
                  <a:cubicBezTo>
                    <a:pt x="60" y="87"/>
                    <a:pt x="59" y="88"/>
                    <a:pt x="59" y="88"/>
                  </a:cubicBezTo>
                  <a:cubicBezTo>
                    <a:pt x="59" y="88"/>
                    <a:pt x="58" y="89"/>
                    <a:pt x="58" y="89"/>
                  </a:cubicBezTo>
                  <a:cubicBezTo>
                    <a:pt x="59" y="90"/>
                    <a:pt x="59" y="90"/>
                    <a:pt x="59" y="90"/>
                  </a:cubicBezTo>
                  <a:cubicBezTo>
                    <a:pt x="59" y="91"/>
                    <a:pt x="59" y="91"/>
                    <a:pt x="59" y="91"/>
                  </a:cubicBezTo>
                  <a:cubicBezTo>
                    <a:pt x="59" y="91"/>
                    <a:pt x="60" y="94"/>
                    <a:pt x="60" y="94"/>
                  </a:cubicBezTo>
                  <a:cubicBezTo>
                    <a:pt x="60" y="94"/>
                    <a:pt x="63" y="96"/>
                    <a:pt x="63" y="96"/>
                  </a:cubicBezTo>
                  <a:cubicBezTo>
                    <a:pt x="65" y="97"/>
                    <a:pt x="65" y="97"/>
                    <a:pt x="65" y="97"/>
                  </a:cubicBezTo>
                  <a:cubicBezTo>
                    <a:pt x="65" y="97"/>
                    <a:pt x="67" y="98"/>
                    <a:pt x="67" y="98"/>
                  </a:cubicBezTo>
                  <a:cubicBezTo>
                    <a:pt x="67" y="98"/>
                    <a:pt x="68" y="100"/>
                    <a:pt x="68" y="100"/>
                  </a:cubicBezTo>
                  <a:cubicBezTo>
                    <a:pt x="68" y="101"/>
                    <a:pt x="73" y="100"/>
                    <a:pt x="73" y="100"/>
                  </a:cubicBezTo>
                  <a:cubicBezTo>
                    <a:pt x="79" y="94"/>
                    <a:pt x="79" y="94"/>
                    <a:pt x="79" y="94"/>
                  </a:cubicBezTo>
                  <a:cubicBezTo>
                    <a:pt x="84" y="99"/>
                    <a:pt x="84" y="99"/>
                    <a:pt x="84" y="99"/>
                  </a:cubicBezTo>
                  <a:cubicBezTo>
                    <a:pt x="87" y="97"/>
                    <a:pt x="87" y="97"/>
                    <a:pt x="87" y="97"/>
                  </a:cubicBezTo>
                  <a:cubicBezTo>
                    <a:pt x="89" y="97"/>
                    <a:pt x="89" y="97"/>
                    <a:pt x="89" y="97"/>
                  </a:cubicBezTo>
                  <a:cubicBezTo>
                    <a:pt x="96" y="96"/>
                    <a:pt x="96" y="96"/>
                    <a:pt x="96" y="96"/>
                  </a:cubicBezTo>
                  <a:cubicBezTo>
                    <a:pt x="97" y="94"/>
                    <a:pt x="97" y="94"/>
                    <a:pt x="97" y="94"/>
                  </a:cubicBezTo>
                  <a:cubicBezTo>
                    <a:pt x="96" y="93"/>
                    <a:pt x="96" y="93"/>
                    <a:pt x="96" y="93"/>
                  </a:cubicBezTo>
                  <a:cubicBezTo>
                    <a:pt x="97" y="91"/>
                    <a:pt x="97" y="91"/>
                    <a:pt x="97" y="91"/>
                  </a:cubicBezTo>
                  <a:cubicBezTo>
                    <a:pt x="98" y="92"/>
                    <a:pt x="98" y="92"/>
                    <a:pt x="98" y="92"/>
                  </a:cubicBezTo>
                  <a:cubicBezTo>
                    <a:pt x="101" y="93"/>
                    <a:pt x="101" y="93"/>
                    <a:pt x="101" y="93"/>
                  </a:cubicBezTo>
                  <a:cubicBezTo>
                    <a:pt x="105" y="90"/>
                    <a:pt x="105" y="90"/>
                    <a:pt x="105" y="90"/>
                  </a:cubicBezTo>
                  <a:cubicBezTo>
                    <a:pt x="108" y="88"/>
                    <a:pt x="108" y="88"/>
                    <a:pt x="108" y="88"/>
                  </a:cubicBezTo>
                  <a:cubicBezTo>
                    <a:pt x="110" y="91"/>
                    <a:pt x="110" y="91"/>
                    <a:pt x="110" y="91"/>
                  </a:cubicBezTo>
                  <a:cubicBezTo>
                    <a:pt x="116" y="87"/>
                    <a:pt x="116" y="87"/>
                    <a:pt x="116" y="87"/>
                  </a:cubicBezTo>
                  <a:cubicBezTo>
                    <a:pt x="116" y="87"/>
                    <a:pt x="116" y="86"/>
                    <a:pt x="115" y="86"/>
                  </a:cubicBezTo>
                  <a:cubicBezTo>
                    <a:pt x="115" y="86"/>
                    <a:pt x="115" y="85"/>
                    <a:pt x="115" y="84"/>
                  </a:cubicBezTo>
                  <a:cubicBezTo>
                    <a:pt x="115" y="84"/>
                    <a:pt x="118" y="83"/>
                    <a:pt x="118" y="83"/>
                  </a:cubicBezTo>
                  <a:cubicBezTo>
                    <a:pt x="118" y="82"/>
                    <a:pt x="118" y="82"/>
                    <a:pt x="118" y="82"/>
                  </a:cubicBezTo>
                  <a:cubicBezTo>
                    <a:pt x="118" y="82"/>
                    <a:pt x="117" y="80"/>
                    <a:pt x="117" y="80"/>
                  </a:cubicBezTo>
                  <a:cubicBezTo>
                    <a:pt x="117" y="80"/>
                    <a:pt x="117" y="78"/>
                    <a:pt x="117" y="78"/>
                  </a:cubicBezTo>
                  <a:cubicBezTo>
                    <a:pt x="119" y="73"/>
                    <a:pt x="119" y="73"/>
                    <a:pt x="119" y="73"/>
                  </a:cubicBezTo>
                  <a:cubicBezTo>
                    <a:pt x="119" y="73"/>
                    <a:pt x="120" y="71"/>
                    <a:pt x="120" y="71"/>
                  </a:cubicBezTo>
                  <a:cubicBezTo>
                    <a:pt x="120" y="71"/>
                    <a:pt x="123" y="69"/>
                    <a:pt x="123" y="69"/>
                  </a:cubicBezTo>
                  <a:cubicBezTo>
                    <a:pt x="123" y="68"/>
                    <a:pt x="126" y="65"/>
                    <a:pt x="126" y="65"/>
                  </a:cubicBezTo>
                  <a:cubicBezTo>
                    <a:pt x="126" y="65"/>
                    <a:pt x="128" y="63"/>
                    <a:pt x="128" y="63"/>
                  </a:cubicBezTo>
                  <a:cubicBezTo>
                    <a:pt x="128" y="63"/>
                    <a:pt x="129" y="61"/>
                    <a:pt x="129" y="61"/>
                  </a:cubicBezTo>
                  <a:cubicBezTo>
                    <a:pt x="128" y="59"/>
                    <a:pt x="128" y="59"/>
                    <a:pt x="128" y="59"/>
                  </a:cubicBezTo>
                  <a:cubicBezTo>
                    <a:pt x="129" y="57"/>
                    <a:pt x="129" y="57"/>
                    <a:pt x="129" y="57"/>
                  </a:cubicBezTo>
                  <a:cubicBezTo>
                    <a:pt x="130" y="56"/>
                    <a:pt x="130" y="56"/>
                    <a:pt x="130" y="56"/>
                  </a:cubicBezTo>
                  <a:cubicBezTo>
                    <a:pt x="133" y="54"/>
                    <a:pt x="133" y="54"/>
                    <a:pt x="133" y="54"/>
                  </a:cubicBezTo>
                  <a:cubicBezTo>
                    <a:pt x="133" y="52"/>
                    <a:pt x="133" y="52"/>
                    <a:pt x="133" y="52"/>
                  </a:cubicBezTo>
                  <a:cubicBezTo>
                    <a:pt x="133" y="52"/>
                    <a:pt x="136" y="50"/>
                    <a:pt x="136" y="50"/>
                  </a:cubicBezTo>
                  <a:cubicBezTo>
                    <a:pt x="136" y="49"/>
                    <a:pt x="136" y="49"/>
                    <a:pt x="136" y="49"/>
                  </a:cubicBezTo>
                  <a:cubicBezTo>
                    <a:pt x="136" y="49"/>
                    <a:pt x="137" y="47"/>
                    <a:pt x="137" y="47"/>
                  </a:cubicBezTo>
                  <a:cubicBezTo>
                    <a:pt x="138" y="43"/>
                    <a:pt x="138" y="43"/>
                    <a:pt x="138" y="43"/>
                  </a:cubicBezTo>
                  <a:cubicBezTo>
                    <a:pt x="138" y="39"/>
                    <a:pt x="138" y="39"/>
                    <a:pt x="138" y="39"/>
                  </a:cubicBezTo>
                  <a:cubicBezTo>
                    <a:pt x="138" y="39"/>
                    <a:pt x="141" y="40"/>
                    <a:pt x="141" y="40"/>
                  </a:cubicBezTo>
                  <a:cubicBezTo>
                    <a:pt x="142" y="41"/>
                    <a:pt x="143" y="42"/>
                    <a:pt x="143" y="42"/>
                  </a:cubicBezTo>
                  <a:cubicBezTo>
                    <a:pt x="143" y="42"/>
                    <a:pt x="144" y="45"/>
                    <a:pt x="144" y="45"/>
                  </a:cubicBezTo>
                  <a:cubicBezTo>
                    <a:pt x="144" y="45"/>
                    <a:pt x="151" y="47"/>
                    <a:pt x="151" y="47"/>
                  </a:cubicBezTo>
                  <a:cubicBezTo>
                    <a:pt x="151" y="47"/>
                    <a:pt x="156" y="37"/>
                    <a:pt x="156" y="37"/>
                  </a:cubicBezTo>
                  <a:cubicBezTo>
                    <a:pt x="156" y="36"/>
                    <a:pt x="158" y="37"/>
                    <a:pt x="158" y="37"/>
                  </a:cubicBezTo>
                  <a:cubicBezTo>
                    <a:pt x="158" y="37"/>
                    <a:pt x="158" y="33"/>
                    <a:pt x="158" y="33"/>
                  </a:cubicBezTo>
                  <a:cubicBezTo>
                    <a:pt x="158" y="33"/>
                    <a:pt x="161" y="28"/>
                    <a:pt x="161" y="28"/>
                  </a:cubicBezTo>
                  <a:cubicBezTo>
                    <a:pt x="165" y="32"/>
                    <a:pt x="165" y="32"/>
                    <a:pt x="165" y="32"/>
                  </a:cubicBezTo>
                  <a:cubicBezTo>
                    <a:pt x="167" y="29"/>
                    <a:pt x="167" y="29"/>
                    <a:pt x="167" y="29"/>
                  </a:cubicBezTo>
                  <a:cubicBezTo>
                    <a:pt x="168" y="27"/>
                    <a:pt x="168" y="27"/>
                    <a:pt x="168" y="27"/>
                  </a:cubicBezTo>
                  <a:cubicBezTo>
                    <a:pt x="170" y="24"/>
                    <a:pt x="170" y="24"/>
                    <a:pt x="170" y="24"/>
                  </a:cubicBezTo>
                  <a:cubicBezTo>
                    <a:pt x="170" y="26"/>
                    <a:pt x="170" y="26"/>
                    <a:pt x="170" y="26"/>
                  </a:cubicBezTo>
                  <a:cubicBezTo>
                    <a:pt x="172" y="24"/>
                    <a:pt x="172" y="24"/>
                    <a:pt x="172" y="24"/>
                  </a:cubicBezTo>
                  <a:cubicBezTo>
                    <a:pt x="174" y="22"/>
                    <a:pt x="174" y="22"/>
                    <a:pt x="174" y="22"/>
                  </a:cubicBezTo>
                  <a:cubicBezTo>
                    <a:pt x="174" y="23"/>
                    <a:pt x="174" y="23"/>
                    <a:pt x="174" y="23"/>
                  </a:cubicBezTo>
                  <a:cubicBezTo>
                    <a:pt x="174" y="23"/>
                    <a:pt x="176" y="20"/>
                    <a:pt x="176" y="20"/>
                  </a:cubicBezTo>
                  <a:cubicBezTo>
                    <a:pt x="176" y="20"/>
                    <a:pt x="181" y="14"/>
                    <a:pt x="181" y="14"/>
                  </a:cubicBezTo>
                  <a:cubicBezTo>
                    <a:pt x="181" y="14"/>
                    <a:pt x="181" y="13"/>
                    <a:pt x="181" y="13"/>
                  </a:cubicBezTo>
                  <a:cubicBezTo>
                    <a:pt x="181" y="13"/>
                    <a:pt x="180" y="12"/>
                    <a:pt x="180" y="12"/>
                  </a:cubicBezTo>
                  <a:cubicBezTo>
                    <a:pt x="182" y="9"/>
                    <a:pt x="182" y="9"/>
                    <a:pt x="182" y="9"/>
                  </a:cubicBezTo>
                  <a:cubicBezTo>
                    <a:pt x="184" y="6"/>
                    <a:pt x="184" y="6"/>
                    <a:pt x="184" y="6"/>
                  </a:cubicBezTo>
                  <a:cubicBezTo>
                    <a:pt x="183" y="5"/>
                    <a:pt x="183" y="5"/>
                    <a:pt x="183" y="5"/>
                  </a:cubicBezTo>
                  <a:cubicBezTo>
                    <a:pt x="183" y="0"/>
                    <a:pt x="183" y="0"/>
                    <a:pt x="183" y="0"/>
                  </a:cubicBezTo>
                  <a:cubicBezTo>
                    <a:pt x="201" y="15"/>
                    <a:pt x="201" y="15"/>
                    <a:pt x="201" y="15"/>
                  </a:cubicBezTo>
                  <a:cubicBezTo>
                    <a:pt x="205" y="7"/>
                    <a:pt x="205" y="7"/>
                    <a:pt x="205" y="7"/>
                  </a:cubicBezTo>
                  <a:cubicBezTo>
                    <a:pt x="205" y="7"/>
                    <a:pt x="210" y="7"/>
                    <a:pt x="211" y="8"/>
                  </a:cubicBezTo>
                  <a:cubicBezTo>
                    <a:pt x="211" y="8"/>
                    <a:pt x="214" y="11"/>
                    <a:pt x="214" y="11"/>
                  </a:cubicBezTo>
                  <a:cubicBezTo>
                    <a:pt x="214" y="11"/>
                    <a:pt x="212" y="14"/>
                    <a:pt x="212" y="14"/>
                  </a:cubicBezTo>
                  <a:cubicBezTo>
                    <a:pt x="212" y="14"/>
                    <a:pt x="212" y="16"/>
                    <a:pt x="212" y="16"/>
                  </a:cubicBezTo>
                  <a:cubicBezTo>
                    <a:pt x="212" y="17"/>
                    <a:pt x="215" y="18"/>
                    <a:pt x="215" y="18"/>
                  </a:cubicBezTo>
                  <a:cubicBezTo>
                    <a:pt x="216" y="18"/>
                    <a:pt x="219" y="19"/>
                    <a:pt x="219" y="19"/>
                  </a:cubicBezTo>
                  <a:cubicBezTo>
                    <a:pt x="220" y="19"/>
                    <a:pt x="221" y="20"/>
                    <a:pt x="221" y="20"/>
                  </a:cubicBezTo>
                  <a:cubicBezTo>
                    <a:pt x="221" y="20"/>
                    <a:pt x="222" y="22"/>
                    <a:pt x="222" y="22"/>
                  </a:cubicBezTo>
                  <a:cubicBezTo>
                    <a:pt x="222" y="22"/>
                    <a:pt x="224" y="22"/>
                    <a:pt x="224" y="22"/>
                  </a:cubicBezTo>
                  <a:cubicBezTo>
                    <a:pt x="224" y="22"/>
                    <a:pt x="226" y="24"/>
                    <a:pt x="226" y="24"/>
                  </a:cubicBezTo>
                  <a:cubicBezTo>
                    <a:pt x="226" y="25"/>
                    <a:pt x="229" y="21"/>
                    <a:pt x="229" y="21"/>
                  </a:cubicBezTo>
                  <a:cubicBezTo>
                    <a:pt x="232" y="25"/>
                    <a:pt x="232" y="25"/>
                    <a:pt x="232" y="25"/>
                  </a:cubicBezTo>
                  <a:cubicBezTo>
                    <a:pt x="232" y="27"/>
                    <a:pt x="232" y="27"/>
                    <a:pt x="232" y="27"/>
                  </a:cubicBezTo>
                  <a:cubicBezTo>
                    <a:pt x="230" y="28"/>
                    <a:pt x="230" y="28"/>
                    <a:pt x="230" y="28"/>
                  </a:cubicBezTo>
                  <a:cubicBezTo>
                    <a:pt x="229" y="28"/>
                    <a:pt x="229" y="28"/>
                    <a:pt x="229" y="28"/>
                  </a:cubicBezTo>
                  <a:cubicBezTo>
                    <a:pt x="229" y="33"/>
                    <a:pt x="229" y="33"/>
                    <a:pt x="229" y="33"/>
                  </a:cubicBezTo>
                  <a:cubicBezTo>
                    <a:pt x="228" y="33"/>
                    <a:pt x="228" y="34"/>
                    <a:pt x="227" y="34"/>
                  </a:cubicBezTo>
                  <a:cubicBezTo>
                    <a:pt x="227" y="35"/>
                    <a:pt x="226" y="35"/>
                    <a:pt x="225" y="35"/>
                  </a:cubicBezTo>
                  <a:cubicBezTo>
                    <a:pt x="225" y="36"/>
                    <a:pt x="225" y="36"/>
                    <a:pt x="225" y="36"/>
                  </a:cubicBezTo>
                  <a:cubicBezTo>
                    <a:pt x="225" y="36"/>
                    <a:pt x="225" y="36"/>
                    <a:pt x="225" y="37"/>
                  </a:cubicBezTo>
                  <a:cubicBezTo>
                    <a:pt x="226" y="37"/>
                    <a:pt x="226" y="37"/>
                    <a:pt x="226" y="37"/>
                  </a:cubicBezTo>
                  <a:cubicBezTo>
                    <a:pt x="226" y="37"/>
                    <a:pt x="225" y="38"/>
                    <a:pt x="225" y="38"/>
                  </a:cubicBezTo>
                  <a:cubicBezTo>
                    <a:pt x="225" y="38"/>
                    <a:pt x="224" y="38"/>
                    <a:pt x="224" y="38"/>
                  </a:cubicBezTo>
                  <a:cubicBezTo>
                    <a:pt x="224" y="38"/>
                    <a:pt x="223" y="37"/>
                    <a:pt x="223" y="37"/>
                  </a:cubicBezTo>
                  <a:cubicBezTo>
                    <a:pt x="222" y="37"/>
                    <a:pt x="222" y="38"/>
                    <a:pt x="222" y="38"/>
                  </a:cubicBezTo>
                  <a:cubicBezTo>
                    <a:pt x="222" y="39"/>
                    <a:pt x="221" y="40"/>
                    <a:pt x="221" y="40"/>
                  </a:cubicBezTo>
                  <a:cubicBezTo>
                    <a:pt x="221" y="41"/>
                    <a:pt x="221" y="42"/>
                    <a:pt x="221" y="42"/>
                  </a:cubicBezTo>
                  <a:cubicBezTo>
                    <a:pt x="221" y="44"/>
                    <a:pt x="220" y="45"/>
                    <a:pt x="220" y="47"/>
                  </a:cubicBezTo>
                  <a:cubicBezTo>
                    <a:pt x="220" y="48"/>
                    <a:pt x="220" y="48"/>
                    <a:pt x="220" y="49"/>
                  </a:cubicBezTo>
                  <a:cubicBezTo>
                    <a:pt x="220" y="50"/>
                    <a:pt x="221" y="50"/>
                    <a:pt x="222" y="50"/>
                  </a:cubicBezTo>
                  <a:cubicBezTo>
                    <a:pt x="223" y="51"/>
                    <a:pt x="224" y="51"/>
                    <a:pt x="225" y="50"/>
                  </a:cubicBezTo>
                  <a:cubicBezTo>
                    <a:pt x="225" y="50"/>
                    <a:pt x="226" y="50"/>
                    <a:pt x="227" y="50"/>
                  </a:cubicBezTo>
                  <a:cubicBezTo>
                    <a:pt x="227" y="50"/>
                    <a:pt x="228" y="50"/>
                    <a:pt x="228" y="50"/>
                  </a:cubicBezTo>
                  <a:cubicBezTo>
                    <a:pt x="229" y="49"/>
                    <a:pt x="230" y="49"/>
                    <a:pt x="230" y="49"/>
                  </a:cubicBezTo>
                  <a:cubicBezTo>
                    <a:pt x="230" y="49"/>
                    <a:pt x="230" y="50"/>
                    <a:pt x="230" y="50"/>
                  </a:cubicBezTo>
                  <a:cubicBezTo>
                    <a:pt x="230" y="51"/>
                    <a:pt x="230" y="52"/>
                    <a:pt x="230" y="53"/>
                  </a:cubicBezTo>
                  <a:cubicBezTo>
                    <a:pt x="231" y="54"/>
                    <a:pt x="231" y="55"/>
                    <a:pt x="232" y="56"/>
                  </a:cubicBezTo>
                  <a:cubicBezTo>
                    <a:pt x="234" y="57"/>
                    <a:pt x="235" y="58"/>
                    <a:pt x="236" y="59"/>
                  </a:cubicBezTo>
                  <a:cubicBezTo>
                    <a:pt x="237" y="59"/>
                    <a:pt x="238" y="60"/>
                    <a:pt x="239" y="60"/>
                  </a:cubicBezTo>
                  <a:cubicBezTo>
                    <a:pt x="240" y="60"/>
                    <a:pt x="240" y="60"/>
                    <a:pt x="241" y="60"/>
                  </a:cubicBezTo>
                  <a:cubicBezTo>
                    <a:pt x="242" y="60"/>
                    <a:pt x="242" y="60"/>
                    <a:pt x="243" y="60"/>
                  </a:cubicBezTo>
                  <a:cubicBezTo>
                    <a:pt x="243" y="61"/>
                    <a:pt x="244" y="61"/>
                    <a:pt x="244" y="61"/>
                  </a:cubicBezTo>
                  <a:cubicBezTo>
                    <a:pt x="245" y="62"/>
                    <a:pt x="245" y="63"/>
                    <a:pt x="246" y="63"/>
                  </a:cubicBezTo>
                  <a:cubicBezTo>
                    <a:pt x="246" y="64"/>
                    <a:pt x="247" y="65"/>
                    <a:pt x="247" y="65"/>
                  </a:cubicBezTo>
                  <a:cubicBezTo>
                    <a:pt x="248" y="66"/>
                    <a:pt x="249" y="67"/>
                    <a:pt x="250" y="67"/>
                  </a:cubicBezTo>
                  <a:cubicBezTo>
                    <a:pt x="251" y="68"/>
                    <a:pt x="252" y="68"/>
                    <a:pt x="253" y="69"/>
                  </a:cubicBezTo>
                  <a:cubicBezTo>
                    <a:pt x="254" y="69"/>
                    <a:pt x="254" y="69"/>
                    <a:pt x="255" y="70"/>
                  </a:cubicBezTo>
                  <a:cubicBezTo>
                    <a:pt x="255" y="70"/>
                    <a:pt x="255" y="71"/>
                    <a:pt x="255" y="72"/>
                  </a:cubicBezTo>
                  <a:cubicBezTo>
                    <a:pt x="255" y="72"/>
                    <a:pt x="255" y="72"/>
                    <a:pt x="255" y="73"/>
                  </a:cubicBezTo>
                  <a:cubicBezTo>
                    <a:pt x="255" y="73"/>
                    <a:pt x="255" y="74"/>
                    <a:pt x="255" y="74"/>
                  </a:cubicBezTo>
                  <a:cubicBezTo>
                    <a:pt x="255" y="74"/>
                    <a:pt x="255" y="73"/>
                    <a:pt x="254" y="73"/>
                  </a:cubicBezTo>
                  <a:cubicBezTo>
                    <a:pt x="254" y="73"/>
                    <a:pt x="254" y="72"/>
                    <a:pt x="254" y="72"/>
                  </a:cubicBezTo>
                  <a:cubicBezTo>
                    <a:pt x="253" y="72"/>
                    <a:pt x="253" y="72"/>
                    <a:pt x="252" y="72"/>
                  </a:cubicBezTo>
                  <a:cubicBezTo>
                    <a:pt x="251" y="72"/>
                    <a:pt x="251" y="72"/>
                    <a:pt x="251" y="72"/>
                  </a:cubicBezTo>
                  <a:cubicBezTo>
                    <a:pt x="250" y="71"/>
                    <a:pt x="249" y="71"/>
                    <a:pt x="249" y="72"/>
                  </a:cubicBezTo>
                  <a:cubicBezTo>
                    <a:pt x="250" y="72"/>
                    <a:pt x="250" y="72"/>
                    <a:pt x="250" y="72"/>
                  </a:cubicBezTo>
                  <a:cubicBezTo>
                    <a:pt x="251" y="72"/>
                    <a:pt x="251" y="72"/>
                    <a:pt x="252" y="72"/>
                  </a:cubicBezTo>
                  <a:cubicBezTo>
                    <a:pt x="252" y="73"/>
                    <a:pt x="253" y="73"/>
                    <a:pt x="253" y="73"/>
                  </a:cubicBezTo>
                  <a:cubicBezTo>
                    <a:pt x="254" y="74"/>
                    <a:pt x="255" y="75"/>
                    <a:pt x="255" y="77"/>
                  </a:cubicBezTo>
                  <a:cubicBezTo>
                    <a:pt x="255" y="77"/>
                    <a:pt x="255" y="77"/>
                    <a:pt x="255" y="78"/>
                  </a:cubicBezTo>
                  <a:cubicBezTo>
                    <a:pt x="255" y="78"/>
                    <a:pt x="255" y="79"/>
                    <a:pt x="255" y="79"/>
                  </a:cubicBezTo>
                  <a:cubicBezTo>
                    <a:pt x="255" y="79"/>
                    <a:pt x="254" y="80"/>
                    <a:pt x="254" y="80"/>
                  </a:cubicBezTo>
                  <a:cubicBezTo>
                    <a:pt x="254" y="80"/>
                    <a:pt x="254" y="81"/>
                    <a:pt x="253" y="81"/>
                  </a:cubicBezTo>
                  <a:cubicBezTo>
                    <a:pt x="253" y="82"/>
                    <a:pt x="253" y="83"/>
                    <a:pt x="252" y="82"/>
                  </a:cubicBezTo>
                  <a:cubicBezTo>
                    <a:pt x="251" y="82"/>
                    <a:pt x="251" y="82"/>
                    <a:pt x="251" y="81"/>
                  </a:cubicBezTo>
                  <a:cubicBezTo>
                    <a:pt x="250" y="81"/>
                    <a:pt x="249" y="81"/>
                    <a:pt x="248" y="81"/>
                  </a:cubicBezTo>
                  <a:cubicBezTo>
                    <a:pt x="248" y="81"/>
                    <a:pt x="247" y="81"/>
                    <a:pt x="247" y="80"/>
                  </a:cubicBezTo>
                  <a:cubicBezTo>
                    <a:pt x="247" y="80"/>
                    <a:pt x="247" y="80"/>
                    <a:pt x="247" y="80"/>
                  </a:cubicBezTo>
                  <a:cubicBezTo>
                    <a:pt x="247" y="80"/>
                    <a:pt x="246" y="79"/>
                    <a:pt x="246" y="79"/>
                  </a:cubicBezTo>
                  <a:cubicBezTo>
                    <a:pt x="246" y="79"/>
                    <a:pt x="246" y="78"/>
                    <a:pt x="246" y="77"/>
                  </a:cubicBezTo>
                  <a:cubicBezTo>
                    <a:pt x="246" y="77"/>
                    <a:pt x="245" y="76"/>
                    <a:pt x="245" y="76"/>
                  </a:cubicBezTo>
                  <a:cubicBezTo>
                    <a:pt x="243" y="75"/>
                    <a:pt x="242" y="75"/>
                    <a:pt x="241" y="73"/>
                  </a:cubicBezTo>
                  <a:cubicBezTo>
                    <a:pt x="240" y="73"/>
                    <a:pt x="240" y="72"/>
                    <a:pt x="239" y="72"/>
                  </a:cubicBezTo>
                  <a:cubicBezTo>
                    <a:pt x="238" y="71"/>
                    <a:pt x="238" y="71"/>
                    <a:pt x="238" y="70"/>
                  </a:cubicBezTo>
                  <a:cubicBezTo>
                    <a:pt x="237" y="70"/>
                    <a:pt x="237" y="69"/>
                    <a:pt x="237" y="69"/>
                  </a:cubicBezTo>
                  <a:cubicBezTo>
                    <a:pt x="237" y="68"/>
                    <a:pt x="236" y="67"/>
                    <a:pt x="236" y="67"/>
                  </a:cubicBezTo>
                  <a:cubicBezTo>
                    <a:pt x="236" y="67"/>
                    <a:pt x="236" y="68"/>
                    <a:pt x="236" y="69"/>
                  </a:cubicBezTo>
                  <a:cubicBezTo>
                    <a:pt x="236" y="69"/>
                    <a:pt x="236" y="69"/>
                    <a:pt x="236" y="70"/>
                  </a:cubicBezTo>
                  <a:cubicBezTo>
                    <a:pt x="236" y="71"/>
                    <a:pt x="236" y="71"/>
                    <a:pt x="237" y="71"/>
                  </a:cubicBezTo>
                  <a:cubicBezTo>
                    <a:pt x="237" y="72"/>
                    <a:pt x="238" y="72"/>
                    <a:pt x="238" y="73"/>
                  </a:cubicBezTo>
                  <a:cubicBezTo>
                    <a:pt x="238" y="73"/>
                    <a:pt x="239" y="73"/>
                    <a:pt x="239" y="73"/>
                  </a:cubicBezTo>
                  <a:cubicBezTo>
                    <a:pt x="239" y="74"/>
                    <a:pt x="240" y="74"/>
                    <a:pt x="240" y="74"/>
                  </a:cubicBezTo>
                  <a:cubicBezTo>
                    <a:pt x="240" y="75"/>
                    <a:pt x="240" y="75"/>
                    <a:pt x="241" y="76"/>
                  </a:cubicBezTo>
                  <a:cubicBezTo>
                    <a:pt x="241" y="76"/>
                    <a:pt x="242" y="77"/>
                    <a:pt x="242" y="77"/>
                  </a:cubicBezTo>
                  <a:cubicBezTo>
                    <a:pt x="243" y="78"/>
                    <a:pt x="243" y="78"/>
                    <a:pt x="243" y="78"/>
                  </a:cubicBezTo>
                  <a:cubicBezTo>
                    <a:pt x="243" y="79"/>
                    <a:pt x="244" y="79"/>
                    <a:pt x="244" y="79"/>
                  </a:cubicBezTo>
                  <a:cubicBezTo>
                    <a:pt x="244" y="80"/>
                    <a:pt x="245" y="80"/>
                    <a:pt x="245" y="81"/>
                  </a:cubicBezTo>
                  <a:cubicBezTo>
                    <a:pt x="245" y="81"/>
                    <a:pt x="245" y="82"/>
                    <a:pt x="245" y="82"/>
                  </a:cubicBezTo>
                  <a:cubicBezTo>
                    <a:pt x="245" y="83"/>
                    <a:pt x="247" y="83"/>
                    <a:pt x="248" y="83"/>
                  </a:cubicBezTo>
                  <a:cubicBezTo>
                    <a:pt x="248" y="82"/>
                    <a:pt x="249" y="82"/>
                    <a:pt x="250" y="83"/>
                  </a:cubicBezTo>
                  <a:cubicBezTo>
                    <a:pt x="250" y="83"/>
                    <a:pt x="250" y="83"/>
                    <a:pt x="250" y="83"/>
                  </a:cubicBezTo>
                  <a:cubicBezTo>
                    <a:pt x="250" y="84"/>
                    <a:pt x="251" y="84"/>
                    <a:pt x="251" y="84"/>
                  </a:cubicBezTo>
                  <a:cubicBezTo>
                    <a:pt x="251" y="85"/>
                    <a:pt x="251" y="85"/>
                    <a:pt x="252" y="86"/>
                  </a:cubicBezTo>
                  <a:cubicBezTo>
                    <a:pt x="252" y="86"/>
                    <a:pt x="253" y="86"/>
                    <a:pt x="253" y="86"/>
                  </a:cubicBezTo>
                  <a:cubicBezTo>
                    <a:pt x="253" y="86"/>
                    <a:pt x="252" y="86"/>
                    <a:pt x="252" y="87"/>
                  </a:cubicBezTo>
                  <a:cubicBezTo>
                    <a:pt x="252" y="87"/>
                    <a:pt x="251" y="87"/>
                    <a:pt x="251" y="87"/>
                  </a:cubicBezTo>
                  <a:cubicBezTo>
                    <a:pt x="252" y="88"/>
                    <a:pt x="252" y="88"/>
                    <a:pt x="253" y="88"/>
                  </a:cubicBezTo>
                  <a:cubicBezTo>
                    <a:pt x="253" y="89"/>
                    <a:pt x="253" y="89"/>
                    <a:pt x="254" y="89"/>
                  </a:cubicBezTo>
                  <a:cubicBezTo>
                    <a:pt x="254" y="89"/>
                    <a:pt x="254" y="89"/>
                    <a:pt x="255" y="90"/>
                  </a:cubicBezTo>
                  <a:cubicBezTo>
                    <a:pt x="255" y="90"/>
                    <a:pt x="255" y="90"/>
                    <a:pt x="256" y="90"/>
                  </a:cubicBezTo>
                  <a:cubicBezTo>
                    <a:pt x="256" y="91"/>
                    <a:pt x="256" y="91"/>
                    <a:pt x="256" y="91"/>
                  </a:cubicBezTo>
                  <a:cubicBezTo>
                    <a:pt x="256" y="92"/>
                    <a:pt x="256" y="93"/>
                    <a:pt x="256" y="94"/>
                  </a:cubicBezTo>
                  <a:cubicBezTo>
                    <a:pt x="256" y="94"/>
                    <a:pt x="256" y="95"/>
                    <a:pt x="255" y="95"/>
                  </a:cubicBezTo>
                  <a:cubicBezTo>
                    <a:pt x="255" y="95"/>
                    <a:pt x="255" y="95"/>
                    <a:pt x="255" y="95"/>
                  </a:cubicBezTo>
                  <a:cubicBezTo>
                    <a:pt x="254" y="95"/>
                    <a:pt x="254" y="95"/>
                    <a:pt x="254" y="95"/>
                  </a:cubicBezTo>
                  <a:cubicBezTo>
                    <a:pt x="254" y="94"/>
                    <a:pt x="254" y="94"/>
                    <a:pt x="254" y="94"/>
                  </a:cubicBezTo>
                  <a:cubicBezTo>
                    <a:pt x="254" y="93"/>
                    <a:pt x="253" y="93"/>
                    <a:pt x="253" y="92"/>
                  </a:cubicBezTo>
                  <a:cubicBezTo>
                    <a:pt x="252" y="92"/>
                    <a:pt x="251" y="91"/>
                    <a:pt x="251" y="91"/>
                  </a:cubicBezTo>
                  <a:cubicBezTo>
                    <a:pt x="250" y="92"/>
                    <a:pt x="251" y="93"/>
                    <a:pt x="250" y="93"/>
                  </a:cubicBezTo>
                  <a:cubicBezTo>
                    <a:pt x="250" y="93"/>
                    <a:pt x="250" y="93"/>
                    <a:pt x="249" y="93"/>
                  </a:cubicBezTo>
                  <a:cubicBezTo>
                    <a:pt x="249" y="93"/>
                    <a:pt x="249" y="93"/>
                    <a:pt x="249" y="92"/>
                  </a:cubicBezTo>
                  <a:cubicBezTo>
                    <a:pt x="249" y="93"/>
                    <a:pt x="249" y="93"/>
                    <a:pt x="249" y="94"/>
                  </a:cubicBezTo>
                  <a:cubicBezTo>
                    <a:pt x="250" y="94"/>
                    <a:pt x="251" y="95"/>
                    <a:pt x="251" y="95"/>
                  </a:cubicBezTo>
                  <a:cubicBezTo>
                    <a:pt x="251" y="95"/>
                    <a:pt x="251" y="96"/>
                    <a:pt x="251" y="96"/>
                  </a:cubicBezTo>
                  <a:cubicBezTo>
                    <a:pt x="251" y="96"/>
                    <a:pt x="251" y="96"/>
                    <a:pt x="251" y="97"/>
                  </a:cubicBezTo>
                  <a:cubicBezTo>
                    <a:pt x="251" y="97"/>
                    <a:pt x="251" y="97"/>
                    <a:pt x="251" y="98"/>
                  </a:cubicBezTo>
                  <a:cubicBezTo>
                    <a:pt x="251" y="98"/>
                    <a:pt x="251" y="99"/>
                    <a:pt x="251" y="100"/>
                  </a:cubicBezTo>
                  <a:cubicBezTo>
                    <a:pt x="251" y="101"/>
                    <a:pt x="251" y="101"/>
                    <a:pt x="252" y="102"/>
                  </a:cubicBezTo>
                  <a:cubicBezTo>
                    <a:pt x="252" y="102"/>
                    <a:pt x="252" y="103"/>
                    <a:pt x="253" y="103"/>
                  </a:cubicBezTo>
                  <a:cubicBezTo>
                    <a:pt x="253" y="103"/>
                    <a:pt x="253" y="103"/>
                    <a:pt x="254" y="104"/>
                  </a:cubicBezTo>
                  <a:cubicBezTo>
                    <a:pt x="254" y="105"/>
                    <a:pt x="253" y="106"/>
                    <a:pt x="254" y="107"/>
                  </a:cubicBezTo>
                  <a:cubicBezTo>
                    <a:pt x="254" y="107"/>
                    <a:pt x="254" y="108"/>
                    <a:pt x="254" y="108"/>
                  </a:cubicBezTo>
                  <a:cubicBezTo>
                    <a:pt x="255" y="108"/>
                    <a:pt x="255" y="109"/>
                    <a:pt x="254" y="109"/>
                  </a:cubicBezTo>
                  <a:cubicBezTo>
                    <a:pt x="254" y="110"/>
                    <a:pt x="254" y="110"/>
                    <a:pt x="253" y="110"/>
                  </a:cubicBezTo>
                  <a:cubicBezTo>
                    <a:pt x="253" y="110"/>
                    <a:pt x="253" y="110"/>
                    <a:pt x="253" y="110"/>
                  </a:cubicBezTo>
                  <a:cubicBezTo>
                    <a:pt x="253" y="110"/>
                    <a:pt x="253" y="110"/>
                    <a:pt x="252" y="110"/>
                  </a:cubicBezTo>
                  <a:cubicBezTo>
                    <a:pt x="252" y="111"/>
                    <a:pt x="252" y="111"/>
                    <a:pt x="251" y="111"/>
                  </a:cubicBezTo>
                  <a:cubicBezTo>
                    <a:pt x="251" y="110"/>
                    <a:pt x="250" y="110"/>
                    <a:pt x="250" y="110"/>
                  </a:cubicBezTo>
                  <a:cubicBezTo>
                    <a:pt x="250" y="109"/>
                    <a:pt x="249" y="109"/>
                    <a:pt x="248" y="109"/>
                  </a:cubicBezTo>
                  <a:cubicBezTo>
                    <a:pt x="248" y="108"/>
                    <a:pt x="248" y="108"/>
                    <a:pt x="247" y="108"/>
                  </a:cubicBezTo>
                  <a:cubicBezTo>
                    <a:pt x="246" y="107"/>
                    <a:pt x="245" y="106"/>
                    <a:pt x="244" y="105"/>
                  </a:cubicBezTo>
                  <a:cubicBezTo>
                    <a:pt x="244" y="104"/>
                    <a:pt x="244" y="104"/>
                    <a:pt x="244" y="103"/>
                  </a:cubicBezTo>
                  <a:cubicBezTo>
                    <a:pt x="244" y="102"/>
                    <a:pt x="244" y="102"/>
                    <a:pt x="243" y="101"/>
                  </a:cubicBezTo>
                  <a:cubicBezTo>
                    <a:pt x="243" y="101"/>
                    <a:pt x="243" y="100"/>
                    <a:pt x="242" y="100"/>
                  </a:cubicBezTo>
                  <a:cubicBezTo>
                    <a:pt x="242" y="100"/>
                    <a:pt x="241" y="100"/>
                    <a:pt x="241" y="100"/>
                  </a:cubicBezTo>
                  <a:cubicBezTo>
                    <a:pt x="240" y="101"/>
                    <a:pt x="239" y="100"/>
                    <a:pt x="239" y="100"/>
                  </a:cubicBezTo>
                  <a:cubicBezTo>
                    <a:pt x="238" y="100"/>
                    <a:pt x="238" y="100"/>
                    <a:pt x="238" y="100"/>
                  </a:cubicBezTo>
                  <a:cubicBezTo>
                    <a:pt x="237" y="100"/>
                    <a:pt x="237" y="100"/>
                    <a:pt x="236" y="100"/>
                  </a:cubicBezTo>
                  <a:cubicBezTo>
                    <a:pt x="236" y="100"/>
                    <a:pt x="236" y="99"/>
                    <a:pt x="235" y="99"/>
                  </a:cubicBezTo>
                  <a:cubicBezTo>
                    <a:pt x="235" y="99"/>
                    <a:pt x="234" y="99"/>
                    <a:pt x="234" y="99"/>
                  </a:cubicBezTo>
                  <a:cubicBezTo>
                    <a:pt x="233" y="99"/>
                    <a:pt x="233" y="99"/>
                    <a:pt x="232" y="99"/>
                  </a:cubicBezTo>
                  <a:cubicBezTo>
                    <a:pt x="232" y="99"/>
                    <a:pt x="232" y="98"/>
                    <a:pt x="231" y="98"/>
                  </a:cubicBezTo>
                  <a:cubicBezTo>
                    <a:pt x="231" y="98"/>
                    <a:pt x="231" y="97"/>
                    <a:pt x="231" y="98"/>
                  </a:cubicBezTo>
                  <a:cubicBezTo>
                    <a:pt x="230" y="98"/>
                    <a:pt x="231" y="98"/>
                    <a:pt x="231" y="98"/>
                  </a:cubicBezTo>
                  <a:cubicBezTo>
                    <a:pt x="231" y="99"/>
                    <a:pt x="232" y="99"/>
                    <a:pt x="232" y="99"/>
                  </a:cubicBezTo>
                  <a:cubicBezTo>
                    <a:pt x="233" y="100"/>
                    <a:pt x="233" y="100"/>
                    <a:pt x="234" y="100"/>
                  </a:cubicBezTo>
                  <a:cubicBezTo>
                    <a:pt x="235" y="100"/>
                    <a:pt x="236" y="100"/>
                    <a:pt x="236" y="100"/>
                  </a:cubicBezTo>
                  <a:cubicBezTo>
                    <a:pt x="237" y="101"/>
                    <a:pt x="238" y="102"/>
                    <a:pt x="239" y="102"/>
                  </a:cubicBezTo>
                  <a:cubicBezTo>
                    <a:pt x="240" y="102"/>
                    <a:pt x="241" y="103"/>
                    <a:pt x="241" y="104"/>
                  </a:cubicBezTo>
                  <a:cubicBezTo>
                    <a:pt x="242" y="105"/>
                    <a:pt x="241" y="107"/>
                    <a:pt x="242" y="108"/>
                  </a:cubicBezTo>
                  <a:cubicBezTo>
                    <a:pt x="242" y="108"/>
                    <a:pt x="243" y="108"/>
                    <a:pt x="243" y="108"/>
                  </a:cubicBezTo>
                  <a:cubicBezTo>
                    <a:pt x="244" y="109"/>
                    <a:pt x="244" y="109"/>
                    <a:pt x="244" y="109"/>
                  </a:cubicBezTo>
                  <a:cubicBezTo>
                    <a:pt x="245" y="109"/>
                    <a:pt x="245" y="110"/>
                    <a:pt x="245" y="110"/>
                  </a:cubicBezTo>
                  <a:cubicBezTo>
                    <a:pt x="246" y="110"/>
                    <a:pt x="246" y="110"/>
                    <a:pt x="247" y="111"/>
                  </a:cubicBezTo>
                  <a:cubicBezTo>
                    <a:pt x="248" y="111"/>
                    <a:pt x="248" y="111"/>
                    <a:pt x="248" y="112"/>
                  </a:cubicBezTo>
                  <a:cubicBezTo>
                    <a:pt x="248" y="112"/>
                    <a:pt x="248" y="113"/>
                    <a:pt x="248" y="113"/>
                  </a:cubicBezTo>
                  <a:cubicBezTo>
                    <a:pt x="248" y="113"/>
                    <a:pt x="248" y="114"/>
                    <a:pt x="248" y="114"/>
                  </a:cubicBezTo>
                  <a:cubicBezTo>
                    <a:pt x="247" y="114"/>
                    <a:pt x="246" y="115"/>
                    <a:pt x="246" y="116"/>
                  </a:cubicBezTo>
                  <a:cubicBezTo>
                    <a:pt x="245" y="116"/>
                    <a:pt x="246" y="117"/>
                    <a:pt x="247" y="116"/>
                  </a:cubicBezTo>
                  <a:cubicBezTo>
                    <a:pt x="247" y="116"/>
                    <a:pt x="247" y="116"/>
                    <a:pt x="247" y="115"/>
                  </a:cubicBezTo>
                  <a:cubicBezTo>
                    <a:pt x="248" y="115"/>
                    <a:pt x="248" y="115"/>
                    <a:pt x="248" y="114"/>
                  </a:cubicBezTo>
                  <a:cubicBezTo>
                    <a:pt x="249" y="114"/>
                    <a:pt x="250" y="114"/>
                    <a:pt x="252" y="114"/>
                  </a:cubicBezTo>
                  <a:cubicBezTo>
                    <a:pt x="252" y="114"/>
                    <a:pt x="253" y="114"/>
                    <a:pt x="252" y="115"/>
                  </a:cubicBezTo>
                  <a:cubicBezTo>
                    <a:pt x="252" y="115"/>
                    <a:pt x="252" y="116"/>
                    <a:pt x="252" y="116"/>
                  </a:cubicBezTo>
                  <a:cubicBezTo>
                    <a:pt x="251" y="116"/>
                    <a:pt x="252" y="117"/>
                    <a:pt x="253" y="117"/>
                  </a:cubicBezTo>
                  <a:cubicBezTo>
                    <a:pt x="253" y="116"/>
                    <a:pt x="254" y="116"/>
                    <a:pt x="255" y="115"/>
                  </a:cubicBezTo>
                  <a:cubicBezTo>
                    <a:pt x="255" y="115"/>
                    <a:pt x="255" y="114"/>
                    <a:pt x="255" y="114"/>
                  </a:cubicBezTo>
                  <a:cubicBezTo>
                    <a:pt x="255" y="114"/>
                    <a:pt x="254" y="113"/>
                    <a:pt x="254" y="113"/>
                  </a:cubicBezTo>
                  <a:cubicBezTo>
                    <a:pt x="254" y="113"/>
                    <a:pt x="254" y="112"/>
                    <a:pt x="255" y="111"/>
                  </a:cubicBezTo>
                  <a:cubicBezTo>
                    <a:pt x="256" y="111"/>
                    <a:pt x="256" y="112"/>
                    <a:pt x="257" y="112"/>
                  </a:cubicBezTo>
                  <a:cubicBezTo>
                    <a:pt x="258" y="112"/>
                    <a:pt x="258" y="112"/>
                    <a:pt x="259" y="113"/>
                  </a:cubicBezTo>
                  <a:cubicBezTo>
                    <a:pt x="259" y="113"/>
                    <a:pt x="260" y="113"/>
                    <a:pt x="260" y="113"/>
                  </a:cubicBezTo>
                  <a:cubicBezTo>
                    <a:pt x="261" y="113"/>
                    <a:pt x="262" y="113"/>
                    <a:pt x="263" y="113"/>
                  </a:cubicBezTo>
                  <a:cubicBezTo>
                    <a:pt x="264" y="114"/>
                    <a:pt x="264" y="113"/>
                    <a:pt x="265" y="113"/>
                  </a:cubicBezTo>
                  <a:cubicBezTo>
                    <a:pt x="266" y="113"/>
                    <a:pt x="266" y="113"/>
                    <a:pt x="265" y="114"/>
                  </a:cubicBezTo>
                  <a:cubicBezTo>
                    <a:pt x="265" y="114"/>
                    <a:pt x="265" y="114"/>
                    <a:pt x="265" y="114"/>
                  </a:cubicBezTo>
                  <a:cubicBezTo>
                    <a:pt x="265" y="115"/>
                    <a:pt x="265" y="115"/>
                    <a:pt x="265" y="115"/>
                  </a:cubicBezTo>
                  <a:cubicBezTo>
                    <a:pt x="266" y="116"/>
                    <a:pt x="265" y="116"/>
                    <a:pt x="266" y="116"/>
                  </a:cubicBezTo>
                  <a:cubicBezTo>
                    <a:pt x="266" y="117"/>
                    <a:pt x="266" y="117"/>
                    <a:pt x="266" y="118"/>
                  </a:cubicBezTo>
                  <a:cubicBezTo>
                    <a:pt x="266" y="118"/>
                    <a:pt x="266" y="118"/>
                    <a:pt x="267" y="119"/>
                  </a:cubicBezTo>
                  <a:cubicBezTo>
                    <a:pt x="267" y="119"/>
                    <a:pt x="266" y="119"/>
                    <a:pt x="267" y="120"/>
                  </a:cubicBezTo>
                  <a:cubicBezTo>
                    <a:pt x="267" y="120"/>
                    <a:pt x="267" y="120"/>
                    <a:pt x="267" y="120"/>
                  </a:cubicBezTo>
                  <a:cubicBezTo>
                    <a:pt x="267" y="121"/>
                    <a:pt x="267" y="121"/>
                    <a:pt x="267" y="122"/>
                  </a:cubicBezTo>
                  <a:cubicBezTo>
                    <a:pt x="266" y="122"/>
                    <a:pt x="266" y="123"/>
                    <a:pt x="266" y="124"/>
                  </a:cubicBezTo>
                  <a:cubicBezTo>
                    <a:pt x="266" y="124"/>
                    <a:pt x="266" y="125"/>
                    <a:pt x="265" y="125"/>
                  </a:cubicBezTo>
                  <a:cubicBezTo>
                    <a:pt x="265" y="126"/>
                    <a:pt x="265" y="126"/>
                    <a:pt x="265" y="127"/>
                  </a:cubicBezTo>
                  <a:cubicBezTo>
                    <a:pt x="265" y="128"/>
                    <a:pt x="265" y="128"/>
                    <a:pt x="266" y="128"/>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0" name="Freeform 13">
              <a:extLst>
                <a:ext uri="{FF2B5EF4-FFF2-40B4-BE49-F238E27FC236}">
                  <a16:creationId xmlns:a16="http://schemas.microsoft.com/office/drawing/2014/main" id="{7A329803-BF12-A4A7-A61D-A92082CFBCFF}"/>
                </a:ext>
              </a:extLst>
            </p:cNvPr>
            <p:cNvSpPr>
              <a:spLocks/>
            </p:cNvSpPr>
            <p:nvPr/>
          </p:nvSpPr>
          <p:spPr bwMode="auto">
            <a:xfrm>
              <a:off x="9535024" y="1757871"/>
              <a:ext cx="264353" cy="436182"/>
            </a:xfrm>
            <a:custGeom>
              <a:avLst/>
              <a:gdLst>
                <a:gd name="T0" fmla="*/ 2 w 67"/>
                <a:gd name="T1" fmla="*/ 8 h 110"/>
                <a:gd name="T2" fmla="*/ 3 w 67"/>
                <a:gd name="T3" fmla="*/ 13 h 110"/>
                <a:gd name="T4" fmla="*/ 2 w 67"/>
                <a:gd name="T5" fmla="*/ 21 h 110"/>
                <a:gd name="T6" fmla="*/ 4 w 67"/>
                <a:gd name="T7" fmla="*/ 28 h 110"/>
                <a:gd name="T8" fmla="*/ 4 w 67"/>
                <a:gd name="T9" fmla="*/ 37 h 110"/>
                <a:gd name="T10" fmla="*/ 1 w 67"/>
                <a:gd name="T11" fmla="*/ 41 h 110"/>
                <a:gd name="T12" fmla="*/ 0 w 67"/>
                <a:gd name="T13" fmla="*/ 47 h 110"/>
                <a:gd name="T14" fmla="*/ 1 w 67"/>
                <a:gd name="T15" fmla="*/ 53 h 110"/>
                <a:gd name="T16" fmla="*/ 3 w 67"/>
                <a:gd name="T17" fmla="*/ 61 h 110"/>
                <a:gd name="T18" fmla="*/ 0 w 67"/>
                <a:gd name="T19" fmla="*/ 68 h 110"/>
                <a:gd name="T20" fmla="*/ 2 w 67"/>
                <a:gd name="T21" fmla="*/ 70 h 110"/>
                <a:gd name="T22" fmla="*/ 3 w 67"/>
                <a:gd name="T23" fmla="*/ 68 h 110"/>
                <a:gd name="T24" fmla="*/ 5 w 67"/>
                <a:gd name="T25" fmla="*/ 70 h 110"/>
                <a:gd name="T26" fmla="*/ 5 w 67"/>
                <a:gd name="T27" fmla="*/ 105 h 110"/>
                <a:gd name="T28" fmla="*/ 33 w 67"/>
                <a:gd name="T29" fmla="*/ 110 h 110"/>
                <a:gd name="T30" fmla="*/ 31 w 67"/>
                <a:gd name="T31" fmla="*/ 106 h 110"/>
                <a:gd name="T32" fmla="*/ 31 w 67"/>
                <a:gd name="T33" fmla="*/ 101 h 110"/>
                <a:gd name="T34" fmla="*/ 33 w 67"/>
                <a:gd name="T35" fmla="*/ 97 h 110"/>
                <a:gd name="T36" fmla="*/ 33 w 67"/>
                <a:gd name="T37" fmla="*/ 90 h 110"/>
                <a:gd name="T38" fmla="*/ 36 w 67"/>
                <a:gd name="T39" fmla="*/ 83 h 110"/>
                <a:gd name="T40" fmla="*/ 36 w 67"/>
                <a:gd name="T41" fmla="*/ 77 h 110"/>
                <a:gd name="T42" fmla="*/ 37 w 67"/>
                <a:gd name="T43" fmla="*/ 68 h 110"/>
                <a:gd name="T44" fmla="*/ 39 w 67"/>
                <a:gd name="T45" fmla="*/ 63 h 110"/>
                <a:gd name="T46" fmla="*/ 42 w 67"/>
                <a:gd name="T47" fmla="*/ 57 h 110"/>
                <a:gd name="T48" fmla="*/ 46 w 67"/>
                <a:gd name="T49" fmla="*/ 52 h 110"/>
                <a:gd name="T50" fmla="*/ 48 w 67"/>
                <a:gd name="T51" fmla="*/ 46 h 110"/>
                <a:gd name="T52" fmla="*/ 48 w 67"/>
                <a:gd name="T53" fmla="*/ 36 h 110"/>
                <a:gd name="T54" fmla="*/ 51 w 67"/>
                <a:gd name="T55" fmla="*/ 33 h 110"/>
                <a:gd name="T56" fmla="*/ 56 w 67"/>
                <a:gd name="T57" fmla="*/ 32 h 110"/>
                <a:gd name="T58" fmla="*/ 60 w 67"/>
                <a:gd name="T59" fmla="*/ 29 h 110"/>
                <a:gd name="T60" fmla="*/ 63 w 67"/>
                <a:gd name="T61" fmla="*/ 26 h 110"/>
                <a:gd name="T62" fmla="*/ 64 w 67"/>
                <a:gd name="T63" fmla="*/ 23 h 110"/>
                <a:gd name="T64" fmla="*/ 66 w 67"/>
                <a:gd name="T65" fmla="*/ 21 h 110"/>
                <a:gd name="T66" fmla="*/ 62 w 67"/>
                <a:gd name="T67" fmla="*/ 14 h 110"/>
                <a:gd name="T68" fmla="*/ 64 w 67"/>
                <a:gd name="T69" fmla="*/ 10 h 110"/>
                <a:gd name="T70" fmla="*/ 67 w 67"/>
                <a:gd name="T71" fmla="*/ 6 h 110"/>
                <a:gd name="T72" fmla="*/ 66 w 67"/>
                <a:gd name="T73" fmla="*/ 3 h 110"/>
                <a:gd name="T74" fmla="*/ 10 w 67"/>
                <a:gd name="T75" fmla="*/ 0 h 110"/>
                <a:gd name="T76" fmla="*/ 3 w 67"/>
                <a:gd name="T77" fmla="*/ 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 h="110">
                  <a:moveTo>
                    <a:pt x="3" y="5"/>
                  </a:moveTo>
                  <a:cubicBezTo>
                    <a:pt x="3" y="6"/>
                    <a:pt x="2" y="7"/>
                    <a:pt x="2" y="8"/>
                  </a:cubicBezTo>
                  <a:cubicBezTo>
                    <a:pt x="1" y="9"/>
                    <a:pt x="2" y="9"/>
                    <a:pt x="3" y="10"/>
                  </a:cubicBezTo>
                  <a:cubicBezTo>
                    <a:pt x="3" y="11"/>
                    <a:pt x="3" y="12"/>
                    <a:pt x="3" y="13"/>
                  </a:cubicBezTo>
                  <a:cubicBezTo>
                    <a:pt x="3" y="13"/>
                    <a:pt x="3" y="15"/>
                    <a:pt x="2" y="16"/>
                  </a:cubicBezTo>
                  <a:cubicBezTo>
                    <a:pt x="2" y="18"/>
                    <a:pt x="2" y="20"/>
                    <a:pt x="2" y="21"/>
                  </a:cubicBezTo>
                  <a:cubicBezTo>
                    <a:pt x="1" y="22"/>
                    <a:pt x="3" y="24"/>
                    <a:pt x="4" y="25"/>
                  </a:cubicBezTo>
                  <a:cubicBezTo>
                    <a:pt x="4" y="26"/>
                    <a:pt x="4" y="28"/>
                    <a:pt x="4" y="28"/>
                  </a:cubicBezTo>
                  <a:cubicBezTo>
                    <a:pt x="4" y="29"/>
                    <a:pt x="4" y="31"/>
                    <a:pt x="4" y="32"/>
                  </a:cubicBezTo>
                  <a:cubicBezTo>
                    <a:pt x="3" y="32"/>
                    <a:pt x="4" y="37"/>
                    <a:pt x="4" y="37"/>
                  </a:cubicBezTo>
                  <a:cubicBezTo>
                    <a:pt x="4" y="37"/>
                    <a:pt x="3" y="38"/>
                    <a:pt x="3" y="39"/>
                  </a:cubicBezTo>
                  <a:cubicBezTo>
                    <a:pt x="2" y="39"/>
                    <a:pt x="1" y="40"/>
                    <a:pt x="1" y="41"/>
                  </a:cubicBezTo>
                  <a:cubicBezTo>
                    <a:pt x="1" y="41"/>
                    <a:pt x="1" y="43"/>
                    <a:pt x="0" y="44"/>
                  </a:cubicBezTo>
                  <a:cubicBezTo>
                    <a:pt x="0" y="44"/>
                    <a:pt x="0" y="47"/>
                    <a:pt x="0" y="47"/>
                  </a:cubicBezTo>
                  <a:cubicBezTo>
                    <a:pt x="0" y="47"/>
                    <a:pt x="1" y="49"/>
                    <a:pt x="1" y="49"/>
                  </a:cubicBezTo>
                  <a:cubicBezTo>
                    <a:pt x="1" y="49"/>
                    <a:pt x="1" y="52"/>
                    <a:pt x="1" y="53"/>
                  </a:cubicBezTo>
                  <a:cubicBezTo>
                    <a:pt x="1" y="53"/>
                    <a:pt x="1" y="58"/>
                    <a:pt x="1" y="58"/>
                  </a:cubicBezTo>
                  <a:cubicBezTo>
                    <a:pt x="3" y="61"/>
                    <a:pt x="3" y="61"/>
                    <a:pt x="3" y="61"/>
                  </a:cubicBezTo>
                  <a:cubicBezTo>
                    <a:pt x="3" y="61"/>
                    <a:pt x="1" y="65"/>
                    <a:pt x="1" y="65"/>
                  </a:cubicBezTo>
                  <a:cubicBezTo>
                    <a:pt x="1" y="66"/>
                    <a:pt x="0" y="68"/>
                    <a:pt x="0" y="68"/>
                  </a:cubicBezTo>
                  <a:cubicBezTo>
                    <a:pt x="0" y="68"/>
                    <a:pt x="1" y="69"/>
                    <a:pt x="1" y="70"/>
                  </a:cubicBezTo>
                  <a:cubicBezTo>
                    <a:pt x="1" y="70"/>
                    <a:pt x="2" y="70"/>
                    <a:pt x="2" y="70"/>
                  </a:cubicBezTo>
                  <a:cubicBezTo>
                    <a:pt x="2" y="69"/>
                    <a:pt x="2" y="69"/>
                    <a:pt x="2" y="69"/>
                  </a:cubicBezTo>
                  <a:cubicBezTo>
                    <a:pt x="2" y="69"/>
                    <a:pt x="3" y="68"/>
                    <a:pt x="3" y="68"/>
                  </a:cubicBezTo>
                  <a:cubicBezTo>
                    <a:pt x="3" y="68"/>
                    <a:pt x="4" y="68"/>
                    <a:pt x="4" y="68"/>
                  </a:cubicBezTo>
                  <a:cubicBezTo>
                    <a:pt x="5" y="68"/>
                    <a:pt x="5" y="69"/>
                    <a:pt x="5" y="70"/>
                  </a:cubicBezTo>
                  <a:cubicBezTo>
                    <a:pt x="5" y="70"/>
                    <a:pt x="6" y="71"/>
                    <a:pt x="6" y="71"/>
                  </a:cubicBezTo>
                  <a:cubicBezTo>
                    <a:pt x="5" y="105"/>
                    <a:pt x="5" y="105"/>
                    <a:pt x="5" y="105"/>
                  </a:cubicBezTo>
                  <a:cubicBezTo>
                    <a:pt x="6" y="109"/>
                    <a:pt x="6" y="109"/>
                    <a:pt x="6" y="109"/>
                  </a:cubicBezTo>
                  <a:cubicBezTo>
                    <a:pt x="33" y="110"/>
                    <a:pt x="33" y="110"/>
                    <a:pt x="33" y="110"/>
                  </a:cubicBezTo>
                  <a:cubicBezTo>
                    <a:pt x="31" y="107"/>
                    <a:pt x="31" y="107"/>
                    <a:pt x="31" y="107"/>
                  </a:cubicBezTo>
                  <a:cubicBezTo>
                    <a:pt x="31" y="107"/>
                    <a:pt x="31" y="106"/>
                    <a:pt x="31" y="106"/>
                  </a:cubicBezTo>
                  <a:cubicBezTo>
                    <a:pt x="31" y="106"/>
                    <a:pt x="30" y="104"/>
                    <a:pt x="30" y="103"/>
                  </a:cubicBezTo>
                  <a:cubicBezTo>
                    <a:pt x="30" y="103"/>
                    <a:pt x="31" y="101"/>
                    <a:pt x="31" y="101"/>
                  </a:cubicBezTo>
                  <a:cubicBezTo>
                    <a:pt x="31" y="101"/>
                    <a:pt x="31" y="99"/>
                    <a:pt x="31" y="99"/>
                  </a:cubicBezTo>
                  <a:cubicBezTo>
                    <a:pt x="31" y="99"/>
                    <a:pt x="33" y="97"/>
                    <a:pt x="33" y="97"/>
                  </a:cubicBezTo>
                  <a:cubicBezTo>
                    <a:pt x="33" y="96"/>
                    <a:pt x="34" y="92"/>
                    <a:pt x="34" y="92"/>
                  </a:cubicBezTo>
                  <a:cubicBezTo>
                    <a:pt x="34" y="91"/>
                    <a:pt x="33" y="90"/>
                    <a:pt x="33" y="90"/>
                  </a:cubicBezTo>
                  <a:cubicBezTo>
                    <a:pt x="33" y="89"/>
                    <a:pt x="34" y="89"/>
                    <a:pt x="34" y="88"/>
                  </a:cubicBezTo>
                  <a:cubicBezTo>
                    <a:pt x="34" y="88"/>
                    <a:pt x="36" y="83"/>
                    <a:pt x="36" y="83"/>
                  </a:cubicBezTo>
                  <a:cubicBezTo>
                    <a:pt x="36" y="83"/>
                    <a:pt x="35" y="82"/>
                    <a:pt x="35" y="81"/>
                  </a:cubicBezTo>
                  <a:cubicBezTo>
                    <a:pt x="35" y="80"/>
                    <a:pt x="36" y="78"/>
                    <a:pt x="36" y="77"/>
                  </a:cubicBezTo>
                  <a:cubicBezTo>
                    <a:pt x="36" y="77"/>
                    <a:pt x="35" y="73"/>
                    <a:pt x="35" y="73"/>
                  </a:cubicBezTo>
                  <a:cubicBezTo>
                    <a:pt x="35" y="72"/>
                    <a:pt x="37" y="68"/>
                    <a:pt x="37" y="68"/>
                  </a:cubicBezTo>
                  <a:cubicBezTo>
                    <a:pt x="38" y="67"/>
                    <a:pt x="39" y="65"/>
                    <a:pt x="39" y="64"/>
                  </a:cubicBezTo>
                  <a:cubicBezTo>
                    <a:pt x="39" y="64"/>
                    <a:pt x="39" y="63"/>
                    <a:pt x="39" y="63"/>
                  </a:cubicBezTo>
                  <a:cubicBezTo>
                    <a:pt x="39" y="63"/>
                    <a:pt x="41" y="61"/>
                    <a:pt x="42" y="60"/>
                  </a:cubicBezTo>
                  <a:cubicBezTo>
                    <a:pt x="42" y="60"/>
                    <a:pt x="42" y="58"/>
                    <a:pt x="42" y="57"/>
                  </a:cubicBezTo>
                  <a:cubicBezTo>
                    <a:pt x="43" y="57"/>
                    <a:pt x="44" y="54"/>
                    <a:pt x="45" y="54"/>
                  </a:cubicBezTo>
                  <a:cubicBezTo>
                    <a:pt x="45" y="53"/>
                    <a:pt x="46" y="52"/>
                    <a:pt x="46" y="52"/>
                  </a:cubicBezTo>
                  <a:cubicBezTo>
                    <a:pt x="46" y="52"/>
                    <a:pt x="46" y="49"/>
                    <a:pt x="46" y="49"/>
                  </a:cubicBezTo>
                  <a:cubicBezTo>
                    <a:pt x="46" y="49"/>
                    <a:pt x="48" y="46"/>
                    <a:pt x="48" y="46"/>
                  </a:cubicBezTo>
                  <a:cubicBezTo>
                    <a:pt x="48" y="45"/>
                    <a:pt x="48" y="40"/>
                    <a:pt x="48" y="40"/>
                  </a:cubicBezTo>
                  <a:cubicBezTo>
                    <a:pt x="48" y="40"/>
                    <a:pt x="48" y="37"/>
                    <a:pt x="48" y="36"/>
                  </a:cubicBezTo>
                  <a:cubicBezTo>
                    <a:pt x="48" y="36"/>
                    <a:pt x="48" y="34"/>
                    <a:pt x="48" y="34"/>
                  </a:cubicBezTo>
                  <a:cubicBezTo>
                    <a:pt x="49" y="34"/>
                    <a:pt x="51" y="33"/>
                    <a:pt x="51" y="33"/>
                  </a:cubicBezTo>
                  <a:cubicBezTo>
                    <a:pt x="51" y="33"/>
                    <a:pt x="53" y="33"/>
                    <a:pt x="53" y="33"/>
                  </a:cubicBezTo>
                  <a:cubicBezTo>
                    <a:pt x="54" y="33"/>
                    <a:pt x="56" y="32"/>
                    <a:pt x="56" y="32"/>
                  </a:cubicBezTo>
                  <a:cubicBezTo>
                    <a:pt x="57" y="30"/>
                    <a:pt x="57" y="30"/>
                    <a:pt x="57" y="30"/>
                  </a:cubicBezTo>
                  <a:cubicBezTo>
                    <a:pt x="57" y="30"/>
                    <a:pt x="60" y="29"/>
                    <a:pt x="60" y="29"/>
                  </a:cubicBezTo>
                  <a:cubicBezTo>
                    <a:pt x="61" y="29"/>
                    <a:pt x="61" y="28"/>
                    <a:pt x="62" y="27"/>
                  </a:cubicBezTo>
                  <a:cubicBezTo>
                    <a:pt x="62" y="27"/>
                    <a:pt x="63" y="26"/>
                    <a:pt x="63" y="26"/>
                  </a:cubicBezTo>
                  <a:cubicBezTo>
                    <a:pt x="64" y="26"/>
                    <a:pt x="64" y="25"/>
                    <a:pt x="64" y="25"/>
                  </a:cubicBezTo>
                  <a:cubicBezTo>
                    <a:pt x="64" y="25"/>
                    <a:pt x="64" y="24"/>
                    <a:pt x="64" y="23"/>
                  </a:cubicBezTo>
                  <a:cubicBezTo>
                    <a:pt x="64" y="23"/>
                    <a:pt x="64" y="22"/>
                    <a:pt x="64" y="22"/>
                  </a:cubicBezTo>
                  <a:cubicBezTo>
                    <a:pt x="64" y="22"/>
                    <a:pt x="66" y="21"/>
                    <a:pt x="66" y="21"/>
                  </a:cubicBezTo>
                  <a:cubicBezTo>
                    <a:pt x="66" y="21"/>
                    <a:pt x="64" y="17"/>
                    <a:pt x="64" y="16"/>
                  </a:cubicBezTo>
                  <a:cubicBezTo>
                    <a:pt x="63" y="16"/>
                    <a:pt x="62" y="14"/>
                    <a:pt x="62" y="14"/>
                  </a:cubicBezTo>
                  <a:cubicBezTo>
                    <a:pt x="62" y="13"/>
                    <a:pt x="63" y="12"/>
                    <a:pt x="63" y="12"/>
                  </a:cubicBezTo>
                  <a:cubicBezTo>
                    <a:pt x="64" y="12"/>
                    <a:pt x="64" y="11"/>
                    <a:pt x="64" y="10"/>
                  </a:cubicBezTo>
                  <a:cubicBezTo>
                    <a:pt x="65" y="10"/>
                    <a:pt x="65" y="7"/>
                    <a:pt x="66" y="7"/>
                  </a:cubicBezTo>
                  <a:cubicBezTo>
                    <a:pt x="66" y="7"/>
                    <a:pt x="67" y="6"/>
                    <a:pt x="67" y="6"/>
                  </a:cubicBezTo>
                  <a:cubicBezTo>
                    <a:pt x="67" y="6"/>
                    <a:pt x="67" y="5"/>
                    <a:pt x="67" y="5"/>
                  </a:cubicBezTo>
                  <a:cubicBezTo>
                    <a:pt x="67" y="4"/>
                    <a:pt x="66" y="3"/>
                    <a:pt x="66" y="3"/>
                  </a:cubicBezTo>
                  <a:cubicBezTo>
                    <a:pt x="66" y="3"/>
                    <a:pt x="67" y="0"/>
                    <a:pt x="67" y="0"/>
                  </a:cubicBezTo>
                  <a:cubicBezTo>
                    <a:pt x="10" y="0"/>
                    <a:pt x="10" y="0"/>
                    <a:pt x="10" y="0"/>
                  </a:cubicBezTo>
                  <a:cubicBezTo>
                    <a:pt x="3" y="0"/>
                    <a:pt x="3" y="0"/>
                    <a:pt x="3" y="0"/>
                  </a:cubicBezTo>
                  <a:cubicBezTo>
                    <a:pt x="3" y="0"/>
                    <a:pt x="3" y="4"/>
                    <a:pt x="3" y="5"/>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1" name="Freeform 14">
              <a:extLst>
                <a:ext uri="{FF2B5EF4-FFF2-40B4-BE49-F238E27FC236}">
                  <a16:creationId xmlns:a16="http://schemas.microsoft.com/office/drawing/2014/main" id="{09A0471A-975B-0B35-FEAD-82A7F32E3F40}"/>
                </a:ext>
              </a:extLst>
            </p:cNvPr>
            <p:cNvSpPr>
              <a:spLocks/>
            </p:cNvSpPr>
            <p:nvPr/>
          </p:nvSpPr>
          <p:spPr bwMode="auto">
            <a:xfrm>
              <a:off x="3981968" y="2329534"/>
              <a:ext cx="684012" cy="887234"/>
            </a:xfrm>
            <a:custGeom>
              <a:avLst/>
              <a:gdLst>
                <a:gd name="T0" fmla="*/ 414 w 414"/>
                <a:gd name="T1" fmla="*/ 537 h 537"/>
                <a:gd name="T2" fmla="*/ 0 w 414"/>
                <a:gd name="T3" fmla="*/ 537 h 537"/>
                <a:gd name="T4" fmla="*/ 0 w 414"/>
                <a:gd name="T5" fmla="*/ 0 h 537"/>
                <a:gd name="T6" fmla="*/ 247 w 414"/>
                <a:gd name="T7" fmla="*/ 0 h 537"/>
                <a:gd name="T8" fmla="*/ 247 w 414"/>
                <a:gd name="T9" fmla="*/ 110 h 537"/>
                <a:gd name="T10" fmla="*/ 412 w 414"/>
                <a:gd name="T11" fmla="*/ 110 h 537"/>
                <a:gd name="T12" fmla="*/ 414 w 414"/>
                <a:gd name="T13" fmla="*/ 537 h 537"/>
              </a:gdLst>
              <a:ahLst/>
              <a:cxnLst>
                <a:cxn ang="0">
                  <a:pos x="T0" y="T1"/>
                </a:cxn>
                <a:cxn ang="0">
                  <a:pos x="T2" y="T3"/>
                </a:cxn>
                <a:cxn ang="0">
                  <a:pos x="T4" y="T5"/>
                </a:cxn>
                <a:cxn ang="0">
                  <a:pos x="T6" y="T7"/>
                </a:cxn>
                <a:cxn ang="0">
                  <a:pos x="T8" y="T9"/>
                </a:cxn>
                <a:cxn ang="0">
                  <a:pos x="T10" y="T11"/>
                </a:cxn>
                <a:cxn ang="0">
                  <a:pos x="T12" y="T13"/>
                </a:cxn>
              </a:cxnLst>
              <a:rect l="0" t="0" r="r" b="b"/>
              <a:pathLst>
                <a:path w="414" h="537">
                  <a:moveTo>
                    <a:pt x="414" y="537"/>
                  </a:moveTo>
                  <a:lnTo>
                    <a:pt x="0" y="537"/>
                  </a:lnTo>
                  <a:lnTo>
                    <a:pt x="0" y="0"/>
                  </a:lnTo>
                  <a:lnTo>
                    <a:pt x="247" y="0"/>
                  </a:lnTo>
                  <a:lnTo>
                    <a:pt x="247" y="110"/>
                  </a:lnTo>
                  <a:lnTo>
                    <a:pt x="412" y="110"/>
                  </a:lnTo>
                  <a:lnTo>
                    <a:pt x="414" y="537"/>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2" name="Freeform 15">
              <a:extLst>
                <a:ext uri="{FF2B5EF4-FFF2-40B4-BE49-F238E27FC236}">
                  <a16:creationId xmlns:a16="http://schemas.microsoft.com/office/drawing/2014/main" id="{E4F75233-0091-1588-93B7-E75C4FFC5F8F}"/>
                </a:ext>
              </a:extLst>
            </p:cNvPr>
            <p:cNvSpPr>
              <a:spLocks noEditPoints="1"/>
            </p:cNvSpPr>
            <p:nvPr/>
          </p:nvSpPr>
          <p:spPr bwMode="auto">
            <a:xfrm>
              <a:off x="4994768" y="3301031"/>
              <a:ext cx="1790989" cy="1711685"/>
            </a:xfrm>
            <a:custGeom>
              <a:avLst/>
              <a:gdLst>
                <a:gd name="T0" fmla="*/ 345 w 452"/>
                <a:gd name="T1" fmla="*/ 339 h 432"/>
                <a:gd name="T2" fmla="*/ 348 w 452"/>
                <a:gd name="T3" fmla="*/ 339 h 432"/>
                <a:gd name="T4" fmla="*/ 335 w 452"/>
                <a:gd name="T5" fmla="*/ 350 h 432"/>
                <a:gd name="T6" fmla="*/ 324 w 452"/>
                <a:gd name="T7" fmla="*/ 369 h 432"/>
                <a:gd name="T8" fmla="*/ 323 w 452"/>
                <a:gd name="T9" fmla="*/ 367 h 432"/>
                <a:gd name="T10" fmla="*/ 321 w 452"/>
                <a:gd name="T11" fmla="*/ 379 h 432"/>
                <a:gd name="T12" fmla="*/ 320 w 452"/>
                <a:gd name="T13" fmla="*/ 397 h 432"/>
                <a:gd name="T14" fmla="*/ 321 w 452"/>
                <a:gd name="T15" fmla="*/ 397 h 432"/>
                <a:gd name="T16" fmla="*/ 447 w 452"/>
                <a:gd name="T17" fmla="*/ 217 h 432"/>
                <a:gd name="T18" fmla="*/ 435 w 452"/>
                <a:gd name="T19" fmla="*/ 189 h 432"/>
                <a:gd name="T20" fmla="*/ 426 w 452"/>
                <a:gd name="T21" fmla="*/ 124 h 432"/>
                <a:gd name="T22" fmla="*/ 417 w 452"/>
                <a:gd name="T23" fmla="*/ 121 h 432"/>
                <a:gd name="T24" fmla="*/ 410 w 452"/>
                <a:gd name="T25" fmla="*/ 117 h 432"/>
                <a:gd name="T26" fmla="*/ 398 w 452"/>
                <a:gd name="T27" fmla="*/ 110 h 432"/>
                <a:gd name="T28" fmla="*/ 382 w 452"/>
                <a:gd name="T29" fmla="*/ 111 h 432"/>
                <a:gd name="T30" fmla="*/ 370 w 452"/>
                <a:gd name="T31" fmla="*/ 112 h 432"/>
                <a:gd name="T32" fmla="*/ 356 w 452"/>
                <a:gd name="T33" fmla="*/ 118 h 432"/>
                <a:gd name="T34" fmla="*/ 340 w 452"/>
                <a:gd name="T35" fmla="*/ 113 h 432"/>
                <a:gd name="T36" fmla="*/ 331 w 452"/>
                <a:gd name="T37" fmla="*/ 113 h 432"/>
                <a:gd name="T38" fmla="*/ 324 w 452"/>
                <a:gd name="T39" fmla="*/ 112 h 432"/>
                <a:gd name="T40" fmla="*/ 309 w 452"/>
                <a:gd name="T41" fmla="*/ 107 h 432"/>
                <a:gd name="T42" fmla="*/ 295 w 452"/>
                <a:gd name="T43" fmla="*/ 105 h 432"/>
                <a:gd name="T44" fmla="*/ 269 w 452"/>
                <a:gd name="T45" fmla="*/ 100 h 432"/>
                <a:gd name="T46" fmla="*/ 254 w 452"/>
                <a:gd name="T47" fmla="*/ 90 h 432"/>
                <a:gd name="T48" fmla="*/ 238 w 452"/>
                <a:gd name="T49" fmla="*/ 90 h 432"/>
                <a:gd name="T50" fmla="*/ 0 w 452"/>
                <a:gd name="T51" fmla="*/ 190 h 432"/>
                <a:gd name="T52" fmla="*/ 19 w 452"/>
                <a:gd name="T53" fmla="*/ 212 h 432"/>
                <a:gd name="T54" fmla="*/ 52 w 452"/>
                <a:gd name="T55" fmla="*/ 239 h 432"/>
                <a:gd name="T56" fmla="*/ 80 w 452"/>
                <a:gd name="T57" fmla="*/ 288 h 432"/>
                <a:gd name="T58" fmla="*/ 112 w 452"/>
                <a:gd name="T59" fmla="*/ 309 h 432"/>
                <a:gd name="T60" fmla="*/ 129 w 452"/>
                <a:gd name="T61" fmla="*/ 297 h 432"/>
                <a:gd name="T62" fmla="*/ 147 w 452"/>
                <a:gd name="T63" fmla="*/ 276 h 432"/>
                <a:gd name="T64" fmla="*/ 175 w 452"/>
                <a:gd name="T65" fmla="*/ 278 h 432"/>
                <a:gd name="T66" fmla="*/ 186 w 452"/>
                <a:gd name="T67" fmla="*/ 288 h 432"/>
                <a:gd name="T68" fmla="*/ 216 w 452"/>
                <a:gd name="T69" fmla="*/ 330 h 432"/>
                <a:gd name="T70" fmla="*/ 244 w 452"/>
                <a:gd name="T71" fmla="*/ 363 h 432"/>
                <a:gd name="T72" fmla="*/ 254 w 452"/>
                <a:gd name="T73" fmla="*/ 393 h 432"/>
                <a:gd name="T74" fmla="*/ 270 w 452"/>
                <a:gd name="T75" fmla="*/ 411 h 432"/>
                <a:gd name="T76" fmla="*/ 295 w 452"/>
                <a:gd name="T77" fmla="*/ 423 h 432"/>
                <a:gd name="T78" fmla="*/ 327 w 452"/>
                <a:gd name="T79" fmla="*/ 428 h 432"/>
                <a:gd name="T80" fmla="*/ 321 w 452"/>
                <a:gd name="T81" fmla="*/ 415 h 432"/>
                <a:gd name="T82" fmla="*/ 314 w 452"/>
                <a:gd name="T83" fmla="*/ 394 h 432"/>
                <a:gd name="T84" fmla="*/ 317 w 452"/>
                <a:gd name="T85" fmla="*/ 380 h 432"/>
                <a:gd name="T86" fmla="*/ 311 w 452"/>
                <a:gd name="T87" fmla="*/ 376 h 432"/>
                <a:gd name="T88" fmla="*/ 321 w 452"/>
                <a:gd name="T89" fmla="*/ 369 h 432"/>
                <a:gd name="T90" fmla="*/ 319 w 452"/>
                <a:gd name="T91" fmla="*/ 356 h 432"/>
                <a:gd name="T92" fmla="*/ 327 w 452"/>
                <a:gd name="T93" fmla="*/ 354 h 432"/>
                <a:gd name="T94" fmla="*/ 329 w 452"/>
                <a:gd name="T95" fmla="*/ 343 h 432"/>
                <a:gd name="T96" fmla="*/ 340 w 452"/>
                <a:gd name="T97" fmla="*/ 336 h 432"/>
                <a:gd name="T98" fmla="*/ 352 w 452"/>
                <a:gd name="T99" fmla="*/ 329 h 432"/>
                <a:gd name="T100" fmla="*/ 351 w 452"/>
                <a:gd name="T101" fmla="*/ 324 h 432"/>
                <a:gd name="T102" fmla="*/ 360 w 452"/>
                <a:gd name="T103" fmla="*/ 323 h 432"/>
                <a:gd name="T104" fmla="*/ 368 w 452"/>
                <a:gd name="T105" fmla="*/ 325 h 432"/>
                <a:gd name="T106" fmla="*/ 370 w 452"/>
                <a:gd name="T107" fmla="*/ 323 h 432"/>
                <a:gd name="T108" fmla="*/ 397 w 452"/>
                <a:gd name="T109" fmla="*/ 307 h 432"/>
                <a:gd name="T110" fmla="*/ 406 w 452"/>
                <a:gd name="T111" fmla="*/ 297 h 432"/>
                <a:gd name="T112" fmla="*/ 401 w 452"/>
                <a:gd name="T113" fmla="*/ 285 h 432"/>
                <a:gd name="T114" fmla="*/ 407 w 452"/>
                <a:gd name="T115" fmla="*/ 281 h 432"/>
                <a:gd name="T116" fmla="*/ 419 w 452"/>
                <a:gd name="T117" fmla="*/ 288 h 432"/>
                <a:gd name="T118" fmla="*/ 435 w 452"/>
                <a:gd name="T119" fmla="*/ 283 h 432"/>
                <a:gd name="T120" fmla="*/ 446 w 452"/>
                <a:gd name="T121" fmla="*/ 258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2" h="432">
                  <a:moveTo>
                    <a:pt x="331" y="354"/>
                  </a:moveTo>
                  <a:cubicBezTo>
                    <a:pt x="331" y="353"/>
                    <a:pt x="331" y="352"/>
                    <a:pt x="332" y="352"/>
                  </a:cubicBezTo>
                  <a:cubicBezTo>
                    <a:pt x="332" y="351"/>
                    <a:pt x="333" y="349"/>
                    <a:pt x="334" y="349"/>
                  </a:cubicBezTo>
                  <a:cubicBezTo>
                    <a:pt x="334" y="348"/>
                    <a:pt x="334" y="347"/>
                    <a:pt x="335" y="347"/>
                  </a:cubicBezTo>
                  <a:cubicBezTo>
                    <a:pt x="335" y="347"/>
                    <a:pt x="335" y="346"/>
                    <a:pt x="336" y="346"/>
                  </a:cubicBezTo>
                  <a:cubicBezTo>
                    <a:pt x="336" y="346"/>
                    <a:pt x="336" y="346"/>
                    <a:pt x="336" y="345"/>
                  </a:cubicBezTo>
                  <a:cubicBezTo>
                    <a:pt x="336" y="345"/>
                    <a:pt x="337" y="345"/>
                    <a:pt x="338" y="344"/>
                  </a:cubicBezTo>
                  <a:cubicBezTo>
                    <a:pt x="339" y="344"/>
                    <a:pt x="339" y="343"/>
                    <a:pt x="340" y="342"/>
                  </a:cubicBezTo>
                  <a:cubicBezTo>
                    <a:pt x="340" y="342"/>
                    <a:pt x="340" y="341"/>
                    <a:pt x="341" y="341"/>
                  </a:cubicBezTo>
                  <a:cubicBezTo>
                    <a:pt x="341" y="341"/>
                    <a:pt x="342" y="341"/>
                    <a:pt x="342" y="340"/>
                  </a:cubicBezTo>
                  <a:cubicBezTo>
                    <a:pt x="343" y="340"/>
                    <a:pt x="343" y="340"/>
                    <a:pt x="344" y="339"/>
                  </a:cubicBezTo>
                  <a:cubicBezTo>
                    <a:pt x="344" y="339"/>
                    <a:pt x="344" y="339"/>
                    <a:pt x="345" y="339"/>
                  </a:cubicBezTo>
                  <a:cubicBezTo>
                    <a:pt x="346" y="338"/>
                    <a:pt x="346" y="338"/>
                    <a:pt x="347" y="338"/>
                  </a:cubicBezTo>
                  <a:cubicBezTo>
                    <a:pt x="347" y="338"/>
                    <a:pt x="348" y="337"/>
                    <a:pt x="348" y="337"/>
                  </a:cubicBezTo>
                  <a:cubicBezTo>
                    <a:pt x="349" y="336"/>
                    <a:pt x="350" y="336"/>
                    <a:pt x="350" y="336"/>
                  </a:cubicBezTo>
                  <a:cubicBezTo>
                    <a:pt x="351" y="335"/>
                    <a:pt x="351" y="335"/>
                    <a:pt x="351" y="335"/>
                  </a:cubicBezTo>
                  <a:cubicBezTo>
                    <a:pt x="352" y="335"/>
                    <a:pt x="352" y="334"/>
                    <a:pt x="352" y="334"/>
                  </a:cubicBezTo>
                  <a:cubicBezTo>
                    <a:pt x="352" y="334"/>
                    <a:pt x="353" y="333"/>
                    <a:pt x="353" y="334"/>
                  </a:cubicBezTo>
                  <a:cubicBezTo>
                    <a:pt x="353" y="334"/>
                    <a:pt x="353" y="335"/>
                    <a:pt x="353" y="335"/>
                  </a:cubicBezTo>
                  <a:cubicBezTo>
                    <a:pt x="353" y="336"/>
                    <a:pt x="353" y="336"/>
                    <a:pt x="352" y="337"/>
                  </a:cubicBezTo>
                  <a:cubicBezTo>
                    <a:pt x="352" y="337"/>
                    <a:pt x="352" y="337"/>
                    <a:pt x="351" y="337"/>
                  </a:cubicBezTo>
                  <a:cubicBezTo>
                    <a:pt x="351" y="337"/>
                    <a:pt x="351" y="337"/>
                    <a:pt x="350" y="337"/>
                  </a:cubicBezTo>
                  <a:cubicBezTo>
                    <a:pt x="350" y="338"/>
                    <a:pt x="349" y="338"/>
                    <a:pt x="348" y="338"/>
                  </a:cubicBezTo>
                  <a:cubicBezTo>
                    <a:pt x="348" y="338"/>
                    <a:pt x="348" y="339"/>
                    <a:pt x="348" y="339"/>
                  </a:cubicBezTo>
                  <a:cubicBezTo>
                    <a:pt x="348" y="339"/>
                    <a:pt x="347" y="339"/>
                    <a:pt x="347" y="339"/>
                  </a:cubicBezTo>
                  <a:cubicBezTo>
                    <a:pt x="346" y="340"/>
                    <a:pt x="346" y="340"/>
                    <a:pt x="345" y="341"/>
                  </a:cubicBezTo>
                  <a:cubicBezTo>
                    <a:pt x="345" y="341"/>
                    <a:pt x="344" y="341"/>
                    <a:pt x="344" y="342"/>
                  </a:cubicBezTo>
                  <a:cubicBezTo>
                    <a:pt x="344" y="342"/>
                    <a:pt x="343" y="342"/>
                    <a:pt x="343" y="342"/>
                  </a:cubicBezTo>
                  <a:cubicBezTo>
                    <a:pt x="343" y="342"/>
                    <a:pt x="343" y="342"/>
                    <a:pt x="342" y="343"/>
                  </a:cubicBezTo>
                  <a:cubicBezTo>
                    <a:pt x="342" y="343"/>
                    <a:pt x="342" y="343"/>
                    <a:pt x="341" y="343"/>
                  </a:cubicBezTo>
                  <a:cubicBezTo>
                    <a:pt x="341" y="344"/>
                    <a:pt x="341" y="344"/>
                    <a:pt x="341" y="344"/>
                  </a:cubicBezTo>
                  <a:cubicBezTo>
                    <a:pt x="340" y="344"/>
                    <a:pt x="340" y="344"/>
                    <a:pt x="340" y="345"/>
                  </a:cubicBezTo>
                  <a:cubicBezTo>
                    <a:pt x="339" y="345"/>
                    <a:pt x="338" y="346"/>
                    <a:pt x="337" y="346"/>
                  </a:cubicBezTo>
                  <a:cubicBezTo>
                    <a:pt x="337" y="347"/>
                    <a:pt x="336" y="348"/>
                    <a:pt x="336" y="348"/>
                  </a:cubicBezTo>
                  <a:cubicBezTo>
                    <a:pt x="336" y="348"/>
                    <a:pt x="336" y="348"/>
                    <a:pt x="336" y="349"/>
                  </a:cubicBezTo>
                  <a:cubicBezTo>
                    <a:pt x="336" y="349"/>
                    <a:pt x="336" y="349"/>
                    <a:pt x="335" y="350"/>
                  </a:cubicBezTo>
                  <a:cubicBezTo>
                    <a:pt x="334" y="351"/>
                    <a:pt x="332" y="352"/>
                    <a:pt x="331" y="354"/>
                  </a:cubicBezTo>
                  <a:cubicBezTo>
                    <a:pt x="331" y="354"/>
                    <a:pt x="331" y="355"/>
                    <a:pt x="331" y="354"/>
                  </a:cubicBezTo>
                  <a:close/>
                  <a:moveTo>
                    <a:pt x="330" y="356"/>
                  </a:moveTo>
                  <a:cubicBezTo>
                    <a:pt x="330" y="356"/>
                    <a:pt x="330" y="356"/>
                    <a:pt x="330" y="356"/>
                  </a:cubicBezTo>
                  <a:cubicBezTo>
                    <a:pt x="330" y="356"/>
                    <a:pt x="330" y="356"/>
                    <a:pt x="330" y="356"/>
                  </a:cubicBezTo>
                  <a:cubicBezTo>
                    <a:pt x="331" y="356"/>
                    <a:pt x="331" y="355"/>
                    <a:pt x="330" y="355"/>
                  </a:cubicBezTo>
                  <a:cubicBezTo>
                    <a:pt x="330" y="355"/>
                    <a:pt x="330" y="356"/>
                    <a:pt x="330" y="356"/>
                  </a:cubicBezTo>
                  <a:close/>
                  <a:moveTo>
                    <a:pt x="321" y="375"/>
                  </a:moveTo>
                  <a:cubicBezTo>
                    <a:pt x="322" y="374"/>
                    <a:pt x="322" y="374"/>
                    <a:pt x="322" y="374"/>
                  </a:cubicBezTo>
                  <a:cubicBezTo>
                    <a:pt x="322" y="373"/>
                    <a:pt x="322" y="373"/>
                    <a:pt x="322" y="372"/>
                  </a:cubicBezTo>
                  <a:cubicBezTo>
                    <a:pt x="323" y="372"/>
                    <a:pt x="323" y="371"/>
                    <a:pt x="323" y="370"/>
                  </a:cubicBezTo>
                  <a:cubicBezTo>
                    <a:pt x="323" y="370"/>
                    <a:pt x="323" y="369"/>
                    <a:pt x="324" y="369"/>
                  </a:cubicBezTo>
                  <a:cubicBezTo>
                    <a:pt x="324" y="368"/>
                    <a:pt x="325" y="367"/>
                    <a:pt x="325" y="366"/>
                  </a:cubicBezTo>
                  <a:cubicBezTo>
                    <a:pt x="325" y="365"/>
                    <a:pt x="326" y="365"/>
                    <a:pt x="326" y="364"/>
                  </a:cubicBezTo>
                  <a:cubicBezTo>
                    <a:pt x="326" y="364"/>
                    <a:pt x="326" y="363"/>
                    <a:pt x="327" y="363"/>
                  </a:cubicBezTo>
                  <a:cubicBezTo>
                    <a:pt x="327" y="362"/>
                    <a:pt x="327" y="361"/>
                    <a:pt x="328" y="360"/>
                  </a:cubicBezTo>
                  <a:cubicBezTo>
                    <a:pt x="328" y="360"/>
                    <a:pt x="329" y="359"/>
                    <a:pt x="329" y="359"/>
                  </a:cubicBezTo>
                  <a:cubicBezTo>
                    <a:pt x="329" y="358"/>
                    <a:pt x="330" y="357"/>
                    <a:pt x="329" y="357"/>
                  </a:cubicBezTo>
                  <a:cubicBezTo>
                    <a:pt x="329" y="357"/>
                    <a:pt x="329" y="357"/>
                    <a:pt x="329" y="358"/>
                  </a:cubicBezTo>
                  <a:cubicBezTo>
                    <a:pt x="328" y="358"/>
                    <a:pt x="328" y="358"/>
                    <a:pt x="328" y="358"/>
                  </a:cubicBezTo>
                  <a:cubicBezTo>
                    <a:pt x="327" y="359"/>
                    <a:pt x="327" y="360"/>
                    <a:pt x="327" y="360"/>
                  </a:cubicBezTo>
                  <a:cubicBezTo>
                    <a:pt x="326" y="361"/>
                    <a:pt x="326" y="361"/>
                    <a:pt x="325" y="362"/>
                  </a:cubicBezTo>
                  <a:cubicBezTo>
                    <a:pt x="325" y="363"/>
                    <a:pt x="324" y="364"/>
                    <a:pt x="324" y="365"/>
                  </a:cubicBezTo>
                  <a:cubicBezTo>
                    <a:pt x="324" y="366"/>
                    <a:pt x="324" y="366"/>
                    <a:pt x="323" y="367"/>
                  </a:cubicBezTo>
                  <a:cubicBezTo>
                    <a:pt x="323" y="367"/>
                    <a:pt x="323" y="367"/>
                    <a:pt x="323" y="368"/>
                  </a:cubicBezTo>
                  <a:cubicBezTo>
                    <a:pt x="322" y="369"/>
                    <a:pt x="322" y="370"/>
                    <a:pt x="322" y="371"/>
                  </a:cubicBezTo>
                  <a:cubicBezTo>
                    <a:pt x="321" y="371"/>
                    <a:pt x="321" y="371"/>
                    <a:pt x="321" y="372"/>
                  </a:cubicBezTo>
                  <a:cubicBezTo>
                    <a:pt x="321" y="372"/>
                    <a:pt x="321" y="372"/>
                    <a:pt x="321" y="373"/>
                  </a:cubicBezTo>
                  <a:cubicBezTo>
                    <a:pt x="321" y="374"/>
                    <a:pt x="321" y="375"/>
                    <a:pt x="321" y="375"/>
                  </a:cubicBezTo>
                  <a:cubicBezTo>
                    <a:pt x="321" y="375"/>
                    <a:pt x="321" y="375"/>
                    <a:pt x="321" y="375"/>
                  </a:cubicBezTo>
                  <a:close/>
                  <a:moveTo>
                    <a:pt x="321" y="379"/>
                  </a:moveTo>
                  <a:cubicBezTo>
                    <a:pt x="321" y="379"/>
                    <a:pt x="321" y="378"/>
                    <a:pt x="321" y="378"/>
                  </a:cubicBezTo>
                  <a:cubicBezTo>
                    <a:pt x="321" y="377"/>
                    <a:pt x="321" y="377"/>
                    <a:pt x="321" y="377"/>
                  </a:cubicBezTo>
                  <a:cubicBezTo>
                    <a:pt x="321" y="377"/>
                    <a:pt x="321" y="377"/>
                    <a:pt x="321" y="376"/>
                  </a:cubicBezTo>
                  <a:cubicBezTo>
                    <a:pt x="320" y="377"/>
                    <a:pt x="320" y="377"/>
                    <a:pt x="320" y="378"/>
                  </a:cubicBezTo>
                  <a:cubicBezTo>
                    <a:pt x="320" y="378"/>
                    <a:pt x="320" y="379"/>
                    <a:pt x="321" y="379"/>
                  </a:cubicBezTo>
                  <a:close/>
                  <a:moveTo>
                    <a:pt x="320" y="387"/>
                  </a:moveTo>
                  <a:cubicBezTo>
                    <a:pt x="320" y="386"/>
                    <a:pt x="320" y="386"/>
                    <a:pt x="320" y="386"/>
                  </a:cubicBezTo>
                  <a:cubicBezTo>
                    <a:pt x="320" y="385"/>
                    <a:pt x="320" y="384"/>
                    <a:pt x="320" y="384"/>
                  </a:cubicBezTo>
                  <a:cubicBezTo>
                    <a:pt x="320" y="383"/>
                    <a:pt x="320" y="382"/>
                    <a:pt x="320" y="382"/>
                  </a:cubicBezTo>
                  <a:cubicBezTo>
                    <a:pt x="320" y="381"/>
                    <a:pt x="320" y="381"/>
                    <a:pt x="320" y="381"/>
                  </a:cubicBezTo>
                  <a:cubicBezTo>
                    <a:pt x="320" y="380"/>
                    <a:pt x="319" y="380"/>
                    <a:pt x="319" y="381"/>
                  </a:cubicBezTo>
                  <a:cubicBezTo>
                    <a:pt x="319" y="381"/>
                    <a:pt x="319" y="381"/>
                    <a:pt x="319" y="382"/>
                  </a:cubicBezTo>
                  <a:cubicBezTo>
                    <a:pt x="319" y="382"/>
                    <a:pt x="319" y="383"/>
                    <a:pt x="319" y="384"/>
                  </a:cubicBezTo>
                  <a:cubicBezTo>
                    <a:pt x="319" y="385"/>
                    <a:pt x="319" y="385"/>
                    <a:pt x="319" y="386"/>
                  </a:cubicBezTo>
                  <a:cubicBezTo>
                    <a:pt x="319" y="386"/>
                    <a:pt x="319" y="386"/>
                    <a:pt x="319" y="386"/>
                  </a:cubicBezTo>
                  <a:cubicBezTo>
                    <a:pt x="320" y="387"/>
                    <a:pt x="320" y="387"/>
                    <a:pt x="320" y="387"/>
                  </a:cubicBezTo>
                  <a:close/>
                  <a:moveTo>
                    <a:pt x="320" y="397"/>
                  </a:moveTo>
                  <a:cubicBezTo>
                    <a:pt x="320" y="397"/>
                    <a:pt x="320" y="398"/>
                    <a:pt x="320" y="398"/>
                  </a:cubicBezTo>
                  <a:cubicBezTo>
                    <a:pt x="320" y="399"/>
                    <a:pt x="320" y="399"/>
                    <a:pt x="321" y="399"/>
                  </a:cubicBezTo>
                  <a:cubicBezTo>
                    <a:pt x="321" y="399"/>
                    <a:pt x="321" y="399"/>
                    <a:pt x="321" y="400"/>
                  </a:cubicBezTo>
                  <a:cubicBezTo>
                    <a:pt x="321" y="400"/>
                    <a:pt x="321" y="400"/>
                    <a:pt x="321" y="400"/>
                  </a:cubicBezTo>
                  <a:cubicBezTo>
                    <a:pt x="321" y="400"/>
                    <a:pt x="321" y="401"/>
                    <a:pt x="322" y="401"/>
                  </a:cubicBezTo>
                  <a:cubicBezTo>
                    <a:pt x="322" y="402"/>
                    <a:pt x="322" y="402"/>
                    <a:pt x="322" y="403"/>
                  </a:cubicBezTo>
                  <a:cubicBezTo>
                    <a:pt x="322" y="403"/>
                    <a:pt x="322" y="404"/>
                    <a:pt x="323" y="404"/>
                  </a:cubicBezTo>
                  <a:cubicBezTo>
                    <a:pt x="323" y="404"/>
                    <a:pt x="322" y="402"/>
                    <a:pt x="322" y="402"/>
                  </a:cubicBezTo>
                  <a:cubicBezTo>
                    <a:pt x="322" y="402"/>
                    <a:pt x="322" y="401"/>
                    <a:pt x="322" y="400"/>
                  </a:cubicBezTo>
                  <a:cubicBezTo>
                    <a:pt x="322" y="400"/>
                    <a:pt x="322" y="400"/>
                    <a:pt x="322" y="400"/>
                  </a:cubicBezTo>
                  <a:cubicBezTo>
                    <a:pt x="321" y="399"/>
                    <a:pt x="321" y="399"/>
                    <a:pt x="321" y="399"/>
                  </a:cubicBezTo>
                  <a:cubicBezTo>
                    <a:pt x="321" y="398"/>
                    <a:pt x="321" y="398"/>
                    <a:pt x="321" y="397"/>
                  </a:cubicBezTo>
                  <a:cubicBezTo>
                    <a:pt x="320" y="397"/>
                    <a:pt x="321" y="397"/>
                    <a:pt x="320" y="396"/>
                  </a:cubicBezTo>
                  <a:cubicBezTo>
                    <a:pt x="320" y="396"/>
                    <a:pt x="320" y="397"/>
                    <a:pt x="320" y="397"/>
                  </a:cubicBezTo>
                  <a:close/>
                  <a:moveTo>
                    <a:pt x="451" y="229"/>
                  </a:moveTo>
                  <a:cubicBezTo>
                    <a:pt x="451" y="229"/>
                    <a:pt x="451" y="229"/>
                    <a:pt x="451" y="228"/>
                  </a:cubicBezTo>
                  <a:cubicBezTo>
                    <a:pt x="452" y="228"/>
                    <a:pt x="452" y="227"/>
                    <a:pt x="452" y="227"/>
                  </a:cubicBezTo>
                  <a:cubicBezTo>
                    <a:pt x="452" y="226"/>
                    <a:pt x="452" y="225"/>
                    <a:pt x="451" y="225"/>
                  </a:cubicBezTo>
                  <a:cubicBezTo>
                    <a:pt x="451" y="225"/>
                    <a:pt x="452" y="224"/>
                    <a:pt x="452" y="223"/>
                  </a:cubicBezTo>
                  <a:cubicBezTo>
                    <a:pt x="452" y="223"/>
                    <a:pt x="452" y="222"/>
                    <a:pt x="452" y="222"/>
                  </a:cubicBezTo>
                  <a:cubicBezTo>
                    <a:pt x="452" y="222"/>
                    <a:pt x="451" y="223"/>
                    <a:pt x="451" y="223"/>
                  </a:cubicBezTo>
                  <a:cubicBezTo>
                    <a:pt x="451" y="223"/>
                    <a:pt x="450" y="222"/>
                    <a:pt x="450" y="222"/>
                  </a:cubicBezTo>
                  <a:cubicBezTo>
                    <a:pt x="450" y="221"/>
                    <a:pt x="450" y="221"/>
                    <a:pt x="450" y="220"/>
                  </a:cubicBezTo>
                  <a:cubicBezTo>
                    <a:pt x="450" y="220"/>
                    <a:pt x="448" y="218"/>
                    <a:pt x="447" y="217"/>
                  </a:cubicBezTo>
                  <a:cubicBezTo>
                    <a:pt x="447" y="217"/>
                    <a:pt x="447" y="216"/>
                    <a:pt x="447" y="216"/>
                  </a:cubicBezTo>
                  <a:cubicBezTo>
                    <a:pt x="447" y="216"/>
                    <a:pt x="448" y="215"/>
                    <a:pt x="448" y="214"/>
                  </a:cubicBezTo>
                  <a:cubicBezTo>
                    <a:pt x="448" y="214"/>
                    <a:pt x="447" y="214"/>
                    <a:pt x="447" y="213"/>
                  </a:cubicBezTo>
                  <a:cubicBezTo>
                    <a:pt x="447" y="213"/>
                    <a:pt x="447" y="212"/>
                    <a:pt x="447" y="211"/>
                  </a:cubicBezTo>
                  <a:cubicBezTo>
                    <a:pt x="446" y="211"/>
                    <a:pt x="445" y="210"/>
                    <a:pt x="445" y="210"/>
                  </a:cubicBezTo>
                  <a:cubicBezTo>
                    <a:pt x="445" y="210"/>
                    <a:pt x="445" y="209"/>
                    <a:pt x="446" y="209"/>
                  </a:cubicBezTo>
                  <a:cubicBezTo>
                    <a:pt x="446" y="209"/>
                    <a:pt x="446" y="209"/>
                    <a:pt x="446" y="209"/>
                  </a:cubicBezTo>
                  <a:cubicBezTo>
                    <a:pt x="446" y="208"/>
                    <a:pt x="443" y="207"/>
                    <a:pt x="443" y="206"/>
                  </a:cubicBezTo>
                  <a:cubicBezTo>
                    <a:pt x="442" y="206"/>
                    <a:pt x="443" y="204"/>
                    <a:pt x="443" y="204"/>
                  </a:cubicBezTo>
                  <a:cubicBezTo>
                    <a:pt x="443" y="204"/>
                    <a:pt x="443" y="202"/>
                    <a:pt x="443" y="201"/>
                  </a:cubicBezTo>
                  <a:cubicBezTo>
                    <a:pt x="443" y="200"/>
                    <a:pt x="441" y="196"/>
                    <a:pt x="441" y="196"/>
                  </a:cubicBezTo>
                  <a:cubicBezTo>
                    <a:pt x="441" y="195"/>
                    <a:pt x="435" y="189"/>
                    <a:pt x="435" y="189"/>
                  </a:cubicBezTo>
                  <a:cubicBezTo>
                    <a:pt x="435" y="127"/>
                    <a:pt x="435" y="127"/>
                    <a:pt x="435" y="127"/>
                  </a:cubicBezTo>
                  <a:cubicBezTo>
                    <a:pt x="435" y="126"/>
                    <a:pt x="434" y="126"/>
                    <a:pt x="434" y="125"/>
                  </a:cubicBezTo>
                  <a:cubicBezTo>
                    <a:pt x="434" y="125"/>
                    <a:pt x="434" y="124"/>
                    <a:pt x="434" y="124"/>
                  </a:cubicBezTo>
                  <a:cubicBezTo>
                    <a:pt x="434" y="123"/>
                    <a:pt x="433" y="124"/>
                    <a:pt x="433" y="124"/>
                  </a:cubicBezTo>
                  <a:cubicBezTo>
                    <a:pt x="432" y="125"/>
                    <a:pt x="432" y="125"/>
                    <a:pt x="431" y="125"/>
                  </a:cubicBezTo>
                  <a:cubicBezTo>
                    <a:pt x="431" y="124"/>
                    <a:pt x="431" y="124"/>
                    <a:pt x="431" y="124"/>
                  </a:cubicBezTo>
                  <a:cubicBezTo>
                    <a:pt x="431" y="124"/>
                    <a:pt x="431" y="124"/>
                    <a:pt x="430" y="124"/>
                  </a:cubicBezTo>
                  <a:cubicBezTo>
                    <a:pt x="429" y="123"/>
                    <a:pt x="429" y="124"/>
                    <a:pt x="429" y="125"/>
                  </a:cubicBezTo>
                  <a:cubicBezTo>
                    <a:pt x="429" y="125"/>
                    <a:pt x="428" y="125"/>
                    <a:pt x="428" y="125"/>
                  </a:cubicBezTo>
                  <a:cubicBezTo>
                    <a:pt x="428" y="124"/>
                    <a:pt x="428" y="124"/>
                    <a:pt x="427" y="124"/>
                  </a:cubicBezTo>
                  <a:cubicBezTo>
                    <a:pt x="427" y="124"/>
                    <a:pt x="427" y="125"/>
                    <a:pt x="427" y="125"/>
                  </a:cubicBezTo>
                  <a:cubicBezTo>
                    <a:pt x="427" y="125"/>
                    <a:pt x="426" y="125"/>
                    <a:pt x="426" y="124"/>
                  </a:cubicBezTo>
                  <a:cubicBezTo>
                    <a:pt x="426" y="124"/>
                    <a:pt x="426" y="124"/>
                    <a:pt x="425" y="125"/>
                  </a:cubicBezTo>
                  <a:cubicBezTo>
                    <a:pt x="425" y="124"/>
                    <a:pt x="425" y="125"/>
                    <a:pt x="424" y="125"/>
                  </a:cubicBezTo>
                  <a:cubicBezTo>
                    <a:pt x="424" y="125"/>
                    <a:pt x="424" y="125"/>
                    <a:pt x="424" y="125"/>
                  </a:cubicBezTo>
                  <a:cubicBezTo>
                    <a:pt x="424" y="125"/>
                    <a:pt x="424" y="125"/>
                    <a:pt x="424" y="125"/>
                  </a:cubicBezTo>
                  <a:cubicBezTo>
                    <a:pt x="423" y="126"/>
                    <a:pt x="423" y="125"/>
                    <a:pt x="423" y="125"/>
                  </a:cubicBezTo>
                  <a:cubicBezTo>
                    <a:pt x="422" y="125"/>
                    <a:pt x="423" y="125"/>
                    <a:pt x="423" y="124"/>
                  </a:cubicBezTo>
                  <a:cubicBezTo>
                    <a:pt x="423" y="123"/>
                    <a:pt x="422" y="124"/>
                    <a:pt x="421" y="124"/>
                  </a:cubicBezTo>
                  <a:cubicBezTo>
                    <a:pt x="421" y="124"/>
                    <a:pt x="420" y="123"/>
                    <a:pt x="420" y="123"/>
                  </a:cubicBezTo>
                  <a:cubicBezTo>
                    <a:pt x="420" y="123"/>
                    <a:pt x="420" y="123"/>
                    <a:pt x="421" y="122"/>
                  </a:cubicBezTo>
                  <a:cubicBezTo>
                    <a:pt x="421" y="122"/>
                    <a:pt x="420" y="121"/>
                    <a:pt x="420" y="121"/>
                  </a:cubicBezTo>
                  <a:cubicBezTo>
                    <a:pt x="418" y="123"/>
                    <a:pt x="418" y="123"/>
                    <a:pt x="418" y="123"/>
                  </a:cubicBezTo>
                  <a:cubicBezTo>
                    <a:pt x="418" y="122"/>
                    <a:pt x="418" y="122"/>
                    <a:pt x="417" y="121"/>
                  </a:cubicBezTo>
                  <a:cubicBezTo>
                    <a:pt x="417" y="121"/>
                    <a:pt x="417" y="121"/>
                    <a:pt x="416" y="121"/>
                  </a:cubicBezTo>
                  <a:cubicBezTo>
                    <a:pt x="416" y="120"/>
                    <a:pt x="416" y="120"/>
                    <a:pt x="416" y="120"/>
                  </a:cubicBezTo>
                  <a:cubicBezTo>
                    <a:pt x="416" y="120"/>
                    <a:pt x="415" y="120"/>
                    <a:pt x="415" y="120"/>
                  </a:cubicBezTo>
                  <a:cubicBezTo>
                    <a:pt x="415" y="120"/>
                    <a:pt x="415" y="120"/>
                    <a:pt x="414" y="120"/>
                  </a:cubicBezTo>
                  <a:cubicBezTo>
                    <a:pt x="414" y="119"/>
                    <a:pt x="414" y="119"/>
                    <a:pt x="414" y="119"/>
                  </a:cubicBezTo>
                  <a:cubicBezTo>
                    <a:pt x="413" y="119"/>
                    <a:pt x="413" y="120"/>
                    <a:pt x="413" y="120"/>
                  </a:cubicBezTo>
                  <a:cubicBezTo>
                    <a:pt x="413" y="120"/>
                    <a:pt x="412" y="120"/>
                    <a:pt x="411" y="119"/>
                  </a:cubicBezTo>
                  <a:cubicBezTo>
                    <a:pt x="411" y="119"/>
                    <a:pt x="411" y="119"/>
                    <a:pt x="411" y="119"/>
                  </a:cubicBezTo>
                  <a:cubicBezTo>
                    <a:pt x="411" y="119"/>
                    <a:pt x="410" y="119"/>
                    <a:pt x="410" y="118"/>
                  </a:cubicBezTo>
                  <a:cubicBezTo>
                    <a:pt x="410" y="118"/>
                    <a:pt x="410" y="118"/>
                    <a:pt x="410" y="117"/>
                  </a:cubicBezTo>
                  <a:cubicBezTo>
                    <a:pt x="410" y="117"/>
                    <a:pt x="409" y="117"/>
                    <a:pt x="409" y="117"/>
                  </a:cubicBezTo>
                  <a:cubicBezTo>
                    <a:pt x="409" y="117"/>
                    <a:pt x="410" y="117"/>
                    <a:pt x="410" y="117"/>
                  </a:cubicBezTo>
                  <a:cubicBezTo>
                    <a:pt x="409" y="116"/>
                    <a:pt x="408" y="117"/>
                    <a:pt x="408" y="117"/>
                  </a:cubicBezTo>
                  <a:cubicBezTo>
                    <a:pt x="408" y="117"/>
                    <a:pt x="408" y="118"/>
                    <a:pt x="407" y="118"/>
                  </a:cubicBezTo>
                  <a:cubicBezTo>
                    <a:pt x="407" y="118"/>
                    <a:pt x="407" y="117"/>
                    <a:pt x="407" y="117"/>
                  </a:cubicBezTo>
                  <a:cubicBezTo>
                    <a:pt x="406" y="117"/>
                    <a:pt x="406" y="116"/>
                    <a:pt x="406" y="116"/>
                  </a:cubicBezTo>
                  <a:cubicBezTo>
                    <a:pt x="406" y="116"/>
                    <a:pt x="405" y="116"/>
                    <a:pt x="405" y="116"/>
                  </a:cubicBezTo>
                  <a:cubicBezTo>
                    <a:pt x="405" y="116"/>
                    <a:pt x="405" y="116"/>
                    <a:pt x="404" y="115"/>
                  </a:cubicBezTo>
                  <a:cubicBezTo>
                    <a:pt x="404" y="115"/>
                    <a:pt x="404" y="115"/>
                    <a:pt x="404" y="115"/>
                  </a:cubicBezTo>
                  <a:cubicBezTo>
                    <a:pt x="404" y="114"/>
                    <a:pt x="404" y="114"/>
                    <a:pt x="403" y="114"/>
                  </a:cubicBezTo>
                  <a:cubicBezTo>
                    <a:pt x="403" y="114"/>
                    <a:pt x="403" y="113"/>
                    <a:pt x="403" y="113"/>
                  </a:cubicBezTo>
                  <a:cubicBezTo>
                    <a:pt x="403" y="112"/>
                    <a:pt x="402" y="112"/>
                    <a:pt x="401" y="112"/>
                  </a:cubicBezTo>
                  <a:cubicBezTo>
                    <a:pt x="400" y="112"/>
                    <a:pt x="399" y="112"/>
                    <a:pt x="399" y="111"/>
                  </a:cubicBezTo>
                  <a:cubicBezTo>
                    <a:pt x="399" y="110"/>
                    <a:pt x="399" y="110"/>
                    <a:pt x="398" y="110"/>
                  </a:cubicBezTo>
                  <a:cubicBezTo>
                    <a:pt x="398" y="110"/>
                    <a:pt x="398" y="111"/>
                    <a:pt x="398" y="111"/>
                  </a:cubicBezTo>
                  <a:cubicBezTo>
                    <a:pt x="397" y="111"/>
                    <a:pt x="397" y="109"/>
                    <a:pt x="397" y="109"/>
                  </a:cubicBezTo>
                  <a:cubicBezTo>
                    <a:pt x="396" y="108"/>
                    <a:pt x="395" y="108"/>
                    <a:pt x="394" y="108"/>
                  </a:cubicBezTo>
                  <a:cubicBezTo>
                    <a:pt x="393" y="108"/>
                    <a:pt x="393" y="109"/>
                    <a:pt x="393" y="110"/>
                  </a:cubicBezTo>
                  <a:cubicBezTo>
                    <a:pt x="393" y="110"/>
                    <a:pt x="393" y="110"/>
                    <a:pt x="393" y="110"/>
                  </a:cubicBezTo>
                  <a:cubicBezTo>
                    <a:pt x="392" y="110"/>
                    <a:pt x="392" y="111"/>
                    <a:pt x="392" y="111"/>
                  </a:cubicBezTo>
                  <a:cubicBezTo>
                    <a:pt x="391" y="112"/>
                    <a:pt x="390" y="112"/>
                    <a:pt x="389" y="112"/>
                  </a:cubicBezTo>
                  <a:cubicBezTo>
                    <a:pt x="388" y="112"/>
                    <a:pt x="387" y="112"/>
                    <a:pt x="386" y="112"/>
                  </a:cubicBezTo>
                  <a:cubicBezTo>
                    <a:pt x="385" y="112"/>
                    <a:pt x="385" y="112"/>
                    <a:pt x="385" y="111"/>
                  </a:cubicBezTo>
                  <a:cubicBezTo>
                    <a:pt x="385" y="111"/>
                    <a:pt x="384" y="111"/>
                    <a:pt x="384" y="111"/>
                  </a:cubicBezTo>
                  <a:cubicBezTo>
                    <a:pt x="384" y="111"/>
                    <a:pt x="384" y="111"/>
                    <a:pt x="383" y="111"/>
                  </a:cubicBezTo>
                  <a:cubicBezTo>
                    <a:pt x="383" y="111"/>
                    <a:pt x="383" y="111"/>
                    <a:pt x="382" y="111"/>
                  </a:cubicBezTo>
                  <a:cubicBezTo>
                    <a:pt x="382" y="110"/>
                    <a:pt x="382" y="110"/>
                    <a:pt x="382" y="110"/>
                  </a:cubicBezTo>
                  <a:cubicBezTo>
                    <a:pt x="381" y="109"/>
                    <a:pt x="381" y="109"/>
                    <a:pt x="381" y="109"/>
                  </a:cubicBezTo>
                  <a:cubicBezTo>
                    <a:pt x="380" y="109"/>
                    <a:pt x="380" y="110"/>
                    <a:pt x="379" y="110"/>
                  </a:cubicBezTo>
                  <a:cubicBezTo>
                    <a:pt x="379" y="110"/>
                    <a:pt x="379" y="110"/>
                    <a:pt x="379" y="110"/>
                  </a:cubicBezTo>
                  <a:cubicBezTo>
                    <a:pt x="378" y="111"/>
                    <a:pt x="377" y="110"/>
                    <a:pt x="376" y="111"/>
                  </a:cubicBezTo>
                  <a:cubicBezTo>
                    <a:pt x="376" y="111"/>
                    <a:pt x="376" y="111"/>
                    <a:pt x="376" y="112"/>
                  </a:cubicBezTo>
                  <a:cubicBezTo>
                    <a:pt x="376" y="112"/>
                    <a:pt x="376" y="112"/>
                    <a:pt x="375" y="112"/>
                  </a:cubicBezTo>
                  <a:cubicBezTo>
                    <a:pt x="375" y="112"/>
                    <a:pt x="374" y="112"/>
                    <a:pt x="374" y="112"/>
                  </a:cubicBezTo>
                  <a:cubicBezTo>
                    <a:pt x="373" y="113"/>
                    <a:pt x="373" y="113"/>
                    <a:pt x="373" y="113"/>
                  </a:cubicBezTo>
                  <a:cubicBezTo>
                    <a:pt x="373" y="113"/>
                    <a:pt x="372" y="113"/>
                    <a:pt x="372" y="113"/>
                  </a:cubicBezTo>
                  <a:cubicBezTo>
                    <a:pt x="372" y="113"/>
                    <a:pt x="372" y="113"/>
                    <a:pt x="371" y="112"/>
                  </a:cubicBezTo>
                  <a:cubicBezTo>
                    <a:pt x="371" y="112"/>
                    <a:pt x="370" y="112"/>
                    <a:pt x="370" y="112"/>
                  </a:cubicBezTo>
                  <a:cubicBezTo>
                    <a:pt x="370" y="112"/>
                    <a:pt x="370" y="111"/>
                    <a:pt x="370" y="111"/>
                  </a:cubicBezTo>
                  <a:cubicBezTo>
                    <a:pt x="369" y="111"/>
                    <a:pt x="369" y="112"/>
                    <a:pt x="368" y="112"/>
                  </a:cubicBezTo>
                  <a:cubicBezTo>
                    <a:pt x="368" y="112"/>
                    <a:pt x="368" y="111"/>
                    <a:pt x="367" y="111"/>
                  </a:cubicBezTo>
                  <a:cubicBezTo>
                    <a:pt x="367" y="112"/>
                    <a:pt x="367" y="112"/>
                    <a:pt x="367" y="112"/>
                  </a:cubicBezTo>
                  <a:cubicBezTo>
                    <a:pt x="366" y="113"/>
                    <a:pt x="366" y="113"/>
                    <a:pt x="365" y="113"/>
                  </a:cubicBezTo>
                  <a:cubicBezTo>
                    <a:pt x="365" y="113"/>
                    <a:pt x="364" y="113"/>
                    <a:pt x="363" y="113"/>
                  </a:cubicBezTo>
                  <a:cubicBezTo>
                    <a:pt x="363" y="113"/>
                    <a:pt x="362" y="113"/>
                    <a:pt x="362" y="114"/>
                  </a:cubicBezTo>
                  <a:cubicBezTo>
                    <a:pt x="361" y="114"/>
                    <a:pt x="361" y="114"/>
                    <a:pt x="361" y="115"/>
                  </a:cubicBezTo>
                  <a:cubicBezTo>
                    <a:pt x="361" y="115"/>
                    <a:pt x="361" y="116"/>
                    <a:pt x="361" y="116"/>
                  </a:cubicBezTo>
                  <a:cubicBezTo>
                    <a:pt x="360" y="117"/>
                    <a:pt x="359" y="116"/>
                    <a:pt x="359" y="116"/>
                  </a:cubicBezTo>
                  <a:cubicBezTo>
                    <a:pt x="358" y="116"/>
                    <a:pt x="357" y="116"/>
                    <a:pt x="357" y="116"/>
                  </a:cubicBezTo>
                  <a:cubicBezTo>
                    <a:pt x="356" y="116"/>
                    <a:pt x="356" y="117"/>
                    <a:pt x="356" y="118"/>
                  </a:cubicBezTo>
                  <a:cubicBezTo>
                    <a:pt x="356" y="118"/>
                    <a:pt x="356" y="119"/>
                    <a:pt x="355" y="120"/>
                  </a:cubicBezTo>
                  <a:cubicBezTo>
                    <a:pt x="355" y="120"/>
                    <a:pt x="354" y="118"/>
                    <a:pt x="354" y="118"/>
                  </a:cubicBezTo>
                  <a:cubicBezTo>
                    <a:pt x="353" y="117"/>
                    <a:pt x="353" y="116"/>
                    <a:pt x="352" y="116"/>
                  </a:cubicBezTo>
                  <a:cubicBezTo>
                    <a:pt x="351" y="116"/>
                    <a:pt x="350" y="116"/>
                    <a:pt x="350" y="116"/>
                  </a:cubicBezTo>
                  <a:cubicBezTo>
                    <a:pt x="349" y="116"/>
                    <a:pt x="349" y="115"/>
                    <a:pt x="349" y="115"/>
                  </a:cubicBezTo>
                  <a:cubicBezTo>
                    <a:pt x="349" y="115"/>
                    <a:pt x="349" y="114"/>
                    <a:pt x="348" y="114"/>
                  </a:cubicBezTo>
                  <a:cubicBezTo>
                    <a:pt x="348" y="114"/>
                    <a:pt x="344" y="113"/>
                    <a:pt x="345" y="112"/>
                  </a:cubicBezTo>
                  <a:cubicBezTo>
                    <a:pt x="346" y="112"/>
                    <a:pt x="346" y="112"/>
                    <a:pt x="346" y="111"/>
                  </a:cubicBezTo>
                  <a:cubicBezTo>
                    <a:pt x="346" y="110"/>
                    <a:pt x="345" y="109"/>
                    <a:pt x="344" y="110"/>
                  </a:cubicBezTo>
                  <a:cubicBezTo>
                    <a:pt x="344" y="111"/>
                    <a:pt x="344" y="111"/>
                    <a:pt x="344" y="111"/>
                  </a:cubicBezTo>
                  <a:cubicBezTo>
                    <a:pt x="343" y="112"/>
                    <a:pt x="343" y="112"/>
                    <a:pt x="343" y="113"/>
                  </a:cubicBezTo>
                  <a:cubicBezTo>
                    <a:pt x="342" y="113"/>
                    <a:pt x="341" y="114"/>
                    <a:pt x="340" y="113"/>
                  </a:cubicBezTo>
                  <a:cubicBezTo>
                    <a:pt x="340" y="113"/>
                    <a:pt x="340" y="112"/>
                    <a:pt x="339" y="112"/>
                  </a:cubicBezTo>
                  <a:cubicBezTo>
                    <a:pt x="339" y="112"/>
                    <a:pt x="339" y="112"/>
                    <a:pt x="338" y="112"/>
                  </a:cubicBezTo>
                  <a:cubicBezTo>
                    <a:pt x="338" y="112"/>
                    <a:pt x="338" y="112"/>
                    <a:pt x="337" y="112"/>
                  </a:cubicBezTo>
                  <a:cubicBezTo>
                    <a:pt x="337" y="113"/>
                    <a:pt x="337" y="112"/>
                    <a:pt x="337" y="112"/>
                  </a:cubicBezTo>
                  <a:cubicBezTo>
                    <a:pt x="337" y="112"/>
                    <a:pt x="337" y="112"/>
                    <a:pt x="337" y="111"/>
                  </a:cubicBezTo>
                  <a:cubicBezTo>
                    <a:pt x="337" y="111"/>
                    <a:pt x="336" y="110"/>
                    <a:pt x="336" y="109"/>
                  </a:cubicBezTo>
                  <a:cubicBezTo>
                    <a:pt x="335" y="109"/>
                    <a:pt x="335" y="109"/>
                    <a:pt x="335" y="109"/>
                  </a:cubicBezTo>
                  <a:cubicBezTo>
                    <a:pt x="335" y="109"/>
                    <a:pt x="334" y="109"/>
                    <a:pt x="333" y="109"/>
                  </a:cubicBezTo>
                  <a:cubicBezTo>
                    <a:pt x="333" y="109"/>
                    <a:pt x="333" y="110"/>
                    <a:pt x="333" y="110"/>
                  </a:cubicBezTo>
                  <a:cubicBezTo>
                    <a:pt x="333" y="111"/>
                    <a:pt x="333" y="111"/>
                    <a:pt x="333" y="112"/>
                  </a:cubicBezTo>
                  <a:cubicBezTo>
                    <a:pt x="332" y="112"/>
                    <a:pt x="331" y="112"/>
                    <a:pt x="331" y="113"/>
                  </a:cubicBezTo>
                  <a:cubicBezTo>
                    <a:pt x="331" y="113"/>
                    <a:pt x="331" y="113"/>
                    <a:pt x="331" y="113"/>
                  </a:cubicBezTo>
                  <a:cubicBezTo>
                    <a:pt x="331" y="113"/>
                    <a:pt x="330" y="113"/>
                    <a:pt x="330" y="113"/>
                  </a:cubicBezTo>
                  <a:cubicBezTo>
                    <a:pt x="330" y="113"/>
                    <a:pt x="329" y="114"/>
                    <a:pt x="329" y="114"/>
                  </a:cubicBezTo>
                  <a:cubicBezTo>
                    <a:pt x="329" y="115"/>
                    <a:pt x="329" y="115"/>
                    <a:pt x="329" y="116"/>
                  </a:cubicBezTo>
                  <a:cubicBezTo>
                    <a:pt x="330" y="116"/>
                    <a:pt x="329" y="116"/>
                    <a:pt x="329" y="117"/>
                  </a:cubicBezTo>
                  <a:cubicBezTo>
                    <a:pt x="329" y="117"/>
                    <a:pt x="329" y="118"/>
                    <a:pt x="329" y="118"/>
                  </a:cubicBezTo>
                  <a:cubicBezTo>
                    <a:pt x="327" y="118"/>
                    <a:pt x="326" y="117"/>
                    <a:pt x="326" y="116"/>
                  </a:cubicBezTo>
                  <a:cubicBezTo>
                    <a:pt x="326" y="115"/>
                    <a:pt x="326" y="115"/>
                    <a:pt x="326" y="114"/>
                  </a:cubicBezTo>
                  <a:cubicBezTo>
                    <a:pt x="326" y="114"/>
                    <a:pt x="326" y="113"/>
                    <a:pt x="326" y="113"/>
                  </a:cubicBezTo>
                  <a:cubicBezTo>
                    <a:pt x="326" y="112"/>
                    <a:pt x="326" y="112"/>
                    <a:pt x="326" y="111"/>
                  </a:cubicBezTo>
                  <a:cubicBezTo>
                    <a:pt x="326" y="111"/>
                    <a:pt x="326" y="110"/>
                    <a:pt x="325" y="110"/>
                  </a:cubicBezTo>
                  <a:cubicBezTo>
                    <a:pt x="325" y="110"/>
                    <a:pt x="325" y="111"/>
                    <a:pt x="324" y="111"/>
                  </a:cubicBezTo>
                  <a:cubicBezTo>
                    <a:pt x="324" y="112"/>
                    <a:pt x="324" y="112"/>
                    <a:pt x="324" y="112"/>
                  </a:cubicBezTo>
                  <a:cubicBezTo>
                    <a:pt x="323" y="112"/>
                    <a:pt x="323" y="112"/>
                    <a:pt x="323" y="112"/>
                  </a:cubicBezTo>
                  <a:cubicBezTo>
                    <a:pt x="322" y="111"/>
                    <a:pt x="322" y="111"/>
                    <a:pt x="321" y="112"/>
                  </a:cubicBezTo>
                  <a:cubicBezTo>
                    <a:pt x="321" y="112"/>
                    <a:pt x="321" y="112"/>
                    <a:pt x="321" y="112"/>
                  </a:cubicBezTo>
                  <a:cubicBezTo>
                    <a:pt x="320" y="113"/>
                    <a:pt x="320" y="113"/>
                    <a:pt x="320" y="113"/>
                  </a:cubicBezTo>
                  <a:cubicBezTo>
                    <a:pt x="320" y="114"/>
                    <a:pt x="319" y="114"/>
                    <a:pt x="318" y="114"/>
                  </a:cubicBezTo>
                  <a:cubicBezTo>
                    <a:pt x="317" y="114"/>
                    <a:pt x="317" y="113"/>
                    <a:pt x="316" y="113"/>
                  </a:cubicBezTo>
                  <a:cubicBezTo>
                    <a:pt x="316" y="112"/>
                    <a:pt x="317" y="112"/>
                    <a:pt x="317" y="111"/>
                  </a:cubicBezTo>
                  <a:cubicBezTo>
                    <a:pt x="316" y="110"/>
                    <a:pt x="314" y="111"/>
                    <a:pt x="313" y="111"/>
                  </a:cubicBezTo>
                  <a:cubicBezTo>
                    <a:pt x="313" y="111"/>
                    <a:pt x="313" y="111"/>
                    <a:pt x="312" y="110"/>
                  </a:cubicBezTo>
                  <a:cubicBezTo>
                    <a:pt x="312" y="110"/>
                    <a:pt x="312" y="109"/>
                    <a:pt x="312" y="109"/>
                  </a:cubicBezTo>
                  <a:cubicBezTo>
                    <a:pt x="312" y="108"/>
                    <a:pt x="311" y="108"/>
                    <a:pt x="310" y="108"/>
                  </a:cubicBezTo>
                  <a:cubicBezTo>
                    <a:pt x="310" y="107"/>
                    <a:pt x="310" y="107"/>
                    <a:pt x="309" y="107"/>
                  </a:cubicBezTo>
                  <a:cubicBezTo>
                    <a:pt x="309" y="107"/>
                    <a:pt x="308" y="107"/>
                    <a:pt x="308" y="108"/>
                  </a:cubicBezTo>
                  <a:cubicBezTo>
                    <a:pt x="308" y="108"/>
                    <a:pt x="307" y="108"/>
                    <a:pt x="307" y="109"/>
                  </a:cubicBezTo>
                  <a:cubicBezTo>
                    <a:pt x="306" y="109"/>
                    <a:pt x="306" y="109"/>
                    <a:pt x="306" y="110"/>
                  </a:cubicBezTo>
                  <a:cubicBezTo>
                    <a:pt x="305" y="110"/>
                    <a:pt x="304" y="111"/>
                    <a:pt x="303" y="111"/>
                  </a:cubicBezTo>
                  <a:cubicBezTo>
                    <a:pt x="303" y="112"/>
                    <a:pt x="303" y="112"/>
                    <a:pt x="302" y="112"/>
                  </a:cubicBezTo>
                  <a:cubicBezTo>
                    <a:pt x="301" y="112"/>
                    <a:pt x="301" y="112"/>
                    <a:pt x="300" y="111"/>
                  </a:cubicBezTo>
                  <a:cubicBezTo>
                    <a:pt x="300" y="111"/>
                    <a:pt x="299" y="111"/>
                    <a:pt x="299" y="110"/>
                  </a:cubicBezTo>
                  <a:cubicBezTo>
                    <a:pt x="298" y="110"/>
                    <a:pt x="299" y="108"/>
                    <a:pt x="299" y="108"/>
                  </a:cubicBezTo>
                  <a:cubicBezTo>
                    <a:pt x="299" y="108"/>
                    <a:pt x="299" y="107"/>
                    <a:pt x="299" y="107"/>
                  </a:cubicBezTo>
                  <a:cubicBezTo>
                    <a:pt x="299" y="107"/>
                    <a:pt x="299" y="107"/>
                    <a:pt x="298" y="107"/>
                  </a:cubicBezTo>
                  <a:cubicBezTo>
                    <a:pt x="297" y="107"/>
                    <a:pt x="296" y="106"/>
                    <a:pt x="296" y="106"/>
                  </a:cubicBezTo>
                  <a:cubicBezTo>
                    <a:pt x="295" y="106"/>
                    <a:pt x="295" y="106"/>
                    <a:pt x="295" y="105"/>
                  </a:cubicBezTo>
                  <a:cubicBezTo>
                    <a:pt x="295" y="104"/>
                    <a:pt x="294" y="103"/>
                    <a:pt x="294" y="102"/>
                  </a:cubicBezTo>
                  <a:cubicBezTo>
                    <a:pt x="294" y="102"/>
                    <a:pt x="294" y="101"/>
                    <a:pt x="294" y="100"/>
                  </a:cubicBezTo>
                  <a:cubicBezTo>
                    <a:pt x="293" y="100"/>
                    <a:pt x="293" y="101"/>
                    <a:pt x="292" y="102"/>
                  </a:cubicBezTo>
                  <a:cubicBezTo>
                    <a:pt x="291" y="102"/>
                    <a:pt x="290" y="101"/>
                    <a:pt x="289" y="101"/>
                  </a:cubicBezTo>
                  <a:cubicBezTo>
                    <a:pt x="288" y="100"/>
                    <a:pt x="287" y="100"/>
                    <a:pt x="286" y="100"/>
                  </a:cubicBezTo>
                  <a:cubicBezTo>
                    <a:pt x="285" y="100"/>
                    <a:pt x="285" y="101"/>
                    <a:pt x="285" y="101"/>
                  </a:cubicBezTo>
                  <a:cubicBezTo>
                    <a:pt x="284" y="102"/>
                    <a:pt x="284" y="102"/>
                    <a:pt x="284" y="102"/>
                  </a:cubicBezTo>
                  <a:cubicBezTo>
                    <a:pt x="283" y="103"/>
                    <a:pt x="282" y="103"/>
                    <a:pt x="281" y="103"/>
                  </a:cubicBezTo>
                  <a:cubicBezTo>
                    <a:pt x="280" y="102"/>
                    <a:pt x="279" y="101"/>
                    <a:pt x="278" y="100"/>
                  </a:cubicBezTo>
                  <a:cubicBezTo>
                    <a:pt x="277" y="99"/>
                    <a:pt x="275" y="100"/>
                    <a:pt x="273" y="100"/>
                  </a:cubicBezTo>
                  <a:cubicBezTo>
                    <a:pt x="273" y="101"/>
                    <a:pt x="272" y="101"/>
                    <a:pt x="271" y="101"/>
                  </a:cubicBezTo>
                  <a:cubicBezTo>
                    <a:pt x="271" y="101"/>
                    <a:pt x="270" y="99"/>
                    <a:pt x="269" y="100"/>
                  </a:cubicBezTo>
                  <a:cubicBezTo>
                    <a:pt x="269" y="100"/>
                    <a:pt x="268" y="100"/>
                    <a:pt x="268" y="100"/>
                  </a:cubicBezTo>
                  <a:cubicBezTo>
                    <a:pt x="267" y="100"/>
                    <a:pt x="267" y="99"/>
                    <a:pt x="266" y="99"/>
                  </a:cubicBezTo>
                  <a:cubicBezTo>
                    <a:pt x="266" y="99"/>
                    <a:pt x="265" y="98"/>
                    <a:pt x="265" y="98"/>
                  </a:cubicBezTo>
                  <a:cubicBezTo>
                    <a:pt x="265" y="98"/>
                    <a:pt x="264" y="97"/>
                    <a:pt x="264" y="97"/>
                  </a:cubicBezTo>
                  <a:cubicBezTo>
                    <a:pt x="263" y="97"/>
                    <a:pt x="263" y="97"/>
                    <a:pt x="263" y="98"/>
                  </a:cubicBezTo>
                  <a:cubicBezTo>
                    <a:pt x="262" y="98"/>
                    <a:pt x="262" y="98"/>
                    <a:pt x="261" y="98"/>
                  </a:cubicBezTo>
                  <a:cubicBezTo>
                    <a:pt x="260" y="98"/>
                    <a:pt x="259" y="97"/>
                    <a:pt x="258" y="97"/>
                  </a:cubicBezTo>
                  <a:cubicBezTo>
                    <a:pt x="258" y="97"/>
                    <a:pt x="257" y="97"/>
                    <a:pt x="257" y="97"/>
                  </a:cubicBezTo>
                  <a:cubicBezTo>
                    <a:pt x="256" y="96"/>
                    <a:pt x="256" y="94"/>
                    <a:pt x="256" y="93"/>
                  </a:cubicBezTo>
                  <a:cubicBezTo>
                    <a:pt x="256" y="93"/>
                    <a:pt x="256" y="92"/>
                    <a:pt x="255" y="92"/>
                  </a:cubicBezTo>
                  <a:cubicBezTo>
                    <a:pt x="255" y="92"/>
                    <a:pt x="255" y="91"/>
                    <a:pt x="254" y="91"/>
                  </a:cubicBezTo>
                  <a:cubicBezTo>
                    <a:pt x="254" y="90"/>
                    <a:pt x="254" y="90"/>
                    <a:pt x="254" y="90"/>
                  </a:cubicBezTo>
                  <a:cubicBezTo>
                    <a:pt x="254" y="89"/>
                    <a:pt x="253" y="90"/>
                    <a:pt x="253" y="89"/>
                  </a:cubicBezTo>
                  <a:cubicBezTo>
                    <a:pt x="253" y="89"/>
                    <a:pt x="252" y="89"/>
                    <a:pt x="252" y="88"/>
                  </a:cubicBezTo>
                  <a:cubicBezTo>
                    <a:pt x="252" y="88"/>
                    <a:pt x="252" y="88"/>
                    <a:pt x="251" y="88"/>
                  </a:cubicBezTo>
                  <a:cubicBezTo>
                    <a:pt x="251" y="87"/>
                    <a:pt x="251" y="87"/>
                    <a:pt x="251" y="87"/>
                  </a:cubicBezTo>
                  <a:cubicBezTo>
                    <a:pt x="250" y="88"/>
                    <a:pt x="250" y="88"/>
                    <a:pt x="250" y="89"/>
                  </a:cubicBezTo>
                  <a:cubicBezTo>
                    <a:pt x="250" y="89"/>
                    <a:pt x="250" y="90"/>
                    <a:pt x="249" y="91"/>
                  </a:cubicBezTo>
                  <a:cubicBezTo>
                    <a:pt x="249" y="91"/>
                    <a:pt x="248" y="90"/>
                    <a:pt x="248" y="90"/>
                  </a:cubicBezTo>
                  <a:cubicBezTo>
                    <a:pt x="247" y="90"/>
                    <a:pt x="246" y="89"/>
                    <a:pt x="246" y="89"/>
                  </a:cubicBezTo>
                  <a:cubicBezTo>
                    <a:pt x="245" y="89"/>
                    <a:pt x="245" y="89"/>
                    <a:pt x="244" y="89"/>
                  </a:cubicBezTo>
                  <a:cubicBezTo>
                    <a:pt x="244" y="89"/>
                    <a:pt x="243" y="90"/>
                    <a:pt x="243" y="90"/>
                  </a:cubicBezTo>
                  <a:cubicBezTo>
                    <a:pt x="242" y="90"/>
                    <a:pt x="241" y="90"/>
                    <a:pt x="240" y="90"/>
                  </a:cubicBezTo>
                  <a:cubicBezTo>
                    <a:pt x="240" y="90"/>
                    <a:pt x="239" y="90"/>
                    <a:pt x="238" y="90"/>
                  </a:cubicBezTo>
                  <a:cubicBezTo>
                    <a:pt x="238" y="90"/>
                    <a:pt x="238" y="89"/>
                    <a:pt x="238" y="89"/>
                  </a:cubicBezTo>
                  <a:cubicBezTo>
                    <a:pt x="237" y="88"/>
                    <a:pt x="236" y="87"/>
                    <a:pt x="236" y="87"/>
                  </a:cubicBezTo>
                  <a:cubicBezTo>
                    <a:pt x="235" y="86"/>
                    <a:pt x="234" y="85"/>
                    <a:pt x="233" y="84"/>
                  </a:cubicBezTo>
                  <a:cubicBezTo>
                    <a:pt x="233" y="83"/>
                    <a:pt x="232" y="83"/>
                    <a:pt x="231" y="82"/>
                  </a:cubicBezTo>
                  <a:cubicBezTo>
                    <a:pt x="231" y="82"/>
                    <a:pt x="231" y="82"/>
                    <a:pt x="230" y="82"/>
                  </a:cubicBezTo>
                  <a:cubicBezTo>
                    <a:pt x="230" y="83"/>
                    <a:pt x="229" y="83"/>
                    <a:pt x="229" y="82"/>
                  </a:cubicBezTo>
                  <a:cubicBezTo>
                    <a:pt x="229" y="0"/>
                    <a:pt x="229" y="0"/>
                    <a:pt x="229" y="0"/>
                  </a:cubicBezTo>
                  <a:cubicBezTo>
                    <a:pt x="124" y="0"/>
                    <a:pt x="124" y="0"/>
                    <a:pt x="124" y="0"/>
                  </a:cubicBezTo>
                  <a:cubicBezTo>
                    <a:pt x="123" y="189"/>
                    <a:pt x="123" y="189"/>
                    <a:pt x="123" y="189"/>
                  </a:cubicBezTo>
                  <a:cubicBezTo>
                    <a:pt x="0" y="188"/>
                    <a:pt x="0" y="188"/>
                    <a:pt x="0" y="188"/>
                  </a:cubicBezTo>
                  <a:cubicBezTo>
                    <a:pt x="0" y="188"/>
                    <a:pt x="0" y="190"/>
                    <a:pt x="0" y="190"/>
                  </a:cubicBezTo>
                  <a:cubicBezTo>
                    <a:pt x="0" y="190"/>
                    <a:pt x="0" y="190"/>
                    <a:pt x="0" y="190"/>
                  </a:cubicBezTo>
                  <a:cubicBezTo>
                    <a:pt x="1" y="191"/>
                    <a:pt x="1" y="191"/>
                    <a:pt x="1" y="191"/>
                  </a:cubicBezTo>
                  <a:cubicBezTo>
                    <a:pt x="0" y="192"/>
                    <a:pt x="0" y="192"/>
                    <a:pt x="0" y="192"/>
                  </a:cubicBezTo>
                  <a:cubicBezTo>
                    <a:pt x="0" y="192"/>
                    <a:pt x="0" y="193"/>
                    <a:pt x="0" y="193"/>
                  </a:cubicBezTo>
                  <a:cubicBezTo>
                    <a:pt x="0" y="193"/>
                    <a:pt x="0" y="194"/>
                    <a:pt x="0" y="195"/>
                  </a:cubicBezTo>
                  <a:cubicBezTo>
                    <a:pt x="1" y="195"/>
                    <a:pt x="2" y="196"/>
                    <a:pt x="2" y="196"/>
                  </a:cubicBezTo>
                  <a:cubicBezTo>
                    <a:pt x="3" y="196"/>
                    <a:pt x="4" y="197"/>
                    <a:pt x="4" y="197"/>
                  </a:cubicBezTo>
                  <a:cubicBezTo>
                    <a:pt x="5" y="199"/>
                    <a:pt x="5" y="199"/>
                    <a:pt x="5" y="199"/>
                  </a:cubicBezTo>
                  <a:cubicBezTo>
                    <a:pt x="6" y="198"/>
                    <a:pt x="6" y="198"/>
                    <a:pt x="6" y="198"/>
                  </a:cubicBezTo>
                  <a:cubicBezTo>
                    <a:pt x="9" y="201"/>
                    <a:pt x="9" y="201"/>
                    <a:pt x="9" y="201"/>
                  </a:cubicBezTo>
                  <a:cubicBezTo>
                    <a:pt x="12" y="206"/>
                    <a:pt x="12" y="206"/>
                    <a:pt x="12" y="206"/>
                  </a:cubicBezTo>
                  <a:cubicBezTo>
                    <a:pt x="15" y="210"/>
                    <a:pt x="15" y="210"/>
                    <a:pt x="15" y="210"/>
                  </a:cubicBezTo>
                  <a:cubicBezTo>
                    <a:pt x="15" y="210"/>
                    <a:pt x="19" y="212"/>
                    <a:pt x="19" y="212"/>
                  </a:cubicBezTo>
                  <a:cubicBezTo>
                    <a:pt x="19" y="212"/>
                    <a:pt x="22" y="214"/>
                    <a:pt x="22" y="214"/>
                  </a:cubicBezTo>
                  <a:cubicBezTo>
                    <a:pt x="24" y="215"/>
                    <a:pt x="24" y="215"/>
                    <a:pt x="24" y="215"/>
                  </a:cubicBezTo>
                  <a:cubicBezTo>
                    <a:pt x="28" y="220"/>
                    <a:pt x="28" y="220"/>
                    <a:pt x="28" y="220"/>
                  </a:cubicBezTo>
                  <a:cubicBezTo>
                    <a:pt x="30" y="223"/>
                    <a:pt x="30" y="223"/>
                    <a:pt x="30" y="223"/>
                  </a:cubicBezTo>
                  <a:cubicBezTo>
                    <a:pt x="36" y="226"/>
                    <a:pt x="36" y="226"/>
                    <a:pt x="36" y="226"/>
                  </a:cubicBezTo>
                  <a:cubicBezTo>
                    <a:pt x="37" y="230"/>
                    <a:pt x="37" y="230"/>
                    <a:pt x="37" y="230"/>
                  </a:cubicBezTo>
                  <a:cubicBezTo>
                    <a:pt x="42" y="233"/>
                    <a:pt x="42" y="233"/>
                    <a:pt x="42" y="233"/>
                  </a:cubicBezTo>
                  <a:cubicBezTo>
                    <a:pt x="42" y="235"/>
                    <a:pt x="42" y="235"/>
                    <a:pt x="42" y="235"/>
                  </a:cubicBezTo>
                  <a:cubicBezTo>
                    <a:pt x="47" y="237"/>
                    <a:pt x="47" y="237"/>
                    <a:pt x="47" y="237"/>
                  </a:cubicBezTo>
                  <a:cubicBezTo>
                    <a:pt x="49" y="237"/>
                    <a:pt x="49" y="237"/>
                    <a:pt x="49" y="237"/>
                  </a:cubicBezTo>
                  <a:cubicBezTo>
                    <a:pt x="49" y="237"/>
                    <a:pt x="49" y="238"/>
                    <a:pt x="49" y="238"/>
                  </a:cubicBezTo>
                  <a:cubicBezTo>
                    <a:pt x="49" y="238"/>
                    <a:pt x="52" y="239"/>
                    <a:pt x="52" y="239"/>
                  </a:cubicBezTo>
                  <a:cubicBezTo>
                    <a:pt x="52" y="239"/>
                    <a:pt x="54" y="242"/>
                    <a:pt x="54" y="242"/>
                  </a:cubicBezTo>
                  <a:cubicBezTo>
                    <a:pt x="56" y="242"/>
                    <a:pt x="56" y="242"/>
                    <a:pt x="56" y="242"/>
                  </a:cubicBezTo>
                  <a:cubicBezTo>
                    <a:pt x="57" y="245"/>
                    <a:pt x="57" y="245"/>
                    <a:pt x="57" y="245"/>
                  </a:cubicBezTo>
                  <a:cubicBezTo>
                    <a:pt x="59" y="245"/>
                    <a:pt x="59" y="245"/>
                    <a:pt x="59" y="245"/>
                  </a:cubicBezTo>
                  <a:cubicBezTo>
                    <a:pt x="61" y="249"/>
                    <a:pt x="61" y="249"/>
                    <a:pt x="61" y="249"/>
                  </a:cubicBezTo>
                  <a:cubicBezTo>
                    <a:pt x="61" y="254"/>
                    <a:pt x="61" y="254"/>
                    <a:pt x="61" y="254"/>
                  </a:cubicBezTo>
                  <a:cubicBezTo>
                    <a:pt x="67" y="260"/>
                    <a:pt x="67" y="260"/>
                    <a:pt x="67" y="260"/>
                  </a:cubicBezTo>
                  <a:cubicBezTo>
                    <a:pt x="67" y="272"/>
                    <a:pt x="67" y="272"/>
                    <a:pt x="67" y="272"/>
                  </a:cubicBezTo>
                  <a:cubicBezTo>
                    <a:pt x="67" y="272"/>
                    <a:pt x="71" y="277"/>
                    <a:pt x="71" y="277"/>
                  </a:cubicBezTo>
                  <a:cubicBezTo>
                    <a:pt x="71" y="277"/>
                    <a:pt x="72" y="283"/>
                    <a:pt x="72" y="283"/>
                  </a:cubicBezTo>
                  <a:cubicBezTo>
                    <a:pt x="75" y="286"/>
                    <a:pt x="75" y="286"/>
                    <a:pt x="75" y="286"/>
                  </a:cubicBezTo>
                  <a:cubicBezTo>
                    <a:pt x="75" y="286"/>
                    <a:pt x="80" y="288"/>
                    <a:pt x="80" y="288"/>
                  </a:cubicBezTo>
                  <a:cubicBezTo>
                    <a:pt x="80" y="288"/>
                    <a:pt x="83" y="289"/>
                    <a:pt x="83" y="289"/>
                  </a:cubicBezTo>
                  <a:cubicBezTo>
                    <a:pt x="83" y="289"/>
                    <a:pt x="85" y="293"/>
                    <a:pt x="85" y="293"/>
                  </a:cubicBezTo>
                  <a:cubicBezTo>
                    <a:pt x="85" y="293"/>
                    <a:pt x="89" y="296"/>
                    <a:pt x="89" y="296"/>
                  </a:cubicBezTo>
                  <a:cubicBezTo>
                    <a:pt x="91" y="297"/>
                    <a:pt x="91" y="297"/>
                    <a:pt x="91" y="297"/>
                  </a:cubicBezTo>
                  <a:cubicBezTo>
                    <a:pt x="98" y="298"/>
                    <a:pt x="98" y="298"/>
                    <a:pt x="98" y="298"/>
                  </a:cubicBezTo>
                  <a:cubicBezTo>
                    <a:pt x="98" y="300"/>
                    <a:pt x="98" y="300"/>
                    <a:pt x="98" y="300"/>
                  </a:cubicBezTo>
                  <a:cubicBezTo>
                    <a:pt x="98" y="300"/>
                    <a:pt x="100" y="300"/>
                    <a:pt x="100" y="300"/>
                  </a:cubicBezTo>
                  <a:cubicBezTo>
                    <a:pt x="100" y="300"/>
                    <a:pt x="100" y="302"/>
                    <a:pt x="100" y="302"/>
                  </a:cubicBezTo>
                  <a:cubicBezTo>
                    <a:pt x="100" y="302"/>
                    <a:pt x="103" y="302"/>
                    <a:pt x="103" y="302"/>
                  </a:cubicBezTo>
                  <a:cubicBezTo>
                    <a:pt x="103" y="302"/>
                    <a:pt x="106" y="302"/>
                    <a:pt x="106" y="302"/>
                  </a:cubicBezTo>
                  <a:cubicBezTo>
                    <a:pt x="109" y="306"/>
                    <a:pt x="109" y="306"/>
                    <a:pt x="109" y="306"/>
                  </a:cubicBezTo>
                  <a:cubicBezTo>
                    <a:pt x="112" y="309"/>
                    <a:pt x="112" y="309"/>
                    <a:pt x="112" y="309"/>
                  </a:cubicBezTo>
                  <a:cubicBezTo>
                    <a:pt x="114" y="307"/>
                    <a:pt x="114" y="307"/>
                    <a:pt x="114" y="307"/>
                  </a:cubicBezTo>
                  <a:cubicBezTo>
                    <a:pt x="115" y="310"/>
                    <a:pt x="115" y="310"/>
                    <a:pt x="115" y="310"/>
                  </a:cubicBezTo>
                  <a:cubicBezTo>
                    <a:pt x="121" y="310"/>
                    <a:pt x="121" y="310"/>
                    <a:pt x="121" y="310"/>
                  </a:cubicBezTo>
                  <a:cubicBezTo>
                    <a:pt x="122" y="307"/>
                    <a:pt x="122" y="307"/>
                    <a:pt x="122" y="307"/>
                  </a:cubicBezTo>
                  <a:cubicBezTo>
                    <a:pt x="122" y="307"/>
                    <a:pt x="125" y="304"/>
                    <a:pt x="125" y="304"/>
                  </a:cubicBezTo>
                  <a:cubicBezTo>
                    <a:pt x="125" y="304"/>
                    <a:pt x="125" y="303"/>
                    <a:pt x="125" y="303"/>
                  </a:cubicBezTo>
                  <a:cubicBezTo>
                    <a:pt x="125" y="303"/>
                    <a:pt x="126" y="301"/>
                    <a:pt x="126" y="301"/>
                  </a:cubicBezTo>
                  <a:cubicBezTo>
                    <a:pt x="126" y="301"/>
                    <a:pt x="127" y="302"/>
                    <a:pt x="127" y="302"/>
                  </a:cubicBezTo>
                  <a:cubicBezTo>
                    <a:pt x="130" y="300"/>
                    <a:pt x="130" y="300"/>
                    <a:pt x="130" y="300"/>
                  </a:cubicBezTo>
                  <a:cubicBezTo>
                    <a:pt x="130" y="300"/>
                    <a:pt x="129" y="299"/>
                    <a:pt x="129" y="299"/>
                  </a:cubicBezTo>
                  <a:cubicBezTo>
                    <a:pt x="128" y="298"/>
                    <a:pt x="128" y="298"/>
                    <a:pt x="129" y="298"/>
                  </a:cubicBezTo>
                  <a:cubicBezTo>
                    <a:pt x="129" y="298"/>
                    <a:pt x="129" y="297"/>
                    <a:pt x="129" y="297"/>
                  </a:cubicBezTo>
                  <a:cubicBezTo>
                    <a:pt x="129" y="297"/>
                    <a:pt x="129" y="296"/>
                    <a:pt x="129" y="296"/>
                  </a:cubicBezTo>
                  <a:cubicBezTo>
                    <a:pt x="129" y="295"/>
                    <a:pt x="130" y="294"/>
                    <a:pt x="130" y="294"/>
                  </a:cubicBezTo>
                  <a:cubicBezTo>
                    <a:pt x="130" y="294"/>
                    <a:pt x="132" y="293"/>
                    <a:pt x="132" y="293"/>
                  </a:cubicBezTo>
                  <a:cubicBezTo>
                    <a:pt x="132" y="288"/>
                    <a:pt x="132" y="288"/>
                    <a:pt x="132" y="288"/>
                  </a:cubicBezTo>
                  <a:cubicBezTo>
                    <a:pt x="137" y="279"/>
                    <a:pt x="137" y="279"/>
                    <a:pt x="137" y="279"/>
                  </a:cubicBezTo>
                  <a:cubicBezTo>
                    <a:pt x="138" y="280"/>
                    <a:pt x="138" y="280"/>
                    <a:pt x="138" y="280"/>
                  </a:cubicBezTo>
                  <a:cubicBezTo>
                    <a:pt x="140" y="278"/>
                    <a:pt x="140" y="278"/>
                    <a:pt x="140" y="278"/>
                  </a:cubicBezTo>
                  <a:cubicBezTo>
                    <a:pt x="141" y="279"/>
                    <a:pt x="141" y="279"/>
                    <a:pt x="141" y="279"/>
                  </a:cubicBezTo>
                  <a:cubicBezTo>
                    <a:pt x="143" y="277"/>
                    <a:pt x="143" y="277"/>
                    <a:pt x="143" y="277"/>
                  </a:cubicBezTo>
                  <a:cubicBezTo>
                    <a:pt x="143" y="277"/>
                    <a:pt x="145" y="278"/>
                    <a:pt x="145" y="278"/>
                  </a:cubicBezTo>
                  <a:cubicBezTo>
                    <a:pt x="145" y="278"/>
                    <a:pt x="146" y="279"/>
                    <a:pt x="146" y="279"/>
                  </a:cubicBezTo>
                  <a:cubicBezTo>
                    <a:pt x="147" y="276"/>
                    <a:pt x="147" y="276"/>
                    <a:pt x="147" y="276"/>
                  </a:cubicBezTo>
                  <a:cubicBezTo>
                    <a:pt x="149" y="274"/>
                    <a:pt x="149" y="274"/>
                    <a:pt x="149" y="274"/>
                  </a:cubicBezTo>
                  <a:cubicBezTo>
                    <a:pt x="158" y="278"/>
                    <a:pt x="158" y="278"/>
                    <a:pt x="158" y="278"/>
                  </a:cubicBezTo>
                  <a:cubicBezTo>
                    <a:pt x="160" y="276"/>
                    <a:pt x="160" y="276"/>
                    <a:pt x="160" y="276"/>
                  </a:cubicBezTo>
                  <a:cubicBezTo>
                    <a:pt x="162" y="278"/>
                    <a:pt x="162" y="278"/>
                    <a:pt x="162" y="278"/>
                  </a:cubicBezTo>
                  <a:cubicBezTo>
                    <a:pt x="164" y="277"/>
                    <a:pt x="164" y="277"/>
                    <a:pt x="164" y="277"/>
                  </a:cubicBezTo>
                  <a:cubicBezTo>
                    <a:pt x="166" y="277"/>
                    <a:pt x="166" y="277"/>
                    <a:pt x="166" y="277"/>
                  </a:cubicBezTo>
                  <a:cubicBezTo>
                    <a:pt x="167" y="277"/>
                    <a:pt x="167" y="277"/>
                    <a:pt x="167" y="277"/>
                  </a:cubicBezTo>
                  <a:cubicBezTo>
                    <a:pt x="167" y="278"/>
                    <a:pt x="167" y="278"/>
                    <a:pt x="167" y="278"/>
                  </a:cubicBezTo>
                  <a:cubicBezTo>
                    <a:pt x="167" y="278"/>
                    <a:pt x="169" y="278"/>
                    <a:pt x="169" y="278"/>
                  </a:cubicBezTo>
                  <a:cubicBezTo>
                    <a:pt x="170" y="278"/>
                    <a:pt x="171" y="279"/>
                    <a:pt x="171" y="279"/>
                  </a:cubicBezTo>
                  <a:cubicBezTo>
                    <a:pt x="171" y="279"/>
                    <a:pt x="173" y="279"/>
                    <a:pt x="173" y="279"/>
                  </a:cubicBezTo>
                  <a:cubicBezTo>
                    <a:pt x="173" y="279"/>
                    <a:pt x="175" y="278"/>
                    <a:pt x="175" y="278"/>
                  </a:cubicBezTo>
                  <a:cubicBezTo>
                    <a:pt x="176" y="277"/>
                    <a:pt x="176" y="277"/>
                    <a:pt x="176" y="277"/>
                  </a:cubicBezTo>
                  <a:cubicBezTo>
                    <a:pt x="176" y="279"/>
                    <a:pt x="176" y="279"/>
                    <a:pt x="176" y="279"/>
                  </a:cubicBezTo>
                  <a:cubicBezTo>
                    <a:pt x="176" y="279"/>
                    <a:pt x="178" y="278"/>
                    <a:pt x="178" y="278"/>
                  </a:cubicBezTo>
                  <a:cubicBezTo>
                    <a:pt x="178" y="278"/>
                    <a:pt x="178" y="278"/>
                    <a:pt x="178" y="278"/>
                  </a:cubicBezTo>
                  <a:cubicBezTo>
                    <a:pt x="179" y="279"/>
                    <a:pt x="179" y="279"/>
                    <a:pt x="179" y="279"/>
                  </a:cubicBezTo>
                  <a:cubicBezTo>
                    <a:pt x="180" y="279"/>
                    <a:pt x="180" y="279"/>
                    <a:pt x="180" y="279"/>
                  </a:cubicBezTo>
                  <a:cubicBezTo>
                    <a:pt x="180" y="280"/>
                    <a:pt x="180" y="280"/>
                    <a:pt x="180" y="280"/>
                  </a:cubicBezTo>
                  <a:cubicBezTo>
                    <a:pt x="182" y="283"/>
                    <a:pt x="182" y="283"/>
                    <a:pt x="182" y="283"/>
                  </a:cubicBezTo>
                  <a:cubicBezTo>
                    <a:pt x="184" y="283"/>
                    <a:pt x="184" y="283"/>
                    <a:pt x="184" y="283"/>
                  </a:cubicBezTo>
                  <a:cubicBezTo>
                    <a:pt x="184" y="286"/>
                    <a:pt x="184" y="286"/>
                    <a:pt x="184" y="286"/>
                  </a:cubicBezTo>
                  <a:cubicBezTo>
                    <a:pt x="186" y="284"/>
                    <a:pt x="186" y="284"/>
                    <a:pt x="186" y="284"/>
                  </a:cubicBezTo>
                  <a:cubicBezTo>
                    <a:pt x="186" y="288"/>
                    <a:pt x="186" y="288"/>
                    <a:pt x="186" y="288"/>
                  </a:cubicBezTo>
                  <a:cubicBezTo>
                    <a:pt x="192" y="290"/>
                    <a:pt x="192" y="290"/>
                    <a:pt x="192" y="290"/>
                  </a:cubicBezTo>
                  <a:cubicBezTo>
                    <a:pt x="194" y="294"/>
                    <a:pt x="194" y="294"/>
                    <a:pt x="194" y="294"/>
                  </a:cubicBezTo>
                  <a:cubicBezTo>
                    <a:pt x="201" y="298"/>
                    <a:pt x="201" y="298"/>
                    <a:pt x="201" y="298"/>
                  </a:cubicBezTo>
                  <a:cubicBezTo>
                    <a:pt x="202" y="302"/>
                    <a:pt x="202" y="302"/>
                    <a:pt x="202" y="302"/>
                  </a:cubicBezTo>
                  <a:cubicBezTo>
                    <a:pt x="206" y="305"/>
                    <a:pt x="206" y="305"/>
                    <a:pt x="206" y="305"/>
                  </a:cubicBezTo>
                  <a:cubicBezTo>
                    <a:pt x="206" y="311"/>
                    <a:pt x="206" y="311"/>
                    <a:pt x="206" y="311"/>
                  </a:cubicBezTo>
                  <a:cubicBezTo>
                    <a:pt x="210" y="316"/>
                    <a:pt x="210" y="316"/>
                    <a:pt x="210" y="316"/>
                  </a:cubicBezTo>
                  <a:cubicBezTo>
                    <a:pt x="211" y="321"/>
                    <a:pt x="211" y="321"/>
                    <a:pt x="211" y="321"/>
                  </a:cubicBezTo>
                  <a:cubicBezTo>
                    <a:pt x="215" y="325"/>
                    <a:pt x="215" y="325"/>
                    <a:pt x="215" y="325"/>
                  </a:cubicBezTo>
                  <a:cubicBezTo>
                    <a:pt x="215" y="328"/>
                    <a:pt x="215" y="328"/>
                    <a:pt x="215" y="328"/>
                  </a:cubicBezTo>
                  <a:cubicBezTo>
                    <a:pt x="218" y="328"/>
                    <a:pt x="218" y="328"/>
                    <a:pt x="218" y="328"/>
                  </a:cubicBezTo>
                  <a:cubicBezTo>
                    <a:pt x="216" y="330"/>
                    <a:pt x="216" y="330"/>
                    <a:pt x="216" y="330"/>
                  </a:cubicBezTo>
                  <a:cubicBezTo>
                    <a:pt x="217" y="332"/>
                    <a:pt x="217" y="332"/>
                    <a:pt x="217" y="332"/>
                  </a:cubicBezTo>
                  <a:cubicBezTo>
                    <a:pt x="218" y="335"/>
                    <a:pt x="218" y="335"/>
                    <a:pt x="218" y="335"/>
                  </a:cubicBezTo>
                  <a:cubicBezTo>
                    <a:pt x="219" y="337"/>
                    <a:pt x="219" y="337"/>
                    <a:pt x="219" y="337"/>
                  </a:cubicBezTo>
                  <a:cubicBezTo>
                    <a:pt x="221" y="339"/>
                    <a:pt x="221" y="339"/>
                    <a:pt x="221" y="339"/>
                  </a:cubicBezTo>
                  <a:cubicBezTo>
                    <a:pt x="221" y="340"/>
                    <a:pt x="221" y="340"/>
                    <a:pt x="221" y="340"/>
                  </a:cubicBezTo>
                  <a:cubicBezTo>
                    <a:pt x="226" y="342"/>
                    <a:pt x="226" y="342"/>
                    <a:pt x="226" y="342"/>
                  </a:cubicBezTo>
                  <a:cubicBezTo>
                    <a:pt x="229" y="348"/>
                    <a:pt x="229" y="348"/>
                    <a:pt x="229" y="348"/>
                  </a:cubicBezTo>
                  <a:cubicBezTo>
                    <a:pt x="231" y="349"/>
                    <a:pt x="231" y="349"/>
                    <a:pt x="231" y="349"/>
                  </a:cubicBezTo>
                  <a:cubicBezTo>
                    <a:pt x="234" y="357"/>
                    <a:pt x="234" y="357"/>
                    <a:pt x="234" y="357"/>
                  </a:cubicBezTo>
                  <a:cubicBezTo>
                    <a:pt x="236" y="357"/>
                    <a:pt x="236" y="357"/>
                    <a:pt x="236" y="357"/>
                  </a:cubicBezTo>
                  <a:cubicBezTo>
                    <a:pt x="239" y="361"/>
                    <a:pt x="239" y="361"/>
                    <a:pt x="239" y="361"/>
                  </a:cubicBezTo>
                  <a:cubicBezTo>
                    <a:pt x="244" y="363"/>
                    <a:pt x="244" y="363"/>
                    <a:pt x="244" y="363"/>
                  </a:cubicBezTo>
                  <a:cubicBezTo>
                    <a:pt x="245" y="365"/>
                    <a:pt x="245" y="365"/>
                    <a:pt x="245" y="365"/>
                  </a:cubicBezTo>
                  <a:cubicBezTo>
                    <a:pt x="247" y="370"/>
                    <a:pt x="247" y="370"/>
                    <a:pt x="247" y="370"/>
                  </a:cubicBezTo>
                  <a:cubicBezTo>
                    <a:pt x="247" y="370"/>
                    <a:pt x="246" y="372"/>
                    <a:pt x="246" y="372"/>
                  </a:cubicBezTo>
                  <a:cubicBezTo>
                    <a:pt x="246" y="372"/>
                    <a:pt x="245" y="375"/>
                    <a:pt x="245" y="375"/>
                  </a:cubicBezTo>
                  <a:cubicBezTo>
                    <a:pt x="248" y="377"/>
                    <a:pt x="248" y="377"/>
                    <a:pt x="248" y="377"/>
                  </a:cubicBezTo>
                  <a:cubicBezTo>
                    <a:pt x="249" y="383"/>
                    <a:pt x="249" y="383"/>
                    <a:pt x="249" y="383"/>
                  </a:cubicBezTo>
                  <a:cubicBezTo>
                    <a:pt x="248" y="385"/>
                    <a:pt x="248" y="385"/>
                    <a:pt x="248" y="385"/>
                  </a:cubicBezTo>
                  <a:cubicBezTo>
                    <a:pt x="250" y="388"/>
                    <a:pt x="250" y="388"/>
                    <a:pt x="250" y="388"/>
                  </a:cubicBezTo>
                  <a:cubicBezTo>
                    <a:pt x="250" y="389"/>
                    <a:pt x="250" y="389"/>
                    <a:pt x="250" y="389"/>
                  </a:cubicBezTo>
                  <a:cubicBezTo>
                    <a:pt x="252" y="390"/>
                    <a:pt x="252" y="390"/>
                    <a:pt x="252" y="390"/>
                  </a:cubicBezTo>
                  <a:cubicBezTo>
                    <a:pt x="252" y="392"/>
                    <a:pt x="252" y="392"/>
                    <a:pt x="252" y="392"/>
                  </a:cubicBezTo>
                  <a:cubicBezTo>
                    <a:pt x="254" y="393"/>
                    <a:pt x="254" y="393"/>
                    <a:pt x="254" y="393"/>
                  </a:cubicBezTo>
                  <a:cubicBezTo>
                    <a:pt x="256" y="397"/>
                    <a:pt x="256" y="397"/>
                    <a:pt x="256" y="397"/>
                  </a:cubicBezTo>
                  <a:cubicBezTo>
                    <a:pt x="256" y="397"/>
                    <a:pt x="257" y="399"/>
                    <a:pt x="257" y="400"/>
                  </a:cubicBezTo>
                  <a:cubicBezTo>
                    <a:pt x="257" y="400"/>
                    <a:pt x="257" y="405"/>
                    <a:pt x="257" y="405"/>
                  </a:cubicBezTo>
                  <a:cubicBezTo>
                    <a:pt x="260" y="407"/>
                    <a:pt x="260" y="407"/>
                    <a:pt x="260" y="407"/>
                  </a:cubicBezTo>
                  <a:cubicBezTo>
                    <a:pt x="260" y="407"/>
                    <a:pt x="259" y="409"/>
                    <a:pt x="259" y="409"/>
                  </a:cubicBezTo>
                  <a:cubicBezTo>
                    <a:pt x="259" y="409"/>
                    <a:pt x="260" y="410"/>
                    <a:pt x="260" y="410"/>
                  </a:cubicBezTo>
                  <a:cubicBezTo>
                    <a:pt x="264" y="410"/>
                    <a:pt x="264" y="410"/>
                    <a:pt x="264" y="410"/>
                  </a:cubicBezTo>
                  <a:cubicBezTo>
                    <a:pt x="265" y="411"/>
                    <a:pt x="265" y="411"/>
                    <a:pt x="265" y="411"/>
                  </a:cubicBezTo>
                  <a:cubicBezTo>
                    <a:pt x="266" y="410"/>
                    <a:pt x="266" y="410"/>
                    <a:pt x="266" y="410"/>
                  </a:cubicBezTo>
                  <a:cubicBezTo>
                    <a:pt x="267" y="412"/>
                    <a:pt x="267" y="412"/>
                    <a:pt x="267" y="412"/>
                  </a:cubicBezTo>
                  <a:cubicBezTo>
                    <a:pt x="268" y="412"/>
                    <a:pt x="268" y="412"/>
                    <a:pt x="268" y="412"/>
                  </a:cubicBezTo>
                  <a:cubicBezTo>
                    <a:pt x="270" y="411"/>
                    <a:pt x="270" y="411"/>
                    <a:pt x="270" y="411"/>
                  </a:cubicBezTo>
                  <a:cubicBezTo>
                    <a:pt x="275" y="417"/>
                    <a:pt x="275" y="417"/>
                    <a:pt x="275" y="417"/>
                  </a:cubicBezTo>
                  <a:cubicBezTo>
                    <a:pt x="278" y="416"/>
                    <a:pt x="278" y="416"/>
                    <a:pt x="278" y="416"/>
                  </a:cubicBezTo>
                  <a:cubicBezTo>
                    <a:pt x="281" y="418"/>
                    <a:pt x="281" y="418"/>
                    <a:pt x="281" y="418"/>
                  </a:cubicBezTo>
                  <a:cubicBezTo>
                    <a:pt x="283" y="417"/>
                    <a:pt x="283" y="417"/>
                    <a:pt x="283" y="417"/>
                  </a:cubicBezTo>
                  <a:cubicBezTo>
                    <a:pt x="284" y="419"/>
                    <a:pt x="284" y="419"/>
                    <a:pt x="284" y="419"/>
                  </a:cubicBezTo>
                  <a:cubicBezTo>
                    <a:pt x="286" y="419"/>
                    <a:pt x="286" y="419"/>
                    <a:pt x="286" y="419"/>
                  </a:cubicBezTo>
                  <a:cubicBezTo>
                    <a:pt x="287" y="422"/>
                    <a:pt x="287" y="422"/>
                    <a:pt x="287" y="422"/>
                  </a:cubicBezTo>
                  <a:cubicBezTo>
                    <a:pt x="288" y="421"/>
                    <a:pt x="288" y="421"/>
                    <a:pt x="288" y="421"/>
                  </a:cubicBezTo>
                  <a:cubicBezTo>
                    <a:pt x="288" y="422"/>
                    <a:pt x="288" y="422"/>
                    <a:pt x="288" y="422"/>
                  </a:cubicBezTo>
                  <a:cubicBezTo>
                    <a:pt x="292" y="424"/>
                    <a:pt x="292" y="424"/>
                    <a:pt x="292" y="424"/>
                  </a:cubicBezTo>
                  <a:cubicBezTo>
                    <a:pt x="293" y="423"/>
                    <a:pt x="293" y="423"/>
                    <a:pt x="293" y="423"/>
                  </a:cubicBezTo>
                  <a:cubicBezTo>
                    <a:pt x="295" y="423"/>
                    <a:pt x="295" y="423"/>
                    <a:pt x="295" y="423"/>
                  </a:cubicBezTo>
                  <a:cubicBezTo>
                    <a:pt x="295" y="424"/>
                    <a:pt x="295" y="424"/>
                    <a:pt x="295" y="424"/>
                  </a:cubicBezTo>
                  <a:cubicBezTo>
                    <a:pt x="297" y="423"/>
                    <a:pt x="297" y="423"/>
                    <a:pt x="297" y="423"/>
                  </a:cubicBezTo>
                  <a:cubicBezTo>
                    <a:pt x="303" y="423"/>
                    <a:pt x="303" y="423"/>
                    <a:pt x="303" y="423"/>
                  </a:cubicBezTo>
                  <a:cubicBezTo>
                    <a:pt x="306" y="424"/>
                    <a:pt x="306" y="424"/>
                    <a:pt x="306" y="424"/>
                  </a:cubicBezTo>
                  <a:cubicBezTo>
                    <a:pt x="310" y="425"/>
                    <a:pt x="310" y="425"/>
                    <a:pt x="310" y="425"/>
                  </a:cubicBezTo>
                  <a:cubicBezTo>
                    <a:pt x="310" y="425"/>
                    <a:pt x="318" y="432"/>
                    <a:pt x="318" y="432"/>
                  </a:cubicBezTo>
                  <a:cubicBezTo>
                    <a:pt x="318" y="432"/>
                    <a:pt x="318" y="431"/>
                    <a:pt x="318" y="431"/>
                  </a:cubicBezTo>
                  <a:cubicBezTo>
                    <a:pt x="318" y="430"/>
                    <a:pt x="319" y="432"/>
                    <a:pt x="319" y="432"/>
                  </a:cubicBezTo>
                  <a:cubicBezTo>
                    <a:pt x="319" y="432"/>
                    <a:pt x="320" y="431"/>
                    <a:pt x="320" y="430"/>
                  </a:cubicBezTo>
                  <a:cubicBezTo>
                    <a:pt x="320" y="430"/>
                    <a:pt x="320" y="428"/>
                    <a:pt x="320" y="428"/>
                  </a:cubicBezTo>
                  <a:cubicBezTo>
                    <a:pt x="320" y="428"/>
                    <a:pt x="324" y="428"/>
                    <a:pt x="324" y="428"/>
                  </a:cubicBezTo>
                  <a:cubicBezTo>
                    <a:pt x="325" y="428"/>
                    <a:pt x="327" y="428"/>
                    <a:pt x="327" y="428"/>
                  </a:cubicBezTo>
                  <a:cubicBezTo>
                    <a:pt x="327" y="428"/>
                    <a:pt x="327" y="427"/>
                    <a:pt x="327" y="426"/>
                  </a:cubicBezTo>
                  <a:cubicBezTo>
                    <a:pt x="328" y="426"/>
                    <a:pt x="327" y="426"/>
                    <a:pt x="327" y="426"/>
                  </a:cubicBezTo>
                  <a:cubicBezTo>
                    <a:pt x="327" y="426"/>
                    <a:pt x="326" y="427"/>
                    <a:pt x="326" y="427"/>
                  </a:cubicBezTo>
                  <a:cubicBezTo>
                    <a:pt x="326" y="427"/>
                    <a:pt x="325" y="427"/>
                    <a:pt x="325" y="426"/>
                  </a:cubicBezTo>
                  <a:cubicBezTo>
                    <a:pt x="325" y="426"/>
                    <a:pt x="326" y="426"/>
                    <a:pt x="326" y="425"/>
                  </a:cubicBezTo>
                  <a:cubicBezTo>
                    <a:pt x="326" y="425"/>
                    <a:pt x="326" y="424"/>
                    <a:pt x="326" y="424"/>
                  </a:cubicBezTo>
                  <a:cubicBezTo>
                    <a:pt x="326" y="423"/>
                    <a:pt x="326" y="423"/>
                    <a:pt x="325" y="423"/>
                  </a:cubicBezTo>
                  <a:cubicBezTo>
                    <a:pt x="324" y="423"/>
                    <a:pt x="324" y="423"/>
                    <a:pt x="323" y="422"/>
                  </a:cubicBezTo>
                  <a:cubicBezTo>
                    <a:pt x="323" y="421"/>
                    <a:pt x="322" y="421"/>
                    <a:pt x="322" y="420"/>
                  </a:cubicBezTo>
                  <a:cubicBezTo>
                    <a:pt x="322" y="420"/>
                    <a:pt x="322" y="419"/>
                    <a:pt x="322" y="418"/>
                  </a:cubicBezTo>
                  <a:cubicBezTo>
                    <a:pt x="321" y="418"/>
                    <a:pt x="322" y="417"/>
                    <a:pt x="322" y="416"/>
                  </a:cubicBezTo>
                  <a:cubicBezTo>
                    <a:pt x="321" y="415"/>
                    <a:pt x="321" y="415"/>
                    <a:pt x="321" y="415"/>
                  </a:cubicBezTo>
                  <a:cubicBezTo>
                    <a:pt x="321" y="415"/>
                    <a:pt x="321" y="414"/>
                    <a:pt x="321" y="413"/>
                  </a:cubicBezTo>
                  <a:cubicBezTo>
                    <a:pt x="321" y="413"/>
                    <a:pt x="320" y="412"/>
                    <a:pt x="320" y="411"/>
                  </a:cubicBezTo>
                  <a:cubicBezTo>
                    <a:pt x="319" y="410"/>
                    <a:pt x="318" y="409"/>
                    <a:pt x="318" y="409"/>
                  </a:cubicBezTo>
                  <a:cubicBezTo>
                    <a:pt x="318" y="409"/>
                    <a:pt x="318" y="407"/>
                    <a:pt x="318" y="407"/>
                  </a:cubicBezTo>
                  <a:cubicBezTo>
                    <a:pt x="318" y="407"/>
                    <a:pt x="318" y="407"/>
                    <a:pt x="318" y="406"/>
                  </a:cubicBezTo>
                  <a:cubicBezTo>
                    <a:pt x="319" y="406"/>
                    <a:pt x="318" y="405"/>
                    <a:pt x="318" y="404"/>
                  </a:cubicBezTo>
                  <a:cubicBezTo>
                    <a:pt x="318" y="404"/>
                    <a:pt x="318" y="404"/>
                    <a:pt x="318" y="403"/>
                  </a:cubicBezTo>
                  <a:cubicBezTo>
                    <a:pt x="317" y="403"/>
                    <a:pt x="318" y="402"/>
                    <a:pt x="318" y="402"/>
                  </a:cubicBezTo>
                  <a:cubicBezTo>
                    <a:pt x="318" y="402"/>
                    <a:pt x="318" y="401"/>
                    <a:pt x="317" y="401"/>
                  </a:cubicBezTo>
                  <a:cubicBezTo>
                    <a:pt x="317" y="400"/>
                    <a:pt x="317" y="400"/>
                    <a:pt x="317" y="399"/>
                  </a:cubicBezTo>
                  <a:cubicBezTo>
                    <a:pt x="317" y="399"/>
                    <a:pt x="317" y="397"/>
                    <a:pt x="316" y="397"/>
                  </a:cubicBezTo>
                  <a:cubicBezTo>
                    <a:pt x="316" y="396"/>
                    <a:pt x="314" y="395"/>
                    <a:pt x="314" y="394"/>
                  </a:cubicBezTo>
                  <a:cubicBezTo>
                    <a:pt x="313" y="393"/>
                    <a:pt x="313" y="393"/>
                    <a:pt x="313" y="393"/>
                  </a:cubicBezTo>
                  <a:cubicBezTo>
                    <a:pt x="313" y="392"/>
                    <a:pt x="314" y="393"/>
                    <a:pt x="314" y="392"/>
                  </a:cubicBezTo>
                  <a:cubicBezTo>
                    <a:pt x="314" y="392"/>
                    <a:pt x="314" y="392"/>
                    <a:pt x="314" y="392"/>
                  </a:cubicBezTo>
                  <a:cubicBezTo>
                    <a:pt x="314" y="391"/>
                    <a:pt x="314" y="389"/>
                    <a:pt x="314" y="389"/>
                  </a:cubicBezTo>
                  <a:cubicBezTo>
                    <a:pt x="314" y="389"/>
                    <a:pt x="314" y="388"/>
                    <a:pt x="314" y="388"/>
                  </a:cubicBezTo>
                  <a:cubicBezTo>
                    <a:pt x="315" y="387"/>
                    <a:pt x="317" y="388"/>
                    <a:pt x="317" y="388"/>
                  </a:cubicBezTo>
                  <a:cubicBezTo>
                    <a:pt x="317" y="388"/>
                    <a:pt x="317" y="387"/>
                    <a:pt x="317" y="387"/>
                  </a:cubicBezTo>
                  <a:cubicBezTo>
                    <a:pt x="317" y="387"/>
                    <a:pt x="317" y="386"/>
                    <a:pt x="317" y="386"/>
                  </a:cubicBezTo>
                  <a:cubicBezTo>
                    <a:pt x="317" y="386"/>
                    <a:pt x="316" y="385"/>
                    <a:pt x="316" y="385"/>
                  </a:cubicBezTo>
                  <a:cubicBezTo>
                    <a:pt x="316" y="385"/>
                    <a:pt x="317" y="384"/>
                    <a:pt x="317" y="384"/>
                  </a:cubicBezTo>
                  <a:cubicBezTo>
                    <a:pt x="317" y="384"/>
                    <a:pt x="317" y="383"/>
                    <a:pt x="317" y="381"/>
                  </a:cubicBezTo>
                  <a:cubicBezTo>
                    <a:pt x="317" y="381"/>
                    <a:pt x="317" y="381"/>
                    <a:pt x="317" y="380"/>
                  </a:cubicBezTo>
                  <a:cubicBezTo>
                    <a:pt x="317" y="380"/>
                    <a:pt x="317" y="380"/>
                    <a:pt x="317" y="380"/>
                  </a:cubicBezTo>
                  <a:cubicBezTo>
                    <a:pt x="317" y="379"/>
                    <a:pt x="318" y="379"/>
                    <a:pt x="318" y="379"/>
                  </a:cubicBezTo>
                  <a:cubicBezTo>
                    <a:pt x="318" y="378"/>
                    <a:pt x="316" y="378"/>
                    <a:pt x="316" y="378"/>
                  </a:cubicBezTo>
                  <a:cubicBezTo>
                    <a:pt x="315" y="378"/>
                    <a:pt x="315" y="379"/>
                    <a:pt x="315" y="379"/>
                  </a:cubicBezTo>
                  <a:cubicBezTo>
                    <a:pt x="315" y="379"/>
                    <a:pt x="314" y="378"/>
                    <a:pt x="314" y="378"/>
                  </a:cubicBezTo>
                  <a:cubicBezTo>
                    <a:pt x="313" y="378"/>
                    <a:pt x="312" y="378"/>
                    <a:pt x="311" y="378"/>
                  </a:cubicBezTo>
                  <a:cubicBezTo>
                    <a:pt x="311" y="378"/>
                    <a:pt x="310" y="378"/>
                    <a:pt x="309" y="378"/>
                  </a:cubicBezTo>
                  <a:cubicBezTo>
                    <a:pt x="309" y="377"/>
                    <a:pt x="309" y="377"/>
                    <a:pt x="309" y="377"/>
                  </a:cubicBezTo>
                  <a:cubicBezTo>
                    <a:pt x="309" y="377"/>
                    <a:pt x="309" y="377"/>
                    <a:pt x="309" y="377"/>
                  </a:cubicBezTo>
                  <a:cubicBezTo>
                    <a:pt x="308" y="377"/>
                    <a:pt x="308" y="377"/>
                    <a:pt x="309" y="377"/>
                  </a:cubicBezTo>
                  <a:cubicBezTo>
                    <a:pt x="309" y="376"/>
                    <a:pt x="310" y="377"/>
                    <a:pt x="310" y="376"/>
                  </a:cubicBezTo>
                  <a:cubicBezTo>
                    <a:pt x="310" y="376"/>
                    <a:pt x="311" y="376"/>
                    <a:pt x="311" y="376"/>
                  </a:cubicBezTo>
                  <a:cubicBezTo>
                    <a:pt x="312" y="376"/>
                    <a:pt x="312" y="376"/>
                    <a:pt x="313" y="375"/>
                  </a:cubicBezTo>
                  <a:cubicBezTo>
                    <a:pt x="313" y="375"/>
                    <a:pt x="314" y="374"/>
                    <a:pt x="315" y="375"/>
                  </a:cubicBezTo>
                  <a:cubicBezTo>
                    <a:pt x="315" y="375"/>
                    <a:pt x="314" y="376"/>
                    <a:pt x="314" y="376"/>
                  </a:cubicBezTo>
                  <a:cubicBezTo>
                    <a:pt x="314" y="376"/>
                    <a:pt x="315" y="377"/>
                    <a:pt x="315" y="377"/>
                  </a:cubicBezTo>
                  <a:cubicBezTo>
                    <a:pt x="315" y="376"/>
                    <a:pt x="315" y="376"/>
                    <a:pt x="316" y="376"/>
                  </a:cubicBezTo>
                  <a:cubicBezTo>
                    <a:pt x="316" y="376"/>
                    <a:pt x="317" y="376"/>
                    <a:pt x="317" y="376"/>
                  </a:cubicBezTo>
                  <a:cubicBezTo>
                    <a:pt x="318" y="376"/>
                    <a:pt x="318" y="375"/>
                    <a:pt x="318" y="375"/>
                  </a:cubicBezTo>
                  <a:cubicBezTo>
                    <a:pt x="319" y="375"/>
                    <a:pt x="319" y="375"/>
                    <a:pt x="319" y="375"/>
                  </a:cubicBezTo>
                  <a:cubicBezTo>
                    <a:pt x="319" y="374"/>
                    <a:pt x="319" y="374"/>
                    <a:pt x="319" y="374"/>
                  </a:cubicBezTo>
                  <a:cubicBezTo>
                    <a:pt x="319" y="373"/>
                    <a:pt x="319" y="373"/>
                    <a:pt x="320" y="372"/>
                  </a:cubicBezTo>
                  <a:cubicBezTo>
                    <a:pt x="320" y="372"/>
                    <a:pt x="320" y="372"/>
                    <a:pt x="320" y="371"/>
                  </a:cubicBezTo>
                  <a:cubicBezTo>
                    <a:pt x="320" y="371"/>
                    <a:pt x="320" y="370"/>
                    <a:pt x="321" y="369"/>
                  </a:cubicBezTo>
                  <a:cubicBezTo>
                    <a:pt x="321" y="369"/>
                    <a:pt x="320" y="368"/>
                    <a:pt x="321" y="367"/>
                  </a:cubicBezTo>
                  <a:cubicBezTo>
                    <a:pt x="321" y="367"/>
                    <a:pt x="321" y="366"/>
                    <a:pt x="322" y="366"/>
                  </a:cubicBezTo>
                  <a:cubicBezTo>
                    <a:pt x="322" y="365"/>
                    <a:pt x="322" y="365"/>
                    <a:pt x="322" y="365"/>
                  </a:cubicBezTo>
                  <a:cubicBezTo>
                    <a:pt x="323" y="364"/>
                    <a:pt x="323" y="364"/>
                    <a:pt x="323" y="363"/>
                  </a:cubicBezTo>
                  <a:cubicBezTo>
                    <a:pt x="323" y="363"/>
                    <a:pt x="323" y="362"/>
                    <a:pt x="324" y="362"/>
                  </a:cubicBezTo>
                  <a:cubicBezTo>
                    <a:pt x="324" y="362"/>
                    <a:pt x="324" y="361"/>
                    <a:pt x="324" y="361"/>
                  </a:cubicBezTo>
                  <a:cubicBezTo>
                    <a:pt x="324" y="361"/>
                    <a:pt x="323" y="360"/>
                    <a:pt x="323" y="360"/>
                  </a:cubicBezTo>
                  <a:cubicBezTo>
                    <a:pt x="323" y="360"/>
                    <a:pt x="322" y="360"/>
                    <a:pt x="321" y="360"/>
                  </a:cubicBezTo>
                  <a:cubicBezTo>
                    <a:pt x="321" y="359"/>
                    <a:pt x="320" y="359"/>
                    <a:pt x="320" y="358"/>
                  </a:cubicBezTo>
                  <a:cubicBezTo>
                    <a:pt x="320" y="358"/>
                    <a:pt x="320" y="358"/>
                    <a:pt x="320" y="358"/>
                  </a:cubicBezTo>
                  <a:cubicBezTo>
                    <a:pt x="320" y="357"/>
                    <a:pt x="319" y="357"/>
                    <a:pt x="319" y="357"/>
                  </a:cubicBezTo>
                  <a:cubicBezTo>
                    <a:pt x="319" y="357"/>
                    <a:pt x="319" y="356"/>
                    <a:pt x="319" y="356"/>
                  </a:cubicBezTo>
                  <a:cubicBezTo>
                    <a:pt x="319" y="356"/>
                    <a:pt x="319" y="356"/>
                    <a:pt x="319" y="355"/>
                  </a:cubicBezTo>
                  <a:cubicBezTo>
                    <a:pt x="319" y="355"/>
                    <a:pt x="318" y="355"/>
                    <a:pt x="318" y="354"/>
                  </a:cubicBezTo>
                  <a:cubicBezTo>
                    <a:pt x="318" y="354"/>
                    <a:pt x="318" y="354"/>
                    <a:pt x="319" y="354"/>
                  </a:cubicBezTo>
                  <a:cubicBezTo>
                    <a:pt x="319" y="354"/>
                    <a:pt x="320" y="354"/>
                    <a:pt x="321" y="354"/>
                  </a:cubicBezTo>
                  <a:cubicBezTo>
                    <a:pt x="321" y="353"/>
                    <a:pt x="321" y="353"/>
                    <a:pt x="321" y="353"/>
                  </a:cubicBezTo>
                  <a:cubicBezTo>
                    <a:pt x="321" y="353"/>
                    <a:pt x="322" y="353"/>
                    <a:pt x="322" y="353"/>
                  </a:cubicBezTo>
                  <a:cubicBezTo>
                    <a:pt x="323" y="353"/>
                    <a:pt x="323" y="353"/>
                    <a:pt x="324" y="353"/>
                  </a:cubicBezTo>
                  <a:cubicBezTo>
                    <a:pt x="324" y="354"/>
                    <a:pt x="324" y="354"/>
                    <a:pt x="325" y="354"/>
                  </a:cubicBezTo>
                  <a:cubicBezTo>
                    <a:pt x="325" y="355"/>
                    <a:pt x="325" y="355"/>
                    <a:pt x="326" y="355"/>
                  </a:cubicBezTo>
                  <a:cubicBezTo>
                    <a:pt x="326" y="355"/>
                    <a:pt x="327" y="355"/>
                    <a:pt x="327" y="355"/>
                  </a:cubicBezTo>
                  <a:cubicBezTo>
                    <a:pt x="327" y="355"/>
                    <a:pt x="327" y="355"/>
                    <a:pt x="327" y="355"/>
                  </a:cubicBezTo>
                  <a:cubicBezTo>
                    <a:pt x="327" y="354"/>
                    <a:pt x="327" y="354"/>
                    <a:pt x="327" y="354"/>
                  </a:cubicBezTo>
                  <a:cubicBezTo>
                    <a:pt x="328" y="353"/>
                    <a:pt x="329" y="352"/>
                    <a:pt x="329" y="351"/>
                  </a:cubicBezTo>
                  <a:cubicBezTo>
                    <a:pt x="330" y="350"/>
                    <a:pt x="330" y="349"/>
                    <a:pt x="331" y="348"/>
                  </a:cubicBezTo>
                  <a:cubicBezTo>
                    <a:pt x="331" y="347"/>
                    <a:pt x="331" y="346"/>
                    <a:pt x="331" y="346"/>
                  </a:cubicBezTo>
                  <a:cubicBezTo>
                    <a:pt x="331" y="346"/>
                    <a:pt x="331" y="346"/>
                    <a:pt x="330" y="346"/>
                  </a:cubicBezTo>
                  <a:cubicBezTo>
                    <a:pt x="330" y="346"/>
                    <a:pt x="330" y="346"/>
                    <a:pt x="329" y="346"/>
                  </a:cubicBezTo>
                  <a:cubicBezTo>
                    <a:pt x="329" y="346"/>
                    <a:pt x="329" y="347"/>
                    <a:pt x="329" y="347"/>
                  </a:cubicBezTo>
                  <a:cubicBezTo>
                    <a:pt x="328" y="347"/>
                    <a:pt x="328" y="347"/>
                    <a:pt x="327" y="347"/>
                  </a:cubicBezTo>
                  <a:cubicBezTo>
                    <a:pt x="326" y="346"/>
                    <a:pt x="326" y="346"/>
                    <a:pt x="326" y="345"/>
                  </a:cubicBezTo>
                  <a:cubicBezTo>
                    <a:pt x="325" y="345"/>
                    <a:pt x="326" y="345"/>
                    <a:pt x="326" y="345"/>
                  </a:cubicBezTo>
                  <a:cubicBezTo>
                    <a:pt x="327" y="345"/>
                    <a:pt x="327" y="344"/>
                    <a:pt x="328" y="344"/>
                  </a:cubicBezTo>
                  <a:cubicBezTo>
                    <a:pt x="328" y="344"/>
                    <a:pt x="328" y="343"/>
                    <a:pt x="329" y="343"/>
                  </a:cubicBezTo>
                  <a:cubicBezTo>
                    <a:pt x="329" y="343"/>
                    <a:pt x="329" y="343"/>
                    <a:pt x="329" y="343"/>
                  </a:cubicBezTo>
                  <a:cubicBezTo>
                    <a:pt x="330" y="343"/>
                    <a:pt x="330" y="343"/>
                    <a:pt x="330" y="342"/>
                  </a:cubicBezTo>
                  <a:cubicBezTo>
                    <a:pt x="330" y="342"/>
                    <a:pt x="331" y="342"/>
                    <a:pt x="331" y="342"/>
                  </a:cubicBezTo>
                  <a:cubicBezTo>
                    <a:pt x="331" y="342"/>
                    <a:pt x="331" y="341"/>
                    <a:pt x="332" y="341"/>
                  </a:cubicBezTo>
                  <a:cubicBezTo>
                    <a:pt x="332" y="341"/>
                    <a:pt x="333" y="341"/>
                    <a:pt x="333" y="341"/>
                  </a:cubicBezTo>
                  <a:cubicBezTo>
                    <a:pt x="333" y="342"/>
                    <a:pt x="333" y="342"/>
                    <a:pt x="333" y="343"/>
                  </a:cubicBezTo>
                  <a:cubicBezTo>
                    <a:pt x="333" y="343"/>
                    <a:pt x="333" y="343"/>
                    <a:pt x="334" y="343"/>
                  </a:cubicBezTo>
                  <a:cubicBezTo>
                    <a:pt x="334" y="343"/>
                    <a:pt x="335" y="343"/>
                    <a:pt x="336" y="343"/>
                  </a:cubicBezTo>
                  <a:cubicBezTo>
                    <a:pt x="336" y="343"/>
                    <a:pt x="337" y="342"/>
                    <a:pt x="338" y="342"/>
                  </a:cubicBezTo>
                  <a:cubicBezTo>
                    <a:pt x="338" y="341"/>
                    <a:pt x="339" y="340"/>
                    <a:pt x="340" y="340"/>
                  </a:cubicBezTo>
                  <a:cubicBezTo>
                    <a:pt x="340" y="339"/>
                    <a:pt x="340" y="339"/>
                    <a:pt x="340" y="338"/>
                  </a:cubicBezTo>
                  <a:cubicBezTo>
                    <a:pt x="340" y="338"/>
                    <a:pt x="340" y="338"/>
                    <a:pt x="340" y="337"/>
                  </a:cubicBezTo>
                  <a:cubicBezTo>
                    <a:pt x="340" y="337"/>
                    <a:pt x="340" y="337"/>
                    <a:pt x="340" y="336"/>
                  </a:cubicBezTo>
                  <a:cubicBezTo>
                    <a:pt x="340" y="336"/>
                    <a:pt x="340" y="336"/>
                    <a:pt x="340" y="336"/>
                  </a:cubicBezTo>
                  <a:cubicBezTo>
                    <a:pt x="339" y="336"/>
                    <a:pt x="340" y="335"/>
                    <a:pt x="340" y="335"/>
                  </a:cubicBezTo>
                  <a:cubicBezTo>
                    <a:pt x="340" y="334"/>
                    <a:pt x="339" y="334"/>
                    <a:pt x="339" y="333"/>
                  </a:cubicBezTo>
                  <a:cubicBezTo>
                    <a:pt x="338" y="333"/>
                    <a:pt x="338" y="333"/>
                    <a:pt x="339" y="332"/>
                  </a:cubicBezTo>
                  <a:cubicBezTo>
                    <a:pt x="340" y="332"/>
                    <a:pt x="342" y="332"/>
                    <a:pt x="343" y="333"/>
                  </a:cubicBezTo>
                  <a:cubicBezTo>
                    <a:pt x="343" y="333"/>
                    <a:pt x="343" y="334"/>
                    <a:pt x="343" y="335"/>
                  </a:cubicBezTo>
                  <a:cubicBezTo>
                    <a:pt x="343" y="336"/>
                    <a:pt x="343" y="335"/>
                    <a:pt x="344" y="335"/>
                  </a:cubicBezTo>
                  <a:cubicBezTo>
                    <a:pt x="345" y="335"/>
                    <a:pt x="345" y="336"/>
                    <a:pt x="346" y="335"/>
                  </a:cubicBezTo>
                  <a:cubicBezTo>
                    <a:pt x="347" y="335"/>
                    <a:pt x="348" y="334"/>
                    <a:pt x="348" y="334"/>
                  </a:cubicBezTo>
                  <a:cubicBezTo>
                    <a:pt x="349" y="333"/>
                    <a:pt x="350" y="333"/>
                    <a:pt x="351" y="332"/>
                  </a:cubicBezTo>
                  <a:cubicBezTo>
                    <a:pt x="352" y="332"/>
                    <a:pt x="353" y="332"/>
                    <a:pt x="353" y="331"/>
                  </a:cubicBezTo>
                  <a:cubicBezTo>
                    <a:pt x="353" y="330"/>
                    <a:pt x="352" y="330"/>
                    <a:pt x="352" y="329"/>
                  </a:cubicBezTo>
                  <a:cubicBezTo>
                    <a:pt x="352" y="329"/>
                    <a:pt x="352" y="329"/>
                    <a:pt x="351" y="328"/>
                  </a:cubicBezTo>
                  <a:cubicBezTo>
                    <a:pt x="351" y="328"/>
                    <a:pt x="350" y="327"/>
                    <a:pt x="349" y="327"/>
                  </a:cubicBezTo>
                  <a:cubicBezTo>
                    <a:pt x="349" y="326"/>
                    <a:pt x="348" y="326"/>
                    <a:pt x="347" y="326"/>
                  </a:cubicBezTo>
                  <a:cubicBezTo>
                    <a:pt x="347" y="326"/>
                    <a:pt x="347" y="326"/>
                    <a:pt x="347" y="325"/>
                  </a:cubicBezTo>
                  <a:cubicBezTo>
                    <a:pt x="346" y="325"/>
                    <a:pt x="346" y="325"/>
                    <a:pt x="346" y="325"/>
                  </a:cubicBezTo>
                  <a:cubicBezTo>
                    <a:pt x="346" y="325"/>
                    <a:pt x="346" y="324"/>
                    <a:pt x="346" y="324"/>
                  </a:cubicBezTo>
                  <a:cubicBezTo>
                    <a:pt x="346" y="323"/>
                    <a:pt x="346" y="322"/>
                    <a:pt x="346" y="322"/>
                  </a:cubicBezTo>
                  <a:cubicBezTo>
                    <a:pt x="346" y="322"/>
                    <a:pt x="346" y="321"/>
                    <a:pt x="347" y="321"/>
                  </a:cubicBezTo>
                  <a:cubicBezTo>
                    <a:pt x="347" y="321"/>
                    <a:pt x="347" y="320"/>
                    <a:pt x="347" y="321"/>
                  </a:cubicBezTo>
                  <a:cubicBezTo>
                    <a:pt x="348" y="321"/>
                    <a:pt x="347" y="322"/>
                    <a:pt x="348" y="323"/>
                  </a:cubicBezTo>
                  <a:cubicBezTo>
                    <a:pt x="348" y="323"/>
                    <a:pt x="349" y="323"/>
                    <a:pt x="349" y="323"/>
                  </a:cubicBezTo>
                  <a:cubicBezTo>
                    <a:pt x="350" y="323"/>
                    <a:pt x="351" y="323"/>
                    <a:pt x="351" y="324"/>
                  </a:cubicBezTo>
                  <a:cubicBezTo>
                    <a:pt x="352" y="324"/>
                    <a:pt x="351" y="324"/>
                    <a:pt x="352" y="324"/>
                  </a:cubicBezTo>
                  <a:cubicBezTo>
                    <a:pt x="352" y="324"/>
                    <a:pt x="353" y="324"/>
                    <a:pt x="353" y="324"/>
                  </a:cubicBezTo>
                  <a:cubicBezTo>
                    <a:pt x="354" y="324"/>
                    <a:pt x="353" y="323"/>
                    <a:pt x="353" y="322"/>
                  </a:cubicBezTo>
                  <a:cubicBezTo>
                    <a:pt x="353" y="322"/>
                    <a:pt x="354" y="321"/>
                    <a:pt x="354" y="321"/>
                  </a:cubicBezTo>
                  <a:cubicBezTo>
                    <a:pt x="354" y="321"/>
                    <a:pt x="355" y="322"/>
                    <a:pt x="355" y="322"/>
                  </a:cubicBezTo>
                  <a:cubicBezTo>
                    <a:pt x="355" y="323"/>
                    <a:pt x="355" y="323"/>
                    <a:pt x="355" y="323"/>
                  </a:cubicBezTo>
                  <a:cubicBezTo>
                    <a:pt x="356" y="323"/>
                    <a:pt x="356" y="323"/>
                    <a:pt x="356" y="323"/>
                  </a:cubicBezTo>
                  <a:cubicBezTo>
                    <a:pt x="357" y="323"/>
                    <a:pt x="357" y="322"/>
                    <a:pt x="357" y="322"/>
                  </a:cubicBezTo>
                  <a:cubicBezTo>
                    <a:pt x="358" y="322"/>
                    <a:pt x="358" y="321"/>
                    <a:pt x="359" y="321"/>
                  </a:cubicBezTo>
                  <a:cubicBezTo>
                    <a:pt x="359" y="321"/>
                    <a:pt x="360" y="320"/>
                    <a:pt x="360" y="321"/>
                  </a:cubicBezTo>
                  <a:cubicBezTo>
                    <a:pt x="360" y="321"/>
                    <a:pt x="360" y="321"/>
                    <a:pt x="360" y="322"/>
                  </a:cubicBezTo>
                  <a:cubicBezTo>
                    <a:pt x="360" y="322"/>
                    <a:pt x="360" y="323"/>
                    <a:pt x="360" y="323"/>
                  </a:cubicBezTo>
                  <a:cubicBezTo>
                    <a:pt x="360" y="324"/>
                    <a:pt x="360" y="324"/>
                    <a:pt x="360" y="324"/>
                  </a:cubicBezTo>
                  <a:cubicBezTo>
                    <a:pt x="360" y="325"/>
                    <a:pt x="360" y="325"/>
                    <a:pt x="360" y="325"/>
                  </a:cubicBezTo>
                  <a:cubicBezTo>
                    <a:pt x="360" y="326"/>
                    <a:pt x="360" y="325"/>
                    <a:pt x="361" y="325"/>
                  </a:cubicBezTo>
                  <a:cubicBezTo>
                    <a:pt x="361" y="325"/>
                    <a:pt x="361" y="325"/>
                    <a:pt x="362" y="325"/>
                  </a:cubicBezTo>
                  <a:cubicBezTo>
                    <a:pt x="362" y="325"/>
                    <a:pt x="363" y="325"/>
                    <a:pt x="363" y="325"/>
                  </a:cubicBezTo>
                  <a:cubicBezTo>
                    <a:pt x="363" y="325"/>
                    <a:pt x="363" y="324"/>
                    <a:pt x="364" y="324"/>
                  </a:cubicBezTo>
                  <a:cubicBezTo>
                    <a:pt x="364" y="324"/>
                    <a:pt x="365" y="324"/>
                    <a:pt x="365" y="324"/>
                  </a:cubicBezTo>
                  <a:cubicBezTo>
                    <a:pt x="366" y="324"/>
                    <a:pt x="366" y="324"/>
                    <a:pt x="366" y="324"/>
                  </a:cubicBezTo>
                  <a:cubicBezTo>
                    <a:pt x="366" y="323"/>
                    <a:pt x="367" y="323"/>
                    <a:pt x="367" y="323"/>
                  </a:cubicBezTo>
                  <a:cubicBezTo>
                    <a:pt x="367" y="323"/>
                    <a:pt x="367" y="323"/>
                    <a:pt x="367" y="323"/>
                  </a:cubicBezTo>
                  <a:cubicBezTo>
                    <a:pt x="368" y="323"/>
                    <a:pt x="368" y="323"/>
                    <a:pt x="368" y="323"/>
                  </a:cubicBezTo>
                  <a:cubicBezTo>
                    <a:pt x="368" y="324"/>
                    <a:pt x="368" y="324"/>
                    <a:pt x="368" y="325"/>
                  </a:cubicBezTo>
                  <a:cubicBezTo>
                    <a:pt x="367" y="325"/>
                    <a:pt x="367" y="325"/>
                    <a:pt x="366" y="326"/>
                  </a:cubicBezTo>
                  <a:cubicBezTo>
                    <a:pt x="365" y="326"/>
                    <a:pt x="365" y="326"/>
                    <a:pt x="364" y="327"/>
                  </a:cubicBezTo>
                  <a:cubicBezTo>
                    <a:pt x="362" y="327"/>
                    <a:pt x="361" y="328"/>
                    <a:pt x="359" y="329"/>
                  </a:cubicBezTo>
                  <a:cubicBezTo>
                    <a:pt x="359" y="329"/>
                    <a:pt x="358" y="330"/>
                    <a:pt x="357" y="330"/>
                  </a:cubicBezTo>
                  <a:cubicBezTo>
                    <a:pt x="357" y="330"/>
                    <a:pt x="356" y="331"/>
                    <a:pt x="357" y="331"/>
                  </a:cubicBezTo>
                  <a:cubicBezTo>
                    <a:pt x="357" y="332"/>
                    <a:pt x="357" y="331"/>
                    <a:pt x="357" y="331"/>
                  </a:cubicBezTo>
                  <a:cubicBezTo>
                    <a:pt x="358" y="331"/>
                    <a:pt x="359" y="330"/>
                    <a:pt x="359" y="330"/>
                  </a:cubicBezTo>
                  <a:cubicBezTo>
                    <a:pt x="360" y="330"/>
                    <a:pt x="361" y="329"/>
                    <a:pt x="362" y="328"/>
                  </a:cubicBezTo>
                  <a:cubicBezTo>
                    <a:pt x="363" y="328"/>
                    <a:pt x="364" y="327"/>
                    <a:pt x="365" y="327"/>
                  </a:cubicBezTo>
                  <a:cubicBezTo>
                    <a:pt x="366" y="326"/>
                    <a:pt x="367" y="326"/>
                    <a:pt x="368" y="326"/>
                  </a:cubicBezTo>
                  <a:cubicBezTo>
                    <a:pt x="369" y="325"/>
                    <a:pt x="369" y="325"/>
                    <a:pt x="370" y="324"/>
                  </a:cubicBezTo>
                  <a:cubicBezTo>
                    <a:pt x="370" y="324"/>
                    <a:pt x="370" y="324"/>
                    <a:pt x="370" y="323"/>
                  </a:cubicBezTo>
                  <a:cubicBezTo>
                    <a:pt x="370" y="323"/>
                    <a:pt x="370" y="323"/>
                    <a:pt x="370" y="323"/>
                  </a:cubicBezTo>
                  <a:cubicBezTo>
                    <a:pt x="370" y="321"/>
                    <a:pt x="372" y="320"/>
                    <a:pt x="374" y="320"/>
                  </a:cubicBezTo>
                  <a:cubicBezTo>
                    <a:pt x="375" y="319"/>
                    <a:pt x="375" y="319"/>
                    <a:pt x="376" y="319"/>
                  </a:cubicBezTo>
                  <a:cubicBezTo>
                    <a:pt x="377" y="319"/>
                    <a:pt x="378" y="319"/>
                    <a:pt x="379" y="319"/>
                  </a:cubicBezTo>
                  <a:cubicBezTo>
                    <a:pt x="380" y="318"/>
                    <a:pt x="381" y="318"/>
                    <a:pt x="381" y="318"/>
                  </a:cubicBezTo>
                  <a:cubicBezTo>
                    <a:pt x="382" y="317"/>
                    <a:pt x="383" y="317"/>
                    <a:pt x="383" y="316"/>
                  </a:cubicBezTo>
                  <a:cubicBezTo>
                    <a:pt x="384" y="316"/>
                    <a:pt x="385" y="315"/>
                    <a:pt x="386" y="315"/>
                  </a:cubicBezTo>
                  <a:cubicBezTo>
                    <a:pt x="388" y="314"/>
                    <a:pt x="389" y="314"/>
                    <a:pt x="389" y="314"/>
                  </a:cubicBezTo>
                  <a:cubicBezTo>
                    <a:pt x="391" y="313"/>
                    <a:pt x="392" y="312"/>
                    <a:pt x="393" y="311"/>
                  </a:cubicBezTo>
                  <a:cubicBezTo>
                    <a:pt x="393" y="310"/>
                    <a:pt x="393" y="310"/>
                    <a:pt x="394" y="310"/>
                  </a:cubicBezTo>
                  <a:cubicBezTo>
                    <a:pt x="394" y="309"/>
                    <a:pt x="395" y="309"/>
                    <a:pt x="395" y="309"/>
                  </a:cubicBezTo>
                  <a:cubicBezTo>
                    <a:pt x="396" y="309"/>
                    <a:pt x="397" y="308"/>
                    <a:pt x="397" y="307"/>
                  </a:cubicBezTo>
                  <a:cubicBezTo>
                    <a:pt x="397" y="307"/>
                    <a:pt x="397" y="306"/>
                    <a:pt x="397" y="306"/>
                  </a:cubicBezTo>
                  <a:cubicBezTo>
                    <a:pt x="397" y="306"/>
                    <a:pt x="397" y="306"/>
                    <a:pt x="396" y="306"/>
                  </a:cubicBezTo>
                  <a:cubicBezTo>
                    <a:pt x="396" y="306"/>
                    <a:pt x="396" y="306"/>
                    <a:pt x="396" y="305"/>
                  </a:cubicBezTo>
                  <a:cubicBezTo>
                    <a:pt x="396" y="305"/>
                    <a:pt x="395" y="305"/>
                    <a:pt x="395" y="305"/>
                  </a:cubicBezTo>
                  <a:cubicBezTo>
                    <a:pt x="395" y="305"/>
                    <a:pt x="396" y="304"/>
                    <a:pt x="396" y="304"/>
                  </a:cubicBezTo>
                  <a:cubicBezTo>
                    <a:pt x="396" y="304"/>
                    <a:pt x="396" y="303"/>
                    <a:pt x="396" y="303"/>
                  </a:cubicBezTo>
                  <a:cubicBezTo>
                    <a:pt x="397" y="303"/>
                    <a:pt x="397" y="303"/>
                    <a:pt x="398" y="302"/>
                  </a:cubicBezTo>
                  <a:cubicBezTo>
                    <a:pt x="399" y="302"/>
                    <a:pt x="400" y="302"/>
                    <a:pt x="400" y="301"/>
                  </a:cubicBezTo>
                  <a:cubicBezTo>
                    <a:pt x="401" y="300"/>
                    <a:pt x="402" y="300"/>
                    <a:pt x="402" y="299"/>
                  </a:cubicBezTo>
                  <a:cubicBezTo>
                    <a:pt x="403" y="299"/>
                    <a:pt x="403" y="299"/>
                    <a:pt x="403" y="299"/>
                  </a:cubicBezTo>
                  <a:cubicBezTo>
                    <a:pt x="403" y="298"/>
                    <a:pt x="404" y="298"/>
                    <a:pt x="404" y="298"/>
                  </a:cubicBezTo>
                  <a:cubicBezTo>
                    <a:pt x="404" y="298"/>
                    <a:pt x="405" y="298"/>
                    <a:pt x="406" y="297"/>
                  </a:cubicBezTo>
                  <a:cubicBezTo>
                    <a:pt x="406" y="297"/>
                    <a:pt x="406" y="296"/>
                    <a:pt x="406" y="296"/>
                  </a:cubicBezTo>
                  <a:cubicBezTo>
                    <a:pt x="406" y="295"/>
                    <a:pt x="406" y="295"/>
                    <a:pt x="406" y="294"/>
                  </a:cubicBezTo>
                  <a:cubicBezTo>
                    <a:pt x="406" y="293"/>
                    <a:pt x="406" y="293"/>
                    <a:pt x="405" y="292"/>
                  </a:cubicBezTo>
                  <a:cubicBezTo>
                    <a:pt x="405" y="292"/>
                    <a:pt x="405" y="292"/>
                    <a:pt x="405" y="292"/>
                  </a:cubicBezTo>
                  <a:cubicBezTo>
                    <a:pt x="405" y="292"/>
                    <a:pt x="404" y="292"/>
                    <a:pt x="404" y="291"/>
                  </a:cubicBezTo>
                  <a:cubicBezTo>
                    <a:pt x="403" y="291"/>
                    <a:pt x="404" y="291"/>
                    <a:pt x="404" y="290"/>
                  </a:cubicBezTo>
                  <a:cubicBezTo>
                    <a:pt x="404" y="290"/>
                    <a:pt x="405" y="290"/>
                    <a:pt x="404" y="289"/>
                  </a:cubicBezTo>
                  <a:cubicBezTo>
                    <a:pt x="404" y="289"/>
                    <a:pt x="403" y="289"/>
                    <a:pt x="403" y="289"/>
                  </a:cubicBezTo>
                  <a:cubicBezTo>
                    <a:pt x="403" y="289"/>
                    <a:pt x="403" y="289"/>
                    <a:pt x="402" y="289"/>
                  </a:cubicBezTo>
                  <a:cubicBezTo>
                    <a:pt x="402" y="288"/>
                    <a:pt x="402" y="288"/>
                    <a:pt x="401" y="287"/>
                  </a:cubicBezTo>
                  <a:cubicBezTo>
                    <a:pt x="402" y="287"/>
                    <a:pt x="402" y="287"/>
                    <a:pt x="402" y="286"/>
                  </a:cubicBezTo>
                  <a:cubicBezTo>
                    <a:pt x="402" y="286"/>
                    <a:pt x="402" y="285"/>
                    <a:pt x="401" y="285"/>
                  </a:cubicBezTo>
                  <a:cubicBezTo>
                    <a:pt x="402" y="285"/>
                    <a:pt x="402" y="285"/>
                    <a:pt x="402" y="284"/>
                  </a:cubicBezTo>
                  <a:cubicBezTo>
                    <a:pt x="402" y="284"/>
                    <a:pt x="402" y="283"/>
                    <a:pt x="402" y="283"/>
                  </a:cubicBezTo>
                  <a:cubicBezTo>
                    <a:pt x="402" y="281"/>
                    <a:pt x="401" y="281"/>
                    <a:pt x="400" y="281"/>
                  </a:cubicBezTo>
                  <a:cubicBezTo>
                    <a:pt x="400" y="281"/>
                    <a:pt x="399" y="280"/>
                    <a:pt x="399" y="280"/>
                  </a:cubicBezTo>
                  <a:cubicBezTo>
                    <a:pt x="399" y="279"/>
                    <a:pt x="399" y="279"/>
                    <a:pt x="399" y="279"/>
                  </a:cubicBezTo>
                  <a:cubicBezTo>
                    <a:pt x="399" y="278"/>
                    <a:pt x="399" y="277"/>
                    <a:pt x="399" y="277"/>
                  </a:cubicBezTo>
                  <a:cubicBezTo>
                    <a:pt x="400" y="276"/>
                    <a:pt x="400" y="277"/>
                    <a:pt x="400" y="278"/>
                  </a:cubicBezTo>
                  <a:cubicBezTo>
                    <a:pt x="401" y="278"/>
                    <a:pt x="401" y="279"/>
                    <a:pt x="401" y="279"/>
                  </a:cubicBezTo>
                  <a:cubicBezTo>
                    <a:pt x="401" y="280"/>
                    <a:pt x="402" y="280"/>
                    <a:pt x="402" y="280"/>
                  </a:cubicBezTo>
                  <a:cubicBezTo>
                    <a:pt x="403" y="281"/>
                    <a:pt x="404" y="282"/>
                    <a:pt x="404" y="282"/>
                  </a:cubicBezTo>
                  <a:cubicBezTo>
                    <a:pt x="405" y="283"/>
                    <a:pt x="406" y="283"/>
                    <a:pt x="407" y="282"/>
                  </a:cubicBezTo>
                  <a:cubicBezTo>
                    <a:pt x="407" y="282"/>
                    <a:pt x="407" y="281"/>
                    <a:pt x="407" y="281"/>
                  </a:cubicBezTo>
                  <a:cubicBezTo>
                    <a:pt x="408" y="280"/>
                    <a:pt x="408" y="279"/>
                    <a:pt x="409" y="279"/>
                  </a:cubicBezTo>
                  <a:cubicBezTo>
                    <a:pt x="410" y="279"/>
                    <a:pt x="411" y="279"/>
                    <a:pt x="412" y="279"/>
                  </a:cubicBezTo>
                  <a:cubicBezTo>
                    <a:pt x="412" y="279"/>
                    <a:pt x="412" y="279"/>
                    <a:pt x="412" y="280"/>
                  </a:cubicBezTo>
                  <a:cubicBezTo>
                    <a:pt x="413" y="280"/>
                    <a:pt x="412" y="281"/>
                    <a:pt x="412" y="281"/>
                  </a:cubicBezTo>
                  <a:cubicBezTo>
                    <a:pt x="412" y="282"/>
                    <a:pt x="412" y="282"/>
                    <a:pt x="412" y="283"/>
                  </a:cubicBezTo>
                  <a:cubicBezTo>
                    <a:pt x="412" y="283"/>
                    <a:pt x="412" y="284"/>
                    <a:pt x="412" y="285"/>
                  </a:cubicBezTo>
                  <a:cubicBezTo>
                    <a:pt x="412" y="285"/>
                    <a:pt x="411" y="286"/>
                    <a:pt x="411" y="286"/>
                  </a:cubicBezTo>
                  <a:cubicBezTo>
                    <a:pt x="411" y="287"/>
                    <a:pt x="411" y="287"/>
                    <a:pt x="411" y="288"/>
                  </a:cubicBezTo>
                  <a:cubicBezTo>
                    <a:pt x="411" y="289"/>
                    <a:pt x="412" y="288"/>
                    <a:pt x="412" y="288"/>
                  </a:cubicBezTo>
                  <a:cubicBezTo>
                    <a:pt x="413" y="288"/>
                    <a:pt x="414" y="288"/>
                    <a:pt x="415" y="287"/>
                  </a:cubicBezTo>
                  <a:cubicBezTo>
                    <a:pt x="416" y="287"/>
                    <a:pt x="417" y="287"/>
                    <a:pt x="417" y="287"/>
                  </a:cubicBezTo>
                  <a:cubicBezTo>
                    <a:pt x="418" y="287"/>
                    <a:pt x="419" y="287"/>
                    <a:pt x="419" y="288"/>
                  </a:cubicBezTo>
                  <a:cubicBezTo>
                    <a:pt x="419" y="288"/>
                    <a:pt x="418" y="288"/>
                    <a:pt x="418" y="289"/>
                  </a:cubicBezTo>
                  <a:cubicBezTo>
                    <a:pt x="417" y="289"/>
                    <a:pt x="416" y="290"/>
                    <a:pt x="416" y="290"/>
                  </a:cubicBezTo>
                  <a:cubicBezTo>
                    <a:pt x="415" y="291"/>
                    <a:pt x="413" y="291"/>
                    <a:pt x="412" y="291"/>
                  </a:cubicBezTo>
                  <a:cubicBezTo>
                    <a:pt x="412" y="292"/>
                    <a:pt x="411" y="293"/>
                    <a:pt x="411" y="293"/>
                  </a:cubicBezTo>
                  <a:cubicBezTo>
                    <a:pt x="410" y="293"/>
                    <a:pt x="410" y="294"/>
                    <a:pt x="410" y="294"/>
                  </a:cubicBezTo>
                  <a:cubicBezTo>
                    <a:pt x="410" y="294"/>
                    <a:pt x="411" y="293"/>
                    <a:pt x="412" y="293"/>
                  </a:cubicBezTo>
                  <a:cubicBezTo>
                    <a:pt x="413" y="293"/>
                    <a:pt x="414" y="292"/>
                    <a:pt x="415" y="291"/>
                  </a:cubicBezTo>
                  <a:cubicBezTo>
                    <a:pt x="417" y="290"/>
                    <a:pt x="419" y="289"/>
                    <a:pt x="421" y="289"/>
                  </a:cubicBezTo>
                  <a:cubicBezTo>
                    <a:pt x="423" y="288"/>
                    <a:pt x="425" y="287"/>
                    <a:pt x="427" y="286"/>
                  </a:cubicBezTo>
                  <a:cubicBezTo>
                    <a:pt x="428" y="286"/>
                    <a:pt x="429" y="285"/>
                    <a:pt x="431" y="284"/>
                  </a:cubicBezTo>
                  <a:cubicBezTo>
                    <a:pt x="432" y="284"/>
                    <a:pt x="433" y="284"/>
                    <a:pt x="434" y="283"/>
                  </a:cubicBezTo>
                  <a:cubicBezTo>
                    <a:pt x="434" y="283"/>
                    <a:pt x="435" y="283"/>
                    <a:pt x="435" y="283"/>
                  </a:cubicBezTo>
                  <a:cubicBezTo>
                    <a:pt x="436" y="282"/>
                    <a:pt x="438" y="282"/>
                    <a:pt x="439" y="282"/>
                  </a:cubicBezTo>
                  <a:cubicBezTo>
                    <a:pt x="440" y="283"/>
                    <a:pt x="441" y="283"/>
                    <a:pt x="441" y="282"/>
                  </a:cubicBezTo>
                  <a:cubicBezTo>
                    <a:pt x="442" y="281"/>
                    <a:pt x="441" y="281"/>
                    <a:pt x="441" y="280"/>
                  </a:cubicBezTo>
                  <a:cubicBezTo>
                    <a:pt x="440" y="280"/>
                    <a:pt x="439" y="279"/>
                    <a:pt x="439" y="279"/>
                  </a:cubicBezTo>
                  <a:cubicBezTo>
                    <a:pt x="439" y="278"/>
                    <a:pt x="439" y="277"/>
                    <a:pt x="439" y="277"/>
                  </a:cubicBezTo>
                  <a:cubicBezTo>
                    <a:pt x="439" y="276"/>
                    <a:pt x="439" y="276"/>
                    <a:pt x="440" y="275"/>
                  </a:cubicBezTo>
                  <a:cubicBezTo>
                    <a:pt x="440" y="274"/>
                    <a:pt x="440" y="274"/>
                    <a:pt x="441" y="273"/>
                  </a:cubicBezTo>
                  <a:cubicBezTo>
                    <a:pt x="441" y="272"/>
                    <a:pt x="440" y="272"/>
                    <a:pt x="441" y="271"/>
                  </a:cubicBezTo>
                  <a:cubicBezTo>
                    <a:pt x="441" y="270"/>
                    <a:pt x="443" y="270"/>
                    <a:pt x="443" y="271"/>
                  </a:cubicBezTo>
                  <a:cubicBezTo>
                    <a:pt x="444" y="269"/>
                    <a:pt x="446" y="267"/>
                    <a:pt x="446" y="267"/>
                  </a:cubicBezTo>
                  <a:cubicBezTo>
                    <a:pt x="446" y="266"/>
                    <a:pt x="446" y="262"/>
                    <a:pt x="446" y="262"/>
                  </a:cubicBezTo>
                  <a:cubicBezTo>
                    <a:pt x="446" y="261"/>
                    <a:pt x="446" y="259"/>
                    <a:pt x="446" y="258"/>
                  </a:cubicBezTo>
                  <a:cubicBezTo>
                    <a:pt x="446" y="258"/>
                    <a:pt x="445" y="257"/>
                    <a:pt x="444" y="256"/>
                  </a:cubicBezTo>
                  <a:cubicBezTo>
                    <a:pt x="444" y="255"/>
                    <a:pt x="445" y="255"/>
                    <a:pt x="445" y="254"/>
                  </a:cubicBezTo>
                  <a:cubicBezTo>
                    <a:pt x="445" y="254"/>
                    <a:pt x="446" y="253"/>
                    <a:pt x="446" y="252"/>
                  </a:cubicBezTo>
                  <a:cubicBezTo>
                    <a:pt x="446" y="252"/>
                    <a:pt x="446" y="249"/>
                    <a:pt x="446" y="249"/>
                  </a:cubicBezTo>
                  <a:cubicBezTo>
                    <a:pt x="446" y="248"/>
                    <a:pt x="445" y="247"/>
                    <a:pt x="445" y="247"/>
                  </a:cubicBezTo>
                  <a:cubicBezTo>
                    <a:pt x="445" y="246"/>
                    <a:pt x="447" y="246"/>
                    <a:pt x="447" y="245"/>
                  </a:cubicBezTo>
                  <a:cubicBezTo>
                    <a:pt x="448" y="245"/>
                    <a:pt x="449" y="242"/>
                    <a:pt x="450" y="241"/>
                  </a:cubicBezTo>
                  <a:cubicBezTo>
                    <a:pt x="450" y="240"/>
                    <a:pt x="451" y="237"/>
                    <a:pt x="451" y="237"/>
                  </a:cubicBezTo>
                  <a:cubicBezTo>
                    <a:pt x="451" y="236"/>
                    <a:pt x="452" y="234"/>
                    <a:pt x="452" y="234"/>
                  </a:cubicBezTo>
                  <a:cubicBezTo>
                    <a:pt x="452" y="233"/>
                    <a:pt x="452" y="232"/>
                    <a:pt x="452" y="232"/>
                  </a:cubicBezTo>
                  <a:cubicBezTo>
                    <a:pt x="452" y="231"/>
                    <a:pt x="451" y="230"/>
                    <a:pt x="451" y="229"/>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3" name="Freeform 16">
              <a:extLst>
                <a:ext uri="{FF2B5EF4-FFF2-40B4-BE49-F238E27FC236}">
                  <a16:creationId xmlns:a16="http://schemas.microsoft.com/office/drawing/2014/main" id="{D69C8791-6AAD-0488-4C5F-FE361D0263C6}"/>
                </a:ext>
              </a:extLst>
            </p:cNvPr>
            <p:cNvSpPr>
              <a:spLocks/>
            </p:cNvSpPr>
            <p:nvPr/>
          </p:nvSpPr>
          <p:spPr bwMode="auto">
            <a:xfrm>
              <a:off x="7230200" y="3272944"/>
              <a:ext cx="1179673" cy="284179"/>
            </a:xfrm>
            <a:custGeom>
              <a:avLst/>
              <a:gdLst>
                <a:gd name="T0" fmla="*/ 211 w 298"/>
                <a:gd name="T1" fmla="*/ 62 h 72"/>
                <a:gd name="T2" fmla="*/ 216 w 298"/>
                <a:gd name="T3" fmla="*/ 58 h 72"/>
                <a:gd name="T4" fmla="*/ 217 w 298"/>
                <a:gd name="T5" fmla="*/ 54 h 72"/>
                <a:gd name="T6" fmla="*/ 226 w 298"/>
                <a:gd name="T7" fmla="*/ 48 h 72"/>
                <a:gd name="T8" fmla="*/ 240 w 298"/>
                <a:gd name="T9" fmla="*/ 44 h 72"/>
                <a:gd name="T10" fmla="*/ 243 w 298"/>
                <a:gd name="T11" fmla="*/ 41 h 72"/>
                <a:gd name="T12" fmla="*/ 248 w 298"/>
                <a:gd name="T13" fmla="*/ 38 h 72"/>
                <a:gd name="T14" fmla="*/ 254 w 298"/>
                <a:gd name="T15" fmla="*/ 37 h 72"/>
                <a:gd name="T16" fmla="*/ 257 w 298"/>
                <a:gd name="T17" fmla="*/ 31 h 72"/>
                <a:gd name="T18" fmla="*/ 263 w 298"/>
                <a:gd name="T19" fmla="*/ 27 h 72"/>
                <a:gd name="T20" fmla="*/ 265 w 298"/>
                <a:gd name="T21" fmla="*/ 30 h 72"/>
                <a:gd name="T22" fmla="*/ 272 w 298"/>
                <a:gd name="T23" fmla="*/ 26 h 72"/>
                <a:gd name="T24" fmla="*/ 279 w 298"/>
                <a:gd name="T25" fmla="*/ 22 h 72"/>
                <a:gd name="T26" fmla="*/ 286 w 298"/>
                <a:gd name="T27" fmla="*/ 23 h 72"/>
                <a:gd name="T28" fmla="*/ 293 w 298"/>
                <a:gd name="T29" fmla="*/ 14 h 72"/>
                <a:gd name="T30" fmla="*/ 296 w 298"/>
                <a:gd name="T31" fmla="*/ 11 h 72"/>
                <a:gd name="T32" fmla="*/ 298 w 298"/>
                <a:gd name="T33" fmla="*/ 4 h 72"/>
                <a:gd name="T34" fmla="*/ 214 w 298"/>
                <a:gd name="T35" fmla="*/ 3 h 72"/>
                <a:gd name="T36" fmla="*/ 104 w 298"/>
                <a:gd name="T37" fmla="*/ 2 h 72"/>
                <a:gd name="T38" fmla="*/ 77 w 298"/>
                <a:gd name="T39" fmla="*/ 0 h 72"/>
                <a:gd name="T40" fmla="*/ 30 w 298"/>
                <a:gd name="T41" fmla="*/ 8 h 72"/>
                <a:gd name="T42" fmla="*/ 28 w 298"/>
                <a:gd name="T43" fmla="*/ 8 h 72"/>
                <a:gd name="T44" fmla="*/ 28 w 298"/>
                <a:gd name="T45" fmla="*/ 5 h 72"/>
                <a:gd name="T46" fmla="*/ 26 w 298"/>
                <a:gd name="T47" fmla="*/ 6 h 72"/>
                <a:gd name="T48" fmla="*/ 25 w 298"/>
                <a:gd name="T49" fmla="*/ 14 h 72"/>
                <a:gd name="T50" fmla="*/ 25 w 298"/>
                <a:gd name="T51" fmla="*/ 17 h 72"/>
                <a:gd name="T52" fmla="*/ 22 w 298"/>
                <a:gd name="T53" fmla="*/ 18 h 72"/>
                <a:gd name="T54" fmla="*/ 23 w 298"/>
                <a:gd name="T55" fmla="*/ 20 h 72"/>
                <a:gd name="T56" fmla="*/ 22 w 298"/>
                <a:gd name="T57" fmla="*/ 25 h 72"/>
                <a:gd name="T58" fmla="*/ 21 w 298"/>
                <a:gd name="T59" fmla="*/ 27 h 72"/>
                <a:gd name="T60" fmla="*/ 20 w 298"/>
                <a:gd name="T61" fmla="*/ 29 h 72"/>
                <a:gd name="T62" fmla="*/ 21 w 298"/>
                <a:gd name="T63" fmla="*/ 34 h 72"/>
                <a:gd name="T64" fmla="*/ 19 w 298"/>
                <a:gd name="T65" fmla="*/ 36 h 72"/>
                <a:gd name="T66" fmla="*/ 17 w 298"/>
                <a:gd name="T67" fmla="*/ 38 h 72"/>
                <a:gd name="T68" fmla="*/ 14 w 298"/>
                <a:gd name="T69" fmla="*/ 40 h 72"/>
                <a:gd name="T70" fmla="*/ 13 w 298"/>
                <a:gd name="T71" fmla="*/ 43 h 72"/>
                <a:gd name="T72" fmla="*/ 14 w 298"/>
                <a:gd name="T73" fmla="*/ 46 h 72"/>
                <a:gd name="T74" fmla="*/ 13 w 298"/>
                <a:gd name="T75" fmla="*/ 49 h 72"/>
                <a:gd name="T76" fmla="*/ 9 w 298"/>
                <a:gd name="T77" fmla="*/ 49 h 72"/>
                <a:gd name="T78" fmla="*/ 8 w 298"/>
                <a:gd name="T79" fmla="*/ 54 h 72"/>
                <a:gd name="T80" fmla="*/ 8 w 298"/>
                <a:gd name="T81" fmla="*/ 51 h 72"/>
                <a:gd name="T82" fmla="*/ 6 w 298"/>
                <a:gd name="T83" fmla="*/ 55 h 72"/>
                <a:gd name="T84" fmla="*/ 8 w 298"/>
                <a:gd name="T85" fmla="*/ 56 h 72"/>
                <a:gd name="T86" fmla="*/ 6 w 298"/>
                <a:gd name="T87" fmla="*/ 59 h 72"/>
                <a:gd name="T88" fmla="*/ 6 w 298"/>
                <a:gd name="T89" fmla="*/ 62 h 72"/>
                <a:gd name="T90" fmla="*/ 7 w 298"/>
                <a:gd name="T91" fmla="*/ 64 h 72"/>
                <a:gd name="T92" fmla="*/ 5 w 298"/>
                <a:gd name="T93" fmla="*/ 66 h 72"/>
                <a:gd name="T94" fmla="*/ 0 w 298"/>
                <a:gd name="T95" fmla="*/ 72 h 72"/>
                <a:gd name="T96" fmla="*/ 207 w 298"/>
                <a:gd name="T97"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8" h="72">
                  <a:moveTo>
                    <a:pt x="207" y="62"/>
                  </a:moveTo>
                  <a:cubicBezTo>
                    <a:pt x="208" y="61"/>
                    <a:pt x="209" y="60"/>
                    <a:pt x="210" y="60"/>
                  </a:cubicBezTo>
                  <a:cubicBezTo>
                    <a:pt x="210" y="60"/>
                    <a:pt x="211" y="62"/>
                    <a:pt x="211" y="62"/>
                  </a:cubicBezTo>
                  <a:cubicBezTo>
                    <a:pt x="211" y="62"/>
                    <a:pt x="213" y="61"/>
                    <a:pt x="213" y="61"/>
                  </a:cubicBezTo>
                  <a:cubicBezTo>
                    <a:pt x="214" y="61"/>
                    <a:pt x="215" y="60"/>
                    <a:pt x="216" y="60"/>
                  </a:cubicBezTo>
                  <a:cubicBezTo>
                    <a:pt x="216" y="60"/>
                    <a:pt x="217" y="59"/>
                    <a:pt x="216" y="58"/>
                  </a:cubicBezTo>
                  <a:cubicBezTo>
                    <a:pt x="216" y="58"/>
                    <a:pt x="216" y="57"/>
                    <a:pt x="216" y="57"/>
                  </a:cubicBezTo>
                  <a:cubicBezTo>
                    <a:pt x="216" y="57"/>
                    <a:pt x="217" y="56"/>
                    <a:pt x="217" y="56"/>
                  </a:cubicBezTo>
                  <a:cubicBezTo>
                    <a:pt x="217" y="55"/>
                    <a:pt x="217" y="54"/>
                    <a:pt x="217" y="54"/>
                  </a:cubicBezTo>
                  <a:cubicBezTo>
                    <a:pt x="217" y="54"/>
                    <a:pt x="220" y="51"/>
                    <a:pt x="220" y="51"/>
                  </a:cubicBezTo>
                  <a:cubicBezTo>
                    <a:pt x="220" y="51"/>
                    <a:pt x="224" y="48"/>
                    <a:pt x="224" y="48"/>
                  </a:cubicBezTo>
                  <a:cubicBezTo>
                    <a:pt x="224" y="48"/>
                    <a:pt x="226" y="48"/>
                    <a:pt x="226" y="48"/>
                  </a:cubicBezTo>
                  <a:cubicBezTo>
                    <a:pt x="235" y="48"/>
                    <a:pt x="235" y="48"/>
                    <a:pt x="235" y="48"/>
                  </a:cubicBezTo>
                  <a:cubicBezTo>
                    <a:pt x="235" y="48"/>
                    <a:pt x="238" y="45"/>
                    <a:pt x="238" y="45"/>
                  </a:cubicBezTo>
                  <a:cubicBezTo>
                    <a:pt x="239" y="44"/>
                    <a:pt x="240" y="44"/>
                    <a:pt x="240" y="44"/>
                  </a:cubicBezTo>
                  <a:cubicBezTo>
                    <a:pt x="240" y="43"/>
                    <a:pt x="242" y="43"/>
                    <a:pt x="242" y="43"/>
                  </a:cubicBezTo>
                  <a:cubicBezTo>
                    <a:pt x="242" y="43"/>
                    <a:pt x="243" y="43"/>
                    <a:pt x="243" y="42"/>
                  </a:cubicBezTo>
                  <a:cubicBezTo>
                    <a:pt x="243" y="42"/>
                    <a:pt x="243" y="41"/>
                    <a:pt x="243" y="41"/>
                  </a:cubicBezTo>
                  <a:cubicBezTo>
                    <a:pt x="244" y="41"/>
                    <a:pt x="245" y="41"/>
                    <a:pt x="245" y="41"/>
                  </a:cubicBezTo>
                  <a:cubicBezTo>
                    <a:pt x="245" y="40"/>
                    <a:pt x="246" y="40"/>
                    <a:pt x="247" y="39"/>
                  </a:cubicBezTo>
                  <a:cubicBezTo>
                    <a:pt x="247" y="39"/>
                    <a:pt x="247" y="39"/>
                    <a:pt x="248" y="38"/>
                  </a:cubicBezTo>
                  <a:cubicBezTo>
                    <a:pt x="248" y="38"/>
                    <a:pt x="250" y="38"/>
                    <a:pt x="250" y="38"/>
                  </a:cubicBezTo>
                  <a:cubicBezTo>
                    <a:pt x="251" y="38"/>
                    <a:pt x="252" y="38"/>
                    <a:pt x="252" y="38"/>
                  </a:cubicBezTo>
                  <a:cubicBezTo>
                    <a:pt x="253" y="38"/>
                    <a:pt x="253" y="37"/>
                    <a:pt x="254" y="37"/>
                  </a:cubicBezTo>
                  <a:cubicBezTo>
                    <a:pt x="254" y="36"/>
                    <a:pt x="255" y="35"/>
                    <a:pt x="255" y="34"/>
                  </a:cubicBezTo>
                  <a:cubicBezTo>
                    <a:pt x="255" y="34"/>
                    <a:pt x="255" y="33"/>
                    <a:pt x="255" y="32"/>
                  </a:cubicBezTo>
                  <a:cubicBezTo>
                    <a:pt x="256" y="32"/>
                    <a:pt x="257" y="31"/>
                    <a:pt x="257" y="31"/>
                  </a:cubicBezTo>
                  <a:cubicBezTo>
                    <a:pt x="258" y="32"/>
                    <a:pt x="259" y="32"/>
                    <a:pt x="259" y="32"/>
                  </a:cubicBezTo>
                  <a:cubicBezTo>
                    <a:pt x="260" y="29"/>
                    <a:pt x="260" y="29"/>
                    <a:pt x="260" y="29"/>
                  </a:cubicBezTo>
                  <a:cubicBezTo>
                    <a:pt x="260" y="29"/>
                    <a:pt x="262" y="27"/>
                    <a:pt x="263" y="27"/>
                  </a:cubicBezTo>
                  <a:cubicBezTo>
                    <a:pt x="263" y="27"/>
                    <a:pt x="264" y="26"/>
                    <a:pt x="265" y="26"/>
                  </a:cubicBezTo>
                  <a:cubicBezTo>
                    <a:pt x="265" y="26"/>
                    <a:pt x="266" y="28"/>
                    <a:pt x="266" y="28"/>
                  </a:cubicBezTo>
                  <a:cubicBezTo>
                    <a:pt x="266" y="28"/>
                    <a:pt x="265" y="29"/>
                    <a:pt x="265" y="30"/>
                  </a:cubicBezTo>
                  <a:cubicBezTo>
                    <a:pt x="265" y="30"/>
                    <a:pt x="267" y="31"/>
                    <a:pt x="268" y="31"/>
                  </a:cubicBezTo>
                  <a:cubicBezTo>
                    <a:pt x="269" y="30"/>
                    <a:pt x="270" y="30"/>
                    <a:pt x="271" y="29"/>
                  </a:cubicBezTo>
                  <a:cubicBezTo>
                    <a:pt x="271" y="28"/>
                    <a:pt x="271" y="27"/>
                    <a:pt x="272" y="26"/>
                  </a:cubicBezTo>
                  <a:cubicBezTo>
                    <a:pt x="273" y="25"/>
                    <a:pt x="273" y="24"/>
                    <a:pt x="274" y="24"/>
                  </a:cubicBezTo>
                  <a:cubicBezTo>
                    <a:pt x="276" y="23"/>
                    <a:pt x="277" y="24"/>
                    <a:pt x="278" y="23"/>
                  </a:cubicBezTo>
                  <a:cubicBezTo>
                    <a:pt x="278" y="23"/>
                    <a:pt x="279" y="23"/>
                    <a:pt x="279" y="22"/>
                  </a:cubicBezTo>
                  <a:cubicBezTo>
                    <a:pt x="280" y="22"/>
                    <a:pt x="280" y="23"/>
                    <a:pt x="281" y="23"/>
                  </a:cubicBezTo>
                  <a:cubicBezTo>
                    <a:pt x="282" y="24"/>
                    <a:pt x="283" y="25"/>
                    <a:pt x="284" y="25"/>
                  </a:cubicBezTo>
                  <a:cubicBezTo>
                    <a:pt x="284" y="24"/>
                    <a:pt x="285" y="24"/>
                    <a:pt x="286" y="23"/>
                  </a:cubicBezTo>
                  <a:cubicBezTo>
                    <a:pt x="286" y="23"/>
                    <a:pt x="288" y="18"/>
                    <a:pt x="289" y="17"/>
                  </a:cubicBezTo>
                  <a:cubicBezTo>
                    <a:pt x="290" y="16"/>
                    <a:pt x="291" y="15"/>
                    <a:pt x="292" y="15"/>
                  </a:cubicBezTo>
                  <a:cubicBezTo>
                    <a:pt x="292" y="14"/>
                    <a:pt x="293" y="13"/>
                    <a:pt x="293" y="14"/>
                  </a:cubicBezTo>
                  <a:cubicBezTo>
                    <a:pt x="294" y="14"/>
                    <a:pt x="296" y="14"/>
                    <a:pt x="296" y="15"/>
                  </a:cubicBezTo>
                  <a:cubicBezTo>
                    <a:pt x="297" y="15"/>
                    <a:pt x="296" y="13"/>
                    <a:pt x="296" y="13"/>
                  </a:cubicBezTo>
                  <a:cubicBezTo>
                    <a:pt x="296" y="12"/>
                    <a:pt x="295" y="12"/>
                    <a:pt x="296" y="11"/>
                  </a:cubicBezTo>
                  <a:cubicBezTo>
                    <a:pt x="296" y="10"/>
                    <a:pt x="297" y="10"/>
                    <a:pt x="297" y="9"/>
                  </a:cubicBezTo>
                  <a:cubicBezTo>
                    <a:pt x="297" y="9"/>
                    <a:pt x="296" y="7"/>
                    <a:pt x="296" y="7"/>
                  </a:cubicBezTo>
                  <a:cubicBezTo>
                    <a:pt x="296" y="6"/>
                    <a:pt x="298" y="4"/>
                    <a:pt x="298" y="4"/>
                  </a:cubicBezTo>
                  <a:cubicBezTo>
                    <a:pt x="298" y="3"/>
                    <a:pt x="298" y="3"/>
                    <a:pt x="298" y="3"/>
                  </a:cubicBezTo>
                  <a:cubicBezTo>
                    <a:pt x="260" y="3"/>
                    <a:pt x="260" y="3"/>
                    <a:pt x="260" y="3"/>
                  </a:cubicBezTo>
                  <a:cubicBezTo>
                    <a:pt x="214" y="3"/>
                    <a:pt x="214" y="3"/>
                    <a:pt x="214" y="3"/>
                  </a:cubicBezTo>
                  <a:cubicBezTo>
                    <a:pt x="172" y="3"/>
                    <a:pt x="172" y="3"/>
                    <a:pt x="172" y="3"/>
                  </a:cubicBezTo>
                  <a:cubicBezTo>
                    <a:pt x="127" y="1"/>
                    <a:pt x="127" y="1"/>
                    <a:pt x="127" y="1"/>
                  </a:cubicBezTo>
                  <a:cubicBezTo>
                    <a:pt x="104" y="2"/>
                    <a:pt x="104" y="2"/>
                    <a:pt x="104" y="2"/>
                  </a:cubicBezTo>
                  <a:cubicBezTo>
                    <a:pt x="85" y="2"/>
                    <a:pt x="85" y="2"/>
                    <a:pt x="85" y="2"/>
                  </a:cubicBezTo>
                  <a:cubicBezTo>
                    <a:pt x="84" y="0"/>
                    <a:pt x="84" y="0"/>
                    <a:pt x="84" y="0"/>
                  </a:cubicBezTo>
                  <a:cubicBezTo>
                    <a:pt x="77" y="0"/>
                    <a:pt x="77" y="0"/>
                    <a:pt x="77" y="0"/>
                  </a:cubicBezTo>
                  <a:cubicBezTo>
                    <a:pt x="78" y="3"/>
                    <a:pt x="78" y="3"/>
                    <a:pt x="78" y="3"/>
                  </a:cubicBezTo>
                  <a:cubicBezTo>
                    <a:pt x="77" y="8"/>
                    <a:pt x="77" y="8"/>
                    <a:pt x="77" y="8"/>
                  </a:cubicBezTo>
                  <a:cubicBezTo>
                    <a:pt x="30" y="8"/>
                    <a:pt x="30" y="8"/>
                    <a:pt x="30" y="8"/>
                  </a:cubicBezTo>
                  <a:cubicBezTo>
                    <a:pt x="30" y="8"/>
                    <a:pt x="30" y="9"/>
                    <a:pt x="29" y="9"/>
                  </a:cubicBezTo>
                  <a:cubicBezTo>
                    <a:pt x="29" y="9"/>
                    <a:pt x="29" y="10"/>
                    <a:pt x="28" y="9"/>
                  </a:cubicBezTo>
                  <a:cubicBezTo>
                    <a:pt x="28" y="9"/>
                    <a:pt x="28" y="9"/>
                    <a:pt x="28" y="8"/>
                  </a:cubicBezTo>
                  <a:cubicBezTo>
                    <a:pt x="28" y="8"/>
                    <a:pt x="27" y="8"/>
                    <a:pt x="27" y="8"/>
                  </a:cubicBezTo>
                  <a:cubicBezTo>
                    <a:pt x="27" y="8"/>
                    <a:pt x="28" y="7"/>
                    <a:pt x="28" y="7"/>
                  </a:cubicBezTo>
                  <a:cubicBezTo>
                    <a:pt x="28" y="6"/>
                    <a:pt x="28" y="5"/>
                    <a:pt x="28" y="5"/>
                  </a:cubicBezTo>
                  <a:cubicBezTo>
                    <a:pt x="28" y="4"/>
                    <a:pt x="27" y="4"/>
                    <a:pt x="26" y="4"/>
                  </a:cubicBezTo>
                  <a:cubicBezTo>
                    <a:pt x="26" y="5"/>
                    <a:pt x="26" y="5"/>
                    <a:pt x="26" y="5"/>
                  </a:cubicBezTo>
                  <a:cubicBezTo>
                    <a:pt x="26" y="6"/>
                    <a:pt x="26" y="6"/>
                    <a:pt x="26" y="6"/>
                  </a:cubicBezTo>
                  <a:cubicBezTo>
                    <a:pt x="25" y="7"/>
                    <a:pt x="26" y="8"/>
                    <a:pt x="26" y="8"/>
                  </a:cubicBezTo>
                  <a:cubicBezTo>
                    <a:pt x="27" y="10"/>
                    <a:pt x="27" y="12"/>
                    <a:pt x="27" y="14"/>
                  </a:cubicBezTo>
                  <a:cubicBezTo>
                    <a:pt x="26" y="14"/>
                    <a:pt x="26" y="14"/>
                    <a:pt x="25" y="14"/>
                  </a:cubicBezTo>
                  <a:cubicBezTo>
                    <a:pt x="24" y="14"/>
                    <a:pt x="24" y="14"/>
                    <a:pt x="24" y="14"/>
                  </a:cubicBezTo>
                  <a:cubicBezTo>
                    <a:pt x="24" y="14"/>
                    <a:pt x="24" y="14"/>
                    <a:pt x="24" y="15"/>
                  </a:cubicBezTo>
                  <a:cubicBezTo>
                    <a:pt x="24" y="16"/>
                    <a:pt x="24" y="16"/>
                    <a:pt x="25" y="17"/>
                  </a:cubicBezTo>
                  <a:cubicBezTo>
                    <a:pt x="25" y="17"/>
                    <a:pt x="26" y="18"/>
                    <a:pt x="26" y="18"/>
                  </a:cubicBezTo>
                  <a:cubicBezTo>
                    <a:pt x="26" y="18"/>
                    <a:pt x="25" y="18"/>
                    <a:pt x="25" y="18"/>
                  </a:cubicBezTo>
                  <a:cubicBezTo>
                    <a:pt x="24" y="18"/>
                    <a:pt x="23" y="18"/>
                    <a:pt x="22" y="18"/>
                  </a:cubicBezTo>
                  <a:cubicBezTo>
                    <a:pt x="22" y="18"/>
                    <a:pt x="21" y="18"/>
                    <a:pt x="21" y="18"/>
                  </a:cubicBezTo>
                  <a:cubicBezTo>
                    <a:pt x="21" y="18"/>
                    <a:pt x="21" y="19"/>
                    <a:pt x="22" y="19"/>
                  </a:cubicBezTo>
                  <a:cubicBezTo>
                    <a:pt x="22" y="20"/>
                    <a:pt x="23" y="20"/>
                    <a:pt x="23" y="20"/>
                  </a:cubicBezTo>
                  <a:cubicBezTo>
                    <a:pt x="23" y="21"/>
                    <a:pt x="24" y="21"/>
                    <a:pt x="24" y="22"/>
                  </a:cubicBezTo>
                  <a:cubicBezTo>
                    <a:pt x="24" y="22"/>
                    <a:pt x="24" y="23"/>
                    <a:pt x="24" y="24"/>
                  </a:cubicBezTo>
                  <a:cubicBezTo>
                    <a:pt x="23" y="24"/>
                    <a:pt x="23" y="24"/>
                    <a:pt x="22" y="25"/>
                  </a:cubicBezTo>
                  <a:cubicBezTo>
                    <a:pt x="22" y="25"/>
                    <a:pt x="22" y="26"/>
                    <a:pt x="22" y="26"/>
                  </a:cubicBezTo>
                  <a:cubicBezTo>
                    <a:pt x="22" y="26"/>
                    <a:pt x="21" y="26"/>
                    <a:pt x="21" y="26"/>
                  </a:cubicBezTo>
                  <a:cubicBezTo>
                    <a:pt x="21" y="26"/>
                    <a:pt x="21" y="26"/>
                    <a:pt x="21" y="27"/>
                  </a:cubicBezTo>
                  <a:cubicBezTo>
                    <a:pt x="21" y="27"/>
                    <a:pt x="21" y="28"/>
                    <a:pt x="20" y="28"/>
                  </a:cubicBezTo>
                  <a:cubicBezTo>
                    <a:pt x="20" y="28"/>
                    <a:pt x="20" y="28"/>
                    <a:pt x="20" y="28"/>
                  </a:cubicBezTo>
                  <a:cubicBezTo>
                    <a:pt x="20" y="28"/>
                    <a:pt x="20" y="29"/>
                    <a:pt x="20" y="29"/>
                  </a:cubicBezTo>
                  <a:cubicBezTo>
                    <a:pt x="20" y="29"/>
                    <a:pt x="22" y="32"/>
                    <a:pt x="22" y="33"/>
                  </a:cubicBezTo>
                  <a:cubicBezTo>
                    <a:pt x="22" y="33"/>
                    <a:pt x="23" y="33"/>
                    <a:pt x="22" y="34"/>
                  </a:cubicBezTo>
                  <a:cubicBezTo>
                    <a:pt x="22" y="34"/>
                    <a:pt x="22" y="34"/>
                    <a:pt x="21" y="34"/>
                  </a:cubicBezTo>
                  <a:cubicBezTo>
                    <a:pt x="21" y="33"/>
                    <a:pt x="21" y="33"/>
                    <a:pt x="20" y="33"/>
                  </a:cubicBezTo>
                  <a:cubicBezTo>
                    <a:pt x="20" y="33"/>
                    <a:pt x="19" y="33"/>
                    <a:pt x="18" y="34"/>
                  </a:cubicBezTo>
                  <a:cubicBezTo>
                    <a:pt x="18" y="34"/>
                    <a:pt x="18" y="35"/>
                    <a:pt x="19" y="36"/>
                  </a:cubicBezTo>
                  <a:cubicBezTo>
                    <a:pt x="19" y="36"/>
                    <a:pt x="20" y="36"/>
                    <a:pt x="20" y="36"/>
                  </a:cubicBezTo>
                  <a:cubicBezTo>
                    <a:pt x="20" y="37"/>
                    <a:pt x="19" y="37"/>
                    <a:pt x="19" y="37"/>
                  </a:cubicBezTo>
                  <a:cubicBezTo>
                    <a:pt x="18" y="37"/>
                    <a:pt x="18" y="37"/>
                    <a:pt x="17" y="38"/>
                  </a:cubicBezTo>
                  <a:cubicBezTo>
                    <a:pt x="17" y="38"/>
                    <a:pt x="17" y="38"/>
                    <a:pt x="16" y="39"/>
                  </a:cubicBezTo>
                  <a:cubicBezTo>
                    <a:pt x="16" y="39"/>
                    <a:pt x="16" y="40"/>
                    <a:pt x="15" y="40"/>
                  </a:cubicBezTo>
                  <a:cubicBezTo>
                    <a:pt x="15" y="40"/>
                    <a:pt x="14" y="40"/>
                    <a:pt x="14" y="40"/>
                  </a:cubicBezTo>
                  <a:cubicBezTo>
                    <a:pt x="13" y="40"/>
                    <a:pt x="13" y="39"/>
                    <a:pt x="12" y="40"/>
                  </a:cubicBezTo>
                  <a:cubicBezTo>
                    <a:pt x="12" y="41"/>
                    <a:pt x="12" y="42"/>
                    <a:pt x="12" y="42"/>
                  </a:cubicBezTo>
                  <a:cubicBezTo>
                    <a:pt x="13" y="43"/>
                    <a:pt x="13" y="43"/>
                    <a:pt x="13" y="43"/>
                  </a:cubicBezTo>
                  <a:cubicBezTo>
                    <a:pt x="14" y="43"/>
                    <a:pt x="14" y="43"/>
                    <a:pt x="15" y="43"/>
                  </a:cubicBezTo>
                  <a:cubicBezTo>
                    <a:pt x="15" y="44"/>
                    <a:pt x="15" y="44"/>
                    <a:pt x="15" y="45"/>
                  </a:cubicBezTo>
                  <a:cubicBezTo>
                    <a:pt x="15" y="45"/>
                    <a:pt x="14" y="45"/>
                    <a:pt x="14" y="46"/>
                  </a:cubicBezTo>
                  <a:cubicBezTo>
                    <a:pt x="13" y="46"/>
                    <a:pt x="12" y="46"/>
                    <a:pt x="12" y="47"/>
                  </a:cubicBezTo>
                  <a:cubicBezTo>
                    <a:pt x="12" y="48"/>
                    <a:pt x="13" y="48"/>
                    <a:pt x="13" y="48"/>
                  </a:cubicBezTo>
                  <a:cubicBezTo>
                    <a:pt x="13" y="48"/>
                    <a:pt x="13" y="49"/>
                    <a:pt x="13" y="49"/>
                  </a:cubicBezTo>
                  <a:cubicBezTo>
                    <a:pt x="13" y="49"/>
                    <a:pt x="12" y="49"/>
                    <a:pt x="12" y="49"/>
                  </a:cubicBezTo>
                  <a:cubicBezTo>
                    <a:pt x="12" y="49"/>
                    <a:pt x="11" y="48"/>
                    <a:pt x="11" y="48"/>
                  </a:cubicBezTo>
                  <a:cubicBezTo>
                    <a:pt x="10" y="48"/>
                    <a:pt x="10" y="48"/>
                    <a:pt x="9" y="49"/>
                  </a:cubicBezTo>
                  <a:cubicBezTo>
                    <a:pt x="9" y="49"/>
                    <a:pt x="9" y="50"/>
                    <a:pt x="9" y="51"/>
                  </a:cubicBezTo>
                  <a:cubicBezTo>
                    <a:pt x="10" y="52"/>
                    <a:pt x="10" y="52"/>
                    <a:pt x="9" y="53"/>
                  </a:cubicBezTo>
                  <a:cubicBezTo>
                    <a:pt x="9" y="53"/>
                    <a:pt x="8" y="54"/>
                    <a:pt x="8" y="54"/>
                  </a:cubicBezTo>
                  <a:cubicBezTo>
                    <a:pt x="8" y="54"/>
                    <a:pt x="8" y="54"/>
                    <a:pt x="8" y="53"/>
                  </a:cubicBezTo>
                  <a:cubicBezTo>
                    <a:pt x="8" y="53"/>
                    <a:pt x="8" y="53"/>
                    <a:pt x="8" y="52"/>
                  </a:cubicBezTo>
                  <a:cubicBezTo>
                    <a:pt x="8" y="52"/>
                    <a:pt x="8" y="52"/>
                    <a:pt x="8" y="51"/>
                  </a:cubicBezTo>
                  <a:cubicBezTo>
                    <a:pt x="6" y="51"/>
                    <a:pt x="6" y="52"/>
                    <a:pt x="6" y="53"/>
                  </a:cubicBezTo>
                  <a:cubicBezTo>
                    <a:pt x="5" y="54"/>
                    <a:pt x="4" y="54"/>
                    <a:pt x="4" y="55"/>
                  </a:cubicBezTo>
                  <a:cubicBezTo>
                    <a:pt x="5" y="55"/>
                    <a:pt x="5" y="55"/>
                    <a:pt x="6" y="55"/>
                  </a:cubicBezTo>
                  <a:cubicBezTo>
                    <a:pt x="6" y="55"/>
                    <a:pt x="6" y="54"/>
                    <a:pt x="7" y="54"/>
                  </a:cubicBezTo>
                  <a:cubicBezTo>
                    <a:pt x="7" y="55"/>
                    <a:pt x="7" y="55"/>
                    <a:pt x="7" y="55"/>
                  </a:cubicBezTo>
                  <a:cubicBezTo>
                    <a:pt x="7" y="55"/>
                    <a:pt x="7" y="55"/>
                    <a:pt x="8" y="56"/>
                  </a:cubicBezTo>
                  <a:cubicBezTo>
                    <a:pt x="8" y="56"/>
                    <a:pt x="7" y="57"/>
                    <a:pt x="7" y="57"/>
                  </a:cubicBezTo>
                  <a:cubicBezTo>
                    <a:pt x="7" y="57"/>
                    <a:pt x="7" y="58"/>
                    <a:pt x="7" y="58"/>
                  </a:cubicBezTo>
                  <a:cubicBezTo>
                    <a:pt x="7" y="58"/>
                    <a:pt x="6" y="59"/>
                    <a:pt x="6" y="59"/>
                  </a:cubicBezTo>
                  <a:cubicBezTo>
                    <a:pt x="6" y="59"/>
                    <a:pt x="5" y="59"/>
                    <a:pt x="5" y="59"/>
                  </a:cubicBezTo>
                  <a:cubicBezTo>
                    <a:pt x="5" y="60"/>
                    <a:pt x="5" y="60"/>
                    <a:pt x="5" y="60"/>
                  </a:cubicBezTo>
                  <a:cubicBezTo>
                    <a:pt x="5" y="61"/>
                    <a:pt x="6" y="61"/>
                    <a:pt x="6" y="62"/>
                  </a:cubicBezTo>
                  <a:cubicBezTo>
                    <a:pt x="7" y="62"/>
                    <a:pt x="7" y="62"/>
                    <a:pt x="7" y="62"/>
                  </a:cubicBezTo>
                  <a:cubicBezTo>
                    <a:pt x="7" y="63"/>
                    <a:pt x="7" y="63"/>
                    <a:pt x="7" y="63"/>
                  </a:cubicBezTo>
                  <a:cubicBezTo>
                    <a:pt x="7" y="64"/>
                    <a:pt x="7" y="64"/>
                    <a:pt x="7" y="64"/>
                  </a:cubicBezTo>
                  <a:cubicBezTo>
                    <a:pt x="7" y="64"/>
                    <a:pt x="7" y="65"/>
                    <a:pt x="7" y="65"/>
                  </a:cubicBezTo>
                  <a:cubicBezTo>
                    <a:pt x="7" y="65"/>
                    <a:pt x="7" y="66"/>
                    <a:pt x="7" y="66"/>
                  </a:cubicBezTo>
                  <a:cubicBezTo>
                    <a:pt x="6" y="66"/>
                    <a:pt x="5" y="66"/>
                    <a:pt x="5" y="66"/>
                  </a:cubicBezTo>
                  <a:cubicBezTo>
                    <a:pt x="4" y="67"/>
                    <a:pt x="4" y="69"/>
                    <a:pt x="4" y="69"/>
                  </a:cubicBezTo>
                  <a:cubicBezTo>
                    <a:pt x="3" y="70"/>
                    <a:pt x="1" y="69"/>
                    <a:pt x="0" y="70"/>
                  </a:cubicBezTo>
                  <a:cubicBezTo>
                    <a:pt x="0" y="71"/>
                    <a:pt x="0" y="71"/>
                    <a:pt x="0" y="72"/>
                  </a:cubicBezTo>
                  <a:cubicBezTo>
                    <a:pt x="206" y="72"/>
                    <a:pt x="206" y="72"/>
                    <a:pt x="206" y="72"/>
                  </a:cubicBezTo>
                  <a:cubicBezTo>
                    <a:pt x="206" y="72"/>
                    <a:pt x="207" y="65"/>
                    <a:pt x="207" y="65"/>
                  </a:cubicBezTo>
                  <a:cubicBezTo>
                    <a:pt x="207" y="64"/>
                    <a:pt x="207" y="62"/>
                    <a:pt x="207" y="62"/>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4" name="Freeform 17">
              <a:extLst>
                <a:ext uri="{FF2B5EF4-FFF2-40B4-BE49-F238E27FC236}">
                  <a16:creationId xmlns:a16="http://schemas.microsoft.com/office/drawing/2014/main" id="{7BD49CF8-7AA0-B26D-12D7-D6D75850A33F}"/>
                </a:ext>
              </a:extLst>
            </p:cNvPr>
            <p:cNvSpPr>
              <a:spLocks/>
            </p:cNvSpPr>
            <p:nvPr/>
          </p:nvSpPr>
          <p:spPr bwMode="auto">
            <a:xfrm>
              <a:off x="5348340" y="1576128"/>
              <a:ext cx="1040888" cy="660882"/>
            </a:xfrm>
            <a:custGeom>
              <a:avLst/>
              <a:gdLst>
                <a:gd name="T0" fmla="*/ 193 w 263"/>
                <a:gd name="T1" fmla="*/ 147 h 167"/>
                <a:gd name="T2" fmla="*/ 203 w 263"/>
                <a:gd name="T3" fmla="*/ 150 h 167"/>
                <a:gd name="T4" fmla="*/ 207 w 263"/>
                <a:gd name="T5" fmla="*/ 154 h 167"/>
                <a:gd name="T6" fmla="*/ 212 w 263"/>
                <a:gd name="T7" fmla="*/ 153 h 167"/>
                <a:gd name="T8" fmla="*/ 214 w 263"/>
                <a:gd name="T9" fmla="*/ 149 h 167"/>
                <a:gd name="T10" fmla="*/ 219 w 263"/>
                <a:gd name="T11" fmla="*/ 151 h 167"/>
                <a:gd name="T12" fmla="*/ 222 w 263"/>
                <a:gd name="T13" fmla="*/ 151 h 167"/>
                <a:gd name="T14" fmla="*/ 227 w 263"/>
                <a:gd name="T15" fmla="*/ 150 h 167"/>
                <a:gd name="T16" fmla="*/ 229 w 263"/>
                <a:gd name="T17" fmla="*/ 149 h 167"/>
                <a:gd name="T18" fmla="*/ 232 w 263"/>
                <a:gd name="T19" fmla="*/ 150 h 167"/>
                <a:gd name="T20" fmla="*/ 235 w 263"/>
                <a:gd name="T21" fmla="*/ 150 h 167"/>
                <a:gd name="T22" fmla="*/ 236 w 263"/>
                <a:gd name="T23" fmla="*/ 152 h 167"/>
                <a:gd name="T24" fmla="*/ 239 w 263"/>
                <a:gd name="T25" fmla="*/ 154 h 167"/>
                <a:gd name="T26" fmla="*/ 244 w 263"/>
                <a:gd name="T27" fmla="*/ 155 h 167"/>
                <a:gd name="T28" fmla="*/ 244 w 263"/>
                <a:gd name="T29" fmla="*/ 156 h 167"/>
                <a:gd name="T30" fmla="*/ 249 w 263"/>
                <a:gd name="T31" fmla="*/ 156 h 167"/>
                <a:gd name="T32" fmla="*/ 251 w 263"/>
                <a:gd name="T33" fmla="*/ 159 h 167"/>
                <a:gd name="T34" fmla="*/ 254 w 263"/>
                <a:gd name="T35" fmla="*/ 159 h 167"/>
                <a:gd name="T36" fmla="*/ 253 w 263"/>
                <a:gd name="T37" fmla="*/ 162 h 167"/>
                <a:gd name="T38" fmla="*/ 257 w 263"/>
                <a:gd name="T39" fmla="*/ 166 h 167"/>
                <a:gd name="T40" fmla="*/ 258 w 263"/>
                <a:gd name="T41" fmla="*/ 166 h 167"/>
                <a:gd name="T42" fmla="*/ 261 w 263"/>
                <a:gd name="T43" fmla="*/ 167 h 167"/>
                <a:gd name="T44" fmla="*/ 262 w 263"/>
                <a:gd name="T45" fmla="*/ 165 h 167"/>
                <a:gd name="T46" fmla="*/ 260 w 263"/>
                <a:gd name="T47" fmla="*/ 162 h 167"/>
                <a:gd name="T48" fmla="*/ 260 w 263"/>
                <a:gd name="T49" fmla="*/ 160 h 167"/>
                <a:gd name="T50" fmla="*/ 256 w 263"/>
                <a:gd name="T51" fmla="*/ 156 h 167"/>
                <a:gd name="T52" fmla="*/ 256 w 263"/>
                <a:gd name="T53" fmla="*/ 154 h 167"/>
                <a:gd name="T54" fmla="*/ 259 w 263"/>
                <a:gd name="T55" fmla="*/ 151 h 167"/>
                <a:gd name="T56" fmla="*/ 259 w 263"/>
                <a:gd name="T57" fmla="*/ 147 h 167"/>
                <a:gd name="T58" fmla="*/ 261 w 263"/>
                <a:gd name="T59" fmla="*/ 146 h 167"/>
                <a:gd name="T60" fmla="*/ 260 w 263"/>
                <a:gd name="T61" fmla="*/ 142 h 167"/>
                <a:gd name="T62" fmla="*/ 261 w 263"/>
                <a:gd name="T63" fmla="*/ 141 h 167"/>
                <a:gd name="T64" fmla="*/ 263 w 263"/>
                <a:gd name="T65" fmla="*/ 140 h 167"/>
                <a:gd name="T66" fmla="*/ 263 w 263"/>
                <a:gd name="T67" fmla="*/ 138 h 167"/>
                <a:gd name="T68" fmla="*/ 262 w 263"/>
                <a:gd name="T69" fmla="*/ 133 h 167"/>
                <a:gd name="T70" fmla="*/ 258 w 263"/>
                <a:gd name="T71" fmla="*/ 132 h 167"/>
                <a:gd name="T72" fmla="*/ 258 w 263"/>
                <a:gd name="T73" fmla="*/ 130 h 167"/>
                <a:gd name="T74" fmla="*/ 258 w 263"/>
                <a:gd name="T75" fmla="*/ 129 h 167"/>
                <a:gd name="T76" fmla="*/ 260 w 263"/>
                <a:gd name="T77" fmla="*/ 128 h 167"/>
                <a:gd name="T78" fmla="*/ 260 w 263"/>
                <a:gd name="T79" fmla="*/ 124 h 167"/>
                <a:gd name="T80" fmla="*/ 257 w 263"/>
                <a:gd name="T81" fmla="*/ 122 h 167"/>
                <a:gd name="T82" fmla="*/ 257 w 263"/>
                <a:gd name="T83" fmla="*/ 120 h 167"/>
                <a:gd name="T84" fmla="*/ 262 w 263"/>
                <a:gd name="T85" fmla="*/ 120 h 167"/>
                <a:gd name="T86" fmla="*/ 262 w 263"/>
                <a:gd name="T87" fmla="*/ 32 h 167"/>
                <a:gd name="T88" fmla="*/ 261 w 263"/>
                <a:gd name="T89" fmla="*/ 30 h 167"/>
                <a:gd name="T90" fmla="*/ 258 w 263"/>
                <a:gd name="T91" fmla="*/ 28 h 167"/>
                <a:gd name="T92" fmla="*/ 254 w 263"/>
                <a:gd name="T93" fmla="*/ 27 h 167"/>
                <a:gd name="T94" fmla="*/ 251 w 263"/>
                <a:gd name="T95" fmla="*/ 21 h 167"/>
                <a:gd name="T96" fmla="*/ 249 w 263"/>
                <a:gd name="T97" fmla="*/ 17 h 167"/>
                <a:gd name="T98" fmla="*/ 249 w 263"/>
                <a:gd name="T99" fmla="*/ 15 h 167"/>
                <a:gd name="T100" fmla="*/ 251 w 263"/>
                <a:gd name="T101" fmla="*/ 14 h 167"/>
                <a:gd name="T102" fmla="*/ 255 w 263"/>
                <a:gd name="T103" fmla="*/ 11 h 167"/>
                <a:gd name="T104" fmla="*/ 258 w 263"/>
                <a:gd name="T105" fmla="*/ 6 h 167"/>
                <a:gd name="T106" fmla="*/ 258 w 263"/>
                <a:gd name="T107" fmla="*/ 0 h 167"/>
                <a:gd name="T108" fmla="*/ 0 w 263"/>
                <a:gd name="T109" fmla="*/ 0 h 167"/>
                <a:gd name="T110" fmla="*/ 0 w 263"/>
                <a:gd name="T111" fmla="*/ 47 h 167"/>
                <a:gd name="T112" fmla="*/ 0 w 263"/>
                <a:gd name="T113" fmla="*/ 143 h 167"/>
                <a:gd name="T114" fmla="*/ 192 w 263"/>
                <a:gd name="T115" fmla="*/ 143 h 167"/>
                <a:gd name="T116" fmla="*/ 193 w 263"/>
                <a:gd name="T117" fmla="*/ 14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3" h="167">
                  <a:moveTo>
                    <a:pt x="193" y="147"/>
                  </a:moveTo>
                  <a:cubicBezTo>
                    <a:pt x="193" y="147"/>
                    <a:pt x="203" y="150"/>
                    <a:pt x="203" y="150"/>
                  </a:cubicBezTo>
                  <a:cubicBezTo>
                    <a:pt x="203" y="150"/>
                    <a:pt x="207" y="154"/>
                    <a:pt x="207" y="154"/>
                  </a:cubicBezTo>
                  <a:cubicBezTo>
                    <a:pt x="207" y="155"/>
                    <a:pt x="212" y="153"/>
                    <a:pt x="212" y="153"/>
                  </a:cubicBezTo>
                  <a:cubicBezTo>
                    <a:pt x="214" y="149"/>
                    <a:pt x="214" y="149"/>
                    <a:pt x="214" y="149"/>
                  </a:cubicBezTo>
                  <a:cubicBezTo>
                    <a:pt x="214" y="149"/>
                    <a:pt x="219" y="151"/>
                    <a:pt x="219" y="151"/>
                  </a:cubicBezTo>
                  <a:cubicBezTo>
                    <a:pt x="220" y="151"/>
                    <a:pt x="221" y="151"/>
                    <a:pt x="222" y="151"/>
                  </a:cubicBezTo>
                  <a:cubicBezTo>
                    <a:pt x="222" y="151"/>
                    <a:pt x="227" y="150"/>
                    <a:pt x="227" y="150"/>
                  </a:cubicBezTo>
                  <a:cubicBezTo>
                    <a:pt x="228" y="150"/>
                    <a:pt x="229" y="149"/>
                    <a:pt x="229" y="149"/>
                  </a:cubicBezTo>
                  <a:cubicBezTo>
                    <a:pt x="232" y="150"/>
                    <a:pt x="232" y="150"/>
                    <a:pt x="232" y="150"/>
                  </a:cubicBezTo>
                  <a:cubicBezTo>
                    <a:pt x="235" y="150"/>
                    <a:pt x="235" y="150"/>
                    <a:pt x="235" y="150"/>
                  </a:cubicBezTo>
                  <a:cubicBezTo>
                    <a:pt x="235" y="150"/>
                    <a:pt x="236" y="152"/>
                    <a:pt x="236" y="152"/>
                  </a:cubicBezTo>
                  <a:cubicBezTo>
                    <a:pt x="236" y="153"/>
                    <a:pt x="239" y="154"/>
                    <a:pt x="239" y="154"/>
                  </a:cubicBezTo>
                  <a:cubicBezTo>
                    <a:pt x="244" y="155"/>
                    <a:pt x="244" y="155"/>
                    <a:pt x="244" y="155"/>
                  </a:cubicBezTo>
                  <a:cubicBezTo>
                    <a:pt x="244" y="156"/>
                    <a:pt x="244" y="156"/>
                    <a:pt x="244" y="156"/>
                  </a:cubicBezTo>
                  <a:cubicBezTo>
                    <a:pt x="249" y="156"/>
                    <a:pt x="249" y="156"/>
                    <a:pt x="249" y="156"/>
                  </a:cubicBezTo>
                  <a:cubicBezTo>
                    <a:pt x="249" y="156"/>
                    <a:pt x="251" y="159"/>
                    <a:pt x="251" y="159"/>
                  </a:cubicBezTo>
                  <a:cubicBezTo>
                    <a:pt x="251" y="159"/>
                    <a:pt x="254" y="159"/>
                    <a:pt x="254" y="159"/>
                  </a:cubicBezTo>
                  <a:cubicBezTo>
                    <a:pt x="254" y="159"/>
                    <a:pt x="253" y="162"/>
                    <a:pt x="253" y="162"/>
                  </a:cubicBezTo>
                  <a:cubicBezTo>
                    <a:pt x="253" y="162"/>
                    <a:pt x="257" y="166"/>
                    <a:pt x="257" y="166"/>
                  </a:cubicBezTo>
                  <a:cubicBezTo>
                    <a:pt x="258" y="166"/>
                    <a:pt x="258" y="166"/>
                    <a:pt x="258" y="166"/>
                  </a:cubicBezTo>
                  <a:cubicBezTo>
                    <a:pt x="261" y="167"/>
                    <a:pt x="261" y="167"/>
                    <a:pt x="261" y="167"/>
                  </a:cubicBezTo>
                  <a:cubicBezTo>
                    <a:pt x="261" y="167"/>
                    <a:pt x="262" y="165"/>
                    <a:pt x="262" y="165"/>
                  </a:cubicBezTo>
                  <a:cubicBezTo>
                    <a:pt x="262" y="165"/>
                    <a:pt x="260" y="162"/>
                    <a:pt x="260" y="162"/>
                  </a:cubicBezTo>
                  <a:cubicBezTo>
                    <a:pt x="260" y="161"/>
                    <a:pt x="260" y="161"/>
                    <a:pt x="260" y="160"/>
                  </a:cubicBezTo>
                  <a:cubicBezTo>
                    <a:pt x="260" y="160"/>
                    <a:pt x="256" y="157"/>
                    <a:pt x="256" y="156"/>
                  </a:cubicBezTo>
                  <a:cubicBezTo>
                    <a:pt x="256" y="156"/>
                    <a:pt x="256" y="154"/>
                    <a:pt x="256" y="154"/>
                  </a:cubicBezTo>
                  <a:cubicBezTo>
                    <a:pt x="256" y="154"/>
                    <a:pt x="259" y="151"/>
                    <a:pt x="259" y="151"/>
                  </a:cubicBezTo>
                  <a:cubicBezTo>
                    <a:pt x="259" y="151"/>
                    <a:pt x="259" y="148"/>
                    <a:pt x="259" y="147"/>
                  </a:cubicBezTo>
                  <a:cubicBezTo>
                    <a:pt x="259" y="147"/>
                    <a:pt x="261" y="146"/>
                    <a:pt x="261" y="146"/>
                  </a:cubicBezTo>
                  <a:cubicBezTo>
                    <a:pt x="261" y="145"/>
                    <a:pt x="260" y="142"/>
                    <a:pt x="260" y="142"/>
                  </a:cubicBezTo>
                  <a:cubicBezTo>
                    <a:pt x="260" y="141"/>
                    <a:pt x="261" y="141"/>
                    <a:pt x="261" y="141"/>
                  </a:cubicBezTo>
                  <a:cubicBezTo>
                    <a:pt x="262" y="140"/>
                    <a:pt x="263" y="140"/>
                    <a:pt x="263" y="140"/>
                  </a:cubicBezTo>
                  <a:cubicBezTo>
                    <a:pt x="263" y="139"/>
                    <a:pt x="263" y="138"/>
                    <a:pt x="263" y="138"/>
                  </a:cubicBezTo>
                  <a:cubicBezTo>
                    <a:pt x="263" y="137"/>
                    <a:pt x="262" y="133"/>
                    <a:pt x="262" y="133"/>
                  </a:cubicBezTo>
                  <a:cubicBezTo>
                    <a:pt x="262" y="133"/>
                    <a:pt x="258" y="132"/>
                    <a:pt x="258" y="132"/>
                  </a:cubicBezTo>
                  <a:cubicBezTo>
                    <a:pt x="258" y="130"/>
                    <a:pt x="258" y="130"/>
                    <a:pt x="258" y="130"/>
                  </a:cubicBezTo>
                  <a:cubicBezTo>
                    <a:pt x="258" y="129"/>
                    <a:pt x="258" y="129"/>
                    <a:pt x="258" y="129"/>
                  </a:cubicBezTo>
                  <a:cubicBezTo>
                    <a:pt x="260" y="128"/>
                    <a:pt x="260" y="128"/>
                    <a:pt x="260" y="128"/>
                  </a:cubicBezTo>
                  <a:cubicBezTo>
                    <a:pt x="260" y="128"/>
                    <a:pt x="260" y="125"/>
                    <a:pt x="260" y="124"/>
                  </a:cubicBezTo>
                  <a:cubicBezTo>
                    <a:pt x="260" y="124"/>
                    <a:pt x="258" y="122"/>
                    <a:pt x="257" y="122"/>
                  </a:cubicBezTo>
                  <a:cubicBezTo>
                    <a:pt x="257" y="121"/>
                    <a:pt x="257" y="120"/>
                    <a:pt x="257" y="120"/>
                  </a:cubicBezTo>
                  <a:cubicBezTo>
                    <a:pt x="262" y="120"/>
                    <a:pt x="262" y="120"/>
                    <a:pt x="262" y="120"/>
                  </a:cubicBezTo>
                  <a:cubicBezTo>
                    <a:pt x="262" y="32"/>
                    <a:pt x="262" y="32"/>
                    <a:pt x="262" y="32"/>
                  </a:cubicBezTo>
                  <a:cubicBezTo>
                    <a:pt x="262" y="32"/>
                    <a:pt x="262" y="30"/>
                    <a:pt x="261" y="30"/>
                  </a:cubicBezTo>
                  <a:cubicBezTo>
                    <a:pt x="261" y="29"/>
                    <a:pt x="258" y="28"/>
                    <a:pt x="258" y="28"/>
                  </a:cubicBezTo>
                  <a:cubicBezTo>
                    <a:pt x="258" y="28"/>
                    <a:pt x="254" y="27"/>
                    <a:pt x="254" y="27"/>
                  </a:cubicBezTo>
                  <a:cubicBezTo>
                    <a:pt x="254" y="27"/>
                    <a:pt x="251" y="22"/>
                    <a:pt x="251" y="21"/>
                  </a:cubicBezTo>
                  <a:cubicBezTo>
                    <a:pt x="250" y="21"/>
                    <a:pt x="249" y="17"/>
                    <a:pt x="249" y="17"/>
                  </a:cubicBezTo>
                  <a:cubicBezTo>
                    <a:pt x="249" y="17"/>
                    <a:pt x="249" y="15"/>
                    <a:pt x="249" y="15"/>
                  </a:cubicBezTo>
                  <a:cubicBezTo>
                    <a:pt x="249" y="15"/>
                    <a:pt x="250" y="15"/>
                    <a:pt x="251" y="14"/>
                  </a:cubicBezTo>
                  <a:cubicBezTo>
                    <a:pt x="251" y="14"/>
                    <a:pt x="255" y="11"/>
                    <a:pt x="255" y="11"/>
                  </a:cubicBezTo>
                  <a:cubicBezTo>
                    <a:pt x="255" y="11"/>
                    <a:pt x="258" y="6"/>
                    <a:pt x="258" y="6"/>
                  </a:cubicBezTo>
                  <a:cubicBezTo>
                    <a:pt x="259" y="6"/>
                    <a:pt x="258" y="0"/>
                    <a:pt x="258" y="0"/>
                  </a:cubicBezTo>
                  <a:cubicBezTo>
                    <a:pt x="0" y="0"/>
                    <a:pt x="0" y="0"/>
                    <a:pt x="0" y="0"/>
                  </a:cubicBezTo>
                  <a:cubicBezTo>
                    <a:pt x="0" y="47"/>
                    <a:pt x="0" y="47"/>
                    <a:pt x="0" y="47"/>
                  </a:cubicBezTo>
                  <a:cubicBezTo>
                    <a:pt x="0" y="143"/>
                    <a:pt x="0" y="143"/>
                    <a:pt x="0" y="143"/>
                  </a:cubicBezTo>
                  <a:cubicBezTo>
                    <a:pt x="192" y="143"/>
                    <a:pt x="192" y="143"/>
                    <a:pt x="192" y="143"/>
                  </a:cubicBezTo>
                  <a:lnTo>
                    <a:pt x="193" y="147"/>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5" name="Freeform 18">
              <a:extLst>
                <a:ext uri="{FF2B5EF4-FFF2-40B4-BE49-F238E27FC236}">
                  <a16:creationId xmlns:a16="http://schemas.microsoft.com/office/drawing/2014/main" id="{DC60BFDA-E039-9734-A6FD-4635157EC73A}"/>
                </a:ext>
              </a:extLst>
            </p:cNvPr>
            <p:cNvSpPr>
              <a:spLocks/>
            </p:cNvSpPr>
            <p:nvPr/>
          </p:nvSpPr>
          <p:spPr bwMode="auto">
            <a:xfrm>
              <a:off x="8175261" y="3522426"/>
              <a:ext cx="662534" cy="515488"/>
            </a:xfrm>
            <a:custGeom>
              <a:avLst/>
              <a:gdLst>
                <a:gd name="T0" fmla="*/ 84 w 167"/>
                <a:gd name="T1" fmla="*/ 5 h 130"/>
                <a:gd name="T2" fmla="*/ 81 w 167"/>
                <a:gd name="T3" fmla="*/ 2 h 130"/>
                <a:gd name="T4" fmla="*/ 37 w 167"/>
                <a:gd name="T5" fmla="*/ 0 h 130"/>
                <a:gd name="T6" fmla="*/ 25 w 167"/>
                <a:gd name="T7" fmla="*/ 3 h 130"/>
                <a:gd name="T8" fmla="*/ 9 w 167"/>
                <a:gd name="T9" fmla="*/ 9 h 130"/>
                <a:gd name="T10" fmla="*/ 2 w 167"/>
                <a:gd name="T11" fmla="*/ 22 h 130"/>
                <a:gd name="T12" fmla="*/ 16 w 167"/>
                <a:gd name="T13" fmla="*/ 30 h 130"/>
                <a:gd name="T14" fmla="*/ 24 w 167"/>
                <a:gd name="T15" fmla="*/ 45 h 130"/>
                <a:gd name="T16" fmla="*/ 41 w 167"/>
                <a:gd name="T17" fmla="*/ 66 h 130"/>
                <a:gd name="T18" fmla="*/ 50 w 167"/>
                <a:gd name="T19" fmla="*/ 78 h 130"/>
                <a:gd name="T20" fmla="*/ 55 w 167"/>
                <a:gd name="T21" fmla="*/ 83 h 130"/>
                <a:gd name="T22" fmla="*/ 65 w 167"/>
                <a:gd name="T23" fmla="*/ 97 h 130"/>
                <a:gd name="T24" fmla="*/ 75 w 167"/>
                <a:gd name="T25" fmla="*/ 114 h 130"/>
                <a:gd name="T26" fmla="*/ 78 w 167"/>
                <a:gd name="T27" fmla="*/ 124 h 130"/>
                <a:gd name="T28" fmla="*/ 84 w 167"/>
                <a:gd name="T29" fmla="*/ 129 h 130"/>
                <a:gd name="T30" fmla="*/ 88 w 167"/>
                <a:gd name="T31" fmla="*/ 124 h 130"/>
                <a:gd name="T32" fmla="*/ 93 w 167"/>
                <a:gd name="T33" fmla="*/ 125 h 130"/>
                <a:gd name="T34" fmla="*/ 91 w 167"/>
                <a:gd name="T35" fmla="*/ 123 h 130"/>
                <a:gd name="T36" fmla="*/ 88 w 167"/>
                <a:gd name="T37" fmla="*/ 121 h 130"/>
                <a:gd name="T38" fmla="*/ 87 w 167"/>
                <a:gd name="T39" fmla="*/ 116 h 130"/>
                <a:gd name="T40" fmla="*/ 87 w 167"/>
                <a:gd name="T41" fmla="*/ 112 h 130"/>
                <a:gd name="T42" fmla="*/ 88 w 167"/>
                <a:gd name="T43" fmla="*/ 111 h 130"/>
                <a:gd name="T44" fmla="*/ 90 w 167"/>
                <a:gd name="T45" fmla="*/ 117 h 130"/>
                <a:gd name="T46" fmla="*/ 94 w 167"/>
                <a:gd name="T47" fmla="*/ 115 h 130"/>
                <a:gd name="T48" fmla="*/ 94 w 167"/>
                <a:gd name="T49" fmla="*/ 120 h 130"/>
                <a:gd name="T50" fmla="*/ 100 w 167"/>
                <a:gd name="T51" fmla="*/ 118 h 130"/>
                <a:gd name="T52" fmla="*/ 98 w 167"/>
                <a:gd name="T53" fmla="*/ 115 h 130"/>
                <a:gd name="T54" fmla="*/ 92 w 167"/>
                <a:gd name="T55" fmla="*/ 112 h 130"/>
                <a:gd name="T56" fmla="*/ 93 w 167"/>
                <a:gd name="T57" fmla="*/ 110 h 130"/>
                <a:gd name="T58" fmla="*/ 97 w 167"/>
                <a:gd name="T59" fmla="*/ 109 h 130"/>
                <a:gd name="T60" fmla="*/ 99 w 167"/>
                <a:gd name="T61" fmla="*/ 108 h 130"/>
                <a:gd name="T62" fmla="*/ 104 w 167"/>
                <a:gd name="T63" fmla="*/ 112 h 130"/>
                <a:gd name="T64" fmla="*/ 109 w 167"/>
                <a:gd name="T65" fmla="*/ 110 h 130"/>
                <a:gd name="T66" fmla="*/ 105 w 167"/>
                <a:gd name="T67" fmla="*/ 107 h 130"/>
                <a:gd name="T68" fmla="*/ 108 w 167"/>
                <a:gd name="T69" fmla="*/ 105 h 130"/>
                <a:gd name="T70" fmla="*/ 110 w 167"/>
                <a:gd name="T71" fmla="*/ 110 h 130"/>
                <a:gd name="T72" fmla="*/ 116 w 167"/>
                <a:gd name="T73" fmla="*/ 108 h 130"/>
                <a:gd name="T74" fmla="*/ 120 w 167"/>
                <a:gd name="T75" fmla="*/ 106 h 130"/>
                <a:gd name="T76" fmla="*/ 120 w 167"/>
                <a:gd name="T77" fmla="*/ 103 h 130"/>
                <a:gd name="T78" fmla="*/ 118 w 167"/>
                <a:gd name="T79" fmla="*/ 101 h 130"/>
                <a:gd name="T80" fmla="*/ 125 w 167"/>
                <a:gd name="T81" fmla="*/ 101 h 130"/>
                <a:gd name="T82" fmla="*/ 128 w 167"/>
                <a:gd name="T83" fmla="*/ 98 h 130"/>
                <a:gd name="T84" fmla="*/ 131 w 167"/>
                <a:gd name="T85" fmla="*/ 92 h 130"/>
                <a:gd name="T86" fmla="*/ 137 w 167"/>
                <a:gd name="T87" fmla="*/ 92 h 130"/>
                <a:gd name="T88" fmla="*/ 141 w 167"/>
                <a:gd name="T89" fmla="*/ 87 h 130"/>
                <a:gd name="T90" fmla="*/ 144 w 167"/>
                <a:gd name="T91" fmla="*/ 85 h 130"/>
                <a:gd name="T92" fmla="*/ 142 w 167"/>
                <a:gd name="T93" fmla="*/ 80 h 130"/>
                <a:gd name="T94" fmla="*/ 147 w 167"/>
                <a:gd name="T95" fmla="*/ 74 h 130"/>
                <a:gd name="T96" fmla="*/ 154 w 167"/>
                <a:gd name="T97" fmla="*/ 66 h 130"/>
                <a:gd name="T98" fmla="*/ 159 w 167"/>
                <a:gd name="T99" fmla="*/ 60 h 130"/>
                <a:gd name="T100" fmla="*/ 164 w 167"/>
                <a:gd name="T101" fmla="*/ 5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130">
                  <a:moveTo>
                    <a:pt x="128" y="17"/>
                  </a:moveTo>
                  <a:cubicBezTo>
                    <a:pt x="89" y="16"/>
                    <a:pt x="89" y="16"/>
                    <a:pt x="89" y="16"/>
                  </a:cubicBezTo>
                  <a:cubicBezTo>
                    <a:pt x="89" y="16"/>
                    <a:pt x="89" y="11"/>
                    <a:pt x="89" y="11"/>
                  </a:cubicBezTo>
                  <a:cubicBezTo>
                    <a:pt x="89" y="11"/>
                    <a:pt x="85" y="5"/>
                    <a:pt x="85" y="5"/>
                  </a:cubicBezTo>
                  <a:cubicBezTo>
                    <a:pt x="85" y="5"/>
                    <a:pt x="84" y="5"/>
                    <a:pt x="84" y="5"/>
                  </a:cubicBezTo>
                  <a:cubicBezTo>
                    <a:pt x="84" y="5"/>
                    <a:pt x="83" y="5"/>
                    <a:pt x="82" y="5"/>
                  </a:cubicBezTo>
                  <a:cubicBezTo>
                    <a:pt x="82" y="5"/>
                    <a:pt x="81" y="6"/>
                    <a:pt x="81" y="6"/>
                  </a:cubicBezTo>
                  <a:cubicBezTo>
                    <a:pt x="81" y="6"/>
                    <a:pt x="80" y="5"/>
                    <a:pt x="80" y="5"/>
                  </a:cubicBezTo>
                  <a:cubicBezTo>
                    <a:pt x="80" y="5"/>
                    <a:pt x="81" y="4"/>
                    <a:pt x="81" y="4"/>
                  </a:cubicBezTo>
                  <a:cubicBezTo>
                    <a:pt x="81" y="4"/>
                    <a:pt x="81" y="2"/>
                    <a:pt x="81" y="2"/>
                  </a:cubicBezTo>
                  <a:cubicBezTo>
                    <a:pt x="81" y="2"/>
                    <a:pt x="75" y="2"/>
                    <a:pt x="75" y="2"/>
                  </a:cubicBezTo>
                  <a:cubicBezTo>
                    <a:pt x="75" y="2"/>
                    <a:pt x="66" y="1"/>
                    <a:pt x="66" y="1"/>
                  </a:cubicBezTo>
                  <a:cubicBezTo>
                    <a:pt x="66" y="1"/>
                    <a:pt x="47" y="0"/>
                    <a:pt x="47" y="0"/>
                  </a:cubicBezTo>
                  <a:cubicBezTo>
                    <a:pt x="47" y="0"/>
                    <a:pt x="42" y="0"/>
                    <a:pt x="42" y="0"/>
                  </a:cubicBezTo>
                  <a:cubicBezTo>
                    <a:pt x="41" y="0"/>
                    <a:pt x="38" y="0"/>
                    <a:pt x="37" y="0"/>
                  </a:cubicBezTo>
                  <a:cubicBezTo>
                    <a:pt x="36" y="1"/>
                    <a:pt x="35" y="1"/>
                    <a:pt x="35" y="0"/>
                  </a:cubicBezTo>
                  <a:cubicBezTo>
                    <a:pt x="35" y="0"/>
                    <a:pt x="34" y="0"/>
                    <a:pt x="33" y="0"/>
                  </a:cubicBezTo>
                  <a:cubicBezTo>
                    <a:pt x="33" y="0"/>
                    <a:pt x="32" y="1"/>
                    <a:pt x="31" y="2"/>
                  </a:cubicBezTo>
                  <a:cubicBezTo>
                    <a:pt x="31" y="2"/>
                    <a:pt x="30" y="2"/>
                    <a:pt x="29" y="2"/>
                  </a:cubicBezTo>
                  <a:cubicBezTo>
                    <a:pt x="29" y="2"/>
                    <a:pt x="26" y="3"/>
                    <a:pt x="25" y="3"/>
                  </a:cubicBezTo>
                  <a:cubicBezTo>
                    <a:pt x="24" y="3"/>
                    <a:pt x="24" y="4"/>
                    <a:pt x="23" y="4"/>
                  </a:cubicBezTo>
                  <a:cubicBezTo>
                    <a:pt x="22" y="4"/>
                    <a:pt x="22" y="5"/>
                    <a:pt x="22" y="5"/>
                  </a:cubicBezTo>
                  <a:cubicBezTo>
                    <a:pt x="22" y="5"/>
                    <a:pt x="20" y="5"/>
                    <a:pt x="19" y="5"/>
                  </a:cubicBezTo>
                  <a:cubicBezTo>
                    <a:pt x="19" y="5"/>
                    <a:pt x="18" y="6"/>
                    <a:pt x="18" y="6"/>
                  </a:cubicBezTo>
                  <a:cubicBezTo>
                    <a:pt x="18" y="6"/>
                    <a:pt x="9" y="9"/>
                    <a:pt x="9" y="9"/>
                  </a:cubicBezTo>
                  <a:cubicBezTo>
                    <a:pt x="9" y="11"/>
                    <a:pt x="9" y="11"/>
                    <a:pt x="9" y="11"/>
                  </a:cubicBezTo>
                  <a:cubicBezTo>
                    <a:pt x="9" y="11"/>
                    <a:pt x="5" y="14"/>
                    <a:pt x="4" y="14"/>
                  </a:cubicBezTo>
                  <a:cubicBezTo>
                    <a:pt x="4" y="15"/>
                    <a:pt x="3" y="16"/>
                    <a:pt x="2" y="17"/>
                  </a:cubicBezTo>
                  <a:cubicBezTo>
                    <a:pt x="1" y="17"/>
                    <a:pt x="1" y="20"/>
                    <a:pt x="1" y="21"/>
                  </a:cubicBezTo>
                  <a:cubicBezTo>
                    <a:pt x="0" y="22"/>
                    <a:pt x="1" y="22"/>
                    <a:pt x="2" y="22"/>
                  </a:cubicBezTo>
                  <a:cubicBezTo>
                    <a:pt x="2" y="23"/>
                    <a:pt x="3" y="23"/>
                    <a:pt x="3" y="24"/>
                  </a:cubicBezTo>
                  <a:cubicBezTo>
                    <a:pt x="4" y="24"/>
                    <a:pt x="5" y="25"/>
                    <a:pt x="7" y="25"/>
                  </a:cubicBezTo>
                  <a:cubicBezTo>
                    <a:pt x="9" y="25"/>
                    <a:pt x="8" y="26"/>
                    <a:pt x="8" y="27"/>
                  </a:cubicBezTo>
                  <a:cubicBezTo>
                    <a:pt x="9" y="27"/>
                    <a:pt x="10" y="28"/>
                    <a:pt x="11" y="29"/>
                  </a:cubicBezTo>
                  <a:cubicBezTo>
                    <a:pt x="12" y="30"/>
                    <a:pt x="14" y="30"/>
                    <a:pt x="16" y="30"/>
                  </a:cubicBezTo>
                  <a:cubicBezTo>
                    <a:pt x="18" y="30"/>
                    <a:pt x="18" y="31"/>
                    <a:pt x="18" y="32"/>
                  </a:cubicBezTo>
                  <a:cubicBezTo>
                    <a:pt x="18" y="33"/>
                    <a:pt x="19" y="35"/>
                    <a:pt x="19" y="36"/>
                  </a:cubicBezTo>
                  <a:cubicBezTo>
                    <a:pt x="19" y="36"/>
                    <a:pt x="21" y="39"/>
                    <a:pt x="22" y="39"/>
                  </a:cubicBezTo>
                  <a:cubicBezTo>
                    <a:pt x="22" y="40"/>
                    <a:pt x="22" y="42"/>
                    <a:pt x="22" y="43"/>
                  </a:cubicBezTo>
                  <a:cubicBezTo>
                    <a:pt x="22" y="45"/>
                    <a:pt x="24" y="45"/>
                    <a:pt x="24" y="45"/>
                  </a:cubicBezTo>
                  <a:cubicBezTo>
                    <a:pt x="25" y="46"/>
                    <a:pt x="26" y="48"/>
                    <a:pt x="27" y="49"/>
                  </a:cubicBezTo>
                  <a:cubicBezTo>
                    <a:pt x="27" y="50"/>
                    <a:pt x="28" y="52"/>
                    <a:pt x="28" y="53"/>
                  </a:cubicBezTo>
                  <a:cubicBezTo>
                    <a:pt x="29" y="53"/>
                    <a:pt x="35" y="57"/>
                    <a:pt x="36" y="57"/>
                  </a:cubicBezTo>
                  <a:cubicBezTo>
                    <a:pt x="37" y="58"/>
                    <a:pt x="40" y="62"/>
                    <a:pt x="40" y="62"/>
                  </a:cubicBezTo>
                  <a:cubicBezTo>
                    <a:pt x="40" y="63"/>
                    <a:pt x="40" y="66"/>
                    <a:pt x="41" y="66"/>
                  </a:cubicBezTo>
                  <a:cubicBezTo>
                    <a:pt x="41" y="67"/>
                    <a:pt x="45" y="69"/>
                    <a:pt x="46" y="69"/>
                  </a:cubicBezTo>
                  <a:cubicBezTo>
                    <a:pt x="47" y="70"/>
                    <a:pt x="48" y="72"/>
                    <a:pt x="49" y="72"/>
                  </a:cubicBezTo>
                  <a:cubicBezTo>
                    <a:pt x="50" y="73"/>
                    <a:pt x="50" y="74"/>
                    <a:pt x="50" y="74"/>
                  </a:cubicBezTo>
                  <a:cubicBezTo>
                    <a:pt x="50" y="74"/>
                    <a:pt x="49" y="75"/>
                    <a:pt x="49" y="76"/>
                  </a:cubicBezTo>
                  <a:cubicBezTo>
                    <a:pt x="49" y="76"/>
                    <a:pt x="50" y="78"/>
                    <a:pt x="50" y="78"/>
                  </a:cubicBezTo>
                  <a:cubicBezTo>
                    <a:pt x="50" y="78"/>
                    <a:pt x="51" y="78"/>
                    <a:pt x="52" y="79"/>
                  </a:cubicBezTo>
                  <a:cubicBezTo>
                    <a:pt x="53" y="79"/>
                    <a:pt x="52" y="79"/>
                    <a:pt x="52" y="80"/>
                  </a:cubicBezTo>
                  <a:cubicBezTo>
                    <a:pt x="52" y="80"/>
                    <a:pt x="53" y="81"/>
                    <a:pt x="53" y="81"/>
                  </a:cubicBezTo>
                  <a:cubicBezTo>
                    <a:pt x="53" y="81"/>
                    <a:pt x="53" y="82"/>
                    <a:pt x="53" y="82"/>
                  </a:cubicBezTo>
                  <a:cubicBezTo>
                    <a:pt x="54" y="82"/>
                    <a:pt x="55" y="83"/>
                    <a:pt x="55" y="83"/>
                  </a:cubicBezTo>
                  <a:cubicBezTo>
                    <a:pt x="56" y="83"/>
                    <a:pt x="56" y="85"/>
                    <a:pt x="56" y="85"/>
                  </a:cubicBezTo>
                  <a:cubicBezTo>
                    <a:pt x="56" y="86"/>
                    <a:pt x="56" y="86"/>
                    <a:pt x="57" y="86"/>
                  </a:cubicBezTo>
                  <a:cubicBezTo>
                    <a:pt x="57" y="86"/>
                    <a:pt x="61" y="88"/>
                    <a:pt x="62" y="88"/>
                  </a:cubicBezTo>
                  <a:cubicBezTo>
                    <a:pt x="62" y="89"/>
                    <a:pt x="64" y="91"/>
                    <a:pt x="65" y="92"/>
                  </a:cubicBezTo>
                  <a:cubicBezTo>
                    <a:pt x="65" y="92"/>
                    <a:pt x="65" y="96"/>
                    <a:pt x="65" y="97"/>
                  </a:cubicBezTo>
                  <a:cubicBezTo>
                    <a:pt x="66" y="97"/>
                    <a:pt x="67" y="99"/>
                    <a:pt x="67" y="99"/>
                  </a:cubicBezTo>
                  <a:cubicBezTo>
                    <a:pt x="68" y="100"/>
                    <a:pt x="67" y="104"/>
                    <a:pt x="68" y="104"/>
                  </a:cubicBezTo>
                  <a:cubicBezTo>
                    <a:pt x="68" y="104"/>
                    <a:pt x="68" y="105"/>
                    <a:pt x="68" y="106"/>
                  </a:cubicBezTo>
                  <a:cubicBezTo>
                    <a:pt x="68" y="106"/>
                    <a:pt x="68" y="107"/>
                    <a:pt x="68" y="108"/>
                  </a:cubicBezTo>
                  <a:cubicBezTo>
                    <a:pt x="68" y="108"/>
                    <a:pt x="75" y="114"/>
                    <a:pt x="75" y="114"/>
                  </a:cubicBezTo>
                  <a:cubicBezTo>
                    <a:pt x="75" y="114"/>
                    <a:pt x="75" y="115"/>
                    <a:pt x="75" y="115"/>
                  </a:cubicBezTo>
                  <a:cubicBezTo>
                    <a:pt x="75" y="116"/>
                    <a:pt x="75" y="117"/>
                    <a:pt x="76" y="117"/>
                  </a:cubicBezTo>
                  <a:cubicBezTo>
                    <a:pt x="76" y="117"/>
                    <a:pt x="76" y="118"/>
                    <a:pt x="77" y="119"/>
                  </a:cubicBezTo>
                  <a:cubicBezTo>
                    <a:pt x="78" y="120"/>
                    <a:pt x="78" y="120"/>
                    <a:pt x="78" y="121"/>
                  </a:cubicBezTo>
                  <a:cubicBezTo>
                    <a:pt x="78" y="122"/>
                    <a:pt x="78" y="124"/>
                    <a:pt x="78" y="124"/>
                  </a:cubicBezTo>
                  <a:cubicBezTo>
                    <a:pt x="78" y="125"/>
                    <a:pt x="78" y="128"/>
                    <a:pt x="78" y="128"/>
                  </a:cubicBezTo>
                  <a:cubicBezTo>
                    <a:pt x="78" y="129"/>
                    <a:pt x="79" y="129"/>
                    <a:pt x="80" y="129"/>
                  </a:cubicBezTo>
                  <a:cubicBezTo>
                    <a:pt x="80" y="129"/>
                    <a:pt x="82" y="129"/>
                    <a:pt x="82" y="129"/>
                  </a:cubicBezTo>
                  <a:cubicBezTo>
                    <a:pt x="83" y="129"/>
                    <a:pt x="83" y="130"/>
                    <a:pt x="83" y="130"/>
                  </a:cubicBezTo>
                  <a:cubicBezTo>
                    <a:pt x="84" y="130"/>
                    <a:pt x="84" y="130"/>
                    <a:pt x="84" y="129"/>
                  </a:cubicBezTo>
                  <a:cubicBezTo>
                    <a:pt x="84" y="129"/>
                    <a:pt x="84" y="129"/>
                    <a:pt x="85" y="128"/>
                  </a:cubicBezTo>
                  <a:cubicBezTo>
                    <a:pt x="85" y="128"/>
                    <a:pt x="85" y="127"/>
                    <a:pt x="86" y="127"/>
                  </a:cubicBezTo>
                  <a:cubicBezTo>
                    <a:pt x="86" y="126"/>
                    <a:pt x="87" y="126"/>
                    <a:pt x="87" y="125"/>
                  </a:cubicBezTo>
                  <a:cubicBezTo>
                    <a:pt x="87" y="125"/>
                    <a:pt x="87" y="124"/>
                    <a:pt x="87" y="124"/>
                  </a:cubicBezTo>
                  <a:cubicBezTo>
                    <a:pt x="87" y="124"/>
                    <a:pt x="87" y="124"/>
                    <a:pt x="88" y="124"/>
                  </a:cubicBezTo>
                  <a:cubicBezTo>
                    <a:pt x="88" y="124"/>
                    <a:pt x="88" y="125"/>
                    <a:pt x="89" y="125"/>
                  </a:cubicBezTo>
                  <a:cubicBezTo>
                    <a:pt x="89" y="125"/>
                    <a:pt x="90" y="125"/>
                    <a:pt x="90" y="126"/>
                  </a:cubicBezTo>
                  <a:cubicBezTo>
                    <a:pt x="90" y="126"/>
                    <a:pt x="90" y="127"/>
                    <a:pt x="90" y="127"/>
                  </a:cubicBezTo>
                  <a:cubicBezTo>
                    <a:pt x="90" y="128"/>
                    <a:pt x="91" y="127"/>
                    <a:pt x="91" y="127"/>
                  </a:cubicBezTo>
                  <a:cubicBezTo>
                    <a:pt x="92" y="126"/>
                    <a:pt x="92" y="126"/>
                    <a:pt x="93" y="125"/>
                  </a:cubicBezTo>
                  <a:cubicBezTo>
                    <a:pt x="93" y="125"/>
                    <a:pt x="94" y="125"/>
                    <a:pt x="94" y="124"/>
                  </a:cubicBezTo>
                  <a:cubicBezTo>
                    <a:pt x="93" y="124"/>
                    <a:pt x="93" y="124"/>
                    <a:pt x="93" y="124"/>
                  </a:cubicBezTo>
                  <a:cubicBezTo>
                    <a:pt x="92" y="123"/>
                    <a:pt x="92" y="123"/>
                    <a:pt x="92" y="123"/>
                  </a:cubicBezTo>
                  <a:cubicBezTo>
                    <a:pt x="92" y="123"/>
                    <a:pt x="92" y="123"/>
                    <a:pt x="92" y="123"/>
                  </a:cubicBezTo>
                  <a:cubicBezTo>
                    <a:pt x="92" y="123"/>
                    <a:pt x="91" y="123"/>
                    <a:pt x="91" y="123"/>
                  </a:cubicBezTo>
                  <a:cubicBezTo>
                    <a:pt x="91" y="123"/>
                    <a:pt x="90" y="124"/>
                    <a:pt x="90" y="124"/>
                  </a:cubicBezTo>
                  <a:cubicBezTo>
                    <a:pt x="90" y="124"/>
                    <a:pt x="89" y="124"/>
                    <a:pt x="89" y="123"/>
                  </a:cubicBezTo>
                  <a:cubicBezTo>
                    <a:pt x="89" y="123"/>
                    <a:pt x="89" y="123"/>
                    <a:pt x="89" y="122"/>
                  </a:cubicBezTo>
                  <a:cubicBezTo>
                    <a:pt x="89" y="122"/>
                    <a:pt x="89" y="122"/>
                    <a:pt x="89" y="121"/>
                  </a:cubicBezTo>
                  <a:cubicBezTo>
                    <a:pt x="88" y="121"/>
                    <a:pt x="88" y="121"/>
                    <a:pt x="88" y="121"/>
                  </a:cubicBezTo>
                  <a:cubicBezTo>
                    <a:pt x="88" y="121"/>
                    <a:pt x="87" y="120"/>
                    <a:pt x="87" y="120"/>
                  </a:cubicBezTo>
                  <a:cubicBezTo>
                    <a:pt x="87" y="120"/>
                    <a:pt x="87" y="119"/>
                    <a:pt x="87" y="119"/>
                  </a:cubicBezTo>
                  <a:cubicBezTo>
                    <a:pt x="87" y="119"/>
                    <a:pt x="88" y="118"/>
                    <a:pt x="88" y="118"/>
                  </a:cubicBezTo>
                  <a:cubicBezTo>
                    <a:pt x="88" y="118"/>
                    <a:pt x="88" y="117"/>
                    <a:pt x="88" y="117"/>
                  </a:cubicBezTo>
                  <a:cubicBezTo>
                    <a:pt x="87" y="116"/>
                    <a:pt x="87" y="116"/>
                    <a:pt x="87" y="116"/>
                  </a:cubicBezTo>
                  <a:cubicBezTo>
                    <a:pt x="87" y="116"/>
                    <a:pt x="87" y="116"/>
                    <a:pt x="87" y="116"/>
                  </a:cubicBezTo>
                  <a:cubicBezTo>
                    <a:pt x="87" y="115"/>
                    <a:pt x="87" y="115"/>
                    <a:pt x="87" y="114"/>
                  </a:cubicBezTo>
                  <a:cubicBezTo>
                    <a:pt x="87" y="114"/>
                    <a:pt x="87" y="114"/>
                    <a:pt x="87" y="114"/>
                  </a:cubicBezTo>
                  <a:cubicBezTo>
                    <a:pt x="88" y="114"/>
                    <a:pt x="88" y="113"/>
                    <a:pt x="88" y="113"/>
                  </a:cubicBezTo>
                  <a:cubicBezTo>
                    <a:pt x="88" y="113"/>
                    <a:pt x="88" y="112"/>
                    <a:pt x="87" y="112"/>
                  </a:cubicBezTo>
                  <a:cubicBezTo>
                    <a:pt x="87" y="112"/>
                    <a:pt x="87" y="112"/>
                    <a:pt x="87" y="111"/>
                  </a:cubicBezTo>
                  <a:cubicBezTo>
                    <a:pt x="87" y="111"/>
                    <a:pt x="87" y="111"/>
                    <a:pt x="86" y="111"/>
                  </a:cubicBezTo>
                  <a:cubicBezTo>
                    <a:pt x="86" y="111"/>
                    <a:pt x="86" y="111"/>
                    <a:pt x="86" y="111"/>
                  </a:cubicBezTo>
                  <a:cubicBezTo>
                    <a:pt x="86" y="111"/>
                    <a:pt x="86" y="111"/>
                    <a:pt x="87" y="111"/>
                  </a:cubicBezTo>
                  <a:cubicBezTo>
                    <a:pt x="87" y="111"/>
                    <a:pt x="87" y="111"/>
                    <a:pt x="88" y="111"/>
                  </a:cubicBezTo>
                  <a:cubicBezTo>
                    <a:pt x="88" y="111"/>
                    <a:pt x="88" y="112"/>
                    <a:pt x="88" y="112"/>
                  </a:cubicBezTo>
                  <a:cubicBezTo>
                    <a:pt x="89" y="112"/>
                    <a:pt x="89" y="112"/>
                    <a:pt x="89" y="112"/>
                  </a:cubicBezTo>
                  <a:cubicBezTo>
                    <a:pt x="90" y="112"/>
                    <a:pt x="90" y="113"/>
                    <a:pt x="90" y="113"/>
                  </a:cubicBezTo>
                  <a:cubicBezTo>
                    <a:pt x="90" y="114"/>
                    <a:pt x="90" y="115"/>
                    <a:pt x="90" y="116"/>
                  </a:cubicBezTo>
                  <a:cubicBezTo>
                    <a:pt x="90" y="116"/>
                    <a:pt x="90" y="117"/>
                    <a:pt x="90" y="117"/>
                  </a:cubicBezTo>
                  <a:cubicBezTo>
                    <a:pt x="90" y="117"/>
                    <a:pt x="90" y="117"/>
                    <a:pt x="91" y="117"/>
                  </a:cubicBezTo>
                  <a:cubicBezTo>
                    <a:pt x="91" y="117"/>
                    <a:pt x="91" y="118"/>
                    <a:pt x="92" y="118"/>
                  </a:cubicBezTo>
                  <a:cubicBezTo>
                    <a:pt x="92" y="118"/>
                    <a:pt x="93" y="118"/>
                    <a:pt x="93" y="118"/>
                  </a:cubicBezTo>
                  <a:cubicBezTo>
                    <a:pt x="93" y="117"/>
                    <a:pt x="93" y="117"/>
                    <a:pt x="93" y="117"/>
                  </a:cubicBezTo>
                  <a:cubicBezTo>
                    <a:pt x="93" y="116"/>
                    <a:pt x="93" y="115"/>
                    <a:pt x="94" y="115"/>
                  </a:cubicBezTo>
                  <a:cubicBezTo>
                    <a:pt x="95" y="115"/>
                    <a:pt x="94" y="116"/>
                    <a:pt x="94" y="116"/>
                  </a:cubicBezTo>
                  <a:cubicBezTo>
                    <a:pt x="94" y="117"/>
                    <a:pt x="93" y="117"/>
                    <a:pt x="94" y="118"/>
                  </a:cubicBezTo>
                  <a:cubicBezTo>
                    <a:pt x="94" y="118"/>
                    <a:pt x="94" y="118"/>
                    <a:pt x="94" y="118"/>
                  </a:cubicBezTo>
                  <a:cubicBezTo>
                    <a:pt x="94" y="119"/>
                    <a:pt x="94" y="119"/>
                    <a:pt x="94" y="119"/>
                  </a:cubicBezTo>
                  <a:cubicBezTo>
                    <a:pt x="94" y="119"/>
                    <a:pt x="94" y="120"/>
                    <a:pt x="94" y="120"/>
                  </a:cubicBezTo>
                  <a:cubicBezTo>
                    <a:pt x="95" y="120"/>
                    <a:pt x="95" y="120"/>
                    <a:pt x="95" y="120"/>
                  </a:cubicBezTo>
                  <a:cubicBezTo>
                    <a:pt x="95" y="121"/>
                    <a:pt x="95" y="121"/>
                    <a:pt x="96" y="121"/>
                  </a:cubicBezTo>
                  <a:cubicBezTo>
                    <a:pt x="96" y="121"/>
                    <a:pt x="97" y="120"/>
                    <a:pt x="98" y="120"/>
                  </a:cubicBezTo>
                  <a:cubicBezTo>
                    <a:pt x="98" y="119"/>
                    <a:pt x="99" y="119"/>
                    <a:pt x="99" y="119"/>
                  </a:cubicBezTo>
                  <a:cubicBezTo>
                    <a:pt x="99" y="118"/>
                    <a:pt x="99" y="118"/>
                    <a:pt x="100" y="118"/>
                  </a:cubicBezTo>
                  <a:cubicBezTo>
                    <a:pt x="100" y="118"/>
                    <a:pt x="101" y="117"/>
                    <a:pt x="101" y="117"/>
                  </a:cubicBezTo>
                  <a:cubicBezTo>
                    <a:pt x="101" y="117"/>
                    <a:pt x="101" y="117"/>
                    <a:pt x="101" y="117"/>
                  </a:cubicBezTo>
                  <a:cubicBezTo>
                    <a:pt x="100" y="116"/>
                    <a:pt x="100" y="116"/>
                    <a:pt x="100" y="116"/>
                  </a:cubicBezTo>
                  <a:cubicBezTo>
                    <a:pt x="99" y="116"/>
                    <a:pt x="99" y="116"/>
                    <a:pt x="99" y="115"/>
                  </a:cubicBezTo>
                  <a:cubicBezTo>
                    <a:pt x="99" y="115"/>
                    <a:pt x="98" y="115"/>
                    <a:pt x="98" y="115"/>
                  </a:cubicBezTo>
                  <a:cubicBezTo>
                    <a:pt x="98" y="115"/>
                    <a:pt x="97" y="114"/>
                    <a:pt x="97" y="114"/>
                  </a:cubicBezTo>
                  <a:cubicBezTo>
                    <a:pt x="97" y="114"/>
                    <a:pt x="96" y="114"/>
                    <a:pt x="96" y="114"/>
                  </a:cubicBezTo>
                  <a:cubicBezTo>
                    <a:pt x="96" y="114"/>
                    <a:pt x="95" y="114"/>
                    <a:pt x="95" y="114"/>
                  </a:cubicBezTo>
                  <a:cubicBezTo>
                    <a:pt x="95" y="113"/>
                    <a:pt x="94" y="113"/>
                    <a:pt x="94" y="113"/>
                  </a:cubicBezTo>
                  <a:cubicBezTo>
                    <a:pt x="93" y="113"/>
                    <a:pt x="93" y="113"/>
                    <a:pt x="92" y="112"/>
                  </a:cubicBezTo>
                  <a:cubicBezTo>
                    <a:pt x="92" y="112"/>
                    <a:pt x="92" y="112"/>
                    <a:pt x="92" y="112"/>
                  </a:cubicBezTo>
                  <a:cubicBezTo>
                    <a:pt x="92" y="112"/>
                    <a:pt x="91" y="112"/>
                    <a:pt x="91" y="111"/>
                  </a:cubicBezTo>
                  <a:cubicBezTo>
                    <a:pt x="91" y="111"/>
                    <a:pt x="91" y="111"/>
                    <a:pt x="91" y="110"/>
                  </a:cubicBezTo>
                  <a:cubicBezTo>
                    <a:pt x="92" y="110"/>
                    <a:pt x="92" y="110"/>
                    <a:pt x="92" y="110"/>
                  </a:cubicBezTo>
                  <a:cubicBezTo>
                    <a:pt x="93" y="110"/>
                    <a:pt x="93" y="110"/>
                    <a:pt x="93" y="110"/>
                  </a:cubicBezTo>
                  <a:cubicBezTo>
                    <a:pt x="93" y="110"/>
                    <a:pt x="93" y="109"/>
                    <a:pt x="93" y="109"/>
                  </a:cubicBezTo>
                  <a:cubicBezTo>
                    <a:pt x="94" y="109"/>
                    <a:pt x="94" y="109"/>
                    <a:pt x="94" y="109"/>
                  </a:cubicBezTo>
                  <a:cubicBezTo>
                    <a:pt x="94" y="109"/>
                    <a:pt x="95" y="109"/>
                    <a:pt x="96" y="109"/>
                  </a:cubicBezTo>
                  <a:cubicBezTo>
                    <a:pt x="96" y="109"/>
                    <a:pt x="96" y="110"/>
                    <a:pt x="96" y="110"/>
                  </a:cubicBezTo>
                  <a:cubicBezTo>
                    <a:pt x="96" y="110"/>
                    <a:pt x="97" y="110"/>
                    <a:pt x="97" y="109"/>
                  </a:cubicBezTo>
                  <a:cubicBezTo>
                    <a:pt x="97" y="109"/>
                    <a:pt x="97" y="109"/>
                    <a:pt x="98" y="109"/>
                  </a:cubicBezTo>
                  <a:cubicBezTo>
                    <a:pt x="98" y="109"/>
                    <a:pt x="98" y="109"/>
                    <a:pt x="98" y="108"/>
                  </a:cubicBezTo>
                  <a:cubicBezTo>
                    <a:pt x="98" y="108"/>
                    <a:pt x="98" y="108"/>
                    <a:pt x="98" y="108"/>
                  </a:cubicBezTo>
                  <a:cubicBezTo>
                    <a:pt x="98" y="107"/>
                    <a:pt x="99" y="107"/>
                    <a:pt x="99" y="108"/>
                  </a:cubicBezTo>
                  <a:cubicBezTo>
                    <a:pt x="99" y="108"/>
                    <a:pt x="99" y="108"/>
                    <a:pt x="99" y="108"/>
                  </a:cubicBezTo>
                  <a:cubicBezTo>
                    <a:pt x="99" y="109"/>
                    <a:pt x="99" y="109"/>
                    <a:pt x="99" y="110"/>
                  </a:cubicBezTo>
                  <a:cubicBezTo>
                    <a:pt x="100" y="110"/>
                    <a:pt x="100" y="111"/>
                    <a:pt x="101" y="111"/>
                  </a:cubicBezTo>
                  <a:cubicBezTo>
                    <a:pt x="101" y="111"/>
                    <a:pt x="102" y="112"/>
                    <a:pt x="102" y="112"/>
                  </a:cubicBezTo>
                  <a:cubicBezTo>
                    <a:pt x="103" y="112"/>
                    <a:pt x="103" y="112"/>
                    <a:pt x="103" y="112"/>
                  </a:cubicBezTo>
                  <a:cubicBezTo>
                    <a:pt x="103" y="112"/>
                    <a:pt x="104" y="112"/>
                    <a:pt x="104" y="112"/>
                  </a:cubicBezTo>
                  <a:cubicBezTo>
                    <a:pt x="104" y="113"/>
                    <a:pt x="105" y="113"/>
                    <a:pt x="105" y="113"/>
                  </a:cubicBezTo>
                  <a:cubicBezTo>
                    <a:pt x="106" y="114"/>
                    <a:pt x="106" y="113"/>
                    <a:pt x="107" y="113"/>
                  </a:cubicBezTo>
                  <a:cubicBezTo>
                    <a:pt x="107" y="112"/>
                    <a:pt x="108" y="112"/>
                    <a:pt x="108" y="112"/>
                  </a:cubicBezTo>
                  <a:cubicBezTo>
                    <a:pt x="108" y="112"/>
                    <a:pt x="108" y="111"/>
                    <a:pt x="109" y="111"/>
                  </a:cubicBezTo>
                  <a:cubicBezTo>
                    <a:pt x="109" y="111"/>
                    <a:pt x="109" y="111"/>
                    <a:pt x="109" y="110"/>
                  </a:cubicBezTo>
                  <a:cubicBezTo>
                    <a:pt x="109" y="110"/>
                    <a:pt x="109" y="109"/>
                    <a:pt x="109" y="109"/>
                  </a:cubicBezTo>
                  <a:cubicBezTo>
                    <a:pt x="109" y="109"/>
                    <a:pt x="108" y="109"/>
                    <a:pt x="108" y="109"/>
                  </a:cubicBezTo>
                  <a:cubicBezTo>
                    <a:pt x="108" y="109"/>
                    <a:pt x="108" y="109"/>
                    <a:pt x="107" y="109"/>
                  </a:cubicBezTo>
                  <a:cubicBezTo>
                    <a:pt x="107" y="108"/>
                    <a:pt x="107" y="108"/>
                    <a:pt x="106" y="108"/>
                  </a:cubicBezTo>
                  <a:cubicBezTo>
                    <a:pt x="106" y="107"/>
                    <a:pt x="106" y="107"/>
                    <a:pt x="105" y="107"/>
                  </a:cubicBezTo>
                  <a:cubicBezTo>
                    <a:pt x="105" y="106"/>
                    <a:pt x="105" y="106"/>
                    <a:pt x="104" y="106"/>
                  </a:cubicBezTo>
                  <a:cubicBezTo>
                    <a:pt x="104" y="106"/>
                    <a:pt x="105" y="106"/>
                    <a:pt x="105" y="105"/>
                  </a:cubicBezTo>
                  <a:cubicBezTo>
                    <a:pt x="106" y="105"/>
                    <a:pt x="107" y="106"/>
                    <a:pt x="107" y="106"/>
                  </a:cubicBezTo>
                  <a:cubicBezTo>
                    <a:pt x="108" y="106"/>
                    <a:pt x="108" y="106"/>
                    <a:pt x="108" y="105"/>
                  </a:cubicBezTo>
                  <a:cubicBezTo>
                    <a:pt x="108" y="105"/>
                    <a:pt x="108" y="105"/>
                    <a:pt x="108" y="105"/>
                  </a:cubicBezTo>
                  <a:cubicBezTo>
                    <a:pt x="109" y="105"/>
                    <a:pt x="109" y="106"/>
                    <a:pt x="109" y="106"/>
                  </a:cubicBezTo>
                  <a:cubicBezTo>
                    <a:pt x="109" y="106"/>
                    <a:pt x="109" y="106"/>
                    <a:pt x="108" y="107"/>
                  </a:cubicBezTo>
                  <a:cubicBezTo>
                    <a:pt x="108" y="107"/>
                    <a:pt x="108" y="107"/>
                    <a:pt x="108" y="107"/>
                  </a:cubicBezTo>
                  <a:cubicBezTo>
                    <a:pt x="108" y="108"/>
                    <a:pt x="109" y="109"/>
                    <a:pt x="109" y="109"/>
                  </a:cubicBezTo>
                  <a:cubicBezTo>
                    <a:pt x="109" y="109"/>
                    <a:pt x="110" y="109"/>
                    <a:pt x="110" y="110"/>
                  </a:cubicBezTo>
                  <a:cubicBezTo>
                    <a:pt x="110" y="110"/>
                    <a:pt x="110" y="110"/>
                    <a:pt x="111" y="110"/>
                  </a:cubicBezTo>
                  <a:cubicBezTo>
                    <a:pt x="111" y="110"/>
                    <a:pt x="112" y="109"/>
                    <a:pt x="112" y="109"/>
                  </a:cubicBezTo>
                  <a:cubicBezTo>
                    <a:pt x="112" y="109"/>
                    <a:pt x="113" y="109"/>
                    <a:pt x="114" y="109"/>
                  </a:cubicBezTo>
                  <a:cubicBezTo>
                    <a:pt x="114" y="109"/>
                    <a:pt x="115" y="109"/>
                    <a:pt x="115" y="109"/>
                  </a:cubicBezTo>
                  <a:cubicBezTo>
                    <a:pt x="116" y="109"/>
                    <a:pt x="116" y="109"/>
                    <a:pt x="116" y="108"/>
                  </a:cubicBezTo>
                  <a:cubicBezTo>
                    <a:pt x="116" y="108"/>
                    <a:pt x="116" y="108"/>
                    <a:pt x="116" y="107"/>
                  </a:cubicBezTo>
                  <a:cubicBezTo>
                    <a:pt x="117" y="107"/>
                    <a:pt x="116" y="107"/>
                    <a:pt x="117" y="107"/>
                  </a:cubicBezTo>
                  <a:cubicBezTo>
                    <a:pt x="117" y="106"/>
                    <a:pt x="117" y="107"/>
                    <a:pt x="118" y="107"/>
                  </a:cubicBezTo>
                  <a:cubicBezTo>
                    <a:pt x="118" y="107"/>
                    <a:pt x="119" y="107"/>
                    <a:pt x="119" y="106"/>
                  </a:cubicBezTo>
                  <a:cubicBezTo>
                    <a:pt x="119" y="106"/>
                    <a:pt x="119" y="106"/>
                    <a:pt x="120" y="106"/>
                  </a:cubicBezTo>
                  <a:cubicBezTo>
                    <a:pt x="120" y="106"/>
                    <a:pt x="120" y="106"/>
                    <a:pt x="120" y="106"/>
                  </a:cubicBezTo>
                  <a:cubicBezTo>
                    <a:pt x="120" y="105"/>
                    <a:pt x="120" y="105"/>
                    <a:pt x="120" y="105"/>
                  </a:cubicBezTo>
                  <a:cubicBezTo>
                    <a:pt x="120" y="104"/>
                    <a:pt x="121" y="104"/>
                    <a:pt x="121" y="104"/>
                  </a:cubicBezTo>
                  <a:cubicBezTo>
                    <a:pt x="121" y="104"/>
                    <a:pt x="121" y="104"/>
                    <a:pt x="120" y="104"/>
                  </a:cubicBezTo>
                  <a:cubicBezTo>
                    <a:pt x="120" y="103"/>
                    <a:pt x="120" y="103"/>
                    <a:pt x="120" y="103"/>
                  </a:cubicBezTo>
                  <a:cubicBezTo>
                    <a:pt x="119" y="102"/>
                    <a:pt x="119" y="102"/>
                    <a:pt x="118" y="102"/>
                  </a:cubicBezTo>
                  <a:cubicBezTo>
                    <a:pt x="118" y="102"/>
                    <a:pt x="118" y="101"/>
                    <a:pt x="117" y="100"/>
                  </a:cubicBezTo>
                  <a:cubicBezTo>
                    <a:pt x="117" y="100"/>
                    <a:pt x="117" y="100"/>
                    <a:pt x="117" y="99"/>
                  </a:cubicBezTo>
                  <a:cubicBezTo>
                    <a:pt x="118" y="99"/>
                    <a:pt x="118" y="100"/>
                    <a:pt x="118" y="100"/>
                  </a:cubicBezTo>
                  <a:cubicBezTo>
                    <a:pt x="118" y="100"/>
                    <a:pt x="118" y="101"/>
                    <a:pt x="118" y="101"/>
                  </a:cubicBezTo>
                  <a:cubicBezTo>
                    <a:pt x="119" y="101"/>
                    <a:pt x="119" y="102"/>
                    <a:pt x="119" y="102"/>
                  </a:cubicBezTo>
                  <a:cubicBezTo>
                    <a:pt x="120" y="102"/>
                    <a:pt x="120" y="102"/>
                    <a:pt x="121" y="102"/>
                  </a:cubicBezTo>
                  <a:cubicBezTo>
                    <a:pt x="122" y="102"/>
                    <a:pt x="122" y="102"/>
                    <a:pt x="122" y="102"/>
                  </a:cubicBezTo>
                  <a:cubicBezTo>
                    <a:pt x="123" y="101"/>
                    <a:pt x="124" y="101"/>
                    <a:pt x="124" y="101"/>
                  </a:cubicBezTo>
                  <a:cubicBezTo>
                    <a:pt x="125" y="101"/>
                    <a:pt x="125" y="101"/>
                    <a:pt x="125" y="101"/>
                  </a:cubicBezTo>
                  <a:cubicBezTo>
                    <a:pt x="126" y="101"/>
                    <a:pt x="126" y="101"/>
                    <a:pt x="126" y="100"/>
                  </a:cubicBezTo>
                  <a:cubicBezTo>
                    <a:pt x="126" y="100"/>
                    <a:pt x="126" y="100"/>
                    <a:pt x="126" y="100"/>
                  </a:cubicBezTo>
                  <a:cubicBezTo>
                    <a:pt x="126" y="99"/>
                    <a:pt x="125" y="99"/>
                    <a:pt x="125" y="99"/>
                  </a:cubicBezTo>
                  <a:cubicBezTo>
                    <a:pt x="125" y="99"/>
                    <a:pt x="125" y="98"/>
                    <a:pt x="126" y="98"/>
                  </a:cubicBezTo>
                  <a:cubicBezTo>
                    <a:pt x="126" y="98"/>
                    <a:pt x="127" y="98"/>
                    <a:pt x="128" y="98"/>
                  </a:cubicBezTo>
                  <a:cubicBezTo>
                    <a:pt x="128" y="97"/>
                    <a:pt x="129" y="97"/>
                    <a:pt x="129" y="96"/>
                  </a:cubicBezTo>
                  <a:cubicBezTo>
                    <a:pt x="129" y="96"/>
                    <a:pt x="130" y="95"/>
                    <a:pt x="130" y="95"/>
                  </a:cubicBezTo>
                  <a:cubicBezTo>
                    <a:pt x="130" y="95"/>
                    <a:pt x="130" y="94"/>
                    <a:pt x="130" y="94"/>
                  </a:cubicBezTo>
                  <a:cubicBezTo>
                    <a:pt x="130" y="94"/>
                    <a:pt x="131" y="94"/>
                    <a:pt x="131" y="93"/>
                  </a:cubicBezTo>
                  <a:cubicBezTo>
                    <a:pt x="131" y="93"/>
                    <a:pt x="131" y="93"/>
                    <a:pt x="131" y="92"/>
                  </a:cubicBezTo>
                  <a:cubicBezTo>
                    <a:pt x="131" y="92"/>
                    <a:pt x="132" y="91"/>
                    <a:pt x="132" y="91"/>
                  </a:cubicBezTo>
                  <a:cubicBezTo>
                    <a:pt x="133" y="91"/>
                    <a:pt x="133" y="91"/>
                    <a:pt x="134" y="91"/>
                  </a:cubicBezTo>
                  <a:cubicBezTo>
                    <a:pt x="134" y="91"/>
                    <a:pt x="134" y="91"/>
                    <a:pt x="135" y="91"/>
                  </a:cubicBezTo>
                  <a:cubicBezTo>
                    <a:pt x="135" y="91"/>
                    <a:pt x="135" y="91"/>
                    <a:pt x="135" y="92"/>
                  </a:cubicBezTo>
                  <a:cubicBezTo>
                    <a:pt x="136" y="92"/>
                    <a:pt x="136" y="92"/>
                    <a:pt x="137" y="92"/>
                  </a:cubicBezTo>
                  <a:cubicBezTo>
                    <a:pt x="137" y="91"/>
                    <a:pt x="138" y="92"/>
                    <a:pt x="138" y="91"/>
                  </a:cubicBezTo>
                  <a:cubicBezTo>
                    <a:pt x="138" y="91"/>
                    <a:pt x="138" y="90"/>
                    <a:pt x="138" y="90"/>
                  </a:cubicBezTo>
                  <a:cubicBezTo>
                    <a:pt x="138" y="89"/>
                    <a:pt x="139" y="89"/>
                    <a:pt x="139" y="89"/>
                  </a:cubicBezTo>
                  <a:cubicBezTo>
                    <a:pt x="139" y="89"/>
                    <a:pt x="140" y="88"/>
                    <a:pt x="140" y="88"/>
                  </a:cubicBezTo>
                  <a:cubicBezTo>
                    <a:pt x="140" y="88"/>
                    <a:pt x="141" y="87"/>
                    <a:pt x="141" y="87"/>
                  </a:cubicBezTo>
                  <a:cubicBezTo>
                    <a:pt x="141" y="87"/>
                    <a:pt x="141" y="86"/>
                    <a:pt x="142" y="86"/>
                  </a:cubicBezTo>
                  <a:cubicBezTo>
                    <a:pt x="142" y="86"/>
                    <a:pt x="142" y="86"/>
                    <a:pt x="142" y="86"/>
                  </a:cubicBezTo>
                  <a:cubicBezTo>
                    <a:pt x="143" y="86"/>
                    <a:pt x="143" y="86"/>
                    <a:pt x="143" y="86"/>
                  </a:cubicBezTo>
                  <a:cubicBezTo>
                    <a:pt x="143" y="86"/>
                    <a:pt x="143" y="86"/>
                    <a:pt x="143" y="86"/>
                  </a:cubicBezTo>
                  <a:cubicBezTo>
                    <a:pt x="144" y="86"/>
                    <a:pt x="144" y="86"/>
                    <a:pt x="144" y="85"/>
                  </a:cubicBezTo>
                  <a:cubicBezTo>
                    <a:pt x="144" y="85"/>
                    <a:pt x="144" y="85"/>
                    <a:pt x="144" y="85"/>
                  </a:cubicBezTo>
                  <a:cubicBezTo>
                    <a:pt x="144" y="84"/>
                    <a:pt x="145" y="83"/>
                    <a:pt x="144" y="82"/>
                  </a:cubicBezTo>
                  <a:cubicBezTo>
                    <a:pt x="144" y="82"/>
                    <a:pt x="144" y="82"/>
                    <a:pt x="144" y="82"/>
                  </a:cubicBezTo>
                  <a:cubicBezTo>
                    <a:pt x="144" y="81"/>
                    <a:pt x="143" y="81"/>
                    <a:pt x="143" y="81"/>
                  </a:cubicBezTo>
                  <a:cubicBezTo>
                    <a:pt x="143" y="80"/>
                    <a:pt x="142" y="80"/>
                    <a:pt x="142" y="80"/>
                  </a:cubicBezTo>
                  <a:cubicBezTo>
                    <a:pt x="142" y="79"/>
                    <a:pt x="142" y="79"/>
                    <a:pt x="142" y="79"/>
                  </a:cubicBezTo>
                  <a:cubicBezTo>
                    <a:pt x="142" y="78"/>
                    <a:pt x="144" y="79"/>
                    <a:pt x="144" y="79"/>
                  </a:cubicBezTo>
                  <a:cubicBezTo>
                    <a:pt x="145" y="78"/>
                    <a:pt x="146" y="78"/>
                    <a:pt x="146" y="77"/>
                  </a:cubicBezTo>
                  <a:cubicBezTo>
                    <a:pt x="146" y="77"/>
                    <a:pt x="147" y="76"/>
                    <a:pt x="147" y="75"/>
                  </a:cubicBezTo>
                  <a:cubicBezTo>
                    <a:pt x="147" y="75"/>
                    <a:pt x="147" y="74"/>
                    <a:pt x="147" y="74"/>
                  </a:cubicBezTo>
                  <a:cubicBezTo>
                    <a:pt x="148" y="73"/>
                    <a:pt x="148" y="72"/>
                    <a:pt x="149" y="72"/>
                  </a:cubicBezTo>
                  <a:cubicBezTo>
                    <a:pt x="149" y="71"/>
                    <a:pt x="149" y="71"/>
                    <a:pt x="150" y="70"/>
                  </a:cubicBezTo>
                  <a:cubicBezTo>
                    <a:pt x="151" y="70"/>
                    <a:pt x="151" y="69"/>
                    <a:pt x="151" y="68"/>
                  </a:cubicBezTo>
                  <a:cubicBezTo>
                    <a:pt x="152" y="68"/>
                    <a:pt x="152" y="67"/>
                    <a:pt x="153" y="67"/>
                  </a:cubicBezTo>
                  <a:cubicBezTo>
                    <a:pt x="153" y="66"/>
                    <a:pt x="154" y="66"/>
                    <a:pt x="154" y="66"/>
                  </a:cubicBezTo>
                  <a:cubicBezTo>
                    <a:pt x="154" y="65"/>
                    <a:pt x="154" y="65"/>
                    <a:pt x="155" y="64"/>
                  </a:cubicBezTo>
                  <a:cubicBezTo>
                    <a:pt x="155" y="64"/>
                    <a:pt x="155" y="64"/>
                    <a:pt x="155" y="63"/>
                  </a:cubicBezTo>
                  <a:cubicBezTo>
                    <a:pt x="156" y="63"/>
                    <a:pt x="156" y="63"/>
                    <a:pt x="156" y="63"/>
                  </a:cubicBezTo>
                  <a:cubicBezTo>
                    <a:pt x="157" y="62"/>
                    <a:pt x="157" y="62"/>
                    <a:pt x="158" y="61"/>
                  </a:cubicBezTo>
                  <a:cubicBezTo>
                    <a:pt x="158" y="61"/>
                    <a:pt x="159" y="61"/>
                    <a:pt x="159" y="60"/>
                  </a:cubicBezTo>
                  <a:cubicBezTo>
                    <a:pt x="159" y="60"/>
                    <a:pt x="160" y="60"/>
                    <a:pt x="160" y="60"/>
                  </a:cubicBezTo>
                  <a:cubicBezTo>
                    <a:pt x="160" y="60"/>
                    <a:pt x="160" y="60"/>
                    <a:pt x="161" y="59"/>
                  </a:cubicBezTo>
                  <a:cubicBezTo>
                    <a:pt x="161" y="59"/>
                    <a:pt x="161" y="59"/>
                    <a:pt x="161" y="59"/>
                  </a:cubicBezTo>
                  <a:cubicBezTo>
                    <a:pt x="162" y="59"/>
                    <a:pt x="162" y="59"/>
                    <a:pt x="163" y="59"/>
                  </a:cubicBezTo>
                  <a:cubicBezTo>
                    <a:pt x="163" y="59"/>
                    <a:pt x="164" y="58"/>
                    <a:pt x="164" y="58"/>
                  </a:cubicBezTo>
                  <a:cubicBezTo>
                    <a:pt x="165" y="58"/>
                    <a:pt x="165" y="58"/>
                    <a:pt x="166" y="57"/>
                  </a:cubicBezTo>
                  <a:cubicBezTo>
                    <a:pt x="166" y="57"/>
                    <a:pt x="166" y="57"/>
                    <a:pt x="167" y="57"/>
                  </a:cubicBezTo>
                  <a:cubicBezTo>
                    <a:pt x="167" y="57"/>
                    <a:pt x="167" y="57"/>
                    <a:pt x="167" y="57"/>
                  </a:cubicBezTo>
                  <a:lnTo>
                    <a:pt x="128" y="17"/>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6" name="Freeform 19">
              <a:extLst>
                <a:ext uri="{FF2B5EF4-FFF2-40B4-BE49-F238E27FC236}">
                  <a16:creationId xmlns:a16="http://schemas.microsoft.com/office/drawing/2014/main" id="{787B10CE-D082-D15C-1B75-531413134FDD}"/>
                </a:ext>
              </a:extLst>
            </p:cNvPr>
            <p:cNvSpPr>
              <a:spLocks noEditPoints="1"/>
            </p:cNvSpPr>
            <p:nvPr/>
          </p:nvSpPr>
          <p:spPr bwMode="auto">
            <a:xfrm>
              <a:off x="9753115" y="2324578"/>
              <a:ext cx="102437" cy="127219"/>
            </a:xfrm>
            <a:custGeom>
              <a:avLst/>
              <a:gdLst>
                <a:gd name="T0" fmla="*/ 18 w 26"/>
                <a:gd name="T1" fmla="*/ 25 h 32"/>
                <a:gd name="T2" fmla="*/ 18 w 26"/>
                <a:gd name="T3" fmla="*/ 24 h 32"/>
                <a:gd name="T4" fmla="*/ 19 w 26"/>
                <a:gd name="T5" fmla="*/ 23 h 32"/>
                <a:gd name="T6" fmla="*/ 19 w 26"/>
                <a:gd name="T7" fmla="*/ 21 h 32"/>
                <a:gd name="T8" fmla="*/ 20 w 26"/>
                <a:gd name="T9" fmla="*/ 20 h 32"/>
                <a:gd name="T10" fmla="*/ 21 w 26"/>
                <a:gd name="T11" fmla="*/ 22 h 32"/>
                <a:gd name="T12" fmla="*/ 20 w 26"/>
                <a:gd name="T13" fmla="*/ 25 h 32"/>
                <a:gd name="T14" fmla="*/ 19 w 26"/>
                <a:gd name="T15" fmla="*/ 26 h 32"/>
                <a:gd name="T16" fmla="*/ 18 w 26"/>
                <a:gd name="T17" fmla="*/ 26 h 32"/>
                <a:gd name="T18" fmla="*/ 17 w 26"/>
                <a:gd name="T19" fmla="*/ 25 h 32"/>
                <a:gd name="T20" fmla="*/ 17 w 26"/>
                <a:gd name="T21" fmla="*/ 24 h 32"/>
                <a:gd name="T22" fmla="*/ 16 w 26"/>
                <a:gd name="T23" fmla="*/ 23 h 32"/>
                <a:gd name="T24" fmla="*/ 16 w 26"/>
                <a:gd name="T25" fmla="*/ 24 h 32"/>
                <a:gd name="T26" fmla="*/ 17 w 26"/>
                <a:gd name="T27" fmla="*/ 25 h 32"/>
                <a:gd name="T28" fmla="*/ 23 w 26"/>
                <a:gd name="T29" fmla="*/ 16 h 32"/>
                <a:gd name="T30" fmla="*/ 23 w 26"/>
                <a:gd name="T31" fmla="*/ 17 h 32"/>
                <a:gd name="T32" fmla="*/ 22 w 26"/>
                <a:gd name="T33" fmla="*/ 18 h 32"/>
                <a:gd name="T34" fmla="*/ 21 w 26"/>
                <a:gd name="T35" fmla="*/ 20 h 32"/>
                <a:gd name="T36" fmla="*/ 22 w 26"/>
                <a:gd name="T37" fmla="*/ 21 h 32"/>
                <a:gd name="T38" fmla="*/ 23 w 26"/>
                <a:gd name="T39" fmla="*/ 23 h 32"/>
                <a:gd name="T40" fmla="*/ 23 w 26"/>
                <a:gd name="T41" fmla="*/ 26 h 32"/>
                <a:gd name="T42" fmla="*/ 24 w 26"/>
                <a:gd name="T43" fmla="*/ 25 h 32"/>
                <a:gd name="T44" fmla="*/ 26 w 26"/>
                <a:gd name="T45" fmla="*/ 25 h 32"/>
                <a:gd name="T46" fmla="*/ 24 w 26"/>
                <a:gd name="T47" fmla="*/ 17 h 32"/>
                <a:gd name="T48" fmla="*/ 16 w 26"/>
                <a:gd name="T49" fmla="*/ 4 h 32"/>
                <a:gd name="T50" fmla="*/ 1 w 26"/>
                <a:gd name="T51" fmla="*/ 0 h 32"/>
                <a:gd name="T52" fmla="*/ 0 w 26"/>
                <a:gd name="T53" fmla="*/ 30 h 32"/>
                <a:gd name="T54" fmla="*/ 3 w 26"/>
                <a:gd name="T55" fmla="*/ 32 h 32"/>
                <a:gd name="T56" fmla="*/ 4 w 26"/>
                <a:gd name="T57" fmla="*/ 31 h 32"/>
                <a:gd name="T58" fmla="*/ 7 w 26"/>
                <a:gd name="T59" fmla="*/ 31 h 32"/>
                <a:gd name="T60" fmla="*/ 9 w 26"/>
                <a:gd name="T61" fmla="*/ 30 h 32"/>
                <a:gd name="T62" fmla="*/ 12 w 26"/>
                <a:gd name="T63" fmla="*/ 30 h 32"/>
                <a:gd name="T64" fmla="*/ 13 w 26"/>
                <a:gd name="T65" fmla="*/ 29 h 32"/>
                <a:gd name="T66" fmla="*/ 14 w 26"/>
                <a:gd name="T67" fmla="*/ 27 h 32"/>
                <a:gd name="T68" fmla="*/ 14 w 26"/>
                <a:gd name="T69" fmla="*/ 25 h 32"/>
                <a:gd name="T70" fmla="*/ 15 w 26"/>
                <a:gd name="T71" fmla="*/ 23 h 32"/>
                <a:gd name="T72" fmla="*/ 15 w 26"/>
                <a:gd name="T73" fmla="*/ 21 h 32"/>
                <a:gd name="T74" fmla="*/ 15 w 26"/>
                <a:gd name="T75" fmla="*/ 20 h 32"/>
                <a:gd name="T76" fmla="*/ 15 w 26"/>
                <a:gd name="T77" fmla="*/ 19 h 32"/>
                <a:gd name="T78" fmla="*/ 14 w 26"/>
                <a:gd name="T79" fmla="*/ 18 h 32"/>
                <a:gd name="T80" fmla="*/ 15 w 26"/>
                <a:gd name="T81" fmla="*/ 17 h 32"/>
                <a:gd name="T82" fmla="*/ 16 w 26"/>
                <a:gd name="T83" fmla="*/ 17 h 32"/>
                <a:gd name="T84" fmla="*/ 16 w 26"/>
                <a:gd name="T85" fmla="*/ 14 h 32"/>
                <a:gd name="T86" fmla="*/ 16 w 26"/>
                <a:gd name="T87" fmla="*/ 11 h 32"/>
                <a:gd name="T88" fmla="*/ 17 w 26"/>
                <a:gd name="T89" fmla="*/ 11 h 32"/>
                <a:gd name="T90" fmla="*/ 18 w 26"/>
                <a:gd name="T91" fmla="*/ 12 h 32"/>
                <a:gd name="T92" fmla="*/ 19 w 26"/>
                <a:gd name="T93" fmla="*/ 14 h 32"/>
                <a:gd name="T94" fmla="*/ 19 w 26"/>
                <a:gd name="T95" fmla="*/ 15 h 32"/>
                <a:gd name="T96" fmla="*/ 21 w 26"/>
                <a:gd name="T97" fmla="*/ 14 h 32"/>
                <a:gd name="T98" fmla="*/ 17 w 26"/>
                <a:gd name="T99"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 h="32">
                  <a:moveTo>
                    <a:pt x="18" y="25"/>
                  </a:moveTo>
                  <a:cubicBezTo>
                    <a:pt x="18" y="25"/>
                    <a:pt x="18" y="25"/>
                    <a:pt x="18" y="25"/>
                  </a:cubicBezTo>
                  <a:cubicBezTo>
                    <a:pt x="18" y="25"/>
                    <a:pt x="18" y="25"/>
                    <a:pt x="18" y="25"/>
                  </a:cubicBezTo>
                  <a:cubicBezTo>
                    <a:pt x="18" y="24"/>
                    <a:pt x="18" y="24"/>
                    <a:pt x="18" y="24"/>
                  </a:cubicBezTo>
                  <a:cubicBezTo>
                    <a:pt x="19" y="24"/>
                    <a:pt x="19" y="24"/>
                    <a:pt x="19" y="24"/>
                  </a:cubicBezTo>
                  <a:cubicBezTo>
                    <a:pt x="19" y="23"/>
                    <a:pt x="19" y="23"/>
                    <a:pt x="19" y="23"/>
                  </a:cubicBezTo>
                  <a:cubicBezTo>
                    <a:pt x="19" y="23"/>
                    <a:pt x="19" y="22"/>
                    <a:pt x="19" y="22"/>
                  </a:cubicBezTo>
                  <a:cubicBezTo>
                    <a:pt x="19" y="22"/>
                    <a:pt x="19" y="21"/>
                    <a:pt x="19" y="21"/>
                  </a:cubicBezTo>
                  <a:cubicBezTo>
                    <a:pt x="19" y="21"/>
                    <a:pt x="19" y="21"/>
                    <a:pt x="19" y="20"/>
                  </a:cubicBezTo>
                  <a:cubicBezTo>
                    <a:pt x="20" y="20"/>
                    <a:pt x="20" y="20"/>
                    <a:pt x="20" y="20"/>
                  </a:cubicBezTo>
                  <a:cubicBezTo>
                    <a:pt x="20" y="19"/>
                    <a:pt x="21" y="19"/>
                    <a:pt x="21" y="20"/>
                  </a:cubicBezTo>
                  <a:cubicBezTo>
                    <a:pt x="21" y="21"/>
                    <a:pt x="21" y="21"/>
                    <a:pt x="21" y="22"/>
                  </a:cubicBezTo>
                  <a:cubicBezTo>
                    <a:pt x="21" y="23"/>
                    <a:pt x="21" y="24"/>
                    <a:pt x="21" y="24"/>
                  </a:cubicBezTo>
                  <a:cubicBezTo>
                    <a:pt x="21" y="25"/>
                    <a:pt x="21" y="25"/>
                    <a:pt x="20" y="25"/>
                  </a:cubicBezTo>
                  <a:cubicBezTo>
                    <a:pt x="20" y="25"/>
                    <a:pt x="20" y="25"/>
                    <a:pt x="20" y="25"/>
                  </a:cubicBezTo>
                  <a:cubicBezTo>
                    <a:pt x="20" y="26"/>
                    <a:pt x="19" y="26"/>
                    <a:pt x="19" y="26"/>
                  </a:cubicBezTo>
                  <a:cubicBezTo>
                    <a:pt x="19" y="26"/>
                    <a:pt x="19" y="26"/>
                    <a:pt x="19" y="26"/>
                  </a:cubicBezTo>
                  <a:cubicBezTo>
                    <a:pt x="19" y="26"/>
                    <a:pt x="18" y="26"/>
                    <a:pt x="18" y="26"/>
                  </a:cubicBezTo>
                  <a:cubicBezTo>
                    <a:pt x="18" y="26"/>
                    <a:pt x="18" y="26"/>
                    <a:pt x="18" y="25"/>
                  </a:cubicBezTo>
                  <a:close/>
                  <a:moveTo>
                    <a:pt x="17" y="25"/>
                  </a:moveTo>
                  <a:cubicBezTo>
                    <a:pt x="17" y="25"/>
                    <a:pt x="17" y="25"/>
                    <a:pt x="17" y="25"/>
                  </a:cubicBezTo>
                  <a:cubicBezTo>
                    <a:pt x="17" y="24"/>
                    <a:pt x="17" y="24"/>
                    <a:pt x="17" y="24"/>
                  </a:cubicBezTo>
                  <a:cubicBezTo>
                    <a:pt x="17" y="23"/>
                    <a:pt x="17" y="23"/>
                    <a:pt x="17" y="22"/>
                  </a:cubicBezTo>
                  <a:cubicBezTo>
                    <a:pt x="17" y="22"/>
                    <a:pt x="16" y="23"/>
                    <a:pt x="16" y="23"/>
                  </a:cubicBezTo>
                  <a:cubicBezTo>
                    <a:pt x="16" y="23"/>
                    <a:pt x="16" y="23"/>
                    <a:pt x="16" y="23"/>
                  </a:cubicBezTo>
                  <a:cubicBezTo>
                    <a:pt x="16" y="23"/>
                    <a:pt x="16" y="24"/>
                    <a:pt x="16" y="24"/>
                  </a:cubicBezTo>
                  <a:cubicBezTo>
                    <a:pt x="16" y="24"/>
                    <a:pt x="16" y="24"/>
                    <a:pt x="16" y="25"/>
                  </a:cubicBezTo>
                  <a:cubicBezTo>
                    <a:pt x="16" y="25"/>
                    <a:pt x="16" y="25"/>
                    <a:pt x="17" y="25"/>
                  </a:cubicBezTo>
                  <a:close/>
                  <a:moveTo>
                    <a:pt x="24" y="17"/>
                  </a:moveTo>
                  <a:cubicBezTo>
                    <a:pt x="23" y="16"/>
                    <a:pt x="23" y="16"/>
                    <a:pt x="23" y="16"/>
                  </a:cubicBezTo>
                  <a:cubicBezTo>
                    <a:pt x="23" y="16"/>
                    <a:pt x="23" y="16"/>
                    <a:pt x="23" y="17"/>
                  </a:cubicBezTo>
                  <a:cubicBezTo>
                    <a:pt x="23" y="17"/>
                    <a:pt x="23" y="17"/>
                    <a:pt x="23" y="17"/>
                  </a:cubicBezTo>
                  <a:cubicBezTo>
                    <a:pt x="22" y="17"/>
                    <a:pt x="22" y="17"/>
                    <a:pt x="22" y="17"/>
                  </a:cubicBezTo>
                  <a:cubicBezTo>
                    <a:pt x="22" y="18"/>
                    <a:pt x="22" y="18"/>
                    <a:pt x="22" y="18"/>
                  </a:cubicBezTo>
                  <a:cubicBezTo>
                    <a:pt x="22" y="18"/>
                    <a:pt x="21" y="18"/>
                    <a:pt x="21" y="19"/>
                  </a:cubicBezTo>
                  <a:cubicBezTo>
                    <a:pt x="21" y="19"/>
                    <a:pt x="21" y="19"/>
                    <a:pt x="21" y="20"/>
                  </a:cubicBezTo>
                  <a:cubicBezTo>
                    <a:pt x="22" y="20"/>
                    <a:pt x="22" y="20"/>
                    <a:pt x="22" y="20"/>
                  </a:cubicBezTo>
                  <a:cubicBezTo>
                    <a:pt x="22" y="20"/>
                    <a:pt x="22" y="20"/>
                    <a:pt x="22" y="21"/>
                  </a:cubicBezTo>
                  <a:cubicBezTo>
                    <a:pt x="22" y="21"/>
                    <a:pt x="22" y="21"/>
                    <a:pt x="22" y="22"/>
                  </a:cubicBezTo>
                  <a:cubicBezTo>
                    <a:pt x="23" y="22"/>
                    <a:pt x="23" y="23"/>
                    <a:pt x="23" y="23"/>
                  </a:cubicBezTo>
                  <a:cubicBezTo>
                    <a:pt x="23" y="24"/>
                    <a:pt x="23" y="24"/>
                    <a:pt x="23" y="25"/>
                  </a:cubicBezTo>
                  <a:cubicBezTo>
                    <a:pt x="23" y="25"/>
                    <a:pt x="23" y="26"/>
                    <a:pt x="23" y="26"/>
                  </a:cubicBezTo>
                  <a:cubicBezTo>
                    <a:pt x="23" y="26"/>
                    <a:pt x="24" y="26"/>
                    <a:pt x="24" y="26"/>
                  </a:cubicBezTo>
                  <a:cubicBezTo>
                    <a:pt x="24" y="26"/>
                    <a:pt x="24" y="25"/>
                    <a:pt x="24" y="25"/>
                  </a:cubicBezTo>
                  <a:cubicBezTo>
                    <a:pt x="24" y="25"/>
                    <a:pt x="25" y="25"/>
                    <a:pt x="25" y="25"/>
                  </a:cubicBezTo>
                  <a:cubicBezTo>
                    <a:pt x="25" y="24"/>
                    <a:pt x="26" y="25"/>
                    <a:pt x="26" y="25"/>
                  </a:cubicBezTo>
                  <a:cubicBezTo>
                    <a:pt x="26" y="23"/>
                    <a:pt x="25" y="19"/>
                    <a:pt x="25" y="19"/>
                  </a:cubicBezTo>
                  <a:cubicBezTo>
                    <a:pt x="25" y="19"/>
                    <a:pt x="24" y="17"/>
                    <a:pt x="24" y="17"/>
                  </a:cubicBezTo>
                  <a:close/>
                  <a:moveTo>
                    <a:pt x="17" y="6"/>
                  </a:moveTo>
                  <a:cubicBezTo>
                    <a:pt x="17" y="6"/>
                    <a:pt x="16" y="5"/>
                    <a:pt x="16" y="4"/>
                  </a:cubicBezTo>
                  <a:cubicBezTo>
                    <a:pt x="16" y="4"/>
                    <a:pt x="16" y="0"/>
                    <a:pt x="16" y="0"/>
                  </a:cubicBezTo>
                  <a:cubicBezTo>
                    <a:pt x="1" y="0"/>
                    <a:pt x="1" y="0"/>
                    <a:pt x="1" y="0"/>
                  </a:cubicBezTo>
                  <a:cubicBezTo>
                    <a:pt x="1" y="26"/>
                    <a:pt x="1" y="26"/>
                    <a:pt x="1" y="26"/>
                  </a:cubicBezTo>
                  <a:cubicBezTo>
                    <a:pt x="0" y="30"/>
                    <a:pt x="0" y="30"/>
                    <a:pt x="0" y="30"/>
                  </a:cubicBezTo>
                  <a:cubicBezTo>
                    <a:pt x="0" y="32"/>
                    <a:pt x="0" y="32"/>
                    <a:pt x="0" y="32"/>
                  </a:cubicBezTo>
                  <a:cubicBezTo>
                    <a:pt x="1" y="32"/>
                    <a:pt x="2" y="32"/>
                    <a:pt x="3" y="32"/>
                  </a:cubicBezTo>
                  <a:cubicBezTo>
                    <a:pt x="3" y="32"/>
                    <a:pt x="3" y="32"/>
                    <a:pt x="4" y="32"/>
                  </a:cubicBezTo>
                  <a:cubicBezTo>
                    <a:pt x="4" y="31"/>
                    <a:pt x="4" y="31"/>
                    <a:pt x="4" y="31"/>
                  </a:cubicBezTo>
                  <a:cubicBezTo>
                    <a:pt x="5" y="31"/>
                    <a:pt x="6" y="31"/>
                    <a:pt x="6" y="31"/>
                  </a:cubicBezTo>
                  <a:cubicBezTo>
                    <a:pt x="6" y="31"/>
                    <a:pt x="7" y="31"/>
                    <a:pt x="7" y="31"/>
                  </a:cubicBezTo>
                  <a:cubicBezTo>
                    <a:pt x="7" y="31"/>
                    <a:pt x="7" y="31"/>
                    <a:pt x="8" y="31"/>
                  </a:cubicBezTo>
                  <a:cubicBezTo>
                    <a:pt x="8" y="30"/>
                    <a:pt x="8" y="30"/>
                    <a:pt x="9" y="30"/>
                  </a:cubicBezTo>
                  <a:cubicBezTo>
                    <a:pt x="9" y="31"/>
                    <a:pt x="10" y="31"/>
                    <a:pt x="10" y="31"/>
                  </a:cubicBezTo>
                  <a:cubicBezTo>
                    <a:pt x="11" y="31"/>
                    <a:pt x="11" y="31"/>
                    <a:pt x="12" y="30"/>
                  </a:cubicBezTo>
                  <a:cubicBezTo>
                    <a:pt x="12" y="30"/>
                    <a:pt x="12" y="30"/>
                    <a:pt x="12" y="30"/>
                  </a:cubicBezTo>
                  <a:cubicBezTo>
                    <a:pt x="12" y="30"/>
                    <a:pt x="12" y="29"/>
                    <a:pt x="13" y="29"/>
                  </a:cubicBezTo>
                  <a:cubicBezTo>
                    <a:pt x="13" y="29"/>
                    <a:pt x="13" y="29"/>
                    <a:pt x="14" y="28"/>
                  </a:cubicBezTo>
                  <a:cubicBezTo>
                    <a:pt x="14" y="28"/>
                    <a:pt x="14" y="27"/>
                    <a:pt x="14" y="27"/>
                  </a:cubicBezTo>
                  <a:cubicBezTo>
                    <a:pt x="14" y="27"/>
                    <a:pt x="14" y="26"/>
                    <a:pt x="14" y="25"/>
                  </a:cubicBezTo>
                  <a:cubicBezTo>
                    <a:pt x="14" y="25"/>
                    <a:pt x="14" y="25"/>
                    <a:pt x="14" y="25"/>
                  </a:cubicBezTo>
                  <a:cubicBezTo>
                    <a:pt x="14" y="25"/>
                    <a:pt x="14" y="25"/>
                    <a:pt x="15" y="24"/>
                  </a:cubicBezTo>
                  <a:cubicBezTo>
                    <a:pt x="15" y="24"/>
                    <a:pt x="15" y="24"/>
                    <a:pt x="15" y="23"/>
                  </a:cubicBezTo>
                  <a:cubicBezTo>
                    <a:pt x="15" y="23"/>
                    <a:pt x="15" y="23"/>
                    <a:pt x="15" y="22"/>
                  </a:cubicBezTo>
                  <a:cubicBezTo>
                    <a:pt x="15" y="22"/>
                    <a:pt x="15" y="22"/>
                    <a:pt x="15" y="21"/>
                  </a:cubicBezTo>
                  <a:cubicBezTo>
                    <a:pt x="16" y="21"/>
                    <a:pt x="16" y="21"/>
                    <a:pt x="16" y="21"/>
                  </a:cubicBezTo>
                  <a:cubicBezTo>
                    <a:pt x="16" y="20"/>
                    <a:pt x="16" y="20"/>
                    <a:pt x="15" y="20"/>
                  </a:cubicBezTo>
                  <a:cubicBezTo>
                    <a:pt x="15" y="20"/>
                    <a:pt x="15" y="20"/>
                    <a:pt x="15" y="19"/>
                  </a:cubicBezTo>
                  <a:cubicBezTo>
                    <a:pt x="15" y="19"/>
                    <a:pt x="15" y="19"/>
                    <a:pt x="15" y="19"/>
                  </a:cubicBezTo>
                  <a:cubicBezTo>
                    <a:pt x="14" y="18"/>
                    <a:pt x="14" y="18"/>
                    <a:pt x="14" y="18"/>
                  </a:cubicBezTo>
                  <a:cubicBezTo>
                    <a:pt x="14" y="18"/>
                    <a:pt x="14" y="18"/>
                    <a:pt x="14" y="18"/>
                  </a:cubicBezTo>
                  <a:cubicBezTo>
                    <a:pt x="14" y="17"/>
                    <a:pt x="14" y="17"/>
                    <a:pt x="14" y="17"/>
                  </a:cubicBezTo>
                  <a:cubicBezTo>
                    <a:pt x="14" y="17"/>
                    <a:pt x="15" y="17"/>
                    <a:pt x="15" y="17"/>
                  </a:cubicBezTo>
                  <a:cubicBezTo>
                    <a:pt x="15" y="17"/>
                    <a:pt x="15" y="17"/>
                    <a:pt x="16" y="17"/>
                  </a:cubicBezTo>
                  <a:cubicBezTo>
                    <a:pt x="16" y="17"/>
                    <a:pt x="16" y="17"/>
                    <a:pt x="16" y="17"/>
                  </a:cubicBezTo>
                  <a:cubicBezTo>
                    <a:pt x="16" y="16"/>
                    <a:pt x="16" y="16"/>
                    <a:pt x="16" y="16"/>
                  </a:cubicBezTo>
                  <a:cubicBezTo>
                    <a:pt x="16" y="15"/>
                    <a:pt x="16" y="15"/>
                    <a:pt x="16" y="14"/>
                  </a:cubicBezTo>
                  <a:cubicBezTo>
                    <a:pt x="16" y="14"/>
                    <a:pt x="16" y="13"/>
                    <a:pt x="16" y="12"/>
                  </a:cubicBezTo>
                  <a:cubicBezTo>
                    <a:pt x="16" y="12"/>
                    <a:pt x="16" y="12"/>
                    <a:pt x="16" y="11"/>
                  </a:cubicBezTo>
                  <a:cubicBezTo>
                    <a:pt x="16" y="11"/>
                    <a:pt x="16" y="11"/>
                    <a:pt x="17" y="11"/>
                  </a:cubicBezTo>
                  <a:cubicBezTo>
                    <a:pt x="17" y="11"/>
                    <a:pt x="17" y="11"/>
                    <a:pt x="17" y="11"/>
                  </a:cubicBezTo>
                  <a:cubicBezTo>
                    <a:pt x="17" y="11"/>
                    <a:pt x="17" y="12"/>
                    <a:pt x="17" y="12"/>
                  </a:cubicBezTo>
                  <a:cubicBezTo>
                    <a:pt x="17" y="12"/>
                    <a:pt x="17" y="12"/>
                    <a:pt x="18" y="12"/>
                  </a:cubicBezTo>
                  <a:cubicBezTo>
                    <a:pt x="18" y="13"/>
                    <a:pt x="18" y="13"/>
                    <a:pt x="18" y="13"/>
                  </a:cubicBezTo>
                  <a:cubicBezTo>
                    <a:pt x="18" y="13"/>
                    <a:pt x="19" y="14"/>
                    <a:pt x="19" y="14"/>
                  </a:cubicBezTo>
                  <a:cubicBezTo>
                    <a:pt x="19" y="14"/>
                    <a:pt x="19" y="14"/>
                    <a:pt x="19" y="14"/>
                  </a:cubicBezTo>
                  <a:cubicBezTo>
                    <a:pt x="19" y="14"/>
                    <a:pt x="19" y="14"/>
                    <a:pt x="19" y="15"/>
                  </a:cubicBezTo>
                  <a:cubicBezTo>
                    <a:pt x="19" y="15"/>
                    <a:pt x="20" y="15"/>
                    <a:pt x="20" y="15"/>
                  </a:cubicBezTo>
                  <a:cubicBezTo>
                    <a:pt x="20" y="15"/>
                    <a:pt x="21" y="15"/>
                    <a:pt x="21" y="14"/>
                  </a:cubicBezTo>
                  <a:cubicBezTo>
                    <a:pt x="21" y="14"/>
                    <a:pt x="21" y="14"/>
                    <a:pt x="21" y="14"/>
                  </a:cubicBezTo>
                  <a:cubicBezTo>
                    <a:pt x="17" y="9"/>
                    <a:pt x="17" y="9"/>
                    <a:pt x="17" y="9"/>
                  </a:cubicBezTo>
                  <a:cubicBezTo>
                    <a:pt x="17" y="9"/>
                    <a:pt x="17" y="6"/>
                    <a:pt x="17" y="6"/>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7" name="Freeform 20">
              <a:extLst>
                <a:ext uri="{FF2B5EF4-FFF2-40B4-BE49-F238E27FC236}">
                  <a16:creationId xmlns:a16="http://schemas.microsoft.com/office/drawing/2014/main" id="{5A68132B-1194-C40C-84A3-5AF3CB5576B6}"/>
                </a:ext>
              </a:extLst>
            </p:cNvPr>
            <p:cNvSpPr>
              <a:spLocks/>
            </p:cNvSpPr>
            <p:nvPr/>
          </p:nvSpPr>
          <p:spPr bwMode="auto">
            <a:xfrm>
              <a:off x="8568485" y="2281620"/>
              <a:ext cx="796362" cy="459313"/>
            </a:xfrm>
            <a:custGeom>
              <a:avLst/>
              <a:gdLst>
                <a:gd name="T0" fmla="*/ 191 w 201"/>
                <a:gd name="T1" fmla="*/ 85 h 116"/>
                <a:gd name="T2" fmla="*/ 188 w 201"/>
                <a:gd name="T3" fmla="*/ 79 h 116"/>
                <a:gd name="T4" fmla="*/ 183 w 201"/>
                <a:gd name="T5" fmla="*/ 77 h 116"/>
                <a:gd name="T6" fmla="*/ 186 w 201"/>
                <a:gd name="T7" fmla="*/ 67 h 116"/>
                <a:gd name="T8" fmla="*/ 188 w 201"/>
                <a:gd name="T9" fmla="*/ 64 h 116"/>
                <a:gd name="T10" fmla="*/ 186 w 201"/>
                <a:gd name="T11" fmla="*/ 58 h 116"/>
                <a:gd name="T12" fmla="*/ 191 w 201"/>
                <a:gd name="T13" fmla="*/ 52 h 116"/>
                <a:gd name="T14" fmla="*/ 196 w 201"/>
                <a:gd name="T15" fmla="*/ 45 h 116"/>
                <a:gd name="T16" fmla="*/ 201 w 201"/>
                <a:gd name="T17" fmla="*/ 41 h 116"/>
                <a:gd name="T18" fmla="*/ 199 w 201"/>
                <a:gd name="T19" fmla="*/ 39 h 116"/>
                <a:gd name="T20" fmla="*/ 194 w 201"/>
                <a:gd name="T21" fmla="*/ 38 h 116"/>
                <a:gd name="T22" fmla="*/ 193 w 201"/>
                <a:gd name="T23" fmla="*/ 36 h 116"/>
                <a:gd name="T24" fmla="*/ 188 w 201"/>
                <a:gd name="T25" fmla="*/ 30 h 116"/>
                <a:gd name="T26" fmla="*/ 189 w 201"/>
                <a:gd name="T27" fmla="*/ 29 h 116"/>
                <a:gd name="T28" fmla="*/ 188 w 201"/>
                <a:gd name="T29" fmla="*/ 26 h 116"/>
                <a:gd name="T30" fmla="*/ 187 w 201"/>
                <a:gd name="T31" fmla="*/ 23 h 116"/>
                <a:gd name="T32" fmla="*/ 188 w 201"/>
                <a:gd name="T33" fmla="*/ 20 h 116"/>
                <a:gd name="T34" fmla="*/ 182 w 201"/>
                <a:gd name="T35" fmla="*/ 18 h 116"/>
                <a:gd name="T36" fmla="*/ 180 w 201"/>
                <a:gd name="T37" fmla="*/ 14 h 116"/>
                <a:gd name="T38" fmla="*/ 26 w 201"/>
                <a:gd name="T39" fmla="*/ 12 h 116"/>
                <a:gd name="T40" fmla="*/ 24 w 201"/>
                <a:gd name="T41" fmla="*/ 1 h 116"/>
                <a:gd name="T42" fmla="*/ 18 w 201"/>
                <a:gd name="T43" fmla="*/ 4 h 116"/>
                <a:gd name="T44" fmla="*/ 14 w 201"/>
                <a:gd name="T45" fmla="*/ 6 h 116"/>
                <a:gd name="T46" fmla="*/ 12 w 201"/>
                <a:gd name="T47" fmla="*/ 6 h 116"/>
                <a:gd name="T48" fmla="*/ 9 w 201"/>
                <a:gd name="T49" fmla="*/ 9 h 116"/>
                <a:gd name="T50" fmla="*/ 6 w 201"/>
                <a:gd name="T51" fmla="*/ 10 h 116"/>
                <a:gd name="T52" fmla="*/ 1 w 201"/>
                <a:gd name="T53" fmla="*/ 13 h 116"/>
                <a:gd name="T54" fmla="*/ 0 w 201"/>
                <a:gd name="T55" fmla="*/ 116 h 116"/>
                <a:gd name="T56" fmla="*/ 169 w 201"/>
                <a:gd name="T57" fmla="*/ 111 h 116"/>
                <a:gd name="T58" fmla="*/ 179 w 201"/>
                <a:gd name="T59" fmla="*/ 110 h 116"/>
                <a:gd name="T60" fmla="*/ 182 w 201"/>
                <a:gd name="T61" fmla="*/ 109 h 116"/>
                <a:gd name="T62" fmla="*/ 185 w 201"/>
                <a:gd name="T63" fmla="*/ 109 h 116"/>
                <a:gd name="T64" fmla="*/ 195 w 201"/>
                <a:gd name="T65" fmla="*/ 99 h 116"/>
                <a:gd name="T66" fmla="*/ 199 w 201"/>
                <a:gd name="T67" fmla="*/ 95 h 116"/>
                <a:gd name="T68" fmla="*/ 192 w 201"/>
                <a:gd name="T69" fmla="*/ 8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1" h="116">
                  <a:moveTo>
                    <a:pt x="192" y="88"/>
                  </a:moveTo>
                  <a:cubicBezTo>
                    <a:pt x="191" y="85"/>
                    <a:pt x="191" y="85"/>
                    <a:pt x="191" y="85"/>
                  </a:cubicBezTo>
                  <a:cubicBezTo>
                    <a:pt x="187" y="84"/>
                    <a:pt x="187" y="84"/>
                    <a:pt x="187" y="84"/>
                  </a:cubicBezTo>
                  <a:cubicBezTo>
                    <a:pt x="188" y="79"/>
                    <a:pt x="188" y="79"/>
                    <a:pt x="188" y="79"/>
                  </a:cubicBezTo>
                  <a:cubicBezTo>
                    <a:pt x="186" y="77"/>
                    <a:pt x="186" y="77"/>
                    <a:pt x="186" y="77"/>
                  </a:cubicBezTo>
                  <a:cubicBezTo>
                    <a:pt x="183" y="77"/>
                    <a:pt x="183" y="77"/>
                    <a:pt x="183" y="77"/>
                  </a:cubicBezTo>
                  <a:cubicBezTo>
                    <a:pt x="183" y="69"/>
                    <a:pt x="183" y="69"/>
                    <a:pt x="183" y="69"/>
                  </a:cubicBezTo>
                  <a:cubicBezTo>
                    <a:pt x="186" y="67"/>
                    <a:pt x="186" y="67"/>
                    <a:pt x="186" y="67"/>
                  </a:cubicBezTo>
                  <a:cubicBezTo>
                    <a:pt x="187" y="65"/>
                    <a:pt x="187" y="65"/>
                    <a:pt x="187" y="65"/>
                  </a:cubicBezTo>
                  <a:cubicBezTo>
                    <a:pt x="188" y="64"/>
                    <a:pt x="188" y="64"/>
                    <a:pt x="188" y="64"/>
                  </a:cubicBezTo>
                  <a:cubicBezTo>
                    <a:pt x="186" y="61"/>
                    <a:pt x="186" y="61"/>
                    <a:pt x="186" y="61"/>
                  </a:cubicBezTo>
                  <a:cubicBezTo>
                    <a:pt x="186" y="58"/>
                    <a:pt x="186" y="58"/>
                    <a:pt x="186" y="58"/>
                  </a:cubicBezTo>
                  <a:cubicBezTo>
                    <a:pt x="191" y="54"/>
                    <a:pt x="191" y="54"/>
                    <a:pt x="191" y="54"/>
                  </a:cubicBezTo>
                  <a:cubicBezTo>
                    <a:pt x="191" y="52"/>
                    <a:pt x="191" y="52"/>
                    <a:pt x="191" y="52"/>
                  </a:cubicBezTo>
                  <a:cubicBezTo>
                    <a:pt x="194" y="50"/>
                    <a:pt x="194" y="50"/>
                    <a:pt x="194" y="50"/>
                  </a:cubicBezTo>
                  <a:cubicBezTo>
                    <a:pt x="196" y="45"/>
                    <a:pt x="196" y="45"/>
                    <a:pt x="196" y="45"/>
                  </a:cubicBezTo>
                  <a:cubicBezTo>
                    <a:pt x="197" y="43"/>
                    <a:pt x="197" y="43"/>
                    <a:pt x="197" y="43"/>
                  </a:cubicBezTo>
                  <a:cubicBezTo>
                    <a:pt x="201" y="41"/>
                    <a:pt x="201" y="41"/>
                    <a:pt x="201" y="41"/>
                  </a:cubicBezTo>
                  <a:cubicBezTo>
                    <a:pt x="200" y="41"/>
                    <a:pt x="200" y="41"/>
                    <a:pt x="200" y="41"/>
                  </a:cubicBezTo>
                  <a:cubicBezTo>
                    <a:pt x="200" y="41"/>
                    <a:pt x="199" y="39"/>
                    <a:pt x="199" y="39"/>
                  </a:cubicBezTo>
                  <a:cubicBezTo>
                    <a:pt x="199" y="38"/>
                    <a:pt x="198" y="38"/>
                    <a:pt x="198" y="38"/>
                  </a:cubicBezTo>
                  <a:cubicBezTo>
                    <a:pt x="197" y="38"/>
                    <a:pt x="195" y="38"/>
                    <a:pt x="194" y="38"/>
                  </a:cubicBezTo>
                  <a:cubicBezTo>
                    <a:pt x="193" y="38"/>
                    <a:pt x="193" y="37"/>
                    <a:pt x="193" y="37"/>
                  </a:cubicBezTo>
                  <a:cubicBezTo>
                    <a:pt x="193" y="37"/>
                    <a:pt x="193" y="36"/>
                    <a:pt x="193" y="36"/>
                  </a:cubicBezTo>
                  <a:cubicBezTo>
                    <a:pt x="192" y="36"/>
                    <a:pt x="191" y="36"/>
                    <a:pt x="190" y="36"/>
                  </a:cubicBezTo>
                  <a:cubicBezTo>
                    <a:pt x="190" y="36"/>
                    <a:pt x="188" y="30"/>
                    <a:pt x="188" y="30"/>
                  </a:cubicBezTo>
                  <a:cubicBezTo>
                    <a:pt x="188" y="30"/>
                    <a:pt x="188" y="30"/>
                    <a:pt x="188" y="30"/>
                  </a:cubicBezTo>
                  <a:cubicBezTo>
                    <a:pt x="189" y="30"/>
                    <a:pt x="189" y="29"/>
                    <a:pt x="189" y="29"/>
                  </a:cubicBezTo>
                  <a:cubicBezTo>
                    <a:pt x="189" y="29"/>
                    <a:pt x="188" y="28"/>
                    <a:pt x="188" y="27"/>
                  </a:cubicBezTo>
                  <a:cubicBezTo>
                    <a:pt x="188" y="27"/>
                    <a:pt x="188" y="26"/>
                    <a:pt x="188" y="26"/>
                  </a:cubicBezTo>
                  <a:cubicBezTo>
                    <a:pt x="188" y="26"/>
                    <a:pt x="188" y="24"/>
                    <a:pt x="188" y="24"/>
                  </a:cubicBezTo>
                  <a:cubicBezTo>
                    <a:pt x="188" y="23"/>
                    <a:pt x="187" y="23"/>
                    <a:pt x="187" y="23"/>
                  </a:cubicBezTo>
                  <a:cubicBezTo>
                    <a:pt x="187" y="22"/>
                    <a:pt x="187" y="22"/>
                    <a:pt x="187" y="22"/>
                  </a:cubicBezTo>
                  <a:cubicBezTo>
                    <a:pt x="187" y="22"/>
                    <a:pt x="188" y="20"/>
                    <a:pt x="188" y="20"/>
                  </a:cubicBezTo>
                  <a:cubicBezTo>
                    <a:pt x="188" y="20"/>
                    <a:pt x="184" y="18"/>
                    <a:pt x="184" y="18"/>
                  </a:cubicBezTo>
                  <a:cubicBezTo>
                    <a:pt x="184" y="17"/>
                    <a:pt x="183" y="18"/>
                    <a:pt x="182" y="18"/>
                  </a:cubicBezTo>
                  <a:cubicBezTo>
                    <a:pt x="182" y="18"/>
                    <a:pt x="181" y="18"/>
                    <a:pt x="181" y="18"/>
                  </a:cubicBezTo>
                  <a:cubicBezTo>
                    <a:pt x="181" y="18"/>
                    <a:pt x="180" y="15"/>
                    <a:pt x="180" y="14"/>
                  </a:cubicBezTo>
                  <a:cubicBezTo>
                    <a:pt x="180" y="14"/>
                    <a:pt x="178" y="12"/>
                    <a:pt x="178" y="12"/>
                  </a:cubicBezTo>
                  <a:cubicBezTo>
                    <a:pt x="26" y="12"/>
                    <a:pt x="26" y="12"/>
                    <a:pt x="26" y="12"/>
                  </a:cubicBezTo>
                  <a:cubicBezTo>
                    <a:pt x="26" y="0"/>
                    <a:pt x="26" y="0"/>
                    <a:pt x="26" y="0"/>
                  </a:cubicBezTo>
                  <a:cubicBezTo>
                    <a:pt x="25" y="0"/>
                    <a:pt x="25" y="1"/>
                    <a:pt x="24" y="1"/>
                  </a:cubicBezTo>
                  <a:cubicBezTo>
                    <a:pt x="23" y="1"/>
                    <a:pt x="23" y="2"/>
                    <a:pt x="22" y="2"/>
                  </a:cubicBezTo>
                  <a:cubicBezTo>
                    <a:pt x="20" y="3"/>
                    <a:pt x="19" y="3"/>
                    <a:pt x="18" y="4"/>
                  </a:cubicBezTo>
                  <a:cubicBezTo>
                    <a:pt x="17" y="5"/>
                    <a:pt x="16" y="5"/>
                    <a:pt x="15" y="6"/>
                  </a:cubicBezTo>
                  <a:cubicBezTo>
                    <a:pt x="15" y="6"/>
                    <a:pt x="14" y="6"/>
                    <a:pt x="14" y="6"/>
                  </a:cubicBezTo>
                  <a:cubicBezTo>
                    <a:pt x="13" y="6"/>
                    <a:pt x="14" y="5"/>
                    <a:pt x="14" y="5"/>
                  </a:cubicBezTo>
                  <a:cubicBezTo>
                    <a:pt x="13" y="5"/>
                    <a:pt x="12" y="6"/>
                    <a:pt x="12" y="6"/>
                  </a:cubicBezTo>
                  <a:cubicBezTo>
                    <a:pt x="11" y="7"/>
                    <a:pt x="11" y="7"/>
                    <a:pt x="11" y="7"/>
                  </a:cubicBezTo>
                  <a:cubicBezTo>
                    <a:pt x="10" y="8"/>
                    <a:pt x="10" y="8"/>
                    <a:pt x="9" y="9"/>
                  </a:cubicBezTo>
                  <a:cubicBezTo>
                    <a:pt x="9" y="9"/>
                    <a:pt x="8" y="9"/>
                    <a:pt x="8" y="10"/>
                  </a:cubicBezTo>
                  <a:cubicBezTo>
                    <a:pt x="7" y="10"/>
                    <a:pt x="7" y="10"/>
                    <a:pt x="6" y="10"/>
                  </a:cubicBezTo>
                  <a:cubicBezTo>
                    <a:pt x="5" y="11"/>
                    <a:pt x="5" y="11"/>
                    <a:pt x="4" y="12"/>
                  </a:cubicBezTo>
                  <a:cubicBezTo>
                    <a:pt x="3" y="12"/>
                    <a:pt x="2" y="13"/>
                    <a:pt x="1" y="13"/>
                  </a:cubicBezTo>
                  <a:cubicBezTo>
                    <a:pt x="1" y="13"/>
                    <a:pt x="0" y="13"/>
                    <a:pt x="0" y="14"/>
                  </a:cubicBezTo>
                  <a:cubicBezTo>
                    <a:pt x="0" y="116"/>
                    <a:pt x="0" y="116"/>
                    <a:pt x="0" y="116"/>
                  </a:cubicBezTo>
                  <a:cubicBezTo>
                    <a:pt x="163" y="116"/>
                    <a:pt x="163" y="116"/>
                    <a:pt x="163" y="116"/>
                  </a:cubicBezTo>
                  <a:cubicBezTo>
                    <a:pt x="169" y="111"/>
                    <a:pt x="169" y="111"/>
                    <a:pt x="169" y="111"/>
                  </a:cubicBezTo>
                  <a:cubicBezTo>
                    <a:pt x="176" y="112"/>
                    <a:pt x="176" y="112"/>
                    <a:pt x="176" y="112"/>
                  </a:cubicBezTo>
                  <a:cubicBezTo>
                    <a:pt x="176" y="111"/>
                    <a:pt x="178" y="110"/>
                    <a:pt x="179" y="110"/>
                  </a:cubicBezTo>
                  <a:cubicBezTo>
                    <a:pt x="179" y="110"/>
                    <a:pt x="180" y="110"/>
                    <a:pt x="180" y="110"/>
                  </a:cubicBezTo>
                  <a:cubicBezTo>
                    <a:pt x="181" y="110"/>
                    <a:pt x="182" y="109"/>
                    <a:pt x="182" y="109"/>
                  </a:cubicBezTo>
                  <a:cubicBezTo>
                    <a:pt x="183" y="109"/>
                    <a:pt x="183" y="109"/>
                    <a:pt x="184" y="108"/>
                  </a:cubicBezTo>
                  <a:cubicBezTo>
                    <a:pt x="184" y="108"/>
                    <a:pt x="185" y="108"/>
                    <a:pt x="185" y="109"/>
                  </a:cubicBezTo>
                  <a:cubicBezTo>
                    <a:pt x="185" y="105"/>
                    <a:pt x="185" y="105"/>
                    <a:pt x="185" y="105"/>
                  </a:cubicBezTo>
                  <a:cubicBezTo>
                    <a:pt x="195" y="99"/>
                    <a:pt x="195" y="99"/>
                    <a:pt x="195" y="99"/>
                  </a:cubicBezTo>
                  <a:cubicBezTo>
                    <a:pt x="198" y="98"/>
                    <a:pt x="198" y="98"/>
                    <a:pt x="198" y="98"/>
                  </a:cubicBezTo>
                  <a:cubicBezTo>
                    <a:pt x="199" y="95"/>
                    <a:pt x="199" y="95"/>
                    <a:pt x="199" y="95"/>
                  </a:cubicBezTo>
                  <a:cubicBezTo>
                    <a:pt x="198" y="94"/>
                    <a:pt x="198" y="94"/>
                    <a:pt x="198" y="94"/>
                  </a:cubicBezTo>
                  <a:lnTo>
                    <a:pt x="192" y="88"/>
                  </a:lnTo>
                  <a:close/>
                </a:path>
              </a:pathLst>
            </a:custGeom>
            <a:solidFill>
              <a:srgbClr val="FF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8" name="Freeform 21">
              <a:extLst>
                <a:ext uri="{FF2B5EF4-FFF2-40B4-BE49-F238E27FC236}">
                  <a16:creationId xmlns:a16="http://schemas.microsoft.com/office/drawing/2014/main" id="{F55C12DB-FA0F-9956-C50D-FF3FC0A3DF09}"/>
                </a:ext>
              </a:extLst>
            </p:cNvPr>
            <p:cNvSpPr>
              <a:spLocks/>
            </p:cNvSpPr>
            <p:nvPr/>
          </p:nvSpPr>
          <p:spPr bwMode="auto">
            <a:xfrm>
              <a:off x="2542898" y="1524910"/>
              <a:ext cx="1105325" cy="804623"/>
            </a:xfrm>
            <a:custGeom>
              <a:avLst/>
              <a:gdLst>
                <a:gd name="T0" fmla="*/ 262 w 279"/>
                <a:gd name="T1" fmla="*/ 99 h 203"/>
                <a:gd name="T2" fmla="*/ 254 w 279"/>
                <a:gd name="T3" fmla="*/ 94 h 203"/>
                <a:gd name="T4" fmla="*/ 253 w 279"/>
                <a:gd name="T5" fmla="*/ 86 h 203"/>
                <a:gd name="T6" fmla="*/ 262 w 279"/>
                <a:gd name="T7" fmla="*/ 72 h 203"/>
                <a:gd name="T8" fmla="*/ 267 w 279"/>
                <a:gd name="T9" fmla="*/ 61 h 203"/>
                <a:gd name="T10" fmla="*/ 277 w 279"/>
                <a:gd name="T11" fmla="*/ 36 h 203"/>
                <a:gd name="T12" fmla="*/ 277 w 279"/>
                <a:gd name="T13" fmla="*/ 23 h 203"/>
                <a:gd name="T14" fmla="*/ 191 w 279"/>
                <a:gd name="T15" fmla="*/ 11 h 203"/>
                <a:gd name="T16" fmla="*/ 181 w 279"/>
                <a:gd name="T17" fmla="*/ 14 h 203"/>
                <a:gd name="T18" fmla="*/ 173 w 279"/>
                <a:gd name="T19" fmla="*/ 15 h 203"/>
                <a:gd name="T20" fmla="*/ 165 w 279"/>
                <a:gd name="T21" fmla="*/ 19 h 203"/>
                <a:gd name="T22" fmla="*/ 151 w 279"/>
                <a:gd name="T23" fmla="*/ 24 h 203"/>
                <a:gd name="T24" fmla="*/ 137 w 279"/>
                <a:gd name="T25" fmla="*/ 24 h 203"/>
                <a:gd name="T26" fmla="*/ 124 w 279"/>
                <a:gd name="T27" fmla="*/ 28 h 203"/>
                <a:gd name="T28" fmla="*/ 115 w 279"/>
                <a:gd name="T29" fmla="*/ 28 h 203"/>
                <a:gd name="T30" fmla="*/ 109 w 279"/>
                <a:gd name="T31" fmla="*/ 26 h 203"/>
                <a:gd name="T32" fmla="*/ 101 w 279"/>
                <a:gd name="T33" fmla="*/ 26 h 203"/>
                <a:gd name="T34" fmla="*/ 84 w 279"/>
                <a:gd name="T35" fmla="*/ 32 h 203"/>
                <a:gd name="T36" fmla="*/ 69 w 279"/>
                <a:gd name="T37" fmla="*/ 32 h 203"/>
                <a:gd name="T38" fmla="*/ 59 w 279"/>
                <a:gd name="T39" fmla="*/ 12 h 203"/>
                <a:gd name="T40" fmla="*/ 49 w 279"/>
                <a:gd name="T41" fmla="*/ 2 h 203"/>
                <a:gd name="T42" fmla="*/ 40 w 279"/>
                <a:gd name="T43" fmla="*/ 3 h 203"/>
                <a:gd name="T44" fmla="*/ 35 w 279"/>
                <a:gd name="T45" fmla="*/ 1 h 203"/>
                <a:gd name="T46" fmla="*/ 29 w 279"/>
                <a:gd name="T47" fmla="*/ 2 h 203"/>
                <a:gd name="T48" fmla="*/ 24 w 279"/>
                <a:gd name="T49" fmla="*/ 2 h 203"/>
                <a:gd name="T50" fmla="*/ 21 w 279"/>
                <a:gd name="T51" fmla="*/ 6 h 203"/>
                <a:gd name="T52" fmla="*/ 21 w 279"/>
                <a:gd name="T53" fmla="*/ 22 h 203"/>
                <a:gd name="T54" fmla="*/ 22 w 279"/>
                <a:gd name="T55" fmla="*/ 32 h 203"/>
                <a:gd name="T56" fmla="*/ 21 w 279"/>
                <a:gd name="T57" fmla="*/ 37 h 203"/>
                <a:gd name="T58" fmla="*/ 20 w 279"/>
                <a:gd name="T59" fmla="*/ 53 h 203"/>
                <a:gd name="T60" fmla="*/ 19 w 279"/>
                <a:gd name="T61" fmla="*/ 62 h 203"/>
                <a:gd name="T62" fmla="*/ 17 w 279"/>
                <a:gd name="T63" fmla="*/ 81 h 203"/>
                <a:gd name="T64" fmla="*/ 17 w 279"/>
                <a:gd name="T65" fmla="*/ 87 h 203"/>
                <a:gd name="T66" fmla="*/ 16 w 279"/>
                <a:gd name="T67" fmla="*/ 101 h 203"/>
                <a:gd name="T68" fmla="*/ 15 w 279"/>
                <a:gd name="T69" fmla="*/ 108 h 203"/>
                <a:gd name="T70" fmla="*/ 14 w 279"/>
                <a:gd name="T71" fmla="*/ 118 h 203"/>
                <a:gd name="T72" fmla="*/ 15 w 279"/>
                <a:gd name="T73" fmla="*/ 122 h 203"/>
                <a:gd name="T74" fmla="*/ 13 w 279"/>
                <a:gd name="T75" fmla="*/ 124 h 203"/>
                <a:gd name="T76" fmla="*/ 11 w 279"/>
                <a:gd name="T77" fmla="*/ 133 h 203"/>
                <a:gd name="T78" fmla="*/ 7 w 279"/>
                <a:gd name="T79" fmla="*/ 141 h 203"/>
                <a:gd name="T80" fmla="*/ 6 w 279"/>
                <a:gd name="T81" fmla="*/ 144 h 203"/>
                <a:gd name="T82" fmla="*/ 5 w 279"/>
                <a:gd name="T83" fmla="*/ 151 h 203"/>
                <a:gd name="T84" fmla="*/ 3 w 279"/>
                <a:gd name="T85" fmla="*/ 156 h 203"/>
                <a:gd name="T86" fmla="*/ 4 w 279"/>
                <a:gd name="T87" fmla="*/ 160 h 203"/>
                <a:gd name="T88" fmla="*/ 6 w 279"/>
                <a:gd name="T89" fmla="*/ 161 h 203"/>
                <a:gd name="T90" fmla="*/ 0 w 279"/>
                <a:gd name="T91" fmla="*/ 164 h 203"/>
                <a:gd name="T92" fmla="*/ 3 w 279"/>
                <a:gd name="T93" fmla="*/ 170 h 203"/>
                <a:gd name="T94" fmla="*/ 6 w 279"/>
                <a:gd name="T95" fmla="*/ 176 h 203"/>
                <a:gd name="T96" fmla="*/ 5 w 279"/>
                <a:gd name="T97" fmla="*/ 180 h 203"/>
                <a:gd name="T98" fmla="*/ 7 w 279"/>
                <a:gd name="T99" fmla="*/ 196 h 203"/>
                <a:gd name="T100" fmla="*/ 9 w 279"/>
                <a:gd name="T101" fmla="*/ 200 h 203"/>
                <a:gd name="T102" fmla="*/ 260 w 279"/>
                <a:gd name="T103"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9" h="203">
                  <a:moveTo>
                    <a:pt x="262" y="113"/>
                  </a:moveTo>
                  <a:cubicBezTo>
                    <a:pt x="262" y="111"/>
                    <a:pt x="263" y="110"/>
                    <a:pt x="263" y="109"/>
                  </a:cubicBezTo>
                  <a:cubicBezTo>
                    <a:pt x="263" y="107"/>
                    <a:pt x="261" y="106"/>
                    <a:pt x="262" y="104"/>
                  </a:cubicBezTo>
                  <a:cubicBezTo>
                    <a:pt x="263" y="104"/>
                    <a:pt x="265" y="101"/>
                    <a:pt x="264" y="100"/>
                  </a:cubicBezTo>
                  <a:cubicBezTo>
                    <a:pt x="263" y="100"/>
                    <a:pt x="262" y="100"/>
                    <a:pt x="262" y="99"/>
                  </a:cubicBezTo>
                  <a:cubicBezTo>
                    <a:pt x="262" y="99"/>
                    <a:pt x="262" y="97"/>
                    <a:pt x="262" y="97"/>
                  </a:cubicBezTo>
                  <a:cubicBezTo>
                    <a:pt x="261" y="96"/>
                    <a:pt x="261" y="97"/>
                    <a:pt x="260" y="97"/>
                  </a:cubicBezTo>
                  <a:cubicBezTo>
                    <a:pt x="260" y="97"/>
                    <a:pt x="260" y="97"/>
                    <a:pt x="259" y="97"/>
                  </a:cubicBezTo>
                  <a:cubicBezTo>
                    <a:pt x="258" y="96"/>
                    <a:pt x="257" y="95"/>
                    <a:pt x="256" y="95"/>
                  </a:cubicBezTo>
                  <a:cubicBezTo>
                    <a:pt x="256" y="96"/>
                    <a:pt x="254" y="95"/>
                    <a:pt x="254" y="94"/>
                  </a:cubicBezTo>
                  <a:cubicBezTo>
                    <a:pt x="254" y="94"/>
                    <a:pt x="254" y="93"/>
                    <a:pt x="254" y="93"/>
                  </a:cubicBezTo>
                  <a:cubicBezTo>
                    <a:pt x="254" y="92"/>
                    <a:pt x="254" y="91"/>
                    <a:pt x="253" y="91"/>
                  </a:cubicBezTo>
                  <a:cubicBezTo>
                    <a:pt x="253" y="90"/>
                    <a:pt x="252" y="90"/>
                    <a:pt x="252" y="90"/>
                  </a:cubicBezTo>
                  <a:cubicBezTo>
                    <a:pt x="252" y="89"/>
                    <a:pt x="253" y="89"/>
                    <a:pt x="253" y="89"/>
                  </a:cubicBezTo>
                  <a:cubicBezTo>
                    <a:pt x="254" y="88"/>
                    <a:pt x="253" y="87"/>
                    <a:pt x="253" y="86"/>
                  </a:cubicBezTo>
                  <a:cubicBezTo>
                    <a:pt x="254" y="84"/>
                    <a:pt x="255" y="84"/>
                    <a:pt x="256" y="82"/>
                  </a:cubicBezTo>
                  <a:cubicBezTo>
                    <a:pt x="257" y="81"/>
                    <a:pt x="257" y="79"/>
                    <a:pt x="257" y="78"/>
                  </a:cubicBezTo>
                  <a:cubicBezTo>
                    <a:pt x="258" y="77"/>
                    <a:pt x="258" y="75"/>
                    <a:pt x="259" y="74"/>
                  </a:cubicBezTo>
                  <a:cubicBezTo>
                    <a:pt x="259" y="73"/>
                    <a:pt x="259" y="73"/>
                    <a:pt x="260" y="73"/>
                  </a:cubicBezTo>
                  <a:cubicBezTo>
                    <a:pt x="260" y="72"/>
                    <a:pt x="261" y="72"/>
                    <a:pt x="262" y="72"/>
                  </a:cubicBezTo>
                  <a:cubicBezTo>
                    <a:pt x="263" y="71"/>
                    <a:pt x="263" y="71"/>
                    <a:pt x="263" y="70"/>
                  </a:cubicBezTo>
                  <a:cubicBezTo>
                    <a:pt x="264" y="69"/>
                    <a:pt x="264" y="68"/>
                    <a:pt x="265" y="67"/>
                  </a:cubicBezTo>
                  <a:cubicBezTo>
                    <a:pt x="266" y="66"/>
                    <a:pt x="266" y="65"/>
                    <a:pt x="266" y="64"/>
                  </a:cubicBezTo>
                  <a:cubicBezTo>
                    <a:pt x="266" y="63"/>
                    <a:pt x="266" y="63"/>
                    <a:pt x="267" y="62"/>
                  </a:cubicBezTo>
                  <a:cubicBezTo>
                    <a:pt x="267" y="61"/>
                    <a:pt x="267" y="61"/>
                    <a:pt x="267" y="61"/>
                  </a:cubicBezTo>
                  <a:cubicBezTo>
                    <a:pt x="266" y="60"/>
                    <a:pt x="266" y="60"/>
                    <a:pt x="266" y="60"/>
                  </a:cubicBezTo>
                  <a:cubicBezTo>
                    <a:pt x="266" y="59"/>
                    <a:pt x="266" y="59"/>
                    <a:pt x="266" y="59"/>
                  </a:cubicBezTo>
                  <a:cubicBezTo>
                    <a:pt x="270" y="53"/>
                    <a:pt x="270" y="53"/>
                    <a:pt x="270" y="53"/>
                  </a:cubicBezTo>
                  <a:cubicBezTo>
                    <a:pt x="270" y="53"/>
                    <a:pt x="272" y="46"/>
                    <a:pt x="272" y="46"/>
                  </a:cubicBezTo>
                  <a:cubicBezTo>
                    <a:pt x="272" y="46"/>
                    <a:pt x="277" y="36"/>
                    <a:pt x="277" y="36"/>
                  </a:cubicBezTo>
                  <a:cubicBezTo>
                    <a:pt x="277" y="36"/>
                    <a:pt x="277" y="35"/>
                    <a:pt x="277" y="34"/>
                  </a:cubicBezTo>
                  <a:cubicBezTo>
                    <a:pt x="278" y="34"/>
                    <a:pt x="279" y="31"/>
                    <a:pt x="279" y="31"/>
                  </a:cubicBezTo>
                  <a:cubicBezTo>
                    <a:pt x="278" y="28"/>
                    <a:pt x="278" y="28"/>
                    <a:pt x="278" y="28"/>
                  </a:cubicBezTo>
                  <a:cubicBezTo>
                    <a:pt x="278" y="28"/>
                    <a:pt x="277" y="26"/>
                    <a:pt x="277" y="26"/>
                  </a:cubicBezTo>
                  <a:cubicBezTo>
                    <a:pt x="277" y="25"/>
                    <a:pt x="277" y="23"/>
                    <a:pt x="277" y="23"/>
                  </a:cubicBezTo>
                  <a:cubicBezTo>
                    <a:pt x="277" y="23"/>
                    <a:pt x="273" y="21"/>
                    <a:pt x="273" y="21"/>
                  </a:cubicBezTo>
                  <a:cubicBezTo>
                    <a:pt x="272" y="21"/>
                    <a:pt x="269" y="19"/>
                    <a:pt x="269" y="19"/>
                  </a:cubicBezTo>
                  <a:cubicBezTo>
                    <a:pt x="264" y="11"/>
                    <a:pt x="264" y="11"/>
                    <a:pt x="264" y="11"/>
                  </a:cubicBezTo>
                  <a:cubicBezTo>
                    <a:pt x="193" y="11"/>
                    <a:pt x="193" y="11"/>
                    <a:pt x="193" y="11"/>
                  </a:cubicBezTo>
                  <a:cubicBezTo>
                    <a:pt x="192" y="11"/>
                    <a:pt x="192" y="11"/>
                    <a:pt x="191" y="11"/>
                  </a:cubicBezTo>
                  <a:cubicBezTo>
                    <a:pt x="191" y="12"/>
                    <a:pt x="190" y="12"/>
                    <a:pt x="190" y="12"/>
                  </a:cubicBezTo>
                  <a:cubicBezTo>
                    <a:pt x="189" y="13"/>
                    <a:pt x="189" y="13"/>
                    <a:pt x="188" y="14"/>
                  </a:cubicBezTo>
                  <a:cubicBezTo>
                    <a:pt x="187" y="14"/>
                    <a:pt x="187" y="14"/>
                    <a:pt x="186" y="14"/>
                  </a:cubicBezTo>
                  <a:cubicBezTo>
                    <a:pt x="185" y="14"/>
                    <a:pt x="183" y="14"/>
                    <a:pt x="182" y="14"/>
                  </a:cubicBezTo>
                  <a:cubicBezTo>
                    <a:pt x="182" y="14"/>
                    <a:pt x="181" y="14"/>
                    <a:pt x="181" y="14"/>
                  </a:cubicBezTo>
                  <a:cubicBezTo>
                    <a:pt x="181" y="14"/>
                    <a:pt x="180" y="14"/>
                    <a:pt x="180" y="14"/>
                  </a:cubicBezTo>
                  <a:cubicBezTo>
                    <a:pt x="179" y="15"/>
                    <a:pt x="179" y="15"/>
                    <a:pt x="179" y="15"/>
                  </a:cubicBezTo>
                  <a:cubicBezTo>
                    <a:pt x="178" y="15"/>
                    <a:pt x="177" y="15"/>
                    <a:pt x="177" y="15"/>
                  </a:cubicBezTo>
                  <a:cubicBezTo>
                    <a:pt x="176" y="15"/>
                    <a:pt x="176" y="16"/>
                    <a:pt x="175" y="15"/>
                  </a:cubicBezTo>
                  <a:cubicBezTo>
                    <a:pt x="175" y="15"/>
                    <a:pt x="174" y="15"/>
                    <a:pt x="173" y="15"/>
                  </a:cubicBezTo>
                  <a:cubicBezTo>
                    <a:pt x="172" y="15"/>
                    <a:pt x="171" y="15"/>
                    <a:pt x="171" y="15"/>
                  </a:cubicBezTo>
                  <a:cubicBezTo>
                    <a:pt x="170" y="16"/>
                    <a:pt x="170" y="16"/>
                    <a:pt x="170" y="16"/>
                  </a:cubicBezTo>
                  <a:cubicBezTo>
                    <a:pt x="169" y="17"/>
                    <a:pt x="169" y="17"/>
                    <a:pt x="169" y="17"/>
                  </a:cubicBezTo>
                  <a:cubicBezTo>
                    <a:pt x="168" y="18"/>
                    <a:pt x="167" y="18"/>
                    <a:pt x="166" y="19"/>
                  </a:cubicBezTo>
                  <a:cubicBezTo>
                    <a:pt x="166" y="19"/>
                    <a:pt x="165" y="19"/>
                    <a:pt x="165" y="19"/>
                  </a:cubicBezTo>
                  <a:cubicBezTo>
                    <a:pt x="164" y="19"/>
                    <a:pt x="163" y="19"/>
                    <a:pt x="163" y="19"/>
                  </a:cubicBezTo>
                  <a:cubicBezTo>
                    <a:pt x="162" y="19"/>
                    <a:pt x="162" y="19"/>
                    <a:pt x="162" y="19"/>
                  </a:cubicBezTo>
                  <a:cubicBezTo>
                    <a:pt x="161" y="20"/>
                    <a:pt x="161" y="20"/>
                    <a:pt x="160" y="20"/>
                  </a:cubicBezTo>
                  <a:cubicBezTo>
                    <a:pt x="159" y="20"/>
                    <a:pt x="158" y="20"/>
                    <a:pt x="157" y="21"/>
                  </a:cubicBezTo>
                  <a:cubicBezTo>
                    <a:pt x="155" y="21"/>
                    <a:pt x="153" y="23"/>
                    <a:pt x="151" y="24"/>
                  </a:cubicBezTo>
                  <a:cubicBezTo>
                    <a:pt x="150" y="25"/>
                    <a:pt x="149" y="25"/>
                    <a:pt x="148" y="25"/>
                  </a:cubicBezTo>
                  <a:cubicBezTo>
                    <a:pt x="147" y="26"/>
                    <a:pt x="145" y="26"/>
                    <a:pt x="144" y="26"/>
                  </a:cubicBezTo>
                  <a:cubicBezTo>
                    <a:pt x="143" y="26"/>
                    <a:pt x="141" y="26"/>
                    <a:pt x="140" y="26"/>
                  </a:cubicBezTo>
                  <a:cubicBezTo>
                    <a:pt x="139" y="25"/>
                    <a:pt x="139" y="25"/>
                    <a:pt x="138" y="25"/>
                  </a:cubicBezTo>
                  <a:cubicBezTo>
                    <a:pt x="138" y="24"/>
                    <a:pt x="137" y="24"/>
                    <a:pt x="137" y="24"/>
                  </a:cubicBezTo>
                  <a:cubicBezTo>
                    <a:pt x="136" y="24"/>
                    <a:pt x="135" y="24"/>
                    <a:pt x="135" y="24"/>
                  </a:cubicBezTo>
                  <a:cubicBezTo>
                    <a:pt x="134" y="25"/>
                    <a:pt x="133" y="25"/>
                    <a:pt x="133" y="25"/>
                  </a:cubicBezTo>
                  <a:cubicBezTo>
                    <a:pt x="132" y="26"/>
                    <a:pt x="131" y="26"/>
                    <a:pt x="130" y="27"/>
                  </a:cubicBezTo>
                  <a:cubicBezTo>
                    <a:pt x="129" y="28"/>
                    <a:pt x="128" y="28"/>
                    <a:pt x="127" y="29"/>
                  </a:cubicBezTo>
                  <a:cubicBezTo>
                    <a:pt x="126" y="29"/>
                    <a:pt x="125" y="28"/>
                    <a:pt x="124" y="28"/>
                  </a:cubicBezTo>
                  <a:cubicBezTo>
                    <a:pt x="123" y="28"/>
                    <a:pt x="122" y="28"/>
                    <a:pt x="122" y="28"/>
                  </a:cubicBezTo>
                  <a:cubicBezTo>
                    <a:pt x="121" y="28"/>
                    <a:pt x="120" y="28"/>
                    <a:pt x="120" y="29"/>
                  </a:cubicBezTo>
                  <a:cubicBezTo>
                    <a:pt x="119" y="29"/>
                    <a:pt x="119" y="30"/>
                    <a:pt x="118" y="30"/>
                  </a:cubicBezTo>
                  <a:cubicBezTo>
                    <a:pt x="118" y="31"/>
                    <a:pt x="117" y="31"/>
                    <a:pt x="116" y="30"/>
                  </a:cubicBezTo>
                  <a:cubicBezTo>
                    <a:pt x="115" y="30"/>
                    <a:pt x="116" y="29"/>
                    <a:pt x="115" y="28"/>
                  </a:cubicBezTo>
                  <a:cubicBezTo>
                    <a:pt x="115" y="28"/>
                    <a:pt x="115" y="28"/>
                    <a:pt x="115" y="27"/>
                  </a:cubicBezTo>
                  <a:cubicBezTo>
                    <a:pt x="114" y="27"/>
                    <a:pt x="114" y="27"/>
                    <a:pt x="113" y="27"/>
                  </a:cubicBezTo>
                  <a:cubicBezTo>
                    <a:pt x="112" y="26"/>
                    <a:pt x="112" y="26"/>
                    <a:pt x="111" y="26"/>
                  </a:cubicBezTo>
                  <a:cubicBezTo>
                    <a:pt x="111" y="26"/>
                    <a:pt x="110" y="26"/>
                    <a:pt x="110" y="26"/>
                  </a:cubicBezTo>
                  <a:cubicBezTo>
                    <a:pt x="110" y="26"/>
                    <a:pt x="109" y="26"/>
                    <a:pt x="109" y="26"/>
                  </a:cubicBezTo>
                  <a:cubicBezTo>
                    <a:pt x="108" y="26"/>
                    <a:pt x="108" y="26"/>
                    <a:pt x="107" y="26"/>
                  </a:cubicBezTo>
                  <a:cubicBezTo>
                    <a:pt x="107" y="26"/>
                    <a:pt x="107" y="26"/>
                    <a:pt x="106" y="25"/>
                  </a:cubicBezTo>
                  <a:cubicBezTo>
                    <a:pt x="105" y="25"/>
                    <a:pt x="104" y="25"/>
                    <a:pt x="103" y="25"/>
                  </a:cubicBezTo>
                  <a:cubicBezTo>
                    <a:pt x="103" y="25"/>
                    <a:pt x="102" y="25"/>
                    <a:pt x="102" y="25"/>
                  </a:cubicBezTo>
                  <a:cubicBezTo>
                    <a:pt x="102" y="26"/>
                    <a:pt x="101" y="26"/>
                    <a:pt x="101" y="26"/>
                  </a:cubicBezTo>
                  <a:cubicBezTo>
                    <a:pt x="100" y="27"/>
                    <a:pt x="98" y="26"/>
                    <a:pt x="96" y="26"/>
                  </a:cubicBezTo>
                  <a:cubicBezTo>
                    <a:pt x="96" y="26"/>
                    <a:pt x="95" y="26"/>
                    <a:pt x="95" y="26"/>
                  </a:cubicBezTo>
                  <a:cubicBezTo>
                    <a:pt x="94" y="26"/>
                    <a:pt x="93" y="27"/>
                    <a:pt x="92" y="27"/>
                  </a:cubicBezTo>
                  <a:cubicBezTo>
                    <a:pt x="91" y="28"/>
                    <a:pt x="90" y="28"/>
                    <a:pt x="89" y="29"/>
                  </a:cubicBezTo>
                  <a:cubicBezTo>
                    <a:pt x="88" y="30"/>
                    <a:pt x="86" y="31"/>
                    <a:pt x="84" y="32"/>
                  </a:cubicBezTo>
                  <a:cubicBezTo>
                    <a:pt x="83" y="32"/>
                    <a:pt x="82" y="33"/>
                    <a:pt x="81" y="33"/>
                  </a:cubicBezTo>
                  <a:cubicBezTo>
                    <a:pt x="78" y="33"/>
                    <a:pt x="78" y="33"/>
                    <a:pt x="78" y="33"/>
                  </a:cubicBezTo>
                  <a:cubicBezTo>
                    <a:pt x="77" y="33"/>
                    <a:pt x="76" y="33"/>
                    <a:pt x="75" y="33"/>
                  </a:cubicBezTo>
                  <a:cubicBezTo>
                    <a:pt x="74" y="33"/>
                    <a:pt x="73" y="33"/>
                    <a:pt x="72" y="33"/>
                  </a:cubicBezTo>
                  <a:cubicBezTo>
                    <a:pt x="71" y="33"/>
                    <a:pt x="70" y="32"/>
                    <a:pt x="69" y="32"/>
                  </a:cubicBezTo>
                  <a:cubicBezTo>
                    <a:pt x="68" y="32"/>
                    <a:pt x="66" y="31"/>
                    <a:pt x="64" y="30"/>
                  </a:cubicBezTo>
                  <a:cubicBezTo>
                    <a:pt x="62" y="29"/>
                    <a:pt x="62" y="26"/>
                    <a:pt x="62" y="24"/>
                  </a:cubicBezTo>
                  <a:cubicBezTo>
                    <a:pt x="61" y="22"/>
                    <a:pt x="61" y="20"/>
                    <a:pt x="61" y="18"/>
                  </a:cubicBezTo>
                  <a:cubicBezTo>
                    <a:pt x="61" y="17"/>
                    <a:pt x="60" y="16"/>
                    <a:pt x="60" y="15"/>
                  </a:cubicBezTo>
                  <a:cubicBezTo>
                    <a:pt x="60" y="14"/>
                    <a:pt x="59" y="13"/>
                    <a:pt x="59" y="12"/>
                  </a:cubicBezTo>
                  <a:cubicBezTo>
                    <a:pt x="59" y="11"/>
                    <a:pt x="58" y="11"/>
                    <a:pt x="58" y="10"/>
                  </a:cubicBezTo>
                  <a:cubicBezTo>
                    <a:pt x="58" y="9"/>
                    <a:pt x="58" y="8"/>
                    <a:pt x="57" y="8"/>
                  </a:cubicBezTo>
                  <a:cubicBezTo>
                    <a:pt x="57" y="7"/>
                    <a:pt x="55" y="6"/>
                    <a:pt x="54" y="6"/>
                  </a:cubicBezTo>
                  <a:cubicBezTo>
                    <a:pt x="53" y="5"/>
                    <a:pt x="53" y="4"/>
                    <a:pt x="52" y="4"/>
                  </a:cubicBezTo>
                  <a:cubicBezTo>
                    <a:pt x="51" y="3"/>
                    <a:pt x="50" y="2"/>
                    <a:pt x="49" y="2"/>
                  </a:cubicBezTo>
                  <a:cubicBezTo>
                    <a:pt x="48" y="2"/>
                    <a:pt x="47" y="3"/>
                    <a:pt x="47" y="3"/>
                  </a:cubicBezTo>
                  <a:cubicBezTo>
                    <a:pt x="46" y="4"/>
                    <a:pt x="45" y="4"/>
                    <a:pt x="43" y="4"/>
                  </a:cubicBezTo>
                  <a:cubicBezTo>
                    <a:pt x="43" y="4"/>
                    <a:pt x="42" y="4"/>
                    <a:pt x="42" y="4"/>
                  </a:cubicBezTo>
                  <a:cubicBezTo>
                    <a:pt x="41" y="4"/>
                    <a:pt x="40" y="4"/>
                    <a:pt x="40" y="4"/>
                  </a:cubicBezTo>
                  <a:cubicBezTo>
                    <a:pt x="40" y="3"/>
                    <a:pt x="40" y="3"/>
                    <a:pt x="40" y="3"/>
                  </a:cubicBezTo>
                  <a:cubicBezTo>
                    <a:pt x="40" y="2"/>
                    <a:pt x="39" y="2"/>
                    <a:pt x="39" y="2"/>
                  </a:cubicBezTo>
                  <a:cubicBezTo>
                    <a:pt x="39" y="2"/>
                    <a:pt x="38" y="1"/>
                    <a:pt x="38" y="1"/>
                  </a:cubicBezTo>
                  <a:cubicBezTo>
                    <a:pt x="38" y="0"/>
                    <a:pt x="37" y="0"/>
                    <a:pt x="37" y="0"/>
                  </a:cubicBezTo>
                  <a:cubicBezTo>
                    <a:pt x="37" y="0"/>
                    <a:pt x="36" y="0"/>
                    <a:pt x="36" y="0"/>
                  </a:cubicBezTo>
                  <a:cubicBezTo>
                    <a:pt x="36" y="0"/>
                    <a:pt x="35" y="1"/>
                    <a:pt x="35" y="1"/>
                  </a:cubicBezTo>
                  <a:cubicBezTo>
                    <a:pt x="35" y="1"/>
                    <a:pt x="34" y="1"/>
                    <a:pt x="34" y="2"/>
                  </a:cubicBezTo>
                  <a:cubicBezTo>
                    <a:pt x="34" y="2"/>
                    <a:pt x="33" y="2"/>
                    <a:pt x="33" y="2"/>
                  </a:cubicBezTo>
                  <a:cubicBezTo>
                    <a:pt x="33" y="2"/>
                    <a:pt x="32" y="2"/>
                    <a:pt x="32" y="3"/>
                  </a:cubicBezTo>
                  <a:cubicBezTo>
                    <a:pt x="32" y="3"/>
                    <a:pt x="32" y="3"/>
                    <a:pt x="31" y="3"/>
                  </a:cubicBezTo>
                  <a:cubicBezTo>
                    <a:pt x="31" y="3"/>
                    <a:pt x="30" y="3"/>
                    <a:pt x="29" y="2"/>
                  </a:cubicBezTo>
                  <a:cubicBezTo>
                    <a:pt x="29" y="2"/>
                    <a:pt x="28" y="2"/>
                    <a:pt x="28" y="2"/>
                  </a:cubicBezTo>
                  <a:cubicBezTo>
                    <a:pt x="28" y="2"/>
                    <a:pt x="28" y="1"/>
                    <a:pt x="28" y="1"/>
                  </a:cubicBezTo>
                  <a:cubicBezTo>
                    <a:pt x="27" y="1"/>
                    <a:pt x="27" y="2"/>
                    <a:pt x="27" y="2"/>
                  </a:cubicBezTo>
                  <a:cubicBezTo>
                    <a:pt x="26" y="3"/>
                    <a:pt x="26" y="3"/>
                    <a:pt x="25" y="2"/>
                  </a:cubicBezTo>
                  <a:cubicBezTo>
                    <a:pt x="25" y="2"/>
                    <a:pt x="25" y="2"/>
                    <a:pt x="24" y="2"/>
                  </a:cubicBezTo>
                  <a:cubicBezTo>
                    <a:pt x="24" y="2"/>
                    <a:pt x="23" y="2"/>
                    <a:pt x="22" y="1"/>
                  </a:cubicBezTo>
                  <a:cubicBezTo>
                    <a:pt x="22" y="1"/>
                    <a:pt x="22" y="1"/>
                    <a:pt x="21" y="1"/>
                  </a:cubicBezTo>
                  <a:cubicBezTo>
                    <a:pt x="21" y="1"/>
                    <a:pt x="21" y="2"/>
                    <a:pt x="21" y="3"/>
                  </a:cubicBezTo>
                  <a:cubicBezTo>
                    <a:pt x="21" y="3"/>
                    <a:pt x="21" y="4"/>
                    <a:pt x="21" y="4"/>
                  </a:cubicBezTo>
                  <a:cubicBezTo>
                    <a:pt x="21" y="5"/>
                    <a:pt x="21" y="6"/>
                    <a:pt x="21" y="6"/>
                  </a:cubicBezTo>
                  <a:cubicBezTo>
                    <a:pt x="21" y="7"/>
                    <a:pt x="21" y="7"/>
                    <a:pt x="22" y="8"/>
                  </a:cubicBezTo>
                  <a:cubicBezTo>
                    <a:pt x="22" y="9"/>
                    <a:pt x="22" y="10"/>
                    <a:pt x="22" y="10"/>
                  </a:cubicBezTo>
                  <a:cubicBezTo>
                    <a:pt x="22" y="11"/>
                    <a:pt x="22" y="12"/>
                    <a:pt x="21" y="13"/>
                  </a:cubicBezTo>
                  <a:cubicBezTo>
                    <a:pt x="21" y="14"/>
                    <a:pt x="21" y="15"/>
                    <a:pt x="21" y="16"/>
                  </a:cubicBezTo>
                  <a:cubicBezTo>
                    <a:pt x="21" y="18"/>
                    <a:pt x="21" y="20"/>
                    <a:pt x="21" y="22"/>
                  </a:cubicBezTo>
                  <a:cubicBezTo>
                    <a:pt x="21" y="22"/>
                    <a:pt x="21" y="23"/>
                    <a:pt x="21" y="24"/>
                  </a:cubicBezTo>
                  <a:cubicBezTo>
                    <a:pt x="21" y="25"/>
                    <a:pt x="21" y="26"/>
                    <a:pt x="21" y="27"/>
                  </a:cubicBezTo>
                  <a:cubicBezTo>
                    <a:pt x="21" y="27"/>
                    <a:pt x="22" y="28"/>
                    <a:pt x="22" y="28"/>
                  </a:cubicBezTo>
                  <a:cubicBezTo>
                    <a:pt x="22" y="29"/>
                    <a:pt x="22" y="29"/>
                    <a:pt x="22" y="30"/>
                  </a:cubicBezTo>
                  <a:cubicBezTo>
                    <a:pt x="22" y="31"/>
                    <a:pt x="22" y="31"/>
                    <a:pt x="22" y="32"/>
                  </a:cubicBezTo>
                  <a:cubicBezTo>
                    <a:pt x="23" y="32"/>
                    <a:pt x="22" y="33"/>
                    <a:pt x="23" y="33"/>
                  </a:cubicBezTo>
                  <a:cubicBezTo>
                    <a:pt x="22" y="33"/>
                    <a:pt x="23" y="34"/>
                    <a:pt x="23" y="34"/>
                  </a:cubicBezTo>
                  <a:cubicBezTo>
                    <a:pt x="23" y="34"/>
                    <a:pt x="23" y="34"/>
                    <a:pt x="23" y="34"/>
                  </a:cubicBezTo>
                  <a:cubicBezTo>
                    <a:pt x="23" y="35"/>
                    <a:pt x="23" y="35"/>
                    <a:pt x="23" y="35"/>
                  </a:cubicBezTo>
                  <a:cubicBezTo>
                    <a:pt x="23" y="36"/>
                    <a:pt x="21" y="36"/>
                    <a:pt x="21" y="37"/>
                  </a:cubicBezTo>
                  <a:cubicBezTo>
                    <a:pt x="21" y="37"/>
                    <a:pt x="21" y="38"/>
                    <a:pt x="21" y="38"/>
                  </a:cubicBezTo>
                  <a:cubicBezTo>
                    <a:pt x="21" y="39"/>
                    <a:pt x="22" y="39"/>
                    <a:pt x="22" y="40"/>
                  </a:cubicBezTo>
                  <a:cubicBezTo>
                    <a:pt x="22" y="41"/>
                    <a:pt x="21" y="42"/>
                    <a:pt x="21" y="43"/>
                  </a:cubicBezTo>
                  <a:cubicBezTo>
                    <a:pt x="20" y="44"/>
                    <a:pt x="20" y="45"/>
                    <a:pt x="20" y="46"/>
                  </a:cubicBezTo>
                  <a:cubicBezTo>
                    <a:pt x="20" y="48"/>
                    <a:pt x="20" y="51"/>
                    <a:pt x="20" y="53"/>
                  </a:cubicBezTo>
                  <a:cubicBezTo>
                    <a:pt x="20" y="54"/>
                    <a:pt x="21" y="55"/>
                    <a:pt x="20" y="56"/>
                  </a:cubicBezTo>
                  <a:cubicBezTo>
                    <a:pt x="20" y="56"/>
                    <a:pt x="20" y="57"/>
                    <a:pt x="20" y="57"/>
                  </a:cubicBezTo>
                  <a:cubicBezTo>
                    <a:pt x="19" y="57"/>
                    <a:pt x="20" y="58"/>
                    <a:pt x="20" y="58"/>
                  </a:cubicBezTo>
                  <a:cubicBezTo>
                    <a:pt x="20" y="59"/>
                    <a:pt x="20" y="60"/>
                    <a:pt x="19" y="61"/>
                  </a:cubicBezTo>
                  <a:cubicBezTo>
                    <a:pt x="19" y="61"/>
                    <a:pt x="19" y="62"/>
                    <a:pt x="19" y="62"/>
                  </a:cubicBezTo>
                  <a:cubicBezTo>
                    <a:pt x="19" y="63"/>
                    <a:pt x="19" y="64"/>
                    <a:pt x="19" y="64"/>
                  </a:cubicBezTo>
                  <a:cubicBezTo>
                    <a:pt x="19" y="65"/>
                    <a:pt x="18" y="66"/>
                    <a:pt x="18" y="67"/>
                  </a:cubicBezTo>
                  <a:cubicBezTo>
                    <a:pt x="18" y="67"/>
                    <a:pt x="17" y="68"/>
                    <a:pt x="17" y="69"/>
                  </a:cubicBezTo>
                  <a:cubicBezTo>
                    <a:pt x="17" y="79"/>
                    <a:pt x="17" y="79"/>
                    <a:pt x="17" y="79"/>
                  </a:cubicBezTo>
                  <a:cubicBezTo>
                    <a:pt x="17" y="79"/>
                    <a:pt x="17" y="80"/>
                    <a:pt x="17" y="81"/>
                  </a:cubicBezTo>
                  <a:cubicBezTo>
                    <a:pt x="17" y="81"/>
                    <a:pt x="17" y="81"/>
                    <a:pt x="17" y="82"/>
                  </a:cubicBezTo>
                  <a:cubicBezTo>
                    <a:pt x="17" y="82"/>
                    <a:pt x="17" y="82"/>
                    <a:pt x="18" y="82"/>
                  </a:cubicBezTo>
                  <a:cubicBezTo>
                    <a:pt x="17" y="83"/>
                    <a:pt x="17" y="83"/>
                    <a:pt x="17" y="82"/>
                  </a:cubicBezTo>
                  <a:cubicBezTo>
                    <a:pt x="17" y="85"/>
                    <a:pt x="17" y="85"/>
                    <a:pt x="17" y="85"/>
                  </a:cubicBezTo>
                  <a:cubicBezTo>
                    <a:pt x="17" y="86"/>
                    <a:pt x="16" y="86"/>
                    <a:pt x="17" y="87"/>
                  </a:cubicBezTo>
                  <a:cubicBezTo>
                    <a:pt x="17" y="88"/>
                    <a:pt x="17" y="89"/>
                    <a:pt x="17" y="90"/>
                  </a:cubicBezTo>
                  <a:cubicBezTo>
                    <a:pt x="17" y="91"/>
                    <a:pt x="16" y="92"/>
                    <a:pt x="16" y="92"/>
                  </a:cubicBezTo>
                  <a:cubicBezTo>
                    <a:pt x="16" y="93"/>
                    <a:pt x="16" y="93"/>
                    <a:pt x="16" y="94"/>
                  </a:cubicBezTo>
                  <a:cubicBezTo>
                    <a:pt x="16" y="94"/>
                    <a:pt x="16" y="94"/>
                    <a:pt x="16" y="94"/>
                  </a:cubicBezTo>
                  <a:cubicBezTo>
                    <a:pt x="16" y="101"/>
                    <a:pt x="16" y="101"/>
                    <a:pt x="16" y="101"/>
                  </a:cubicBezTo>
                  <a:cubicBezTo>
                    <a:pt x="16" y="101"/>
                    <a:pt x="16" y="101"/>
                    <a:pt x="16" y="102"/>
                  </a:cubicBezTo>
                  <a:cubicBezTo>
                    <a:pt x="16" y="102"/>
                    <a:pt x="16" y="102"/>
                    <a:pt x="15" y="103"/>
                  </a:cubicBezTo>
                  <a:cubicBezTo>
                    <a:pt x="15" y="103"/>
                    <a:pt x="15" y="104"/>
                    <a:pt x="15" y="104"/>
                  </a:cubicBezTo>
                  <a:cubicBezTo>
                    <a:pt x="15" y="105"/>
                    <a:pt x="15" y="105"/>
                    <a:pt x="15" y="106"/>
                  </a:cubicBezTo>
                  <a:cubicBezTo>
                    <a:pt x="15" y="106"/>
                    <a:pt x="15" y="107"/>
                    <a:pt x="15" y="108"/>
                  </a:cubicBezTo>
                  <a:cubicBezTo>
                    <a:pt x="15" y="109"/>
                    <a:pt x="15" y="110"/>
                    <a:pt x="15" y="111"/>
                  </a:cubicBezTo>
                  <a:cubicBezTo>
                    <a:pt x="15" y="111"/>
                    <a:pt x="14" y="112"/>
                    <a:pt x="14" y="113"/>
                  </a:cubicBezTo>
                  <a:cubicBezTo>
                    <a:pt x="14" y="113"/>
                    <a:pt x="14" y="114"/>
                    <a:pt x="14" y="115"/>
                  </a:cubicBezTo>
                  <a:cubicBezTo>
                    <a:pt x="14" y="116"/>
                    <a:pt x="14" y="117"/>
                    <a:pt x="14" y="117"/>
                  </a:cubicBezTo>
                  <a:cubicBezTo>
                    <a:pt x="14" y="117"/>
                    <a:pt x="14" y="117"/>
                    <a:pt x="14" y="118"/>
                  </a:cubicBezTo>
                  <a:cubicBezTo>
                    <a:pt x="13" y="118"/>
                    <a:pt x="13" y="118"/>
                    <a:pt x="13" y="118"/>
                  </a:cubicBezTo>
                  <a:cubicBezTo>
                    <a:pt x="13" y="119"/>
                    <a:pt x="13" y="119"/>
                    <a:pt x="13" y="120"/>
                  </a:cubicBezTo>
                  <a:cubicBezTo>
                    <a:pt x="13" y="121"/>
                    <a:pt x="13" y="122"/>
                    <a:pt x="14" y="122"/>
                  </a:cubicBezTo>
                  <a:cubicBezTo>
                    <a:pt x="14" y="122"/>
                    <a:pt x="14" y="121"/>
                    <a:pt x="15" y="121"/>
                  </a:cubicBezTo>
                  <a:cubicBezTo>
                    <a:pt x="15" y="121"/>
                    <a:pt x="15" y="122"/>
                    <a:pt x="15" y="122"/>
                  </a:cubicBezTo>
                  <a:cubicBezTo>
                    <a:pt x="16" y="123"/>
                    <a:pt x="15" y="123"/>
                    <a:pt x="14" y="124"/>
                  </a:cubicBezTo>
                  <a:cubicBezTo>
                    <a:pt x="14" y="124"/>
                    <a:pt x="14" y="124"/>
                    <a:pt x="14" y="124"/>
                  </a:cubicBezTo>
                  <a:cubicBezTo>
                    <a:pt x="13" y="124"/>
                    <a:pt x="13" y="123"/>
                    <a:pt x="13" y="123"/>
                  </a:cubicBezTo>
                  <a:cubicBezTo>
                    <a:pt x="13" y="123"/>
                    <a:pt x="13" y="123"/>
                    <a:pt x="13" y="123"/>
                  </a:cubicBezTo>
                  <a:cubicBezTo>
                    <a:pt x="13" y="123"/>
                    <a:pt x="13" y="123"/>
                    <a:pt x="13" y="124"/>
                  </a:cubicBezTo>
                  <a:cubicBezTo>
                    <a:pt x="12" y="124"/>
                    <a:pt x="13" y="125"/>
                    <a:pt x="13" y="126"/>
                  </a:cubicBezTo>
                  <a:cubicBezTo>
                    <a:pt x="13" y="126"/>
                    <a:pt x="13" y="126"/>
                    <a:pt x="12" y="126"/>
                  </a:cubicBezTo>
                  <a:cubicBezTo>
                    <a:pt x="12" y="127"/>
                    <a:pt x="12" y="128"/>
                    <a:pt x="12" y="129"/>
                  </a:cubicBezTo>
                  <a:cubicBezTo>
                    <a:pt x="12" y="130"/>
                    <a:pt x="12" y="130"/>
                    <a:pt x="11" y="131"/>
                  </a:cubicBezTo>
                  <a:cubicBezTo>
                    <a:pt x="11" y="132"/>
                    <a:pt x="11" y="132"/>
                    <a:pt x="11" y="133"/>
                  </a:cubicBezTo>
                  <a:cubicBezTo>
                    <a:pt x="11" y="133"/>
                    <a:pt x="10" y="134"/>
                    <a:pt x="10" y="134"/>
                  </a:cubicBezTo>
                  <a:cubicBezTo>
                    <a:pt x="10" y="136"/>
                    <a:pt x="10" y="137"/>
                    <a:pt x="10" y="138"/>
                  </a:cubicBezTo>
                  <a:cubicBezTo>
                    <a:pt x="9" y="138"/>
                    <a:pt x="9" y="139"/>
                    <a:pt x="9" y="139"/>
                  </a:cubicBezTo>
                  <a:cubicBezTo>
                    <a:pt x="9" y="140"/>
                    <a:pt x="8" y="141"/>
                    <a:pt x="8" y="141"/>
                  </a:cubicBezTo>
                  <a:cubicBezTo>
                    <a:pt x="8" y="141"/>
                    <a:pt x="7" y="141"/>
                    <a:pt x="7" y="141"/>
                  </a:cubicBezTo>
                  <a:cubicBezTo>
                    <a:pt x="7" y="141"/>
                    <a:pt x="6" y="141"/>
                    <a:pt x="6" y="142"/>
                  </a:cubicBezTo>
                  <a:cubicBezTo>
                    <a:pt x="6" y="142"/>
                    <a:pt x="6" y="142"/>
                    <a:pt x="6" y="142"/>
                  </a:cubicBezTo>
                  <a:cubicBezTo>
                    <a:pt x="6" y="142"/>
                    <a:pt x="6" y="143"/>
                    <a:pt x="6" y="143"/>
                  </a:cubicBezTo>
                  <a:cubicBezTo>
                    <a:pt x="6" y="143"/>
                    <a:pt x="6" y="144"/>
                    <a:pt x="6" y="144"/>
                  </a:cubicBezTo>
                  <a:cubicBezTo>
                    <a:pt x="6" y="144"/>
                    <a:pt x="6" y="144"/>
                    <a:pt x="6" y="144"/>
                  </a:cubicBezTo>
                  <a:cubicBezTo>
                    <a:pt x="6" y="145"/>
                    <a:pt x="6" y="145"/>
                    <a:pt x="6" y="145"/>
                  </a:cubicBezTo>
                  <a:cubicBezTo>
                    <a:pt x="6" y="145"/>
                    <a:pt x="6" y="145"/>
                    <a:pt x="6" y="145"/>
                  </a:cubicBezTo>
                  <a:cubicBezTo>
                    <a:pt x="6" y="146"/>
                    <a:pt x="6" y="147"/>
                    <a:pt x="6" y="147"/>
                  </a:cubicBezTo>
                  <a:cubicBezTo>
                    <a:pt x="6" y="148"/>
                    <a:pt x="5" y="148"/>
                    <a:pt x="5" y="149"/>
                  </a:cubicBezTo>
                  <a:cubicBezTo>
                    <a:pt x="5" y="150"/>
                    <a:pt x="5" y="150"/>
                    <a:pt x="5" y="151"/>
                  </a:cubicBezTo>
                  <a:cubicBezTo>
                    <a:pt x="5" y="151"/>
                    <a:pt x="5" y="151"/>
                    <a:pt x="5" y="151"/>
                  </a:cubicBezTo>
                  <a:cubicBezTo>
                    <a:pt x="4" y="152"/>
                    <a:pt x="4" y="153"/>
                    <a:pt x="4" y="153"/>
                  </a:cubicBezTo>
                  <a:cubicBezTo>
                    <a:pt x="4" y="153"/>
                    <a:pt x="4" y="154"/>
                    <a:pt x="4" y="154"/>
                  </a:cubicBezTo>
                  <a:cubicBezTo>
                    <a:pt x="4" y="155"/>
                    <a:pt x="4" y="155"/>
                    <a:pt x="4" y="155"/>
                  </a:cubicBezTo>
                  <a:cubicBezTo>
                    <a:pt x="3" y="155"/>
                    <a:pt x="3" y="156"/>
                    <a:pt x="3" y="156"/>
                  </a:cubicBezTo>
                  <a:cubicBezTo>
                    <a:pt x="3" y="157"/>
                    <a:pt x="3" y="157"/>
                    <a:pt x="3" y="157"/>
                  </a:cubicBezTo>
                  <a:cubicBezTo>
                    <a:pt x="3" y="158"/>
                    <a:pt x="3" y="158"/>
                    <a:pt x="3" y="159"/>
                  </a:cubicBezTo>
                  <a:cubicBezTo>
                    <a:pt x="3" y="159"/>
                    <a:pt x="3" y="159"/>
                    <a:pt x="3" y="160"/>
                  </a:cubicBezTo>
                  <a:cubicBezTo>
                    <a:pt x="3" y="160"/>
                    <a:pt x="3" y="160"/>
                    <a:pt x="3" y="160"/>
                  </a:cubicBezTo>
                  <a:cubicBezTo>
                    <a:pt x="4" y="160"/>
                    <a:pt x="4" y="160"/>
                    <a:pt x="4" y="160"/>
                  </a:cubicBezTo>
                  <a:cubicBezTo>
                    <a:pt x="4" y="161"/>
                    <a:pt x="5" y="161"/>
                    <a:pt x="5" y="161"/>
                  </a:cubicBezTo>
                  <a:cubicBezTo>
                    <a:pt x="5" y="161"/>
                    <a:pt x="6" y="161"/>
                    <a:pt x="6" y="161"/>
                  </a:cubicBezTo>
                  <a:cubicBezTo>
                    <a:pt x="6" y="161"/>
                    <a:pt x="7" y="160"/>
                    <a:pt x="7" y="160"/>
                  </a:cubicBezTo>
                  <a:cubicBezTo>
                    <a:pt x="7" y="161"/>
                    <a:pt x="7" y="161"/>
                    <a:pt x="7" y="161"/>
                  </a:cubicBezTo>
                  <a:cubicBezTo>
                    <a:pt x="7" y="161"/>
                    <a:pt x="6" y="161"/>
                    <a:pt x="6" y="161"/>
                  </a:cubicBezTo>
                  <a:cubicBezTo>
                    <a:pt x="5" y="161"/>
                    <a:pt x="4" y="161"/>
                    <a:pt x="3" y="161"/>
                  </a:cubicBezTo>
                  <a:cubicBezTo>
                    <a:pt x="3" y="161"/>
                    <a:pt x="2" y="161"/>
                    <a:pt x="2" y="162"/>
                  </a:cubicBezTo>
                  <a:cubicBezTo>
                    <a:pt x="2" y="162"/>
                    <a:pt x="2" y="162"/>
                    <a:pt x="1" y="162"/>
                  </a:cubicBezTo>
                  <a:cubicBezTo>
                    <a:pt x="1" y="163"/>
                    <a:pt x="1" y="163"/>
                    <a:pt x="1" y="163"/>
                  </a:cubicBezTo>
                  <a:cubicBezTo>
                    <a:pt x="1" y="164"/>
                    <a:pt x="1" y="163"/>
                    <a:pt x="0" y="164"/>
                  </a:cubicBezTo>
                  <a:cubicBezTo>
                    <a:pt x="0" y="165"/>
                    <a:pt x="0" y="165"/>
                    <a:pt x="1" y="166"/>
                  </a:cubicBezTo>
                  <a:cubicBezTo>
                    <a:pt x="1" y="166"/>
                    <a:pt x="1" y="166"/>
                    <a:pt x="1" y="166"/>
                  </a:cubicBezTo>
                  <a:cubicBezTo>
                    <a:pt x="1" y="167"/>
                    <a:pt x="1" y="167"/>
                    <a:pt x="1" y="167"/>
                  </a:cubicBezTo>
                  <a:cubicBezTo>
                    <a:pt x="1" y="168"/>
                    <a:pt x="2" y="168"/>
                    <a:pt x="2" y="168"/>
                  </a:cubicBezTo>
                  <a:cubicBezTo>
                    <a:pt x="2" y="169"/>
                    <a:pt x="3" y="169"/>
                    <a:pt x="3" y="170"/>
                  </a:cubicBezTo>
                  <a:cubicBezTo>
                    <a:pt x="3" y="170"/>
                    <a:pt x="3" y="170"/>
                    <a:pt x="4" y="171"/>
                  </a:cubicBezTo>
                  <a:cubicBezTo>
                    <a:pt x="4" y="171"/>
                    <a:pt x="4" y="171"/>
                    <a:pt x="5" y="172"/>
                  </a:cubicBezTo>
                  <a:cubicBezTo>
                    <a:pt x="5" y="172"/>
                    <a:pt x="5" y="172"/>
                    <a:pt x="5" y="173"/>
                  </a:cubicBezTo>
                  <a:cubicBezTo>
                    <a:pt x="6" y="173"/>
                    <a:pt x="6" y="174"/>
                    <a:pt x="6" y="175"/>
                  </a:cubicBezTo>
                  <a:cubicBezTo>
                    <a:pt x="6" y="176"/>
                    <a:pt x="6" y="176"/>
                    <a:pt x="6" y="176"/>
                  </a:cubicBezTo>
                  <a:cubicBezTo>
                    <a:pt x="6" y="177"/>
                    <a:pt x="6" y="177"/>
                    <a:pt x="6" y="178"/>
                  </a:cubicBezTo>
                  <a:cubicBezTo>
                    <a:pt x="6" y="178"/>
                    <a:pt x="6" y="178"/>
                    <a:pt x="6" y="178"/>
                  </a:cubicBezTo>
                  <a:cubicBezTo>
                    <a:pt x="6" y="179"/>
                    <a:pt x="6" y="179"/>
                    <a:pt x="6" y="179"/>
                  </a:cubicBezTo>
                  <a:cubicBezTo>
                    <a:pt x="6" y="179"/>
                    <a:pt x="6" y="180"/>
                    <a:pt x="5" y="180"/>
                  </a:cubicBezTo>
                  <a:cubicBezTo>
                    <a:pt x="5" y="180"/>
                    <a:pt x="5" y="180"/>
                    <a:pt x="5" y="180"/>
                  </a:cubicBezTo>
                  <a:cubicBezTo>
                    <a:pt x="5" y="190"/>
                    <a:pt x="5" y="190"/>
                    <a:pt x="5" y="190"/>
                  </a:cubicBezTo>
                  <a:cubicBezTo>
                    <a:pt x="5" y="191"/>
                    <a:pt x="5" y="192"/>
                    <a:pt x="5" y="192"/>
                  </a:cubicBezTo>
                  <a:cubicBezTo>
                    <a:pt x="6" y="192"/>
                    <a:pt x="6" y="193"/>
                    <a:pt x="6" y="193"/>
                  </a:cubicBezTo>
                  <a:cubicBezTo>
                    <a:pt x="6" y="194"/>
                    <a:pt x="6" y="194"/>
                    <a:pt x="6" y="194"/>
                  </a:cubicBezTo>
                  <a:cubicBezTo>
                    <a:pt x="6" y="195"/>
                    <a:pt x="6" y="195"/>
                    <a:pt x="7" y="196"/>
                  </a:cubicBezTo>
                  <a:cubicBezTo>
                    <a:pt x="7" y="196"/>
                    <a:pt x="7" y="196"/>
                    <a:pt x="7" y="196"/>
                  </a:cubicBezTo>
                  <a:cubicBezTo>
                    <a:pt x="7" y="197"/>
                    <a:pt x="7" y="197"/>
                    <a:pt x="7" y="197"/>
                  </a:cubicBezTo>
                  <a:cubicBezTo>
                    <a:pt x="7" y="198"/>
                    <a:pt x="8" y="198"/>
                    <a:pt x="8" y="198"/>
                  </a:cubicBezTo>
                  <a:cubicBezTo>
                    <a:pt x="8" y="198"/>
                    <a:pt x="8" y="199"/>
                    <a:pt x="8" y="199"/>
                  </a:cubicBezTo>
                  <a:cubicBezTo>
                    <a:pt x="8" y="199"/>
                    <a:pt x="8" y="199"/>
                    <a:pt x="9" y="200"/>
                  </a:cubicBezTo>
                  <a:cubicBezTo>
                    <a:pt x="9" y="200"/>
                    <a:pt x="9" y="200"/>
                    <a:pt x="10" y="201"/>
                  </a:cubicBezTo>
                  <a:cubicBezTo>
                    <a:pt x="10" y="201"/>
                    <a:pt x="11" y="201"/>
                    <a:pt x="11" y="202"/>
                  </a:cubicBezTo>
                  <a:cubicBezTo>
                    <a:pt x="11" y="202"/>
                    <a:pt x="12" y="203"/>
                    <a:pt x="12" y="203"/>
                  </a:cubicBezTo>
                  <a:cubicBezTo>
                    <a:pt x="157" y="203"/>
                    <a:pt x="157" y="203"/>
                    <a:pt x="157" y="203"/>
                  </a:cubicBezTo>
                  <a:cubicBezTo>
                    <a:pt x="260" y="203"/>
                    <a:pt x="260" y="203"/>
                    <a:pt x="260" y="203"/>
                  </a:cubicBezTo>
                  <a:cubicBezTo>
                    <a:pt x="260" y="116"/>
                    <a:pt x="260" y="116"/>
                    <a:pt x="260" y="116"/>
                  </a:cubicBezTo>
                  <a:cubicBezTo>
                    <a:pt x="261" y="116"/>
                    <a:pt x="261" y="114"/>
                    <a:pt x="262" y="113"/>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19" name="Freeform 22">
              <a:extLst>
                <a:ext uri="{FF2B5EF4-FFF2-40B4-BE49-F238E27FC236}">
                  <a16:creationId xmlns:a16="http://schemas.microsoft.com/office/drawing/2014/main" id="{E61B890D-C333-7878-EEC2-0DE440FCC7C7}"/>
                </a:ext>
              </a:extLst>
            </p:cNvPr>
            <p:cNvSpPr>
              <a:spLocks/>
            </p:cNvSpPr>
            <p:nvPr/>
          </p:nvSpPr>
          <p:spPr bwMode="auto">
            <a:xfrm>
              <a:off x="5490429" y="3216769"/>
              <a:ext cx="1173065" cy="571663"/>
            </a:xfrm>
            <a:custGeom>
              <a:avLst/>
              <a:gdLst>
                <a:gd name="T0" fmla="*/ 0 w 296"/>
                <a:gd name="T1" fmla="*/ 0 h 144"/>
                <a:gd name="T2" fmla="*/ 104 w 296"/>
                <a:gd name="T3" fmla="*/ 103 h 144"/>
                <a:gd name="T4" fmla="*/ 108 w 296"/>
                <a:gd name="T5" fmla="*/ 105 h 144"/>
                <a:gd name="T6" fmla="*/ 113 w 296"/>
                <a:gd name="T7" fmla="*/ 111 h 144"/>
                <a:gd name="T8" fmla="*/ 119 w 296"/>
                <a:gd name="T9" fmla="*/ 110 h 144"/>
                <a:gd name="T10" fmla="*/ 124 w 296"/>
                <a:gd name="T11" fmla="*/ 112 h 144"/>
                <a:gd name="T12" fmla="*/ 126 w 296"/>
                <a:gd name="T13" fmla="*/ 109 h 144"/>
                <a:gd name="T14" fmla="*/ 129 w 296"/>
                <a:gd name="T15" fmla="*/ 111 h 144"/>
                <a:gd name="T16" fmla="*/ 131 w 296"/>
                <a:gd name="T17" fmla="*/ 114 h 144"/>
                <a:gd name="T18" fmla="*/ 136 w 296"/>
                <a:gd name="T19" fmla="*/ 119 h 144"/>
                <a:gd name="T20" fmla="*/ 140 w 296"/>
                <a:gd name="T21" fmla="*/ 119 h 144"/>
                <a:gd name="T22" fmla="*/ 144 w 296"/>
                <a:gd name="T23" fmla="*/ 121 h 144"/>
                <a:gd name="T24" fmla="*/ 153 w 296"/>
                <a:gd name="T25" fmla="*/ 121 h 144"/>
                <a:gd name="T26" fmla="*/ 160 w 296"/>
                <a:gd name="T27" fmla="*/ 122 h 144"/>
                <a:gd name="T28" fmla="*/ 167 w 296"/>
                <a:gd name="T29" fmla="*/ 123 h 144"/>
                <a:gd name="T30" fmla="*/ 170 w 296"/>
                <a:gd name="T31" fmla="*/ 126 h 144"/>
                <a:gd name="T32" fmla="*/ 174 w 296"/>
                <a:gd name="T33" fmla="*/ 128 h 144"/>
                <a:gd name="T34" fmla="*/ 175 w 296"/>
                <a:gd name="T35" fmla="*/ 132 h 144"/>
                <a:gd name="T36" fmla="*/ 181 w 296"/>
                <a:gd name="T37" fmla="*/ 131 h 144"/>
                <a:gd name="T38" fmla="*/ 184 w 296"/>
                <a:gd name="T39" fmla="*/ 128 h 144"/>
                <a:gd name="T40" fmla="*/ 187 w 296"/>
                <a:gd name="T41" fmla="*/ 131 h 144"/>
                <a:gd name="T42" fmla="*/ 191 w 296"/>
                <a:gd name="T43" fmla="*/ 134 h 144"/>
                <a:gd name="T44" fmla="*/ 196 w 296"/>
                <a:gd name="T45" fmla="*/ 133 h 144"/>
                <a:gd name="T46" fmla="*/ 199 w 296"/>
                <a:gd name="T47" fmla="*/ 133 h 144"/>
                <a:gd name="T48" fmla="*/ 201 w 296"/>
                <a:gd name="T49" fmla="*/ 132 h 144"/>
                <a:gd name="T50" fmla="*/ 201 w 296"/>
                <a:gd name="T51" fmla="*/ 137 h 144"/>
                <a:gd name="T52" fmla="*/ 204 w 296"/>
                <a:gd name="T53" fmla="*/ 137 h 144"/>
                <a:gd name="T54" fmla="*/ 206 w 296"/>
                <a:gd name="T55" fmla="*/ 134 h 144"/>
                <a:gd name="T56" fmla="*/ 208 w 296"/>
                <a:gd name="T57" fmla="*/ 131 h 144"/>
                <a:gd name="T58" fmla="*/ 211 w 296"/>
                <a:gd name="T59" fmla="*/ 130 h 144"/>
                <a:gd name="T60" fmla="*/ 212 w 296"/>
                <a:gd name="T61" fmla="*/ 133 h 144"/>
                <a:gd name="T62" fmla="*/ 215 w 296"/>
                <a:gd name="T63" fmla="*/ 134 h 144"/>
                <a:gd name="T64" fmla="*/ 219 w 296"/>
                <a:gd name="T65" fmla="*/ 131 h 144"/>
                <a:gd name="T66" fmla="*/ 223 w 296"/>
                <a:gd name="T67" fmla="*/ 135 h 144"/>
                <a:gd name="T68" fmla="*/ 227 w 296"/>
                <a:gd name="T69" fmla="*/ 137 h 144"/>
                <a:gd name="T70" fmla="*/ 231 w 296"/>
                <a:gd name="T71" fmla="*/ 139 h 144"/>
                <a:gd name="T72" fmla="*/ 236 w 296"/>
                <a:gd name="T73" fmla="*/ 137 h 144"/>
                <a:gd name="T74" fmla="*/ 238 w 296"/>
                <a:gd name="T75" fmla="*/ 134 h 144"/>
                <a:gd name="T76" fmla="*/ 242 w 296"/>
                <a:gd name="T77" fmla="*/ 132 h 144"/>
                <a:gd name="T78" fmla="*/ 245 w 296"/>
                <a:gd name="T79" fmla="*/ 133 h 144"/>
                <a:gd name="T80" fmla="*/ 248 w 296"/>
                <a:gd name="T81" fmla="*/ 134 h 144"/>
                <a:gd name="T82" fmla="*/ 251 w 296"/>
                <a:gd name="T83" fmla="*/ 133 h 144"/>
                <a:gd name="T84" fmla="*/ 254 w 296"/>
                <a:gd name="T85" fmla="*/ 131 h 144"/>
                <a:gd name="T86" fmla="*/ 257 w 296"/>
                <a:gd name="T87" fmla="*/ 132 h 144"/>
                <a:gd name="T88" fmla="*/ 260 w 296"/>
                <a:gd name="T89" fmla="*/ 132 h 144"/>
                <a:gd name="T90" fmla="*/ 267 w 296"/>
                <a:gd name="T91" fmla="*/ 132 h 144"/>
                <a:gd name="T92" fmla="*/ 269 w 296"/>
                <a:gd name="T93" fmla="*/ 129 h 144"/>
                <a:gd name="T94" fmla="*/ 273 w 296"/>
                <a:gd name="T95" fmla="*/ 131 h 144"/>
                <a:gd name="T96" fmla="*/ 278 w 296"/>
                <a:gd name="T97" fmla="*/ 134 h 144"/>
                <a:gd name="T98" fmla="*/ 279 w 296"/>
                <a:gd name="T99" fmla="*/ 136 h 144"/>
                <a:gd name="T100" fmla="*/ 282 w 296"/>
                <a:gd name="T101" fmla="*/ 138 h 144"/>
                <a:gd name="T102" fmla="*/ 285 w 296"/>
                <a:gd name="T103" fmla="*/ 138 h 144"/>
                <a:gd name="T104" fmla="*/ 285 w 296"/>
                <a:gd name="T105" fmla="*/ 139 h 144"/>
                <a:gd name="T106" fmla="*/ 288 w 296"/>
                <a:gd name="T107" fmla="*/ 141 h 144"/>
                <a:gd name="T108" fmla="*/ 290 w 296"/>
                <a:gd name="T109" fmla="*/ 141 h 144"/>
                <a:gd name="T110" fmla="*/ 292 w 296"/>
                <a:gd name="T111" fmla="*/ 142 h 144"/>
                <a:gd name="T112" fmla="*/ 296 w 296"/>
                <a:gd name="T113"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6" h="144">
                  <a:moveTo>
                    <a:pt x="290" y="22"/>
                  </a:moveTo>
                  <a:cubicBezTo>
                    <a:pt x="290" y="0"/>
                    <a:pt x="290" y="0"/>
                    <a:pt x="290" y="0"/>
                  </a:cubicBezTo>
                  <a:cubicBezTo>
                    <a:pt x="0" y="0"/>
                    <a:pt x="0" y="0"/>
                    <a:pt x="0" y="0"/>
                  </a:cubicBezTo>
                  <a:cubicBezTo>
                    <a:pt x="0" y="21"/>
                    <a:pt x="0" y="21"/>
                    <a:pt x="0" y="21"/>
                  </a:cubicBezTo>
                  <a:cubicBezTo>
                    <a:pt x="104" y="21"/>
                    <a:pt x="104" y="21"/>
                    <a:pt x="104" y="21"/>
                  </a:cubicBezTo>
                  <a:cubicBezTo>
                    <a:pt x="104" y="103"/>
                    <a:pt x="104" y="103"/>
                    <a:pt x="104" y="103"/>
                  </a:cubicBezTo>
                  <a:cubicBezTo>
                    <a:pt x="104" y="104"/>
                    <a:pt x="105" y="104"/>
                    <a:pt x="105" y="103"/>
                  </a:cubicBezTo>
                  <a:cubicBezTo>
                    <a:pt x="106" y="103"/>
                    <a:pt x="106" y="103"/>
                    <a:pt x="106" y="103"/>
                  </a:cubicBezTo>
                  <a:cubicBezTo>
                    <a:pt x="107" y="104"/>
                    <a:pt x="108" y="104"/>
                    <a:pt x="108" y="105"/>
                  </a:cubicBezTo>
                  <a:cubicBezTo>
                    <a:pt x="109" y="106"/>
                    <a:pt x="110" y="107"/>
                    <a:pt x="111" y="108"/>
                  </a:cubicBezTo>
                  <a:cubicBezTo>
                    <a:pt x="111" y="108"/>
                    <a:pt x="112" y="109"/>
                    <a:pt x="113" y="110"/>
                  </a:cubicBezTo>
                  <a:cubicBezTo>
                    <a:pt x="113" y="110"/>
                    <a:pt x="113" y="111"/>
                    <a:pt x="113" y="111"/>
                  </a:cubicBezTo>
                  <a:cubicBezTo>
                    <a:pt x="114" y="111"/>
                    <a:pt x="115" y="111"/>
                    <a:pt x="115" y="111"/>
                  </a:cubicBezTo>
                  <a:cubicBezTo>
                    <a:pt x="116" y="111"/>
                    <a:pt x="117" y="111"/>
                    <a:pt x="118" y="111"/>
                  </a:cubicBezTo>
                  <a:cubicBezTo>
                    <a:pt x="118" y="111"/>
                    <a:pt x="119" y="110"/>
                    <a:pt x="119" y="110"/>
                  </a:cubicBezTo>
                  <a:cubicBezTo>
                    <a:pt x="120" y="110"/>
                    <a:pt x="120" y="110"/>
                    <a:pt x="121" y="110"/>
                  </a:cubicBezTo>
                  <a:cubicBezTo>
                    <a:pt x="121" y="110"/>
                    <a:pt x="122" y="111"/>
                    <a:pt x="123" y="111"/>
                  </a:cubicBezTo>
                  <a:cubicBezTo>
                    <a:pt x="123" y="111"/>
                    <a:pt x="124" y="112"/>
                    <a:pt x="124" y="112"/>
                  </a:cubicBezTo>
                  <a:cubicBezTo>
                    <a:pt x="125" y="111"/>
                    <a:pt x="125" y="110"/>
                    <a:pt x="125" y="110"/>
                  </a:cubicBezTo>
                  <a:cubicBezTo>
                    <a:pt x="125" y="109"/>
                    <a:pt x="125" y="109"/>
                    <a:pt x="126" y="108"/>
                  </a:cubicBezTo>
                  <a:cubicBezTo>
                    <a:pt x="126" y="108"/>
                    <a:pt x="126" y="108"/>
                    <a:pt x="126" y="109"/>
                  </a:cubicBezTo>
                  <a:cubicBezTo>
                    <a:pt x="127" y="109"/>
                    <a:pt x="127" y="109"/>
                    <a:pt x="127" y="109"/>
                  </a:cubicBezTo>
                  <a:cubicBezTo>
                    <a:pt x="127" y="110"/>
                    <a:pt x="128" y="110"/>
                    <a:pt x="128" y="110"/>
                  </a:cubicBezTo>
                  <a:cubicBezTo>
                    <a:pt x="128" y="111"/>
                    <a:pt x="129" y="110"/>
                    <a:pt x="129" y="111"/>
                  </a:cubicBezTo>
                  <a:cubicBezTo>
                    <a:pt x="129" y="111"/>
                    <a:pt x="129" y="111"/>
                    <a:pt x="129" y="112"/>
                  </a:cubicBezTo>
                  <a:cubicBezTo>
                    <a:pt x="130" y="112"/>
                    <a:pt x="130" y="113"/>
                    <a:pt x="130" y="113"/>
                  </a:cubicBezTo>
                  <a:cubicBezTo>
                    <a:pt x="131" y="113"/>
                    <a:pt x="131" y="114"/>
                    <a:pt x="131" y="114"/>
                  </a:cubicBezTo>
                  <a:cubicBezTo>
                    <a:pt x="131" y="115"/>
                    <a:pt x="131" y="117"/>
                    <a:pt x="132" y="118"/>
                  </a:cubicBezTo>
                  <a:cubicBezTo>
                    <a:pt x="132" y="118"/>
                    <a:pt x="133" y="118"/>
                    <a:pt x="133" y="118"/>
                  </a:cubicBezTo>
                  <a:cubicBezTo>
                    <a:pt x="134" y="118"/>
                    <a:pt x="135" y="119"/>
                    <a:pt x="136" y="119"/>
                  </a:cubicBezTo>
                  <a:cubicBezTo>
                    <a:pt x="137" y="119"/>
                    <a:pt x="137" y="119"/>
                    <a:pt x="138" y="119"/>
                  </a:cubicBezTo>
                  <a:cubicBezTo>
                    <a:pt x="138" y="118"/>
                    <a:pt x="138" y="118"/>
                    <a:pt x="139" y="118"/>
                  </a:cubicBezTo>
                  <a:cubicBezTo>
                    <a:pt x="139" y="118"/>
                    <a:pt x="140" y="119"/>
                    <a:pt x="140" y="119"/>
                  </a:cubicBezTo>
                  <a:cubicBezTo>
                    <a:pt x="140" y="119"/>
                    <a:pt x="141" y="120"/>
                    <a:pt x="141" y="120"/>
                  </a:cubicBezTo>
                  <a:cubicBezTo>
                    <a:pt x="142" y="120"/>
                    <a:pt x="142" y="121"/>
                    <a:pt x="143" y="121"/>
                  </a:cubicBezTo>
                  <a:cubicBezTo>
                    <a:pt x="143" y="121"/>
                    <a:pt x="144" y="121"/>
                    <a:pt x="144" y="121"/>
                  </a:cubicBezTo>
                  <a:cubicBezTo>
                    <a:pt x="145" y="120"/>
                    <a:pt x="146" y="122"/>
                    <a:pt x="146" y="122"/>
                  </a:cubicBezTo>
                  <a:cubicBezTo>
                    <a:pt x="147" y="122"/>
                    <a:pt x="148" y="122"/>
                    <a:pt x="148" y="121"/>
                  </a:cubicBezTo>
                  <a:cubicBezTo>
                    <a:pt x="150" y="121"/>
                    <a:pt x="152" y="120"/>
                    <a:pt x="153" y="121"/>
                  </a:cubicBezTo>
                  <a:cubicBezTo>
                    <a:pt x="154" y="122"/>
                    <a:pt x="155" y="123"/>
                    <a:pt x="156" y="124"/>
                  </a:cubicBezTo>
                  <a:cubicBezTo>
                    <a:pt x="157" y="124"/>
                    <a:pt x="158" y="124"/>
                    <a:pt x="159" y="123"/>
                  </a:cubicBezTo>
                  <a:cubicBezTo>
                    <a:pt x="159" y="123"/>
                    <a:pt x="159" y="123"/>
                    <a:pt x="160" y="122"/>
                  </a:cubicBezTo>
                  <a:cubicBezTo>
                    <a:pt x="160" y="122"/>
                    <a:pt x="160" y="121"/>
                    <a:pt x="161" y="121"/>
                  </a:cubicBezTo>
                  <a:cubicBezTo>
                    <a:pt x="162" y="121"/>
                    <a:pt x="163" y="121"/>
                    <a:pt x="164" y="122"/>
                  </a:cubicBezTo>
                  <a:cubicBezTo>
                    <a:pt x="165" y="122"/>
                    <a:pt x="166" y="123"/>
                    <a:pt x="167" y="123"/>
                  </a:cubicBezTo>
                  <a:cubicBezTo>
                    <a:pt x="168" y="122"/>
                    <a:pt x="168" y="121"/>
                    <a:pt x="169" y="121"/>
                  </a:cubicBezTo>
                  <a:cubicBezTo>
                    <a:pt x="169" y="122"/>
                    <a:pt x="169" y="123"/>
                    <a:pt x="169" y="123"/>
                  </a:cubicBezTo>
                  <a:cubicBezTo>
                    <a:pt x="169" y="124"/>
                    <a:pt x="170" y="125"/>
                    <a:pt x="170" y="126"/>
                  </a:cubicBezTo>
                  <a:cubicBezTo>
                    <a:pt x="170" y="127"/>
                    <a:pt x="170" y="127"/>
                    <a:pt x="171" y="127"/>
                  </a:cubicBezTo>
                  <a:cubicBezTo>
                    <a:pt x="171" y="127"/>
                    <a:pt x="172" y="128"/>
                    <a:pt x="173" y="128"/>
                  </a:cubicBezTo>
                  <a:cubicBezTo>
                    <a:pt x="174" y="128"/>
                    <a:pt x="174" y="128"/>
                    <a:pt x="174" y="128"/>
                  </a:cubicBezTo>
                  <a:cubicBezTo>
                    <a:pt x="174" y="128"/>
                    <a:pt x="174" y="129"/>
                    <a:pt x="174" y="129"/>
                  </a:cubicBezTo>
                  <a:cubicBezTo>
                    <a:pt x="174" y="129"/>
                    <a:pt x="173" y="131"/>
                    <a:pt x="174" y="131"/>
                  </a:cubicBezTo>
                  <a:cubicBezTo>
                    <a:pt x="174" y="132"/>
                    <a:pt x="175" y="132"/>
                    <a:pt x="175" y="132"/>
                  </a:cubicBezTo>
                  <a:cubicBezTo>
                    <a:pt x="176" y="133"/>
                    <a:pt x="176" y="133"/>
                    <a:pt x="177" y="133"/>
                  </a:cubicBezTo>
                  <a:cubicBezTo>
                    <a:pt x="178" y="133"/>
                    <a:pt x="178" y="133"/>
                    <a:pt x="178" y="132"/>
                  </a:cubicBezTo>
                  <a:cubicBezTo>
                    <a:pt x="179" y="132"/>
                    <a:pt x="180" y="131"/>
                    <a:pt x="181" y="131"/>
                  </a:cubicBezTo>
                  <a:cubicBezTo>
                    <a:pt x="181" y="130"/>
                    <a:pt x="181" y="130"/>
                    <a:pt x="182" y="130"/>
                  </a:cubicBezTo>
                  <a:cubicBezTo>
                    <a:pt x="182" y="129"/>
                    <a:pt x="183" y="129"/>
                    <a:pt x="183" y="129"/>
                  </a:cubicBezTo>
                  <a:cubicBezTo>
                    <a:pt x="183" y="128"/>
                    <a:pt x="184" y="128"/>
                    <a:pt x="184" y="128"/>
                  </a:cubicBezTo>
                  <a:cubicBezTo>
                    <a:pt x="185" y="128"/>
                    <a:pt x="185" y="128"/>
                    <a:pt x="185" y="129"/>
                  </a:cubicBezTo>
                  <a:cubicBezTo>
                    <a:pt x="186" y="129"/>
                    <a:pt x="187" y="129"/>
                    <a:pt x="187" y="130"/>
                  </a:cubicBezTo>
                  <a:cubicBezTo>
                    <a:pt x="187" y="130"/>
                    <a:pt x="187" y="131"/>
                    <a:pt x="187" y="131"/>
                  </a:cubicBezTo>
                  <a:cubicBezTo>
                    <a:pt x="188" y="132"/>
                    <a:pt x="188" y="132"/>
                    <a:pt x="188" y="132"/>
                  </a:cubicBezTo>
                  <a:cubicBezTo>
                    <a:pt x="189" y="132"/>
                    <a:pt x="191" y="131"/>
                    <a:pt x="192" y="132"/>
                  </a:cubicBezTo>
                  <a:cubicBezTo>
                    <a:pt x="192" y="133"/>
                    <a:pt x="191" y="133"/>
                    <a:pt x="191" y="134"/>
                  </a:cubicBezTo>
                  <a:cubicBezTo>
                    <a:pt x="192" y="134"/>
                    <a:pt x="192" y="135"/>
                    <a:pt x="193" y="135"/>
                  </a:cubicBezTo>
                  <a:cubicBezTo>
                    <a:pt x="194" y="135"/>
                    <a:pt x="195" y="135"/>
                    <a:pt x="195" y="134"/>
                  </a:cubicBezTo>
                  <a:cubicBezTo>
                    <a:pt x="195" y="134"/>
                    <a:pt x="195" y="134"/>
                    <a:pt x="196" y="133"/>
                  </a:cubicBezTo>
                  <a:cubicBezTo>
                    <a:pt x="196" y="133"/>
                    <a:pt x="196" y="133"/>
                    <a:pt x="196" y="133"/>
                  </a:cubicBezTo>
                  <a:cubicBezTo>
                    <a:pt x="197" y="132"/>
                    <a:pt x="197" y="132"/>
                    <a:pt x="198" y="133"/>
                  </a:cubicBezTo>
                  <a:cubicBezTo>
                    <a:pt x="198" y="133"/>
                    <a:pt x="198" y="133"/>
                    <a:pt x="199" y="133"/>
                  </a:cubicBezTo>
                  <a:cubicBezTo>
                    <a:pt x="199" y="133"/>
                    <a:pt x="199" y="133"/>
                    <a:pt x="199" y="132"/>
                  </a:cubicBezTo>
                  <a:cubicBezTo>
                    <a:pt x="200" y="132"/>
                    <a:pt x="200" y="131"/>
                    <a:pt x="200" y="131"/>
                  </a:cubicBezTo>
                  <a:cubicBezTo>
                    <a:pt x="201" y="131"/>
                    <a:pt x="201" y="132"/>
                    <a:pt x="201" y="132"/>
                  </a:cubicBezTo>
                  <a:cubicBezTo>
                    <a:pt x="201" y="133"/>
                    <a:pt x="201" y="133"/>
                    <a:pt x="201" y="134"/>
                  </a:cubicBezTo>
                  <a:cubicBezTo>
                    <a:pt x="201" y="134"/>
                    <a:pt x="201" y="135"/>
                    <a:pt x="201" y="135"/>
                  </a:cubicBezTo>
                  <a:cubicBezTo>
                    <a:pt x="201" y="136"/>
                    <a:pt x="201" y="136"/>
                    <a:pt x="201" y="137"/>
                  </a:cubicBezTo>
                  <a:cubicBezTo>
                    <a:pt x="201" y="138"/>
                    <a:pt x="202" y="139"/>
                    <a:pt x="204" y="139"/>
                  </a:cubicBezTo>
                  <a:cubicBezTo>
                    <a:pt x="204" y="139"/>
                    <a:pt x="204" y="138"/>
                    <a:pt x="204" y="138"/>
                  </a:cubicBezTo>
                  <a:cubicBezTo>
                    <a:pt x="204" y="137"/>
                    <a:pt x="205" y="137"/>
                    <a:pt x="204" y="137"/>
                  </a:cubicBezTo>
                  <a:cubicBezTo>
                    <a:pt x="204" y="136"/>
                    <a:pt x="204" y="136"/>
                    <a:pt x="204" y="135"/>
                  </a:cubicBezTo>
                  <a:cubicBezTo>
                    <a:pt x="204" y="135"/>
                    <a:pt x="205" y="134"/>
                    <a:pt x="205" y="134"/>
                  </a:cubicBezTo>
                  <a:cubicBezTo>
                    <a:pt x="205" y="134"/>
                    <a:pt x="206" y="134"/>
                    <a:pt x="206" y="134"/>
                  </a:cubicBezTo>
                  <a:cubicBezTo>
                    <a:pt x="206" y="134"/>
                    <a:pt x="206" y="134"/>
                    <a:pt x="206" y="134"/>
                  </a:cubicBezTo>
                  <a:cubicBezTo>
                    <a:pt x="206" y="133"/>
                    <a:pt x="207" y="133"/>
                    <a:pt x="208" y="133"/>
                  </a:cubicBezTo>
                  <a:cubicBezTo>
                    <a:pt x="208" y="132"/>
                    <a:pt x="208" y="132"/>
                    <a:pt x="208" y="131"/>
                  </a:cubicBezTo>
                  <a:cubicBezTo>
                    <a:pt x="208" y="131"/>
                    <a:pt x="208" y="130"/>
                    <a:pt x="208" y="130"/>
                  </a:cubicBezTo>
                  <a:cubicBezTo>
                    <a:pt x="209" y="130"/>
                    <a:pt x="210" y="130"/>
                    <a:pt x="210" y="130"/>
                  </a:cubicBezTo>
                  <a:cubicBezTo>
                    <a:pt x="210" y="130"/>
                    <a:pt x="210" y="130"/>
                    <a:pt x="211" y="130"/>
                  </a:cubicBezTo>
                  <a:cubicBezTo>
                    <a:pt x="211" y="131"/>
                    <a:pt x="212" y="132"/>
                    <a:pt x="212" y="132"/>
                  </a:cubicBezTo>
                  <a:cubicBezTo>
                    <a:pt x="212" y="133"/>
                    <a:pt x="212" y="133"/>
                    <a:pt x="212" y="133"/>
                  </a:cubicBezTo>
                  <a:cubicBezTo>
                    <a:pt x="212" y="133"/>
                    <a:pt x="212" y="134"/>
                    <a:pt x="212" y="133"/>
                  </a:cubicBezTo>
                  <a:cubicBezTo>
                    <a:pt x="213" y="133"/>
                    <a:pt x="213" y="133"/>
                    <a:pt x="213" y="133"/>
                  </a:cubicBezTo>
                  <a:cubicBezTo>
                    <a:pt x="214" y="133"/>
                    <a:pt x="214" y="133"/>
                    <a:pt x="214" y="133"/>
                  </a:cubicBezTo>
                  <a:cubicBezTo>
                    <a:pt x="215" y="133"/>
                    <a:pt x="215" y="134"/>
                    <a:pt x="215" y="134"/>
                  </a:cubicBezTo>
                  <a:cubicBezTo>
                    <a:pt x="216" y="135"/>
                    <a:pt x="217" y="134"/>
                    <a:pt x="218" y="134"/>
                  </a:cubicBezTo>
                  <a:cubicBezTo>
                    <a:pt x="218" y="133"/>
                    <a:pt x="218" y="133"/>
                    <a:pt x="219" y="132"/>
                  </a:cubicBezTo>
                  <a:cubicBezTo>
                    <a:pt x="219" y="132"/>
                    <a:pt x="219" y="132"/>
                    <a:pt x="219" y="131"/>
                  </a:cubicBezTo>
                  <a:cubicBezTo>
                    <a:pt x="220" y="130"/>
                    <a:pt x="221" y="131"/>
                    <a:pt x="221" y="132"/>
                  </a:cubicBezTo>
                  <a:cubicBezTo>
                    <a:pt x="221" y="133"/>
                    <a:pt x="221" y="133"/>
                    <a:pt x="220" y="133"/>
                  </a:cubicBezTo>
                  <a:cubicBezTo>
                    <a:pt x="219" y="134"/>
                    <a:pt x="223" y="135"/>
                    <a:pt x="223" y="135"/>
                  </a:cubicBezTo>
                  <a:cubicBezTo>
                    <a:pt x="224" y="135"/>
                    <a:pt x="224" y="136"/>
                    <a:pt x="224" y="136"/>
                  </a:cubicBezTo>
                  <a:cubicBezTo>
                    <a:pt x="224" y="136"/>
                    <a:pt x="224" y="137"/>
                    <a:pt x="225" y="137"/>
                  </a:cubicBezTo>
                  <a:cubicBezTo>
                    <a:pt x="225" y="137"/>
                    <a:pt x="226" y="137"/>
                    <a:pt x="227" y="137"/>
                  </a:cubicBezTo>
                  <a:cubicBezTo>
                    <a:pt x="228" y="137"/>
                    <a:pt x="228" y="138"/>
                    <a:pt x="229" y="139"/>
                  </a:cubicBezTo>
                  <a:cubicBezTo>
                    <a:pt x="229" y="139"/>
                    <a:pt x="230" y="141"/>
                    <a:pt x="230" y="141"/>
                  </a:cubicBezTo>
                  <a:cubicBezTo>
                    <a:pt x="231" y="140"/>
                    <a:pt x="231" y="139"/>
                    <a:pt x="231" y="139"/>
                  </a:cubicBezTo>
                  <a:cubicBezTo>
                    <a:pt x="231" y="138"/>
                    <a:pt x="231" y="137"/>
                    <a:pt x="232" y="137"/>
                  </a:cubicBezTo>
                  <a:cubicBezTo>
                    <a:pt x="232" y="137"/>
                    <a:pt x="233" y="137"/>
                    <a:pt x="234" y="137"/>
                  </a:cubicBezTo>
                  <a:cubicBezTo>
                    <a:pt x="234" y="137"/>
                    <a:pt x="235" y="138"/>
                    <a:pt x="236" y="137"/>
                  </a:cubicBezTo>
                  <a:cubicBezTo>
                    <a:pt x="236" y="137"/>
                    <a:pt x="236" y="136"/>
                    <a:pt x="236" y="136"/>
                  </a:cubicBezTo>
                  <a:cubicBezTo>
                    <a:pt x="236" y="135"/>
                    <a:pt x="236" y="135"/>
                    <a:pt x="237" y="135"/>
                  </a:cubicBezTo>
                  <a:cubicBezTo>
                    <a:pt x="237" y="134"/>
                    <a:pt x="238" y="134"/>
                    <a:pt x="238" y="134"/>
                  </a:cubicBezTo>
                  <a:cubicBezTo>
                    <a:pt x="239" y="134"/>
                    <a:pt x="240" y="134"/>
                    <a:pt x="240" y="134"/>
                  </a:cubicBezTo>
                  <a:cubicBezTo>
                    <a:pt x="241" y="134"/>
                    <a:pt x="241" y="134"/>
                    <a:pt x="242" y="133"/>
                  </a:cubicBezTo>
                  <a:cubicBezTo>
                    <a:pt x="242" y="133"/>
                    <a:pt x="242" y="133"/>
                    <a:pt x="242" y="132"/>
                  </a:cubicBezTo>
                  <a:cubicBezTo>
                    <a:pt x="243" y="132"/>
                    <a:pt x="243" y="133"/>
                    <a:pt x="243" y="133"/>
                  </a:cubicBezTo>
                  <a:cubicBezTo>
                    <a:pt x="244" y="133"/>
                    <a:pt x="244" y="132"/>
                    <a:pt x="245" y="132"/>
                  </a:cubicBezTo>
                  <a:cubicBezTo>
                    <a:pt x="245" y="132"/>
                    <a:pt x="245" y="133"/>
                    <a:pt x="245" y="133"/>
                  </a:cubicBezTo>
                  <a:cubicBezTo>
                    <a:pt x="245" y="133"/>
                    <a:pt x="246" y="133"/>
                    <a:pt x="246" y="133"/>
                  </a:cubicBezTo>
                  <a:cubicBezTo>
                    <a:pt x="247" y="134"/>
                    <a:pt x="247" y="134"/>
                    <a:pt x="247" y="134"/>
                  </a:cubicBezTo>
                  <a:cubicBezTo>
                    <a:pt x="247" y="134"/>
                    <a:pt x="248" y="134"/>
                    <a:pt x="248" y="134"/>
                  </a:cubicBezTo>
                  <a:cubicBezTo>
                    <a:pt x="248" y="134"/>
                    <a:pt x="248" y="134"/>
                    <a:pt x="249" y="133"/>
                  </a:cubicBezTo>
                  <a:cubicBezTo>
                    <a:pt x="249" y="133"/>
                    <a:pt x="250" y="133"/>
                    <a:pt x="250" y="133"/>
                  </a:cubicBezTo>
                  <a:cubicBezTo>
                    <a:pt x="251" y="133"/>
                    <a:pt x="251" y="133"/>
                    <a:pt x="251" y="133"/>
                  </a:cubicBezTo>
                  <a:cubicBezTo>
                    <a:pt x="251" y="132"/>
                    <a:pt x="251" y="132"/>
                    <a:pt x="251" y="132"/>
                  </a:cubicBezTo>
                  <a:cubicBezTo>
                    <a:pt x="252" y="131"/>
                    <a:pt x="253" y="132"/>
                    <a:pt x="254" y="131"/>
                  </a:cubicBezTo>
                  <a:cubicBezTo>
                    <a:pt x="254" y="131"/>
                    <a:pt x="254" y="131"/>
                    <a:pt x="254" y="131"/>
                  </a:cubicBezTo>
                  <a:cubicBezTo>
                    <a:pt x="255" y="131"/>
                    <a:pt x="255" y="130"/>
                    <a:pt x="256" y="130"/>
                  </a:cubicBezTo>
                  <a:cubicBezTo>
                    <a:pt x="256" y="130"/>
                    <a:pt x="256" y="130"/>
                    <a:pt x="257" y="131"/>
                  </a:cubicBezTo>
                  <a:cubicBezTo>
                    <a:pt x="257" y="131"/>
                    <a:pt x="257" y="131"/>
                    <a:pt x="257" y="132"/>
                  </a:cubicBezTo>
                  <a:cubicBezTo>
                    <a:pt x="258" y="132"/>
                    <a:pt x="258" y="132"/>
                    <a:pt x="258" y="132"/>
                  </a:cubicBezTo>
                  <a:cubicBezTo>
                    <a:pt x="259" y="132"/>
                    <a:pt x="259" y="132"/>
                    <a:pt x="259" y="132"/>
                  </a:cubicBezTo>
                  <a:cubicBezTo>
                    <a:pt x="259" y="132"/>
                    <a:pt x="260" y="132"/>
                    <a:pt x="260" y="132"/>
                  </a:cubicBezTo>
                  <a:cubicBezTo>
                    <a:pt x="260" y="133"/>
                    <a:pt x="260" y="133"/>
                    <a:pt x="261" y="133"/>
                  </a:cubicBezTo>
                  <a:cubicBezTo>
                    <a:pt x="262" y="133"/>
                    <a:pt x="263" y="133"/>
                    <a:pt x="264" y="133"/>
                  </a:cubicBezTo>
                  <a:cubicBezTo>
                    <a:pt x="265" y="133"/>
                    <a:pt x="266" y="133"/>
                    <a:pt x="267" y="132"/>
                  </a:cubicBezTo>
                  <a:cubicBezTo>
                    <a:pt x="267" y="132"/>
                    <a:pt x="267" y="131"/>
                    <a:pt x="268" y="131"/>
                  </a:cubicBezTo>
                  <a:cubicBezTo>
                    <a:pt x="268" y="131"/>
                    <a:pt x="268" y="131"/>
                    <a:pt x="268" y="131"/>
                  </a:cubicBezTo>
                  <a:cubicBezTo>
                    <a:pt x="268" y="130"/>
                    <a:pt x="268" y="129"/>
                    <a:pt x="269" y="129"/>
                  </a:cubicBezTo>
                  <a:cubicBezTo>
                    <a:pt x="270" y="129"/>
                    <a:pt x="271" y="129"/>
                    <a:pt x="272" y="130"/>
                  </a:cubicBezTo>
                  <a:cubicBezTo>
                    <a:pt x="272" y="130"/>
                    <a:pt x="272" y="132"/>
                    <a:pt x="273" y="132"/>
                  </a:cubicBezTo>
                  <a:cubicBezTo>
                    <a:pt x="273" y="132"/>
                    <a:pt x="273" y="131"/>
                    <a:pt x="273" y="131"/>
                  </a:cubicBezTo>
                  <a:cubicBezTo>
                    <a:pt x="274" y="131"/>
                    <a:pt x="274" y="131"/>
                    <a:pt x="274" y="132"/>
                  </a:cubicBezTo>
                  <a:cubicBezTo>
                    <a:pt x="274" y="133"/>
                    <a:pt x="275" y="133"/>
                    <a:pt x="276" y="133"/>
                  </a:cubicBezTo>
                  <a:cubicBezTo>
                    <a:pt x="277" y="133"/>
                    <a:pt x="278" y="133"/>
                    <a:pt x="278" y="134"/>
                  </a:cubicBezTo>
                  <a:cubicBezTo>
                    <a:pt x="278" y="134"/>
                    <a:pt x="278" y="135"/>
                    <a:pt x="278" y="135"/>
                  </a:cubicBezTo>
                  <a:cubicBezTo>
                    <a:pt x="279" y="135"/>
                    <a:pt x="279" y="135"/>
                    <a:pt x="279" y="136"/>
                  </a:cubicBezTo>
                  <a:cubicBezTo>
                    <a:pt x="279" y="136"/>
                    <a:pt x="279" y="136"/>
                    <a:pt x="279" y="136"/>
                  </a:cubicBezTo>
                  <a:cubicBezTo>
                    <a:pt x="280" y="137"/>
                    <a:pt x="280" y="137"/>
                    <a:pt x="280" y="137"/>
                  </a:cubicBezTo>
                  <a:cubicBezTo>
                    <a:pt x="280" y="137"/>
                    <a:pt x="281" y="137"/>
                    <a:pt x="281" y="137"/>
                  </a:cubicBezTo>
                  <a:cubicBezTo>
                    <a:pt x="281" y="137"/>
                    <a:pt x="281" y="138"/>
                    <a:pt x="282" y="138"/>
                  </a:cubicBezTo>
                  <a:cubicBezTo>
                    <a:pt x="282" y="138"/>
                    <a:pt x="282" y="139"/>
                    <a:pt x="282" y="139"/>
                  </a:cubicBezTo>
                  <a:cubicBezTo>
                    <a:pt x="283" y="139"/>
                    <a:pt x="283" y="138"/>
                    <a:pt x="283" y="138"/>
                  </a:cubicBezTo>
                  <a:cubicBezTo>
                    <a:pt x="283" y="138"/>
                    <a:pt x="284" y="137"/>
                    <a:pt x="285" y="138"/>
                  </a:cubicBezTo>
                  <a:cubicBezTo>
                    <a:pt x="285" y="138"/>
                    <a:pt x="284" y="138"/>
                    <a:pt x="284" y="138"/>
                  </a:cubicBezTo>
                  <a:cubicBezTo>
                    <a:pt x="284" y="138"/>
                    <a:pt x="285" y="138"/>
                    <a:pt x="285" y="138"/>
                  </a:cubicBezTo>
                  <a:cubicBezTo>
                    <a:pt x="285" y="139"/>
                    <a:pt x="285" y="139"/>
                    <a:pt x="285" y="139"/>
                  </a:cubicBezTo>
                  <a:cubicBezTo>
                    <a:pt x="285" y="140"/>
                    <a:pt x="286" y="140"/>
                    <a:pt x="286" y="140"/>
                  </a:cubicBezTo>
                  <a:cubicBezTo>
                    <a:pt x="286" y="140"/>
                    <a:pt x="286" y="140"/>
                    <a:pt x="286" y="140"/>
                  </a:cubicBezTo>
                  <a:cubicBezTo>
                    <a:pt x="287" y="141"/>
                    <a:pt x="288" y="141"/>
                    <a:pt x="288" y="141"/>
                  </a:cubicBezTo>
                  <a:cubicBezTo>
                    <a:pt x="288" y="141"/>
                    <a:pt x="288" y="140"/>
                    <a:pt x="289" y="140"/>
                  </a:cubicBezTo>
                  <a:cubicBezTo>
                    <a:pt x="289" y="140"/>
                    <a:pt x="289" y="140"/>
                    <a:pt x="289" y="141"/>
                  </a:cubicBezTo>
                  <a:cubicBezTo>
                    <a:pt x="290" y="141"/>
                    <a:pt x="290" y="141"/>
                    <a:pt x="290" y="141"/>
                  </a:cubicBezTo>
                  <a:cubicBezTo>
                    <a:pt x="290" y="141"/>
                    <a:pt x="291" y="141"/>
                    <a:pt x="291" y="141"/>
                  </a:cubicBezTo>
                  <a:cubicBezTo>
                    <a:pt x="291" y="141"/>
                    <a:pt x="291" y="141"/>
                    <a:pt x="291" y="142"/>
                  </a:cubicBezTo>
                  <a:cubicBezTo>
                    <a:pt x="292" y="142"/>
                    <a:pt x="292" y="142"/>
                    <a:pt x="292" y="142"/>
                  </a:cubicBezTo>
                  <a:cubicBezTo>
                    <a:pt x="293" y="143"/>
                    <a:pt x="293" y="143"/>
                    <a:pt x="293" y="144"/>
                  </a:cubicBezTo>
                  <a:cubicBezTo>
                    <a:pt x="295" y="142"/>
                    <a:pt x="295" y="142"/>
                    <a:pt x="295" y="142"/>
                  </a:cubicBezTo>
                  <a:cubicBezTo>
                    <a:pt x="296" y="72"/>
                    <a:pt x="296" y="72"/>
                    <a:pt x="296" y="72"/>
                  </a:cubicBezTo>
                  <a:cubicBezTo>
                    <a:pt x="296" y="65"/>
                    <a:pt x="296" y="65"/>
                    <a:pt x="296" y="65"/>
                  </a:cubicBezTo>
                  <a:lnTo>
                    <a:pt x="290" y="22"/>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0" name="Freeform 23">
              <a:extLst>
                <a:ext uri="{FF2B5EF4-FFF2-40B4-BE49-F238E27FC236}">
                  <a16:creationId xmlns:a16="http://schemas.microsoft.com/office/drawing/2014/main" id="{86FFE0BB-B56C-C781-977B-CEA51EF3B9B0}"/>
                </a:ext>
              </a:extLst>
            </p:cNvPr>
            <p:cNvSpPr>
              <a:spLocks/>
            </p:cNvSpPr>
            <p:nvPr/>
          </p:nvSpPr>
          <p:spPr bwMode="auto">
            <a:xfrm>
              <a:off x="7978648" y="2336143"/>
              <a:ext cx="589837" cy="639403"/>
            </a:xfrm>
            <a:custGeom>
              <a:avLst/>
              <a:gdLst>
                <a:gd name="T0" fmla="*/ 135 w 149"/>
                <a:gd name="T1" fmla="*/ 4 h 161"/>
                <a:gd name="T2" fmla="*/ 120 w 149"/>
                <a:gd name="T3" fmla="*/ 11 h 161"/>
                <a:gd name="T4" fmla="*/ 115 w 149"/>
                <a:gd name="T5" fmla="*/ 15 h 161"/>
                <a:gd name="T6" fmla="*/ 109 w 149"/>
                <a:gd name="T7" fmla="*/ 19 h 161"/>
                <a:gd name="T8" fmla="*/ 107 w 149"/>
                <a:gd name="T9" fmla="*/ 21 h 161"/>
                <a:gd name="T10" fmla="*/ 99 w 149"/>
                <a:gd name="T11" fmla="*/ 21 h 161"/>
                <a:gd name="T12" fmla="*/ 95 w 149"/>
                <a:gd name="T13" fmla="*/ 21 h 161"/>
                <a:gd name="T14" fmla="*/ 89 w 149"/>
                <a:gd name="T15" fmla="*/ 24 h 161"/>
                <a:gd name="T16" fmla="*/ 83 w 149"/>
                <a:gd name="T17" fmla="*/ 26 h 161"/>
                <a:gd name="T18" fmla="*/ 80 w 149"/>
                <a:gd name="T19" fmla="*/ 26 h 161"/>
                <a:gd name="T20" fmla="*/ 75 w 149"/>
                <a:gd name="T21" fmla="*/ 24 h 161"/>
                <a:gd name="T22" fmla="*/ 72 w 149"/>
                <a:gd name="T23" fmla="*/ 23 h 161"/>
                <a:gd name="T24" fmla="*/ 68 w 149"/>
                <a:gd name="T25" fmla="*/ 24 h 161"/>
                <a:gd name="T26" fmla="*/ 63 w 149"/>
                <a:gd name="T27" fmla="*/ 25 h 161"/>
                <a:gd name="T28" fmla="*/ 66 w 149"/>
                <a:gd name="T29" fmla="*/ 22 h 161"/>
                <a:gd name="T30" fmla="*/ 72 w 149"/>
                <a:gd name="T31" fmla="*/ 21 h 161"/>
                <a:gd name="T32" fmla="*/ 70 w 149"/>
                <a:gd name="T33" fmla="*/ 20 h 161"/>
                <a:gd name="T34" fmla="*/ 68 w 149"/>
                <a:gd name="T35" fmla="*/ 19 h 161"/>
                <a:gd name="T36" fmla="*/ 63 w 149"/>
                <a:gd name="T37" fmla="*/ 20 h 161"/>
                <a:gd name="T38" fmla="*/ 57 w 149"/>
                <a:gd name="T39" fmla="*/ 15 h 161"/>
                <a:gd name="T40" fmla="*/ 50 w 149"/>
                <a:gd name="T41" fmla="*/ 12 h 161"/>
                <a:gd name="T42" fmla="*/ 1 w 149"/>
                <a:gd name="T43" fmla="*/ 12 h 161"/>
                <a:gd name="T44" fmla="*/ 1 w 149"/>
                <a:gd name="T45" fmla="*/ 128 h 161"/>
                <a:gd name="T46" fmla="*/ 5 w 149"/>
                <a:gd name="T47" fmla="*/ 130 h 161"/>
                <a:gd name="T48" fmla="*/ 9 w 149"/>
                <a:gd name="T49" fmla="*/ 130 h 161"/>
                <a:gd name="T50" fmla="*/ 14 w 149"/>
                <a:gd name="T51" fmla="*/ 130 h 161"/>
                <a:gd name="T52" fmla="*/ 18 w 149"/>
                <a:gd name="T53" fmla="*/ 134 h 161"/>
                <a:gd name="T54" fmla="*/ 20 w 149"/>
                <a:gd name="T55" fmla="*/ 139 h 161"/>
                <a:gd name="T56" fmla="*/ 27 w 149"/>
                <a:gd name="T57" fmla="*/ 144 h 161"/>
                <a:gd name="T58" fmla="*/ 35 w 149"/>
                <a:gd name="T59" fmla="*/ 147 h 161"/>
                <a:gd name="T60" fmla="*/ 42 w 149"/>
                <a:gd name="T61" fmla="*/ 148 h 161"/>
                <a:gd name="T62" fmla="*/ 46 w 149"/>
                <a:gd name="T63" fmla="*/ 148 h 161"/>
                <a:gd name="T64" fmla="*/ 51 w 149"/>
                <a:gd name="T65" fmla="*/ 151 h 161"/>
                <a:gd name="T66" fmla="*/ 55 w 149"/>
                <a:gd name="T67" fmla="*/ 151 h 161"/>
                <a:gd name="T68" fmla="*/ 59 w 149"/>
                <a:gd name="T69" fmla="*/ 149 h 161"/>
                <a:gd name="T70" fmla="*/ 65 w 149"/>
                <a:gd name="T71" fmla="*/ 145 h 161"/>
                <a:gd name="T72" fmla="*/ 67 w 149"/>
                <a:gd name="T73" fmla="*/ 148 h 161"/>
                <a:gd name="T74" fmla="*/ 71 w 149"/>
                <a:gd name="T75" fmla="*/ 153 h 161"/>
                <a:gd name="T76" fmla="*/ 76 w 149"/>
                <a:gd name="T77" fmla="*/ 158 h 161"/>
                <a:gd name="T78" fmla="*/ 81 w 149"/>
                <a:gd name="T79" fmla="*/ 160 h 161"/>
                <a:gd name="T80" fmla="*/ 87 w 149"/>
                <a:gd name="T81" fmla="*/ 155 h 161"/>
                <a:gd name="T82" fmla="*/ 92 w 149"/>
                <a:gd name="T83" fmla="*/ 152 h 161"/>
                <a:gd name="T84" fmla="*/ 92 w 149"/>
                <a:gd name="T85" fmla="*/ 142 h 161"/>
                <a:gd name="T86" fmla="*/ 96 w 149"/>
                <a:gd name="T87" fmla="*/ 134 h 161"/>
                <a:gd name="T88" fmla="*/ 100 w 149"/>
                <a:gd name="T89" fmla="*/ 136 h 161"/>
                <a:gd name="T90" fmla="*/ 100 w 149"/>
                <a:gd name="T91" fmla="*/ 140 h 161"/>
                <a:gd name="T92" fmla="*/ 103 w 149"/>
                <a:gd name="T93" fmla="*/ 137 h 161"/>
                <a:gd name="T94" fmla="*/ 104 w 149"/>
                <a:gd name="T95" fmla="*/ 132 h 161"/>
                <a:gd name="T96" fmla="*/ 106 w 149"/>
                <a:gd name="T97" fmla="*/ 126 h 161"/>
                <a:gd name="T98" fmla="*/ 111 w 149"/>
                <a:gd name="T99" fmla="*/ 122 h 161"/>
                <a:gd name="T100" fmla="*/ 114 w 149"/>
                <a:gd name="T101" fmla="*/ 118 h 161"/>
                <a:gd name="T102" fmla="*/ 119 w 149"/>
                <a:gd name="T103" fmla="*/ 119 h 161"/>
                <a:gd name="T104" fmla="*/ 133 w 149"/>
                <a:gd name="T105" fmla="*/ 109 h 161"/>
                <a:gd name="T106" fmla="*/ 137 w 149"/>
                <a:gd name="T107" fmla="*/ 104 h 161"/>
                <a:gd name="T108" fmla="*/ 138 w 149"/>
                <a:gd name="T109" fmla="*/ 98 h 161"/>
                <a:gd name="T110" fmla="*/ 141 w 149"/>
                <a:gd name="T111" fmla="*/ 93 h 161"/>
                <a:gd name="T112" fmla="*/ 146 w 149"/>
                <a:gd name="T113" fmla="*/ 76 h 161"/>
                <a:gd name="T114" fmla="*/ 146 w 149"/>
                <a:gd name="T115" fmla="*/ 68 h 161"/>
                <a:gd name="T116" fmla="*/ 144 w 149"/>
                <a:gd name="T117" fmla="*/ 61 h 161"/>
                <a:gd name="T118" fmla="*/ 149 w 149"/>
                <a:gd name="T119" fmla="*/ 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9" h="161">
                  <a:moveTo>
                    <a:pt x="146" y="1"/>
                  </a:moveTo>
                  <a:cubicBezTo>
                    <a:pt x="145" y="1"/>
                    <a:pt x="143" y="2"/>
                    <a:pt x="142" y="2"/>
                  </a:cubicBezTo>
                  <a:cubicBezTo>
                    <a:pt x="140" y="3"/>
                    <a:pt x="138" y="4"/>
                    <a:pt x="135" y="4"/>
                  </a:cubicBezTo>
                  <a:cubicBezTo>
                    <a:pt x="134" y="5"/>
                    <a:pt x="132" y="6"/>
                    <a:pt x="130" y="7"/>
                  </a:cubicBezTo>
                  <a:cubicBezTo>
                    <a:pt x="128" y="7"/>
                    <a:pt x="127" y="8"/>
                    <a:pt x="125" y="8"/>
                  </a:cubicBezTo>
                  <a:cubicBezTo>
                    <a:pt x="123" y="9"/>
                    <a:pt x="122" y="10"/>
                    <a:pt x="120" y="11"/>
                  </a:cubicBezTo>
                  <a:cubicBezTo>
                    <a:pt x="119" y="11"/>
                    <a:pt x="118" y="12"/>
                    <a:pt x="118" y="13"/>
                  </a:cubicBezTo>
                  <a:cubicBezTo>
                    <a:pt x="117" y="13"/>
                    <a:pt x="117" y="14"/>
                    <a:pt x="116" y="14"/>
                  </a:cubicBezTo>
                  <a:cubicBezTo>
                    <a:pt x="116" y="15"/>
                    <a:pt x="115" y="15"/>
                    <a:pt x="115" y="15"/>
                  </a:cubicBezTo>
                  <a:cubicBezTo>
                    <a:pt x="115" y="15"/>
                    <a:pt x="115" y="16"/>
                    <a:pt x="114" y="16"/>
                  </a:cubicBezTo>
                  <a:cubicBezTo>
                    <a:pt x="113" y="16"/>
                    <a:pt x="112" y="17"/>
                    <a:pt x="112" y="18"/>
                  </a:cubicBezTo>
                  <a:cubicBezTo>
                    <a:pt x="111" y="18"/>
                    <a:pt x="110" y="19"/>
                    <a:pt x="109" y="19"/>
                  </a:cubicBezTo>
                  <a:cubicBezTo>
                    <a:pt x="108" y="20"/>
                    <a:pt x="108" y="20"/>
                    <a:pt x="108" y="21"/>
                  </a:cubicBezTo>
                  <a:cubicBezTo>
                    <a:pt x="108" y="21"/>
                    <a:pt x="108" y="21"/>
                    <a:pt x="107" y="21"/>
                  </a:cubicBezTo>
                  <a:cubicBezTo>
                    <a:pt x="107" y="21"/>
                    <a:pt x="107" y="21"/>
                    <a:pt x="107" y="21"/>
                  </a:cubicBezTo>
                  <a:cubicBezTo>
                    <a:pt x="105" y="21"/>
                    <a:pt x="104" y="21"/>
                    <a:pt x="102" y="21"/>
                  </a:cubicBezTo>
                  <a:cubicBezTo>
                    <a:pt x="102" y="21"/>
                    <a:pt x="101" y="21"/>
                    <a:pt x="101" y="21"/>
                  </a:cubicBezTo>
                  <a:cubicBezTo>
                    <a:pt x="100" y="21"/>
                    <a:pt x="100" y="21"/>
                    <a:pt x="99" y="21"/>
                  </a:cubicBezTo>
                  <a:cubicBezTo>
                    <a:pt x="99" y="21"/>
                    <a:pt x="98" y="21"/>
                    <a:pt x="98" y="21"/>
                  </a:cubicBezTo>
                  <a:cubicBezTo>
                    <a:pt x="97" y="21"/>
                    <a:pt x="97" y="21"/>
                    <a:pt x="96" y="21"/>
                  </a:cubicBezTo>
                  <a:cubicBezTo>
                    <a:pt x="96" y="21"/>
                    <a:pt x="95" y="21"/>
                    <a:pt x="95" y="21"/>
                  </a:cubicBezTo>
                  <a:cubicBezTo>
                    <a:pt x="95" y="21"/>
                    <a:pt x="94" y="22"/>
                    <a:pt x="94" y="22"/>
                  </a:cubicBezTo>
                  <a:cubicBezTo>
                    <a:pt x="94" y="22"/>
                    <a:pt x="93" y="22"/>
                    <a:pt x="93" y="22"/>
                  </a:cubicBezTo>
                  <a:cubicBezTo>
                    <a:pt x="91" y="23"/>
                    <a:pt x="90" y="23"/>
                    <a:pt x="89" y="24"/>
                  </a:cubicBezTo>
                  <a:cubicBezTo>
                    <a:pt x="88" y="24"/>
                    <a:pt x="87" y="24"/>
                    <a:pt x="87" y="24"/>
                  </a:cubicBezTo>
                  <a:cubicBezTo>
                    <a:pt x="86" y="24"/>
                    <a:pt x="86" y="25"/>
                    <a:pt x="85" y="25"/>
                  </a:cubicBezTo>
                  <a:cubicBezTo>
                    <a:pt x="85" y="25"/>
                    <a:pt x="84" y="25"/>
                    <a:pt x="83" y="26"/>
                  </a:cubicBezTo>
                  <a:cubicBezTo>
                    <a:pt x="83" y="26"/>
                    <a:pt x="82" y="26"/>
                    <a:pt x="82" y="27"/>
                  </a:cubicBezTo>
                  <a:cubicBezTo>
                    <a:pt x="81" y="27"/>
                    <a:pt x="81" y="27"/>
                    <a:pt x="81" y="27"/>
                  </a:cubicBezTo>
                  <a:cubicBezTo>
                    <a:pt x="80" y="26"/>
                    <a:pt x="80" y="26"/>
                    <a:pt x="80" y="26"/>
                  </a:cubicBezTo>
                  <a:cubicBezTo>
                    <a:pt x="79" y="26"/>
                    <a:pt x="79" y="26"/>
                    <a:pt x="79" y="25"/>
                  </a:cubicBezTo>
                  <a:cubicBezTo>
                    <a:pt x="78" y="25"/>
                    <a:pt x="78" y="25"/>
                    <a:pt x="77" y="25"/>
                  </a:cubicBezTo>
                  <a:cubicBezTo>
                    <a:pt x="76" y="25"/>
                    <a:pt x="76" y="25"/>
                    <a:pt x="75" y="24"/>
                  </a:cubicBezTo>
                  <a:cubicBezTo>
                    <a:pt x="75" y="24"/>
                    <a:pt x="74" y="24"/>
                    <a:pt x="74" y="24"/>
                  </a:cubicBezTo>
                  <a:cubicBezTo>
                    <a:pt x="74" y="24"/>
                    <a:pt x="73" y="24"/>
                    <a:pt x="73" y="24"/>
                  </a:cubicBezTo>
                  <a:cubicBezTo>
                    <a:pt x="73" y="24"/>
                    <a:pt x="72" y="24"/>
                    <a:pt x="72" y="23"/>
                  </a:cubicBezTo>
                  <a:cubicBezTo>
                    <a:pt x="71" y="23"/>
                    <a:pt x="71" y="23"/>
                    <a:pt x="71" y="23"/>
                  </a:cubicBezTo>
                  <a:cubicBezTo>
                    <a:pt x="70" y="23"/>
                    <a:pt x="69" y="23"/>
                    <a:pt x="69" y="23"/>
                  </a:cubicBezTo>
                  <a:cubicBezTo>
                    <a:pt x="69" y="24"/>
                    <a:pt x="68" y="24"/>
                    <a:pt x="68" y="24"/>
                  </a:cubicBezTo>
                  <a:cubicBezTo>
                    <a:pt x="68" y="24"/>
                    <a:pt x="67" y="24"/>
                    <a:pt x="67" y="24"/>
                  </a:cubicBezTo>
                  <a:cubicBezTo>
                    <a:pt x="66" y="25"/>
                    <a:pt x="66" y="25"/>
                    <a:pt x="65" y="25"/>
                  </a:cubicBezTo>
                  <a:cubicBezTo>
                    <a:pt x="64" y="25"/>
                    <a:pt x="63" y="25"/>
                    <a:pt x="63" y="25"/>
                  </a:cubicBezTo>
                  <a:cubicBezTo>
                    <a:pt x="62" y="25"/>
                    <a:pt x="61" y="25"/>
                    <a:pt x="62" y="25"/>
                  </a:cubicBezTo>
                  <a:cubicBezTo>
                    <a:pt x="62" y="24"/>
                    <a:pt x="63" y="23"/>
                    <a:pt x="63" y="23"/>
                  </a:cubicBezTo>
                  <a:cubicBezTo>
                    <a:pt x="64" y="22"/>
                    <a:pt x="65" y="22"/>
                    <a:pt x="66" y="22"/>
                  </a:cubicBezTo>
                  <a:cubicBezTo>
                    <a:pt x="67" y="22"/>
                    <a:pt x="68" y="22"/>
                    <a:pt x="69" y="22"/>
                  </a:cubicBezTo>
                  <a:cubicBezTo>
                    <a:pt x="69" y="22"/>
                    <a:pt x="70" y="22"/>
                    <a:pt x="70" y="22"/>
                  </a:cubicBezTo>
                  <a:cubicBezTo>
                    <a:pt x="71" y="21"/>
                    <a:pt x="71" y="21"/>
                    <a:pt x="72" y="21"/>
                  </a:cubicBezTo>
                  <a:cubicBezTo>
                    <a:pt x="72" y="21"/>
                    <a:pt x="72" y="20"/>
                    <a:pt x="72" y="20"/>
                  </a:cubicBezTo>
                  <a:cubicBezTo>
                    <a:pt x="72" y="20"/>
                    <a:pt x="71" y="20"/>
                    <a:pt x="71" y="20"/>
                  </a:cubicBezTo>
                  <a:cubicBezTo>
                    <a:pt x="71" y="20"/>
                    <a:pt x="70" y="20"/>
                    <a:pt x="70" y="20"/>
                  </a:cubicBezTo>
                  <a:cubicBezTo>
                    <a:pt x="70" y="20"/>
                    <a:pt x="69" y="20"/>
                    <a:pt x="69" y="19"/>
                  </a:cubicBezTo>
                  <a:cubicBezTo>
                    <a:pt x="69" y="19"/>
                    <a:pt x="69" y="19"/>
                    <a:pt x="69" y="19"/>
                  </a:cubicBezTo>
                  <a:cubicBezTo>
                    <a:pt x="68" y="19"/>
                    <a:pt x="68" y="19"/>
                    <a:pt x="68" y="19"/>
                  </a:cubicBezTo>
                  <a:cubicBezTo>
                    <a:pt x="67" y="19"/>
                    <a:pt x="67" y="20"/>
                    <a:pt x="66" y="20"/>
                  </a:cubicBezTo>
                  <a:cubicBezTo>
                    <a:pt x="66" y="21"/>
                    <a:pt x="65" y="21"/>
                    <a:pt x="65" y="20"/>
                  </a:cubicBezTo>
                  <a:cubicBezTo>
                    <a:pt x="64" y="20"/>
                    <a:pt x="64" y="20"/>
                    <a:pt x="63" y="20"/>
                  </a:cubicBezTo>
                  <a:cubicBezTo>
                    <a:pt x="63" y="19"/>
                    <a:pt x="62" y="19"/>
                    <a:pt x="62" y="18"/>
                  </a:cubicBezTo>
                  <a:cubicBezTo>
                    <a:pt x="61" y="17"/>
                    <a:pt x="60" y="16"/>
                    <a:pt x="58" y="16"/>
                  </a:cubicBezTo>
                  <a:cubicBezTo>
                    <a:pt x="58" y="15"/>
                    <a:pt x="57" y="15"/>
                    <a:pt x="57" y="15"/>
                  </a:cubicBezTo>
                  <a:cubicBezTo>
                    <a:pt x="56" y="15"/>
                    <a:pt x="56" y="14"/>
                    <a:pt x="56" y="14"/>
                  </a:cubicBezTo>
                  <a:cubicBezTo>
                    <a:pt x="55" y="14"/>
                    <a:pt x="54" y="13"/>
                    <a:pt x="52" y="13"/>
                  </a:cubicBezTo>
                  <a:cubicBezTo>
                    <a:pt x="51" y="12"/>
                    <a:pt x="51" y="12"/>
                    <a:pt x="50" y="12"/>
                  </a:cubicBezTo>
                  <a:cubicBezTo>
                    <a:pt x="49" y="12"/>
                    <a:pt x="48" y="12"/>
                    <a:pt x="47" y="12"/>
                  </a:cubicBezTo>
                  <a:cubicBezTo>
                    <a:pt x="47" y="12"/>
                    <a:pt x="47" y="11"/>
                    <a:pt x="47" y="10"/>
                  </a:cubicBezTo>
                  <a:cubicBezTo>
                    <a:pt x="1" y="12"/>
                    <a:pt x="1" y="12"/>
                    <a:pt x="1" y="12"/>
                  </a:cubicBezTo>
                  <a:cubicBezTo>
                    <a:pt x="0" y="129"/>
                    <a:pt x="0" y="129"/>
                    <a:pt x="0" y="129"/>
                  </a:cubicBezTo>
                  <a:cubicBezTo>
                    <a:pt x="0" y="129"/>
                    <a:pt x="0" y="129"/>
                    <a:pt x="0" y="129"/>
                  </a:cubicBezTo>
                  <a:cubicBezTo>
                    <a:pt x="0" y="129"/>
                    <a:pt x="1" y="128"/>
                    <a:pt x="1" y="128"/>
                  </a:cubicBezTo>
                  <a:cubicBezTo>
                    <a:pt x="1" y="128"/>
                    <a:pt x="2" y="128"/>
                    <a:pt x="2" y="128"/>
                  </a:cubicBezTo>
                  <a:cubicBezTo>
                    <a:pt x="3" y="128"/>
                    <a:pt x="3" y="128"/>
                    <a:pt x="4" y="129"/>
                  </a:cubicBezTo>
                  <a:cubicBezTo>
                    <a:pt x="4" y="129"/>
                    <a:pt x="4" y="130"/>
                    <a:pt x="5" y="130"/>
                  </a:cubicBezTo>
                  <a:cubicBezTo>
                    <a:pt x="5" y="130"/>
                    <a:pt x="6" y="131"/>
                    <a:pt x="7" y="131"/>
                  </a:cubicBezTo>
                  <a:cubicBezTo>
                    <a:pt x="7" y="131"/>
                    <a:pt x="8" y="131"/>
                    <a:pt x="8" y="131"/>
                  </a:cubicBezTo>
                  <a:cubicBezTo>
                    <a:pt x="8" y="130"/>
                    <a:pt x="9" y="130"/>
                    <a:pt x="9" y="130"/>
                  </a:cubicBezTo>
                  <a:cubicBezTo>
                    <a:pt x="10" y="130"/>
                    <a:pt x="11" y="129"/>
                    <a:pt x="11" y="129"/>
                  </a:cubicBezTo>
                  <a:cubicBezTo>
                    <a:pt x="12" y="129"/>
                    <a:pt x="13" y="129"/>
                    <a:pt x="13" y="129"/>
                  </a:cubicBezTo>
                  <a:cubicBezTo>
                    <a:pt x="13" y="130"/>
                    <a:pt x="13" y="130"/>
                    <a:pt x="14" y="130"/>
                  </a:cubicBezTo>
                  <a:cubicBezTo>
                    <a:pt x="14" y="131"/>
                    <a:pt x="15" y="132"/>
                    <a:pt x="16" y="132"/>
                  </a:cubicBezTo>
                  <a:cubicBezTo>
                    <a:pt x="16" y="132"/>
                    <a:pt x="17" y="133"/>
                    <a:pt x="17" y="133"/>
                  </a:cubicBezTo>
                  <a:cubicBezTo>
                    <a:pt x="17" y="133"/>
                    <a:pt x="18" y="134"/>
                    <a:pt x="18" y="134"/>
                  </a:cubicBezTo>
                  <a:cubicBezTo>
                    <a:pt x="18" y="135"/>
                    <a:pt x="18" y="135"/>
                    <a:pt x="18" y="135"/>
                  </a:cubicBezTo>
                  <a:cubicBezTo>
                    <a:pt x="18" y="136"/>
                    <a:pt x="19" y="136"/>
                    <a:pt x="19" y="136"/>
                  </a:cubicBezTo>
                  <a:cubicBezTo>
                    <a:pt x="19" y="137"/>
                    <a:pt x="19" y="138"/>
                    <a:pt x="20" y="139"/>
                  </a:cubicBezTo>
                  <a:cubicBezTo>
                    <a:pt x="20" y="140"/>
                    <a:pt x="21" y="141"/>
                    <a:pt x="21" y="142"/>
                  </a:cubicBezTo>
                  <a:cubicBezTo>
                    <a:pt x="22" y="143"/>
                    <a:pt x="22" y="144"/>
                    <a:pt x="23" y="144"/>
                  </a:cubicBezTo>
                  <a:cubicBezTo>
                    <a:pt x="25" y="144"/>
                    <a:pt x="26" y="144"/>
                    <a:pt x="27" y="144"/>
                  </a:cubicBezTo>
                  <a:cubicBezTo>
                    <a:pt x="28" y="144"/>
                    <a:pt x="30" y="143"/>
                    <a:pt x="31" y="144"/>
                  </a:cubicBezTo>
                  <a:cubicBezTo>
                    <a:pt x="32" y="144"/>
                    <a:pt x="33" y="145"/>
                    <a:pt x="33" y="145"/>
                  </a:cubicBezTo>
                  <a:cubicBezTo>
                    <a:pt x="34" y="146"/>
                    <a:pt x="34" y="146"/>
                    <a:pt x="35" y="147"/>
                  </a:cubicBezTo>
                  <a:cubicBezTo>
                    <a:pt x="36" y="148"/>
                    <a:pt x="36" y="149"/>
                    <a:pt x="37" y="150"/>
                  </a:cubicBezTo>
                  <a:cubicBezTo>
                    <a:pt x="38" y="151"/>
                    <a:pt x="40" y="150"/>
                    <a:pt x="40" y="150"/>
                  </a:cubicBezTo>
                  <a:cubicBezTo>
                    <a:pt x="41" y="149"/>
                    <a:pt x="41" y="149"/>
                    <a:pt x="42" y="148"/>
                  </a:cubicBezTo>
                  <a:cubicBezTo>
                    <a:pt x="42" y="148"/>
                    <a:pt x="43" y="148"/>
                    <a:pt x="43" y="148"/>
                  </a:cubicBezTo>
                  <a:cubicBezTo>
                    <a:pt x="44" y="148"/>
                    <a:pt x="45" y="147"/>
                    <a:pt x="45" y="147"/>
                  </a:cubicBezTo>
                  <a:cubicBezTo>
                    <a:pt x="46" y="147"/>
                    <a:pt x="46" y="147"/>
                    <a:pt x="46" y="148"/>
                  </a:cubicBezTo>
                  <a:cubicBezTo>
                    <a:pt x="46" y="148"/>
                    <a:pt x="47" y="148"/>
                    <a:pt x="47" y="148"/>
                  </a:cubicBezTo>
                  <a:cubicBezTo>
                    <a:pt x="47" y="148"/>
                    <a:pt x="48" y="149"/>
                    <a:pt x="48" y="149"/>
                  </a:cubicBezTo>
                  <a:cubicBezTo>
                    <a:pt x="49" y="149"/>
                    <a:pt x="50" y="150"/>
                    <a:pt x="51" y="151"/>
                  </a:cubicBezTo>
                  <a:cubicBezTo>
                    <a:pt x="51" y="151"/>
                    <a:pt x="52" y="152"/>
                    <a:pt x="52" y="152"/>
                  </a:cubicBezTo>
                  <a:cubicBezTo>
                    <a:pt x="52" y="152"/>
                    <a:pt x="53" y="151"/>
                    <a:pt x="54" y="151"/>
                  </a:cubicBezTo>
                  <a:cubicBezTo>
                    <a:pt x="54" y="151"/>
                    <a:pt x="54" y="151"/>
                    <a:pt x="55" y="151"/>
                  </a:cubicBezTo>
                  <a:cubicBezTo>
                    <a:pt x="55" y="151"/>
                    <a:pt x="56" y="151"/>
                    <a:pt x="56" y="151"/>
                  </a:cubicBezTo>
                  <a:cubicBezTo>
                    <a:pt x="57" y="151"/>
                    <a:pt x="57" y="151"/>
                    <a:pt x="58" y="150"/>
                  </a:cubicBezTo>
                  <a:cubicBezTo>
                    <a:pt x="58" y="150"/>
                    <a:pt x="59" y="150"/>
                    <a:pt x="59" y="149"/>
                  </a:cubicBezTo>
                  <a:cubicBezTo>
                    <a:pt x="60" y="149"/>
                    <a:pt x="60" y="148"/>
                    <a:pt x="61" y="148"/>
                  </a:cubicBezTo>
                  <a:cubicBezTo>
                    <a:pt x="61" y="147"/>
                    <a:pt x="62" y="146"/>
                    <a:pt x="62" y="146"/>
                  </a:cubicBezTo>
                  <a:cubicBezTo>
                    <a:pt x="63" y="146"/>
                    <a:pt x="64" y="146"/>
                    <a:pt x="65" y="145"/>
                  </a:cubicBezTo>
                  <a:cubicBezTo>
                    <a:pt x="65" y="145"/>
                    <a:pt x="66" y="145"/>
                    <a:pt x="67" y="146"/>
                  </a:cubicBezTo>
                  <a:cubicBezTo>
                    <a:pt x="67" y="146"/>
                    <a:pt x="67" y="146"/>
                    <a:pt x="67" y="147"/>
                  </a:cubicBezTo>
                  <a:cubicBezTo>
                    <a:pt x="67" y="147"/>
                    <a:pt x="67" y="147"/>
                    <a:pt x="67" y="148"/>
                  </a:cubicBezTo>
                  <a:cubicBezTo>
                    <a:pt x="67" y="149"/>
                    <a:pt x="67" y="150"/>
                    <a:pt x="67" y="151"/>
                  </a:cubicBezTo>
                  <a:cubicBezTo>
                    <a:pt x="68" y="151"/>
                    <a:pt x="68" y="152"/>
                    <a:pt x="69" y="153"/>
                  </a:cubicBezTo>
                  <a:cubicBezTo>
                    <a:pt x="70" y="153"/>
                    <a:pt x="70" y="153"/>
                    <a:pt x="71" y="153"/>
                  </a:cubicBezTo>
                  <a:cubicBezTo>
                    <a:pt x="71" y="154"/>
                    <a:pt x="72" y="154"/>
                    <a:pt x="72" y="154"/>
                  </a:cubicBezTo>
                  <a:cubicBezTo>
                    <a:pt x="73" y="154"/>
                    <a:pt x="74" y="155"/>
                    <a:pt x="75" y="156"/>
                  </a:cubicBezTo>
                  <a:cubicBezTo>
                    <a:pt x="76" y="156"/>
                    <a:pt x="76" y="157"/>
                    <a:pt x="76" y="158"/>
                  </a:cubicBezTo>
                  <a:cubicBezTo>
                    <a:pt x="76" y="158"/>
                    <a:pt x="76" y="158"/>
                    <a:pt x="76" y="158"/>
                  </a:cubicBezTo>
                  <a:cubicBezTo>
                    <a:pt x="77" y="161"/>
                    <a:pt x="77" y="161"/>
                    <a:pt x="77" y="161"/>
                  </a:cubicBezTo>
                  <a:cubicBezTo>
                    <a:pt x="81" y="160"/>
                    <a:pt x="81" y="160"/>
                    <a:pt x="81" y="160"/>
                  </a:cubicBezTo>
                  <a:cubicBezTo>
                    <a:pt x="81" y="160"/>
                    <a:pt x="84" y="160"/>
                    <a:pt x="85" y="159"/>
                  </a:cubicBezTo>
                  <a:cubicBezTo>
                    <a:pt x="85" y="159"/>
                    <a:pt x="86" y="158"/>
                    <a:pt x="86" y="158"/>
                  </a:cubicBezTo>
                  <a:cubicBezTo>
                    <a:pt x="86" y="158"/>
                    <a:pt x="87" y="156"/>
                    <a:pt x="87" y="155"/>
                  </a:cubicBezTo>
                  <a:cubicBezTo>
                    <a:pt x="87" y="155"/>
                    <a:pt x="87" y="153"/>
                    <a:pt x="87" y="153"/>
                  </a:cubicBezTo>
                  <a:cubicBezTo>
                    <a:pt x="87" y="153"/>
                    <a:pt x="89" y="153"/>
                    <a:pt x="89" y="152"/>
                  </a:cubicBezTo>
                  <a:cubicBezTo>
                    <a:pt x="89" y="152"/>
                    <a:pt x="92" y="152"/>
                    <a:pt x="92" y="152"/>
                  </a:cubicBezTo>
                  <a:cubicBezTo>
                    <a:pt x="92" y="152"/>
                    <a:pt x="91" y="148"/>
                    <a:pt x="91" y="148"/>
                  </a:cubicBezTo>
                  <a:cubicBezTo>
                    <a:pt x="91" y="147"/>
                    <a:pt x="90" y="144"/>
                    <a:pt x="90" y="144"/>
                  </a:cubicBezTo>
                  <a:cubicBezTo>
                    <a:pt x="90" y="144"/>
                    <a:pt x="92" y="142"/>
                    <a:pt x="92" y="142"/>
                  </a:cubicBezTo>
                  <a:cubicBezTo>
                    <a:pt x="92" y="142"/>
                    <a:pt x="93" y="140"/>
                    <a:pt x="93" y="139"/>
                  </a:cubicBezTo>
                  <a:cubicBezTo>
                    <a:pt x="93" y="139"/>
                    <a:pt x="95" y="136"/>
                    <a:pt x="95" y="135"/>
                  </a:cubicBezTo>
                  <a:cubicBezTo>
                    <a:pt x="95" y="135"/>
                    <a:pt x="96" y="134"/>
                    <a:pt x="96" y="134"/>
                  </a:cubicBezTo>
                  <a:cubicBezTo>
                    <a:pt x="96" y="133"/>
                    <a:pt x="97" y="133"/>
                    <a:pt x="97" y="133"/>
                  </a:cubicBezTo>
                  <a:cubicBezTo>
                    <a:pt x="97" y="134"/>
                    <a:pt x="99" y="135"/>
                    <a:pt x="99" y="135"/>
                  </a:cubicBezTo>
                  <a:cubicBezTo>
                    <a:pt x="99" y="135"/>
                    <a:pt x="100" y="136"/>
                    <a:pt x="100" y="136"/>
                  </a:cubicBezTo>
                  <a:cubicBezTo>
                    <a:pt x="100" y="136"/>
                    <a:pt x="101" y="137"/>
                    <a:pt x="101" y="137"/>
                  </a:cubicBezTo>
                  <a:cubicBezTo>
                    <a:pt x="101" y="137"/>
                    <a:pt x="100" y="138"/>
                    <a:pt x="100" y="138"/>
                  </a:cubicBezTo>
                  <a:cubicBezTo>
                    <a:pt x="100" y="138"/>
                    <a:pt x="100" y="140"/>
                    <a:pt x="100" y="140"/>
                  </a:cubicBezTo>
                  <a:cubicBezTo>
                    <a:pt x="100" y="140"/>
                    <a:pt x="102" y="140"/>
                    <a:pt x="102" y="140"/>
                  </a:cubicBezTo>
                  <a:cubicBezTo>
                    <a:pt x="102" y="140"/>
                    <a:pt x="103" y="139"/>
                    <a:pt x="103" y="139"/>
                  </a:cubicBezTo>
                  <a:cubicBezTo>
                    <a:pt x="103" y="138"/>
                    <a:pt x="103" y="137"/>
                    <a:pt x="103" y="137"/>
                  </a:cubicBezTo>
                  <a:cubicBezTo>
                    <a:pt x="105" y="138"/>
                    <a:pt x="105" y="138"/>
                    <a:pt x="105" y="138"/>
                  </a:cubicBezTo>
                  <a:cubicBezTo>
                    <a:pt x="105" y="138"/>
                    <a:pt x="105" y="133"/>
                    <a:pt x="105" y="133"/>
                  </a:cubicBezTo>
                  <a:cubicBezTo>
                    <a:pt x="105" y="133"/>
                    <a:pt x="104" y="132"/>
                    <a:pt x="104" y="132"/>
                  </a:cubicBezTo>
                  <a:cubicBezTo>
                    <a:pt x="104" y="131"/>
                    <a:pt x="105" y="131"/>
                    <a:pt x="105" y="131"/>
                  </a:cubicBezTo>
                  <a:cubicBezTo>
                    <a:pt x="105" y="131"/>
                    <a:pt x="106" y="130"/>
                    <a:pt x="106" y="130"/>
                  </a:cubicBezTo>
                  <a:cubicBezTo>
                    <a:pt x="106" y="130"/>
                    <a:pt x="106" y="126"/>
                    <a:pt x="106" y="126"/>
                  </a:cubicBezTo>
                  <a:cubicBezTo>
                    <a:pt x="106" y="126"/>
                    <a:pt x="107" y="125"/>
                    <a:pt x="108" y="125"/>
                  </a:cubicBezTo>
                  <a:cubicBezTo>
                    <a:pt x="108" y="125"/>
                    <a:pt x="109" y="122"/>
                    <a:pt x="109" y="122"/>
                  </a:cubicBezTo>
                  <a:cubicBezTo>
                    <a:pt x="109" y="122"/>
                    <a:pt x="110" y="122"/>
                    <a:pt x="111" y="122"/>
                  </a:cubicBezTo>
                  <a:cubicBezTo>
                    <a:pt x="111" y="122"/>
                    <a:pt x="112" y="123"/>
                    <a:pt x="112" y="123"/>
                  </a:cubicBezTo>
                  <a:cubicBezTo>
                    <a:pt x="112" y="123"/>
                    <a:pt x="113" y="119"/>
                    <a:pt x="113" y="119"/>
                  </a:cubicBezTo>
                  <a:cubicBezTo>
                    <a:pt x="113" y="119"/>
                    <a:pt x="114" y="118"/>
                    <a:pt x="114" y="118"/>
                  </a:cubicBezTo>
                  <a:cubicBezTo>
                    <a:pt x="115" y="118"/>
                    <a:pt x="115" y="116"/>
                    <a:pt x="116" y="116"/>
                  </a:cubicBezTo>
                  <a:cubicBezTo>
                    <a:pt x="116" y="116"/>
                    <a:pt x="117" y="116"/>
                    <a:pt x="117" y="116"/>
                  </a:cubicBezTo>
                  <a:cubicBezTo>
                    <a:pt x="117" y="116"/>
                    <a:pt x="119" y="119"/>
                    <a:pt x="119" y="119"/>
                  </a:cubicBezTo>
                  <a:cubicBezTo>
                    <a:pt x="119" y="119"/>
                    <a:pt x="121" y="119"/>
                    <a:pt x="121" y="119"/>
                  </a:cubicBezTo>
                  <a:cubicBezTo>
                    <a:pt x="121" y="119"/>
                    <a:pt x="126" y="116"/>
                    <a:pt x="126" y="116"/>
                  </a:cubicBezTo>
                  <a:cubicBezTo>
                    <a:pt x="133" y="109"/>
                    <a:pt x="133" y="109"/>
                    <a:pt x="133" y="109"/>
                  </a:cubicBezTo>
                  <a:cubicBezTo>
                    <a:pt x="133" y="109"/>
                    <a:pt x="134" y="107"/>
                    <a:pt x="134" y="107"/>
                  </a:cubicBezTo>
                  <a:cubicBezTo>
                    <a:pt x="134" y="107"/>
                    <a:pt x="136" y="107"/>
                    <a:pt x="136" y="107"/>
                  </a:cubicBezTo>
                  <a:cubicBezTo>
                    <a:pt x="136" y="107"/>
                    <a:pt x="136" y="104"/>
                    <a:pt x="137" y="104"/>
                  </a:cubicBezTo>
                  <a:cubicBezTo>
                    <a:pt x="137" y="103"/>
                    <a:pt x="138" y="103"/>
                    <a:pt x="138" y="103"/>
                  </a:cubicBezTo>
                  <a:cubicBezTo>
                    <a:pt x="138" y="103"/>
                    <a:pt x="136" y="101"/>
                    <a:pt x="136" y="100"/>
                  </a:cubicBezTo>
                  <a:cubicBezTo>
                    <a:pt x="136" y="100"/>
                    <a:pt x="137" y="98"/>
                    <a:pt x="138" y="98"/>
                  </a:cubicBezTo>
                  <a:cubicBezTo>
                    <a:pt x="138" y="98"/>
                    <a:pt x="139" y="96"/>
                    <a:pt x="139" y="96"/>
                  </a:cubicBezTo>
                  <a:cubicBezTo>
                    <a:pt x="139" y="96"/>
                    <a:pt x="139" y="94"/>
                    <a:pt x="139" y="94"/>
                  </a:cubicBezTo>
                  <a:cubicBezTo>
                    <a:pt x="139" y="94"/>
                    <a:pt x="141" y="93"/>
                    <a:pt x="141" y="93"/>
                  </a:cubicBezTo>
                  <a:cubicBezTo>
                    <a:pt x="141" y="89"/>
                    <a:pt x="141" y="89"/>
                    <a:pt x="141" y="89"/>
                  </a:cubicBezTo>
                  <a:cubicBezTo>
                    <a:pt x="141" y="85"/>
                    <a:pt x="141" y="85"/>
                    <a:pt x="141" y="85"/>
                  </a:cubicBezTo>
                  <a:cubicBezTo>
                    <a:pt x="146" y="76"/>
                    <a:pt x="146" y="76"/>
                    <a:pt x="146" y="76"/>
                  </a:cubicBezTo>
                  <a:cubicBezTo>
                    <a:pt x="146" y="76"/>
                    <a:pt x="144" y="73"/>
                    <a:pt x="144" y="72"/>
                  </a:cubicBezTo>
                  <a:cubicBezTo>
                    <a:pt x="144" y="72"/>
                    <a:pt x="145" y="71"/>
                    <a:pt x="145" y="70"/>
                  </a:cubicBezTo>
                  <a:cubicBezTo>
                    <a:pt x="145" y="70"/>
                    <a:pt x="146" y="68"/>
                    <a:pt x="146" y="68"/>
                  </a:cubicBezTo>
                  <a:cubicBezTo>
                    <a:pt x="146" y="68"/>
                    <a:pt x="145" y="66"/>
                    <a:pt x="145" y="66"/>
                  </a:cubicBezTo>
                  <a:cubicBezTo>
                    <a:pt x="145" y="66"/>
                    <a:pt x="143" y="63"/>
                    <a:pt x="143" y="63"/>
                  </a:cubicBezTo>
                  <a:cubicBezTo>
                    <a:pt x="143" y="63"/>
                    <a:pt x="144" y="62"/>
                    <a:pt x="144" y="61"/>
                  </a:cubicBezTo>
                  <a:cubicBezTo>
                    <a:pt x="144" y="61"/>
                    <a:pt x="145" y="61"/>
                    <a:pt x="145" y="61"/>
                  </a:cubicBezTo>
                  <a:cubicBezTo>
                    <a:pt x="147" y="62"/>
                    <a:pt x="147" y="62"/>
                    <a:pt x="147" y="62"/>
                  </a:cubicBezTo>
                  <a:cubicBezTo>
                    <a:pt x="149" y="61"/>
                    <a:pt x="149" y="61"/>
                    <a:pt x="149" y="61"/>
                  </a:cubicBezTo>
                  <a:cubicBezTo>
                    <a:pt x="149" y="0"/>
                    <a:pt x="149" y="0"/>
                    <a:pt x="149" y="0"/>
                  </a:cubicBezTo>
                  <a:cubicBezTo>
                    <a:pt x="148" y="0"/>
                    <a:pt x="147" y="0"/>
                    <a:pt x="146" y="1"/>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1" name="Freeform 24">
              <a:extLst>
                <a:ext uri="{FF2B5EF4-FFF2-40B4-BE49-F238E27FC236}">
                  <a16:creationId xmlns:a16="http://schemas.microsoft.com/office/drawing/2014/main" id="{C420E3B9-DE6F-4908-CB3B-84E44DF19111}"/>
                </a:ext>
              </a:extLst>
            </p:cNvPr>
            <p:cNvSpPr>
              <a:spLocks/>
            </p:cNvSpPr>
            <p:nvPr/>
          </p:nvSpPr>
          <p:spPr bwMode="auto">
            <a:xfrm>
              <a:off x="5348340" y="956552"/>
              <a:ext cx="1021062" cy="619576"/>
            </a:xfrm>
            <a:custGeom>
              <a:avLst/>
              <a:gdLst>
                <a:gd name="T0" fmla="*/ 258 w 258"/>
                <a:gd name="T1" fmla="*/ 139 h 156"/>
                <a:gd name="T2" fmla="*/ 256 w 258"/>
                <a:gd name="T3" fmla="*/ 134 h 156"/>
                <a:gd name="T4" fmla="*/ 253 w 258"/>
                <a:gd name="T5" fmla="*/ 131 h 156"/>
                <a:gd name="T6" fmla="*/ 252 w 258"/>
                <a:gd name="T7" fmla="*/ 127 h 156"/>
                <a:gd name="T8" fmla="*/ 251 w 258"/>
                <a:gd name="T9" fmla="*/ 123 h 156"/>
                <a:gd name="T10" fmla="*/ 251 w 258"/>
                <a:gd name="T11" fmla="*/ 119 h 156"/>
                <a:gd name="T12" fmla="*/ 252 w 258"/>
                <a:gd name="T13" fmla="*/ 111 h 156"/>
                <a:gd name="T14" fmla="*/ 252 w 258"/>
                <a:gd name="T15" fmla="*/ 109 h 156"/>
                <a:gd name="T16" fmla="*/ 251 w 258"/>
                <a:gd name="T17" fmla="*/ 106 h 156"/>
                <a:gd name="T18" fmla="*/ 249 w 258"/>
                <a:gd name="T19" fmla="*/ 102 h 156"/>
                <a:gd name="T20" fmla="*/ 249 w 258"/>
                <a:gd name="T21" fmla="*/ 90 h 156"/>
                <a:gd name="T22" fmla="*/ 249 w 258"/>
                <a:gd name="T23" fmla="*/ 84 h 156"/>
                <a:gd name="T24" fmla="*/ 248 w 258"/>
                <a:gd name="T25" fmla="*/ 75 h 156"/>
                <a:gd name="T26" fmla="*/ 247 w 258"/>
                <a:gd name="T27" fmla="*/ 69 h 156"/>
                <a:gd name="T28" fmla="*/ 244 w 258"/>
                <a:gd name="T29" fmla="*/ 62 h 156"/>
                <a:gd name="T30" fmla="*/ 241 w 258"/>
                <a:gd name="T31" fmla="*/ 52 h 156"/>
                <a:gd name="T32" fmla="*/ 239 w 258"/>
                <a:gd name="T33" fmla="*/ 47 h 156"/>
                <a:gd name="T34" fmla="*/ 239 w 258"/>
                <a:gd name="T35" fmla="*/ 40 h 156"/>
                <a:gd name="T36" fmla="*/ 239 w 258"/>
                <a:gd name="T37" fmla="*/ 36 h 156"/>
                <a:gd name="T38" fmla="*/ 238 w 258"/>
                <a:gd name="T39" fmla="*/ 33 h 156"/>
                <a:gd name="T40" fmla="*/ 239 w 258"/>
                <a:gd name="T41" fmla="*/ 30 h 156"/>
                <a:gd name="T42" fmla="*/ 238 w 258"/>
                <a:gd name="T43" fmla="*/ 28 h 156"/>
                <a:gd name="T44" fmla="*/ 238 w 258"/>
                <a:gd name="T45" fmla="*/ 27 h 156"/>
                <a:gd name="T46" fmla="*/ 239 w 258"/>
                <a:gd name="T47" fmla="*/ 25 h 156"/>
                <a:gd name="T48" fmla="*/ 238 w 258"/>
                <a:gd name="T49" fmla="*/ 24 h 156"/>
                <a:gd name="T50" fmla="*/ 239 w 258"/>
                <a:gd name="T51" fmla="*/ 21 h 156"/>
                <a:gd name="T52" fmla="*/ 239 w 258"/>
                <a:gd name="T53" fmla="*/ 18 h 156"/>
                <a:gd name="T54" fmla="*/ 239 w 258"/>
                <a:gd name="T55" fmla="*/ 14 h 156"/>
                <a:gd name="T56" fmla="*/ 237 w 258"/>
                <a:gd name="T57" fmla="*/ 8 h 156"/>
                <a:gd name="T58" fmla="*/ 236 w 258"/>
                <a:gd name="T59" fmla="*/ 4 h 156"/>
                <a:gd name="T60" fmla="*/ 236 w 258"/>
                <a:gd name="T61" fmla="*/ 0 h 156"/>
                <a:gd name="T62" fmla="*/ 0 w 258"/>
                <a:gd name="T63" fmla="*/ 0 h 156"/>
                <a:gd name="T64" fmla="*/ 0 w 258"/>
                <a:gd name="T65" fmla="*/ 156 h 156"/>
                <a:gd name="T66" fmla="*/ 258 w 258"/>
                <a:gd name="T67" fmla="*/ 156 h 156"/>
                <a:gd name="T68" fmla="*/ 258 w 258"/>
                <a:gd name="T69" fmla="*/ 13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8" h="156">
                  <a:moveTo>
                    <a:pt x="258" y="139"/>
                  </a:moveTo>
                  <a:cubicBezTo>
                    <a:pt x="257" y="139"/>
                    <a:pt x="256" y="135"/>
                    <a:pt x="256" y="134"/>
                  </a:cubicBezTo>
                  <a:cubicBezTo>
                    <a:pt x="255" y="134"/>
                    <a:pt x="254" y="132"/>
                    <a:pt x="253" y="131"/>
                  </a:cubicBezTo>
                  <a:cubicBezTo>
                    <a:pt x="253" y="130"/>
                    <a:pt x="252" y="128"/>
                    <a:pt x="252" y="127"/>
                  </a:cubicBezTo>
                  <a:cubicBezTo>
                    <a:pt x="252" y="126"/>
                    <a:pt x="251" y="124"/>
                    <a:pt x="251" y="123"/>
                  </a:cubicBezTo>
                  <a:cubicBezTo>
                    <a:pt x="251" y="122"/>
                    <a:pt x="251" y="121"/>
                    <a:pt x="251" y="119"/>
                  </a:cubicBezTo>
                  <a:cubicBezTo>
                    <a:pt x="251" y="118"/>
                    <a:pt x="252" y="112"/>
                    <a:pt x="252" y="111"/>
                  </a:cubicBezTo>
                  <a:cubicBezTo>
                    <a:pt x="252" y="111"/>
                    <a:pt x="252" y="110"/>
                    <a:pt x="252" y="109"/>
                  </a:cubicBezTo>
                  <a:cubicBezTo>
                    <a:pt x="252" y="108"/>
                    <a:pt x="251" y="107"/>
                    <a:pt x="251" y="106"/>
                  </a:cubicBezTo>
                  <a:cubicBezTo>
                    <a:pt x="250" y="105"/>
                    <a:pt x="250" y="104"/>
                    <a:pt x="249" y="102"/>
                  </a:cubicBezTo>
                  <a:cubicBezTo>
                    <a:pt x="249" y="100"/>
                    <a:pt x="249" y="92"/>
                    <a:pt x="249" y="90"/>
                  </a:cubicBezTo>
                  <a:cubicBezTo>
                    <a:pt x="249" y="89"/>
                    <a:pt x="249" y="86"/>
                    <a:pt x="249" y="84"/>
                  </a:cubicBezTo>
                  <a:cubicBezTo>
                    <a:pt x="249" y="83"/>
                    <a:pt x="249" y="77"/>
                    <a:pt x="248" y="75"/>
                  </a:cubicBezTo>
                  <a:cubicBezTo>
                    <a:pt x="248" y="74"/>
                    <a:pt x="248" y="71"/>
                    <a:pt x="247" y="69"/>
                  </a:cubicBezTo>
                  <a:cubicBezTo>
                    <a:pt x="247" y="67"/>
                    <a:pt x="244" y="64"/>
                    <a:pt x="244" y="62"/>
                  </a:cubicBezTo>
                  <a:cubicBezTo>
                    <a:pt x="243" y="60"/>
                    <a:pt x="241" y="53"/>
                    <a:pt x="241" y="52"/>
                  </a:cubicBezTo>
                  <a:cubicBezTo>
                    <a:pt x="240" y="50"/>
                    <a:pt x="239" y="49"/>
                    <a:pt x="239" y="47"/>
                  </a:cubicBezTo>
                  <a:cubicBezTo>
                    <a:pt x="239" y="45"/>
                    <a:pt x="239" y="41"/>
                    <a:pt x="239" y="40"/>
                  </a:cubicBezTo>
                  <a:cubicBezTo>
                    <a:pt x="239" y="38"/>
                    <a:pt x="239" y="37"/>
                    <a:pt x="239" y="36"/>
                  </a:cubicBezTo>
                  <a:cubicBezTo>
                    <a:pt x="239" y="35"/>
                    <a:pt x="238" y="34"/>
                    <a:pt x="238" y="33"/>
                  </a:cubicBezTo>
                  <a:cubicBezTo>
                    <a:pt x="238" y="32"/>
                    <a:pt x="239" y="30"/>
                    <a:pt x="239" y="30"/>
                  </a:cubicBezTo>
                  <a:cubicBezTo>
                    <a:pt x="239" y="29"/>
                    <a:pt x="238" y="28"/>
                    <a:pt x="238" y="28"/>
                  </a:cubicBezTo>
                  <a:cubicBezTo>
                    <a:pt x="238" y="28"/>
                    <a:pt x="238" y="27"/>
                    <a:pt x="238" y="27"/>
                  </a:cubicBezTo>
                  <a:cubicBezTo>
                    <a:pt x="239" y="26"/>
                    <a:pt x="239" y="25"/>
                    <a:pt x="239" y="25"/>
                  </a:cubicBezTo>
                  <a:cubicBezTo>
                    <a:pt x="238" y="24"/>
                    <a:pt x="238" y="25"/>
                    <a:pt x="238" y="24"/>
                  </a:cubicBezTo>
                  <a:cubicBezTo>
                    <a:pt x="238" y="23"/>
                    <a:pt x="238" y="21"/>
                    <a:pt x="239" y="21"/>
                  </a:cubicBezTo>
                  <a:cubicBezTo>
                    <a:pt x="239" y="20"/>
                    <a:pt x="239" y="20"/>
                    <a:pt x="239" y="18"/>
                  </a:cubicBezTo>
                  <a:cubicBezTo>
                    <a:pt x="240" y="16"/>
                    <a:pt x="239" y="15"/>
                    <a:pt x="239" y="14"/>
                  </a:cubicBezTo>
                  <a:cubicBezTo>
                    <a:pt x="239" y="14"/>
                    <a:pt x="237" y="9"/>
                    <a:pt x="237" y="8"/>
                  </a:cubicBezTo>
                  <a:cubicBezTo>
                    <a:pt x="237" y="7"/>
                    <a:pt x="236" y="6"/>
                    <a:pt x="236" y="4"/>
                  </a:cubicBezTo>
                  <a:cubicBezTo>
                    <a:pt x="236" y="3"/>
                    <a:pt x="236" y="0"/>
                    <a:pt x="236" y="0"/>
                  </a:cubicBezTo>
                  <a:cubicBezTo>
                    <a:pt x="0" y="0"/>
                    <a:pt x="0" y="0"/>
                    <a:pt x="0" y="0"/>
                  </a:cubicBezTo>
                  <a:cubicBezTo>
                    <a:pt x="0" y="156"/>
                    <a:pt x="0" y="156"/>
                    <a:pt x="0" y="156"/>
                  </a:cubicBezTo>
                  <a:cubicBezTo>
                    <a:pt x="258" y="156"/>
                    <a:pt x="258" y="156"/>
                    <a:pt x="258" y="156"/>
                  </a:cubicBezTo>
                  <a:cubicBezTo>
                    <a:pt x="258" y="156"/>
                    <a:pt x="258" y="140"/>
                    <a:pt x="258" y="139"/>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2" name="Freeform 25">
              <a:extLst>
                <a:ext uri="{FF2B5EF4-FFF2-40B4-BE49-F238E27FC236}">
                  <a16:creationId xmlns:a16="http://schemas.microsoft.com/office/drawing/2014/main" id="{D8AC9E70-723D-4D79-417C-84042903D403}"/>
                </a:ext>
              </a:extLst>
            </p:cNvPr>
            <p:cNvSpPr>
              <a:spLocks noEditPoints="1"/>
            </p:cNvSpPr>
            <p:nvPr/>
          </p:nvSpPr>
          <p:spPr bwMode="auto">
            <a:xfrm>
              <a:off x="8044736" y="3287813"/>
              <a:ext cx="1196195" cy="460965"/>
            </a:xfrm>
            <a:custGeom>
              <a:avLst/>
              <a:gdLst>
                <a:gd name="T0" fmla="*/ 300 w 302"/>
                <a:gd name="T1" fmla="*/ 26 h 116"/>
                <a:gd name="T2" fmla="*/ 293 w 302"/>
                <a:gd name="T3" fmla="*/ 4 h 116"/>
                <a:gd name="T4" fmla="*/ 123 w 302"/>
                <a:gd name="T5" fmla="*/ 0 h 116"/>
                <a:gd name="T6" fmla="*/ 87 w 302"/>
                <a:gd name="T7" fmla="*/ 10 h 116"/>
                <a:gd name="T8" fmla="*/ 72 w 302"/>
                <a:gd name="T9" fmla="*/ 19 h 116"/>
                <a:gd name="T10" fmla="*/ 59 w 302"/>
                <a:gd name="T11" fmla="*/ 22 h 116"/>
                <a:gd name="T12" fmla="*/ 48 w 302"/>
                <a:gd name="T13" fmla="*/ 33 h 116"/>
                <a:gd name="T14" fmla="*/ 37 w 302"/>
                <a:gd name="T15" fmla="*/ 38 h 116"/>
                <a:gd name="T16" fmla="*/ 14 w 302"/>
                <a:gd name="T17" fmla="*/ 47 h 116"/>
                <a:gd name="T18" fmla="*/ 5 w 302"/>
                <a:gd name="T19" fmla="*/ 58 h 116"/>
                <a:gd name="T20" fmla="*/ 52 w 302"/>
                <a:gd name="T21" fmla="*/ 64 h 116"/>
                <a:gd name="T22" fmla="*/ 68 w 302"/>
                <a:gd name="T23" fmla="*/ 59 h 116"/>
                <a:gd name="T24" fmla="*/ 114 w 302"/>
                <a:gd name="T25" fmla="*/ 63 h 116"/>
                <a:gd name="T26" fmla="*/ 122 w 302"/>
                <a:gd name="T27" fmla="*/ 75 h 116"/>
                <a:gd name="T28" fmla="*/ 205 w 302"/>
                <a:gd name="T29" fmla="*/ 114 h 116"/>
                <a:gd name="T30" fmla="*/ 218 w 302"/>
                <a:gd name="T31" fmla="*/ 114 h 116"/>
                <a:gd name="T32" fmla="*/ 222 w 302"/>
                <a:gd name="T33" fmla="*/ 106 h 116"/>
                <a:gd name="T34" fmla="*/ 225 w 302"/>
                <a:gd name="T35" fmla="*/ 104 h 116"/>
                <a:gd name="T36" fmla="*/ 233 w 302"/>
                <a:gd name="T37" fmla="*/ 93 h 116"/>
                <a:gd name="T38" fmla="*/ 240 w 302"/>
                <a:gd name="T39" fmla="*/ 88 h 116"/>
                <a:gd name="T40" fmla="*/ 240 w 302"/>
                <a:gd name="T41" fmla="*/ 83 h 116"/>
                <a:gd name="T42" fmla="*/ 242 w 302"/>
                <a:gd name="T43" fmla="*/ 84 h 116"/>
                <a:gd name="T44" fmla="*/ 252 w 302"/>
                <a:gd name="T45" fmla="*/ 81 h 116"/>
                <a:gd name="T46" fmla="*/ 261 w 302"/>
                <a:gd name="T47" fmla="*/ 79 h 116"/>
                <a:gd name="T48" fmla="*/ 268 w 302"/>
                <a:gd name="T49" fmla="*/ 78 h 116"/>
                <a:gd name="T50" fmla="*/ 274 w 302"/>
                <a:gd name="T51" fmla="*/ 73 h 116"/>
                <a:gd name="T52" fmla="*/ 274 w 302"/>
                <a:gd name="T53" fmla="*/ 69 h 116"/>
                <a:gd name="T54" fmla="*/ 269 w 302"/>
                <a:gd name="T55" fmla="*/ 68 h 116"/>
                <a:gd name="T56" fmla="*/ 261 w 302"/>
                <a:gd name="T57" fmla="*/ 71 h 116"/>
                <a:gd name="T58" fmla="*/ 253 w 302"/>
                <a:gd name="T59" fmla="*/ 65 h 116"/>
                <a:gd name="T60" fmla="*/ 258 w 302"/>
                <a:gd name="T61" fmla="*/ 67 h 116"/>
                <a:gd name="T62" fmla="*/ 265 w 302"/>
                <a:gd name="T63" fmla="*/ 67 h 116"/>
                <a:gd name="T64" fmla="*/ 264 w 302"/>
                <a:gd name="T65" fmla="*/ 61 h 116"/>
                <a:gd name="T66" fmla="*/ 270 w 302"/>
                <a:gd name="T67" fmla="*/ 56 h 116"/>
                <a:gd name="T68" fmla="*/ 259 w 302"/>
                <a:gd name="T69" fmla="*/ 51 h 116"/>
                <a:gd name="T70" fmla="*/ 266 w 302"/>
                <a:gd name="T71" fmla="*/ 51 h 116"/>
                <a:gd name="T72" fmla="*/ 271 w 302"/>
                <a:gd name="T73" fmla="*/ 47 h 116"/>
                <a:gd name="T74" fmla="*/ 274 w 302"/>
                <a:gd name="T75" fmla="*/ 50 h 116"/>
                <a:gd name="T76" fmla="*/ 285 w 302"/>
                <a:gd name="T77" fmla="*/ 52 h 116"/>
                <a:gd name="T78" fmla="*/ 298 w 302"/>
                <a:gd name="T79" fmla="*/ 39 h 116"/>
                <a:gd name="T80" fmla="*/ 291 w 302"/>
                <a:gd name="T81" fmla="*/ 29 h 116"/>
                <a:gd name="T82" fmla="*/ 284 w 302"/>
                <a:gd name="T83" fmla="*/ 38 h 116"/>
                <a:gd name="T84" fmla="*/ 286 w 302"/>
                <a:gd name="T85" fmla="*/ 27 h 116"/>
                <a:gd name="T86" fmla="*/ 274 w 302"/>
                <a:gd name="T87" fmla="*/ 26 h 116"/>
                <a:gd name="T88" fmla="*/ 264 w 302"/>
                <a:gd name="T89" fmla="*/ 26 h 116"/>
                <a:gd name="T90" fmla="*/ 261 w 302"/>
                <a:gd name="T91" fmla="*/ 19 h 116"/>
                <a:gd name="T92" fmla="*/ 264 w 302"/>
                <a:gd name="T93" fmla="*/ 17 h 116"/>
                <a:gd name="T94" fmla="*/ 269 w 302"/>
                <a:gd name="T95" fmla="*/ 24 h 116"/>
                <a:gd name="T96" fmla="*/ 274 w 302"/>
                <a:gd name="T97" fmla="*/ 19 h 116"/>
                <a:gd name="T98" fmla="*/ 279 w 302"/>
                <a:gd name="T99" fmla="*/ 17 h 116"/>
                <a:gd name="T100" fmla="*/ 283 w 302"/>
                <a:gd name="T101" fmla="*/ 15 h 116"/>
                <a:gd name="T102" fmla="*/ 289 w 302"/>
                <a:gd name="T103" fmla="*/ 17 h 116"/>
                <a:gd name="T104" fmla="*/ 294 w 302"/>
                <a:gd name="T105" fmla="*/ 20 h 116"/>
                <a:gd name="T106" fmla="*/ 287 w 302"/>
                <a:gd name="T107" fmla="*/ 4 h 116"/>
                <a:gd name="T108" fmla="*/ 294 w 302"/>
                <a:gd name="T109" fmla="*/ 12 h 116"/>
                <a:gd name="T110" fmla="*/ 302 w 302"/>
                <a:gd name="T111" fmla="*/ 2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2" h="116">
                  <a:moveTo>
                    <a:pt x="298" y="29"/>
                  </a:moveTo>
                  <a:cubicBezTo>
                    <a:pt x="299" y="28"/>
                    <a:pt x="299" y="29"/>
                    <a:pt x="300" y="30"/>
                  </a:cubicBezTo>
                  <a:cubicBezTo>
                    <a:pt x="300" y="30"/>
                    <a:pt x="301" y="31"/>
                    <a:pt x="300" y="31"/>
                  </a:cubicBezTo>
                  <a:cubicBezTo>
                    <a:pt x="300" y="32"/>
                    <a:pt x="299" y="31"/>
                    <a:pt x="299" y="31"/>
                  </a:cubicBezTo>
                  <a:cubicBezTo>
                    <a:pt x="299" y="31"/>
                    <a:pt x="299" y="31"/>
                    <a:pt x="299" y="30"/>
                  </a:cubicBezTo>
                  <a:cubicBezTo>
                    <a:pt x="298" y="30"/>
                    <a:pt x="298" y="30"/>
                    <a:pt x="298" y="29"/>
                  </a:cubicBezTo>
                  <a:close/>
                  <a:moveTo>
                    <a:pt x="300" y="26"/>
                  </a:moveTo>
                  <a:cubicBezTo>
                    <a:pt x="300" y="25"/>
                    <a:pt x="299" y="24"/>
                    <a:pt x="299" y="23"/>
                  </a:cubicBezTo>
                  <a:cubicBezTo>
                    <a:pt x="298" y="21"/>
                    <a:pt x="298" y="20"/>
                    <a:pt x="297" y="19"/>
                  </a:cubicBezTo>
                  <a:cubicBezTo>
                    <a:pt x="297" y="18"/>
                    <a:pt x="296" y="17"/>
                    <a:pt x="296" y="16"/>
                  </a:cubicBezTo>
                  <a:cubicBezTo>
                    <a:pt x="296" y="15"/>
                    <a:pt x="295" y="13"/>
                    <a:pt x="295" y="12"/>
                  </a:cubicBezTo>
                  <a:cubicBezTo>
                    <a:pt x="295" y="11"/>
                    <a:pt x="294" y="10"/>
                    <a:pt x="294" y="9"/>
                  </a:cubicBezTo>
                  <a:cubicBezTo>
                    <a:pt x="294" y="8"/>
                    <a:pt x="294" y="8"/>
                    <a:pt x="294" y="7"/>
                  </a:cubicBezTo>
                  <a:cubicBezTo>
                    <a:pt x="294" y="6"/>
                    <a:pt x="293" y="5"/>
                    <a:pt x="293" y="4"/>
                  </a:cubicBezTo>
                  <a:cubicBezTo>
                    <a:pt x="293" y="3"/>
                    <a:pt x="293" y="2"/>
                    <a:pt x="293" y="2"/>
                  </a:cubicBezTo>
                  <a:cubicBezTo>
                    <a:pt x="291" y="2"/>
                    <a:pt x="291" y="2"/>
                    <a:pt x="291" y="2"/>
                  </a:cubicBezTo>
                  <a:cubicBezTo>
                    <a:pt x="291" y="2"/>
                    <a:pt x="291" y="2"/>
                    <a:pt x="291" y="2"/>
                  </a:cubicBezTo>
                  <a:cubicBezTo>
                    <a:pt x="291" y="2"/>
                    <a:pt x="291" y="2"/>
                    <a:pt x="290" y="2"/>
                  </a:cubicBezTo>
                  <a:cubicBezTo>
                    <a:pt x="290" y="2"/>
                    <a:pt x="290" y="2"/>
                    <a:pt x="290" y="2"/>
                  </a:cubicBezTo>
                  <a:cubicBezTo>
                    <a:pt x="187" y="2"/>
                    <a:pt x="187" y="2"/>
                    <a:pt x="187" y="2"/>
                  </a:cubicBezTo>
                  <a:cubicBezTo>
                    <a:pt x="123" y="0"/>
                    <a:pt x="123" y="0"/>
                    <a:pt x="123" y="0"/>
                  </a:cubicBezTo>
                  <a:cubicBezTo>
                    <a:pt x="92" y="0"/>
                    <a:pt x="92" y="0"/>
                    <a:pt x="92" y="0"/>
                  </a:cubicBezTo>
                  <a:cubicBezTo>
                    <a:pt x="92" y="0"/>
                    <a:pt x="90" y="2"/>
                    <a:pt x="90" y="3"/>
                  </a:cubicBezTo>
                  <a:cubicBezTo>
                    <a:pt x="90" y="3"/>
                    <a:pt x="91" y="5"/>
                    <a:pt x="91" y="5"/>
                  </a:cubicBezTo>
                  <a:cubicBezTo>
                    <a:pt x="91" y="6"/>
                    <a:pt x="90" y="6"/>
                    <a:pt x="90" y="7"/>
                  </a:cubicBezTo>
                  <a:cubicBezTo>
                    <a:pt x="89" y="8"/>
                    <a:pt x="90" y="8"/>
                    <a:pt x="90" y="9"/>
                  </a:cubicBezTo>
                  <a:cubicBezTo>
                    <a:pt x="90" y="9"/>
                    <a:pt x="91" y="11"/>
                    <a:pt x="90" y="11"/>
                  </a:cubicBezTo>
                  <a:cubicBezTo>
                    <a:pt x="90" y="10"/>
                    <a:pt x="88" y="10"/>
                    <a:pt x="87" y="10"/>
                  </a:cubicBezTo>
                  <a:cubicBezTo>
                    <a:pt x="87" y="9"/>
                    <a:pt x="86" y="10"/>
                    <a:pt x="86" y="11"/>
                  </a:cubicBezTo>
                  <a:cubicBezTo>
                    <a:pt x="85" y="11"/>
                    <a:pt x="84" y="12"/>
                    <a:pt x="83" y="13"/>
                  </a:cubicBezTo>
                  <a:cubicBezTo>
                    <a:pt x="82" y="14"/>
                    <a:pt x="80" y="19"/>
                    <a:pt x="80" y="19"/>
                  </a:cubicBezTo>
                  <a:cubicBezTo>
                    <a:pt x="79" y="20"/>
                    <a:pt x="78" y="20"/>
                    <a:pt x="78" y="21"/>
                  </a:cubicBezTo>
                  <a:cubicBezTo>
                    <a:pt x="77" y="21"/>
                    <a:pt x="76" y="20"/>
                    <a:pt x="75" y="19"/>
                  </a:cubicBezTo>
                  <a:cubicBezTo>
                    <a:pt x="74" y="19"/>
                    <a:pt x="74" y="18"/>
                    <a:pt x="73" y="18"/>
                  </a:cubicBezTo>
                  <a:cubicBezTo>
                    <a:pt x="73" y="19"/>
                    <a:pt x="72" y="19"/>
                    <a:pt x="72" y="19"/>
                  </a:cubicBezTo>
                  <a:cubicBezTo>
                    <a:pt x="71" y="20"/>
                    <a:pt x="70" y="19"/>
                    <a:pt x="68" y="20"/>
                  </a:cubicBezTo>
                  <a:cubicBezTo>
                    <a:pt x="67" y="20"/>
                    <a:pt x="67" y="21"/>
                    <a:pt x="66" y="22"/>
                  </a:cubicBezTo>
                  <a:cubicBezTo>
                    <a:pt x="65" y="23"/>
                    <a:pt x="65" y="24"/>
                    <a:pt x="65" y="25"/>
                  </a:cubicBezTo>
                  <a:cubicBezTo>
                    <a:pt x="64" y="26"/>
                    <a:pt x="63" y="26"/>
                    <a:pt x="62" y="27"/>
                  </a:cubicBezTo>
                  <a:cubicBezTo>
                    <a:pt x="61" y="27"/>
                    <a:pt x="59" y="26"/>
                    <a:pt x="59" y="26"/>
                  </a:cubicBezTo>
                  <a:cubicBezTo>
                    <a:pt x="59" y="25"/>
                    <a:pt x="60" y="24"/>
                    <a:pt x="60" y="24"/>
                  </a:cubicBezTo>
                  <a:cubicBezTo>
                    <a:pt x="60" y="24"/>
                    <a:pt x="59" y="22"/>
                    <a:pt x="59" y="22"/>
                  </a:cubicBezTo>
                  <a:cubicBezTo>
                    <a:pt x="58" y="22"/>
                    <a:pt x="57" y="23"/>
                    <a:pt x="57" y="23"/>
                  </a:cubicBezTo>
                  <a:cubicBezTo>
                    <a:pt x="56" y="23"/>
                    <a:pt x="54" y="25"/>
                    <a:pt x="54" y="25"/>
                  </a:cubicBezTo>
                  <a:cubicBezTo>
                    <a:pt x="53" y="28"/>
                    <a:pt x="53" y="28"/>
                    <a:pt x="53" y="28"/>
                  </a:cubicBezTo>
                  <a:cubicBezTo>
                    <a:pt x="53" y="28"/>
                    <a:pt x="52" y="28"/>
                    <a:pt x="51" y="27"/>
                  </a:cubicBezTo>
                  <a:cubicBezTo>
                    <a:pt x="51" y="27"/>
                    <a:pt x="50" y="28"/>
                    <a:pt x="49" y="28"/>
                  </a:cubicBezTo>
                  <a:cubicBezTo>
                    <a:pt x="49" y="29"/>
                    <a:pt x="49" y="30"/>
                    <a:pt x="49" y="30"/>
                  </a:cubicBezTo>
                  <a:cubicBezTo>
                    <a:pt x="49" y="31"/>
                    <a:pt x="48" y="32"/>
                    <a:pt x="48" y="33"/>
                  </a:cubicBezTo>
                  <a:cubicBezTo>
                    <a:pt x="47" y="33"/>
                    <a:pt x="47" y="34"/>
                    <a:pt x="46" y="34"/>
                  </a:cubicBezTo>
                  <a:cubicBezTo>
                    <a:pt x="46" y="34"/>
                    <a:pt x="45" y="34"/>
                    <a:pt x="44" y="34"/>
                  </a:cubicBezTo>
                  <a:cubicBezTo>
                    <a:pt x="44" y="34"/>
                    <a:pt x="42" y="34"/>
                    <a:pt x="42" y="34"/>
                  </a:cubicBezTo>
                  <a:cubicBezTo>
                    <a:pt x="41" y="35"/>
                    <a:pt x="41" y="35"/>
                    <a:pt x="41" y="35"/>
                  </a:cubicBezTo>
                  <a:cubicBezTo>
                    <a:pt x="40" y="36"/>
                    <a:pt x="39" y="36"/>
                    <a:pt x="39" y="37"/>
                  </a:cubicBezTo>
                  <a:cubicBezTo>
                    <a:pt x="39" y="37"/>
                    <a:pt x="38" y="37"/>
                    <a:pt x="37" y="37"/>
                  </a:cubicBezTo>
                  <a:cubicBezTo>
                    <a:pt x="37" y="37"/>
                    <a:pt x="37" y="38"/>
                    <a:pt x="37" y="38"/>
                  </a:cubicBezTo>
                  <a:cubicBezTo>
                    <a:pt x="37" y="39"/>
                    <a:pt x="36" y="39"/>
                    <a:pt x="36" y="39"/>
                  </a:cubicBezTo>
                  <a:cubicBezTo>
                    <a:pt x="36" y="39"/>
                    <a:pt x="34" y="39"/>
                    <a:pt x="34" y="40"/>
                  </a:cubicBezTo>
                  <a:cubicBezTo>
                    <a:pt x="34" y="40"/>
                    <a:pt x="33" y="40"/>
                    <a:pt x="32" y="41"/>
                  </a:cubicBezTo>
                  <a:cubicBezTo>
                    <a:pt x="32" y="41"/>
                    <a:pt x="29" y="44"/>
                    <a:pt x="29" y="44"/>
                  </a:cubicBezTo>
                  <a:cubicBezTo>
                    <a:pt x="20" y="44"/>
                    <a:pt x="20" y="44"/>
                    <a:pt x="20" y="44"/>
                  </a:cubicBezTo>
                  <a:cubicBezTo>
                    <a:pt x="20" y="44"/>
                    <a:pt x="18" y="44"/>
                    <a:pt x="18" y="44"/>
                  </a:cubicBezTo>
                  <a:cubicBezTo>
                    <a:pt x="18" y="44"/>
                    <a:pt x="14" y="47"/>
                    <a:pt x="14" y="47"/>
                  </a:cubicBezTo>
                  <a:cubicBezTo>
                    <a:pt x="14" y="47"/>
                    <a:pt x="11" y="50"/>
                    <a:pt x="11" y="50"/>
                  </a:cubicBezTo>
                  <a:cubicBezTo>
                    <a:pt x="11" y="50"/>
                    <a:pt x="11" y="51"/>
                    <a:pt x="11" y="52"/>
                  </a:cubicBezTo>
                  <a:cubicBezTo>
                    <a:pt x="11" y="52"/>
                    <a:pt x="10" y="53"/>
                    <a:pt x="10" y="53"/>
                  </a:cubicBezTo>
                  <a:cubicBezTo>
                    <a:pt x="10" y="53"/>
                    <a:pt x="10" y="54"/>
                    <a:pt x="10" y="54"/>
                  </a:cubicBezTo>
                  <a:cubicBezTo>
                    <a:pt x="11" y="55"/>
                    <a:pt x="10" y="56"/>
                    <a:pt x="10" y="56"/>
                  </a:cubicBezTo>
                  <a:cubicBezTo>
                    <a:pt x="9" y="56"/>
                    <a:pt x="8" y="57"/>
                    <a:pt x="7" y="57"/>
                  </a:cubicBezTo>
                  <a:cubicBezTo>
                    <a:pt x="7" y="57"/>
                    <a:pt x="5" y="58"/>
                    <a:pt x="5" y="58"/>
                  </a:cubicBezTo>
                  <a:cubicBezTo>
                    <a:pt x="5" y="58"/>
                    <a:pt x="4" y="56"/>
                    <a:pt x="4" y="56"/>
                  </a:cubicBezTo>
                  <a:cubicBezTo>
                    <a:pt x="3" y="56"/>
                    <a:pt x="2" y="57"/>
                    <a:pt x="1" y="58"/>
                  </a:cubicBezTo>
                  <a:cubicBezTo>
                    <a:pt x="1" y="58"/>
                    <a:pt x="1" y="60"/>
                    <a:pt x="1" y="61"/>
                  </a:cubicBezTo>
                  <a:cubicBezTo>
                    <a:pt x="1" y="61"/>
                    <a:pt x="0" y="68"/>
                    <a:pt x="0" y="68"/>
                  </a:cubicBezTo>
                  <a:cubicBezTo>
                    <a:pt x="42" y="68"/>
                    <a:pt x="42" y="68"/>
                    <a:pt x="42" y="68"/>
                  </a:cubicBezTo>
                  <a:cubicBezTo>
                    <a:pt x="42" y="68"/>
                    <a:pt x="51" y="65"/>
                    <a:pt x="51" y="65"/>
                  </a:cubicBezTo>
                  <a:cubicBezTo>
                    <a:pt x="51" y="65"/>
                    <a:pt x="52" y="64"/>
                    <a:pt x="52" y="64"/>
                  </a:cubicBezTo>
                  <a:cubicBezTo>
                    <a:pt x="53" y="64"/>
                    <a:pt x="55" y="64"/>
                    <a:pt x="55" y="64"/>
                  </a:cubicBezTo>
                  <a:cubicBezTo>
                    <a:pt x="55" y="64"/>
                    <a:pt x="55" y="63"/>
                    <a:pt x="56" y="63"/>
                  </a:cubicBezTo>
                  <a:cubicBezTo>
                    <a:pt x="57" y="63"/>
                    <a:pt x="57" y="62"/>
                    <a:pt x="58" y="62"/>
                  </a:cubicBezTo>
                  <a:cubicBezTo>
                    <a:pt x="59" y="62"/>
                    <a:pt x="62" y="61"/>
                    <a:pt x="62" y="61"/>
                  </a:cubicBezTo>
                  <a:cubicBezTo>
                    <a:pt x="63" y="61"/>
                    <a:pt x="64" y="61"/>
                    <a:pt x="64" y="61"/>
                  </a:cubicBezTo>
                  <a:cubicBezTo>
                    <a:pt x="65" y="60"/>
                    <a:pt x="66" y="59"/>
                    <a:pt x="66" y="59"/>
                  </a:cubicBezTo>
                  <a:cubicBezTo>
                    <a:pt x="67" y="59"/>
                    <a:pt x="68" y="59"/>
                    <a:pt x="68" y="59"/>
                  </a:cubicBezTo>
                  <a:cubicBezTo>
                    <a:pt x="68" y="60"/>
                    <a:pt x="69" y="60"/>
                    <a:pt x="70" y="59"/>
                  </a:cubicBezTo>
                  <a:cubicBezTo>
                    <a:pt x="71" y="59"/>
                    <a:pt x="74" y="59"/>
                    <a:pt x="75" y="59"/>
                  </a:cubicBezTo>
                  <a:cubicBezTo>
                    <a:pt x="75" y="59"/>
                    <a:pt x="80" y="59"/>
                    <a:pt x="80" y="59"/>
                  </a:cubicBezTo>
                  <a:cubicBezTo>
                    <a:pt x="80" y="59"/>
                    <a:pt x="99" y="60"/>
                    <a:pt x="99" y="60"/>
                  </a:cubicBezTo>
                  <a:cubicBezTo>
                    <a:pt x="99" y="60"/>
                    <a:pt x="108" y="61"/>
                    <a:pt x="108" y="61"/>
                  </a:cubicBezTo>
                  <a:cubicBezTo>
                    <a:pt x="108" y="61"/>
                    <a:pt x="114" y="61"/>
                    <a:pt x="114" y="61"/>
                  </a:cubicBezTo>
                  <a:cubicBezTo>
                    <a:pt x="114" y="61"/>
                    <a:pt x="114" y="63"/>
                    <a:pt x="114" y="63"/>
                  </a:cubicBezTo>
                  <a:cubicBezTo>
                    <a:pt x="114" y="63"/>
                    <a:pt x="113" y="64"/>
                    <a:pt x="113" y="64"/>
                  </a:cubicBezTo>
                  <a:cubicBezTo>
                    <a:pt x="113" y="64"/>
                    <a:pt x="114" y="65"/>
                    <a:pt x="114" y="65"/>
                  </a:cubicBezTo>
                  <a:cubicBezTo>
                    <a:pt x="114" y="65"/>
                    <a:pt x="115" y="64"/>
                    <a:pt x="115" y="64"/>
                  </a:cubicBezTo>
                  <a:cubicBezTo>
                    <a:pt x="116" y="64"/>
                    <a:pt x="117" y="64"/>
                    <a:pt x="117" y="64"/>
                  </a:cubicBezTo>
                  <a:cubicBezTo>
                    <a:pt x="117" y="64"/>
                    <a:pt x="118" y="64"/>
                    <a:pt x="118" y="64"/>
                  </a:cubicBezTo>
                  <a:cubicBezTo>
                    <a:pt x="118" y="64"/>
                    <a:pt x="122" y="70"/>
                    <a:pt x="122" y="70"/>
                  </a:cubicBezTo>
                  <a:cubicBezTo>
                    <a:pt x="122" y="70"/>
                    <a:pt x="122" y="75"/>
                    <a:pt x="122" y="75"/>
                  </a:cubicBezTo>
                  <a:cubicBezTo>
                    <a:pt x="161" y="76"/>
                    <a:pt x="161" y="76"/>
                    <a:pt x="161" y="76"/>
                  </a:cubicBezTo>
                  <a:cubicBezTo>
                    <a:pt x="200" y="116"/>
                    <a:pt x="200" y="116"/>
                    <a:pt x="200" y="116"/>
                  </a:cubicBezTo>
                  <a:cubicBezTo>
                    <a:pt x="200" y="116"/>
                    <a:pt x="201" y="116"/>
                    <a:pt x="201" y="115"/>
                  </a:cubicBezTo>
                  <a:cubicBezTo>
                    <a:pt x="201" y="115"/>
                    <a:pt x="201" y="115"/>
                    <a:pt x="202" y="115"/>
                  </a:cubicBezTo>
                  <a:cubicBezTo>
                    <a:pt x="202" y="115"/>
                    <a:pt x="202" y="115"/>
                    <a:pt x="203" y="114"/>
                  </a:cubicBezTo>
                  <a:cubicBezTo>
                    <a:pt x="203" y="114"/>
                    <a:pt x="203" y="114"/>
                    <a:pt x="203" y="114"/>
                  </a:cubicBezTo>
                  <a:cubicBezTo>
                    <a:pt x="204" y="114"/>
                    <a:pt x="205" y="114"/>
                    <a:pt x="205" y="114"/>
                  </a:cubicBezTo>
                  <a:cubicBezTo>
                    <a:pt x="206" y="114"/>
                    <a:pt x="206" y="113"/>
                    <a:pt x="206" y="113"/>
                  </a:cubicBezTo>
                  <a:cubicBezTo>
                    <a:pt x="207" y="113"/>
                    <a:pt x="208" y="113"/>
                    <a:pt x="209" y="113"/>
                  </a:cubicBezTo>
                  <a:cubicBezTo>
                    <a:pt x="210" y="113"/>
                    <a:pt x="211" y="113"/>
                    <a:pt x="213" y="113"/>
                  </a:cubicBezTo>
                  <a:cubicBezTo>
                    <a:pt x="213" y="113"/>
                    <a:pt x="214" y="113"/>
                    <a:pt x="215" y="113"/>
                  </a:cubicBezTo>
                  <a:cubicBezTo>
                    <a:pt x="215" y="114"/>
                    <a:pt x="215" y="114"/>
                    <a:pt x="216" y="114"/>
                  </a:cubicBezTo>
                  <a:cubicBezTo>
                    <a:pt x="216" y="114"/>
                    <a:pt x="217" y="114"/>
                    <a:pt x="217" y="114"/>
                  </a:cubicBezTo>
                  <a:cubicBezTo>
                    <a:pt x="218" y="114"/>
                    <a:pt x="218" y="114"/>
                    <a:pt x="218" y="114"/>
                  </a:cubicBezTo>
                  <a:cubicBezTo>
                    <a:pt x="219" y="113"/>
                    <a:pt x="219" y="113"/>
                    <a:pt x="219" y="113"/>
                  </a:cubicBezTo>
                  <a:cubicBezTo>
                    <a:pt x="219" y="112"/>
                    <a:pt x="220" y="112"/>
                    <a:pt x="220" y="111"/>
                  </a:cubicBezTo>
                  <a:cubicBezTo>
                    <a:pt x="220" y="111"/>
                    <a:pt x="220" y="110"/>
                    <a:pt x="220" y="109"/>
                  </a:cubicBezTo>
                  <a:cubicBezTo>
                    <a:pt x="220" y="108"/>
                    <a:pt x="220" y="108"/>
                    <a:pt x="220" y="107"/>
                  </a:cubicBezTo>
                  <a:cubicBezTo>
                    <a:pt x="220" y="106"/>
                    <a:pt x="221" y="106"/>
                    <a:pt x="221" y="106"/>
                  </a:cubicBezTo>
                  <a:cubicBezTo>
                    <a:pt x="221" y="105"/>
                    <a:pt x="221" y="105"/>
                    <a:pt x="221" y="105"/>
                  </a:cubicBezTo>
                  <a:cubicBezTo>
                    <a:pt x="221" y="105"/>
                    <a:pt x="222" y="106"/>
                    <a:pt x="222" y="106"/>
                  </a:cubicBezTo>
                  <a:cubicBezTo>
                    <a:pt x="222" y="107"/>
                    <a:pt x="221" y="107"/>
                    <a:pt x="222" y="108"/>
                  </a:cubicBezTo>
                  <a:cubicBezTo>
                    <a:pt x="222" y="108"/>
                    <a:pt x="222" y="108"/>
                    <a:pt x="222" y="109"/>
                  </a:cubicBezTo>
                  <a:cubicBezTo>
                    <a:pt x="222" y="109"/>
                    <a:pt x="222" y="108"/>
                    <a:pt x="223" y="108"/>
                  </a:cubicBezTo>
                  <a:cubicBezTo>
                    <a:pt x="223" y="108"/>
                    <a:pt x="223" y="107"/>
                    <a:pt x="223" y="107"/>
                  </a:cubicBezTo>
                  <a:cubicBezTo>
                    <a:pt x="223" y="107"/>
                    <a:pt x="223" y="106"/>
                    <a:pt x="223" y="106"/>
                  </a:cubicBezTo>
                  <a:cubicBezTo>
                    <a:pt x="223" y="106"/>
                    <a:pt x="224" y="105"/>
                    <a:pt x="224" y="105"/>
                  </a:cubicBezTo>
                  <a:cubicBezTo>
                    <a:pt x="224" y="105"/>
                    <a:pt x="224" y="104"/>
                    <a:pt x="225" y="104"/>
                  </a:cubicBezTo>
                  <a:cubicBezTo>
                    <a:pt x="225" y="104"/>
                    <a:pt x="225" y="103"/>
                    <a:pt x="225" y="103"/>
                  </a:cubicBezTo>
                  <a:cubicBezTo>
                    <a:pt x="225" y="102"/>
                    <a:pt x="225" y="102"/>
                    <a:pt x="225" y="101"/>
                  </a:cubicBezTo>
                  <a:cubicBezTo>
                    <a:pt x="225" y="100"/>
                    <a:pt x="226" y="100"/>
                    <a:pt x="227" y="100"/>
                  </a:cubicBezTo>
                  <a:cubicBezTo>
                    <a:pt x="228" y="99"/>
                    <a:pt x="228" y="98"/>
                    <a:pt x="229" y="98"/>
                  </a:cubicBezTo>
                  <a:cubicBezTo>
                    <a:pt x="230" y="97"/>
                    <a:pt x="230" y="97"/>
                    <a:pt x="230" y="97"/>
                  </a:cubicBezTo>
                  <a:cubicBezTo>
                    <a:pt x="230" y="96"/>
                    <a:pt x="231" y="96"/>
                    <a:pt x="231" y="95"/>
                  </a:cubicBezTo>
                  <a:cubicBezTo>
                    <a:pt x="231" y="95"/>
                    <a:pt x="232" y="94"/>
                    <a:pt x="233" y="93"/>
                  </a:cubicBezTo>
                  <a:cubicBezTo>
                    <a:pt x="233" y="93"/>
                    <a:pt x="234" y="92"/>
                    <a:pt x="234" y="91"/>
                  </a:cubicBezTo>
                  <a:cubicBezTo>
                    <a:pt x="235" y="91"/>
                    <a:pt x="235" y="91"/>
                    <a:pt x="235" y="91"/>
                  </a:cubicBezTo>
                  <a:cubicBezTo>
                    <a:pt x="235" y="91"/>
                    <a:pt x="235" y="91"/>
                    <a:pt x="236" y="91"/>
                  </a:cubicBezTo>
                  <a:cubicBezTo>
                    <a:pt x="236" y="91"/>
                    <a:pt x="236" y="91"/>
                    <a:pt x="237" y="90"/>
                  </a:cubicBezTo>
                  <a:cubicBezTo>
                    <a:pt x="237" y="90"/>
                    <a:pt x="238" y="89"/>
                    <a:pt x="239" y="89"/>
                  </a:cubicBezTo>
                  <a:cubicBezTo>
                    <a:pt x="239" y="89"/>
                    <a:pt x="239" y="89"/>
                    <a:pt x="240" y="89"/>
                  </a:cubicBezTo>
                  <a:cubicBezTo>
                    <a:pt x="240" y="89"/>
                    <a:pt x="240" y="88"/>
                    <a:pt x="240" y="88"/>
                  </a:cubicBezTo>
                  <a:cubicBezTo>
                    <a:pt x="240" y="88"/>
                    <a:pt x="242" y="87"/>
                    <a:pt x="242" y="87"/>
                  </a:cubicBezTo>
                  <a:cubicBezTo>
                    <a:pt x="242" y="87"/>
                    <a:pt x="241" y="86"/>
                    <a:pt x="241" y="86"/>
                  </a:cubicBezTo>
                  <a:cubicBezTo>
                    <a:pt x="241" y="86"/>
                    <a:pt x="240" y="86"/>
                    <a:pt x="240" y="86"/>
                  </a:cubicBezTo>
                  <a:cubicBezTo>
                    <a:pt x="239" y="86"/>
                    <a:pt x="239" y="85"/>
                    <a:pt x="239" y="85"/>
                  </a:cubicBezTo>
                  <a:cubicBezTo>
                    <a:pt x="239" y="85"/>
                    <a:pt x="238" y="84"/>
                    <a:pt x="238" y="84"/>
                  </a:cubicBezTo>
                  <a:cubicBezTo>
                    <a:pt x="238" y="84"/>
                    <a:pt x="239" y="84"/>
                    <a:pt x="239" y="84"/>
                  </a:cubicBezTo>
                  <a:cubicBezTo>
                    <a:pt x="239" y="84"/>
                    <a:pt x="240" y="83"/>
                    <a:pt x="240" y="83"/>
                  </a:cubicBezTo>
                  <a:cubicBezTo>
                    <a:pt x="241" y="82"/>
                    <a:pt x="240" y="82"/>
                    <a:pt x="239" y="81"/>
                  </a:cubicBezTo>
                  <a:cubicBezTo>
                    <a:pt x="239" y="81"/>
                    <a:pt x="239" y="81"/>
                    <a:pt x="239" y="81"/>
                  </a:cubicBezTo>
                  <a:cubicBezTo>
                    <a:pt x="239" y="80"/>
                    <a:pt x="240" y="80"/>
                    <a:pt x="240" y="80"/>
                  </a:cubicBezTo>
                  <a:cubicBezTo>
                    <a:pt x="240" y="80"/>
                    <a:pt x="241" y="81"/>
                    <a:pt x="241" y="81"/>
                  </a:cubicBezTo>
                  <a:cubicBezTo>
                    <a:pt x="241" y="82"/>
                    <a:pt x="241" y="82"/>
                    <a:pt x="241" y="83"/>
                  </a:cubicBezTo>
                  <a:cubicBezTo>
                    <a:pt x="242" y="83"/>
                    <a:pt x="242" y="83"/>
                    <a:pt x="242" y="83"/>
                  </a:cubicBezTo>
                  <a:cubicBezTo>
                    <a:pt x="242" y="84"/>
                    <a:pt x="242" y="84"/>
                    <a:pt x="242" y="84"/>
                  </a:cubicBezTo>
                  <a:cubicBezTo>
                    <a:pt x="242" y="85"/>
                    <a:pt x="242" y="85"/>
                    <a:pt x="242" y="86"/>
                  </a:cubicBezTo>
                  <a:cubicBezTo>
                    <a:pt x="242" y="86"/>
                    <a:pt x="242" y="87"/>
                    <a:pt x="243" y="86"/>
                  </a:cubicBezTo>
                  <a:cubicBezTo>
                    <a:pt x="243" y="86"/>
                    <a:pt x="244" y="86"/>
                    <a:pt x="244" y="86"/>
                  </a:cubicBezTo>
                  <a:cubicBezTo>
                    <a:pt x="245" y="85"/>
                    <a:pt x="246" y="84"/>
                    <a:pt x="247" y="84"/>
                  </a:cubicBezTo>
                  <a:cubicBezTo>
                    <a:pt x="247" y="83"/>
                    <a:pt x="248" y="82"/>
                    <a:pt x="249" y="82"/>
                  </a:cubicBezTo>
                  <a:cubicBezTo>
                    <a:pt x="249" y="82"/>
                    <a:pt x="250" y="82"/>
                    <a:pt x="250" y="82"/>
                  </a:cubicBezTo>
                  <a:cubicBezTo>
                    <a:pt x="250" y="81"/>
                    <a:pt x="251" y="81"/>
                    <a:pt x="252" y="81"/>
                  </a:cubicBezTo>
                  <a:cubicBezTo>
                    <a:pt x="252" y="81"/>
                    <a:pt x="252" y="81"/>
                    <a:pt x="253" y="81"/>
                  </a:cubicBezTo>
                  <a:cubicBezTo>
                    <a:pt x="253" y="81"/>
                    <a:pt x="253" y="81"/>
                    <a:pt x="254" y="81"/>
                  </a:cubicBezTo>
                  <a:cubicBezTo>
                    <a:pt x="254" y="81"/>
                    <a:pt x="255" y="81"/>
                    <a:pt x="255" y="81"/>
                  </a:cubicBezTo>
                  <a:cubicBezTo>
                    <a:pt x="256" y="81"/>
                    <a:pt x="256" y="80"/>
                    <a:pt x="256" y="80"/>
                  </a:cubicBezTo>
                  <a:cubicBezTo>
                    <a:pt x="257" y="80"/>
                    <a:pt x="258" y="80"/>
                    <a:pt x="259" y="80"/>
                  </a:cubicBezTo>
                  <a:cubicBezTo>
                    <a:pt x="259" y="80"/>
                    <a:pt x="260" y="80"/>
                    <a:pt x="260" y="79"/>
                  </a:cubicBezTo>
                  <a:cubicBezTo>
                    <a:pt x="260" y="79"/>
                    <a:pt x="260" y="79"/>
                    <a:pt x="261" y="79"/>
                  </a:cubicBezTo>
                  <a:cubicBezTo>
                    <a:pt x="261" y="79"/>
                    <a:pt x="261" y="78"/>
                    <a:pt x="262" y="78"/>
                  </a:cubicBezTo>
                  <a:cubicBezTo>
                    <a:pt x="262" y="78"/>
                    <a:pt x="263" y="78"/>
                    <a:pt x="264" y="77"/>
                  </a:cubicBezTo>
                  <a:cubicBezTo>
                    <a:pt x="264" y="77"/>
                    <a:pt x="265" y="77"/>
                    <a:pt x="265" y="78"/>
                  </a:cubicBezTo>
                  <a:cubicBezTo>
                    <a:pt x="265" y="78"/>
                    <a:pt x="265" y="78"/>
                    <a:pt x="265" y="79"/>
                  </a:cubicBezTo>
                  <a:cubicBezTo>
                    <a:pt x="265" y="79"/>
                    <a:pt x="265" y="79"/>
                    <a:pt x="266" y="80"/>
                  </a:cubicBezTo>
                  <a:cubicBezTo>
                    <a:pt x="266" y="80"/>
                    <a:pt x="266" y="80"/>
                    <a:pt x="266" y="79"/>
                  </a:cubicBezTo>
                  <a:cubicBezTo>
                    <a:pt x="267" y="79"/>
                    <a:pt x="266" y="77"/>
                    <a:pt x="268" y="78"/>
                  </a:cubicBezTo>
                  <a:cubicBezTo>
                    <a:pt x="268" y="78"/>
                    <a:pt x="268" y="79"/>
                    <a:pt x="268" y="79"/>
                  </a:cubicBezTo>
                  <a:cubicBezTo>
                    <a:pt x="268" y="79"/>
                    <a:pt x="269" y="79"/>
                    <a:pt x="269" y="79"/>
                  </a:cubicBezTo>
                  <a:cubicBezTo>
                    <a:pt x="270" y="79"/>
                    <a:pt x="270" y="79"/>
                    <a:pt x="271" y="79"/>
                  </a:cubicBezTo>
                  <a:cubicBezTo>
                    <a:pt x="271" y="78"/>
                    <a:pt x="271" y="78"/>
                    <a:pt x="271" y="78"/>
                  </a:cubicBezTo>
                  <a:cubicBezTo>
                    <a:pt x="272" y="77"/>
                    <a:pt x="272" y="76"/>
                    <a:pt x="272" y="75"/>
                  </a:cubicBezTo>
                  <a:cubicBezTo>
                    <a:pt x="273" y="75"/>
                    <a:pt x="273" y="74"/>
                    <a:pt x="273" y="73"/>
                  </a:cubicBezTo>
                  <a:cubicBezTo>
                    <a:pt x="274" y="73"/>
                    <a:pt x="274" y="72"/>
                    <a:pt x="274" y="73"/>
                  </a:cubicBezTo>
                  <a:cubicBezTo>
                    <a:pt x="275" y="73"/>
                    <a:pt x="275" y="73"/>
                    <a:pt x="275" y="73"/>
                  </a:cubicBezTo>
                  <a:cubicBezTo>
                    <a:pt x="275" y="73"/>
                    <a:pt x="275" y="73"/>
                    <a:pt x="276" y="73"/>
                  </a:cubicBezTo>
                  <a:cubicBezTo>
                    <a:pt x="276" y="73"/>
                    <a:pt x="276" y="73"/>
                    <a:pt x="277" y="72"/>
                  </a:cubicBezTo>
                  <a:cubicBezTo>
                    <a:pt x="277" y="72"/>
                    <a:pt x="278" y="71"/>
                    <a:pt x="278" y="71"/>
                  </a:cubicBezTo>
                  <a:cubicBezTo>
                    <a:pt x="278" y="70"/>
                    <a:pt x="279" y="70"/>
                    <a:pt x="278" y="69"/>
                  </a:cubicBezTo>
                  <a:cubicBezTo>
                    <a:pt x="277" y="69"/>
                    <a:pt x="277" y="69"/>
                    <a:pt x="276" y="69"/>
                  </a:cubicBezTo>
                  <a:cubicBezTo>
                    <a:pt x="276" y="69"/>
                    <a:pt x="275" y="69"/>
                    <a:pt x="274" y="69"/>
                  </a:cubicBezTo>
                  <a:cubicBezTo>
                    <a:pt x="273" y="69"/>
                    <a:pt x="273" y="69"/>
                    <a:pt x="273" y="68"/>
                  </a:cubicBezTo>
                  <a:cubicBezTo>
                    <a:pt x="273" y="68"/>
                    <a:pt x="273" y="67"/>
                    <a:pt x="273" y="66"/>
                  </a:cubicBezTo>
                  <a:cubicBezTo>
                    <a:pt x="273" y="66"/>
                    <a:pt x="273" y="66"/>
                    <a:pt x="272" y="66"/>
                  </a:cubicBezTo>
                  <a:cubicBezTo>
                    <a:pt x="272" y="66"/>
                    <a:pt x="272" y="66"/>
                    <a:pt x="272" y="67"/>
                  </a:cubicBezTo>
                  <a:cubicBezTo>
                    <a:pt x="272" y="67"/>
                    <a:pt x="272" y="67"/>
                    <a:pt x="271" y="67"/>
                  </a:cubicBezTo>
                  <a:cubicBezTo>
                    <a:pt x="271" y="67"/>
                    <a:pt x="271" y="68"/>
                    <a:pt x="270" y="68"/>
                  </a:cubicBezTo>
                  <a:cubicBezTo>
                    <a:pt x="269" y="68"/>
                    <a:pt x="269" y="68"/>
                    <a:pt x="269" y="68"/>
                  </a:cubicBezTo>
                  <a:cubicBezTo>
                    <a:pt x="268" y="68"/>
                    <a:pt x="268" y="68"/>
                    <a:pt x="267" y="69"/>
                  </a:cubicBezTo>
                  <a:cubicBezTo>
                    <a:pt x="267" y="69"/>
                    <a:pt x="266" y="69"/>
                    <a:pt x="266" y="69"/>
                  </a:cubicBezTo>
                  <a:cubicBezTo>
                    <a:pt x="266" y="69"/>
                    <a:pt x="265" y="70"/>
                    <a:pt x="265" y="70"/>
                  </a:cubicBezTo>
                  <a:cubicBezTo>
                    <a:pt x="264" y="70"/>
                    <a:pt x="264" y="70"/>
                    <a:pt x="264" y="70"/>
                  </a:cubicBezTo>
                  <a:cubicBezTo>
                    <a:pt x="264" y="70"/>
                    <a:pt x="264" y="70"/>
                    <a:pt x="263" y="70"/>
                  </a:cubicBezTo>
                  <a:cubicBezTo>
                    <a:pt x="263" y="71"/>
                    <a:pt x="263" y="71"/>
                    <a:pt x="262" y="71"/>
                  </a:cubicBezTo>
                  <a:cubicBezTo>
                    <a:pt x="262" y="71"/>
                    <a:pt x="261" y="71"/>
                    <a:pt x="261" y="71"/>
                  </a:cubicBezTo>
                  <a:cubicBezTo>
                    <a:pt x="261" y="71"/>
                    <a:pt x="260" y="71"/>
                    <a:pt x="260" y="71"/>
                  </a:cubicBezTo>
                  <a:cubicBezTo>
                    <a:pt x="259" y="70"/>
                    <a:pt x="259" y="70"/>
                    <a:pt x="259" y="70"/>
                  </a:cubicBezTo>
                  <a:cubicBezTo>
                    <a:pt x="258" y="70"/>
                    <a:pt x="258" y="70"/>
                    <a:pt x="258" y="70"/>
                  </a:cubicBezTo>
                  <a:cubicBezTo>
                    <a:pt x="258" y="69"/>
                    <a:pt x="257" y="69"/>
                    <a:pt x="257" y="69"/>
                  </a:cubicBezTo>
                  <a:cubicBezTo>
                    <a:pt x="256" y="69"/>
                    <a:pt x="255" y="69"/>
                    <a:pt x="255" y="68"/>
                  </a:cubicBezTo>
                  <a:cubicBezTo>
                    <a:pt x="255" y="68"/>
                    <a:pt x="255" y="67"/>
                    <a:pt x="254" y="67"/>
                  </a:cubicBezTo>
                  <a:cubicBezTo>
                    <a:pt x="254" y="66"/>
                    <a:pt x="254" y="66"/>
                    <a:pt x="253" y="65"/>
                  </a:cubicBezTo>
                  <a:cubicBezTo>
                    <a:pt x="253" y="65"/>
                    <a:pt x="253" y="64"/>
                    <a:pt x="252" y="64"/>
                  </a:cubicBezTo>
                  <a:cubicBezTo>
                    <a:pt x="252" y="64"/>
                    <a:pt x="252" y="64"/>
                    <a:pt x="252" y="64"/>
                  </a:cubicBezTo>
                  <a:cubicBezTo>
                    <a:pt x="253" y="63"/>
                    <a:pt x="253" y="64"/>
                    <a:pt x="254" y="64"/>
                  </a:cubicBezTo>
                  <a:cubicBezTo>
                    <a:pt x="254" y="64"/>
                    <a:pt x="254" y="64"/>
                    <a:pt x="254" y="64"/>
                  </a:cubicBezTo>
                  <a:cubicBezTo>
                    <a:pt x="254" y="65"/>
                    <a:pt x="255" y="65"/>
                    <a:pt x="255" y="65"/>
                  </a:cubicBezTo>
                  <a:cubicBezTo>
                    <a:pt x="255" y="65"/>
                    <a:pt x="255" y="65"/>
                    <a:pt x="256" y="66"/>
                  </a:cubicBezTo>
                  <a:cubicBezTo>
                    <a:pt x="256" y="66"/>
                    <a:pt x="257" y="67"/>
                    <a:pt x="258" y="67"/>
                  </a:cubicBezTo>
                  <a:cubicBezTo>
                    <a:pt x="258" y="67"/>
                    <a:pt x="258" y="68"/>
                    <a:pt x="258" y="68"/>
                  </a:cubicBezTo>
                  <a:cubicBezTo>
                    <a:pt x="259" y="68"/>
                    <a:pt x="259" y="68"/>
                    <a:pt x="259" y="68"/>
                  </a:cubicBezTo>
                  <a:cubicBezTo>
                    <a:pt x="260" y="69"/>
                    <a:pt x="260" y="69"/>
                    <a:pt x="260" y="69"/>
                  </a:cubicBezTo>
                  <a:cubicBezTo>
                    <a:pt x="261" y="69"/>
                    <a:pt x="261" y="69"/>
                    <a:pt x="262" y="68"/>
                  </a:cubicBezTo>
                  <a:cubicBezTo>
                    <a:pt x="262" y="68"/>
                    <a:pt x="263" y="68"/>
                    <a:pt x="263" y="67"/>
                  </a:cubicBezTo>
                  <a:cubicBezTo>
                    <a:pt x="264" y="67"/>
                    <a:pt x="264" y="67"/>
                    <a:pt x="264" y="67"/>
                  </a:cubicBezTo>
                  <a:cubicBezTo>
                    <a:pt x="264" y="67"/>
                    <a:pt x="265" y="67"/>
                    <a:pt x="265" y="67"/>
                  </a:cubicBezTo>
                  <a:cubicBezTo>
                    <a:pt x="265" y="66"/>
                    <a:pt x="265" y="66"/>
                    <a:pt x="265" y="66"/>
                  </a:cubicBezTo>
                  <a:cubicBezTo>
                    <a:pt x="266" y="66"/>
                    <a:pt x="266" y="66"/>
                    <a:pt x="266" y="65"/>
                  </a:cubicBezTo>
                  <a:cubicBezTo>
                    <a:pt x="267" y="65"/>
                    <a:pt x="267" y="65"/>
                    <a:pt x="267" y="65"/>
                  </a:cubicBezTo>
                  <a:cubicBezTo>
                    <a:pt x="268" y="64"/>
                    <a:pt x="268" y="64"/>
                    <a:pt x="268" y="63"/>
                  </a:cubicBezTo>
                  <a:cubicBezTo>
                    <a:pt x="268" y="63"/>
                    <a:pt x="268" y="62"/>
                    <a:pt x="268" y="61"/>
                  </a:cubicBezTo>
                  <a:cubicBezTo>
                    <a:pt x="267" y="60"/>
                    <a:pt x="266" y="61"/>
                    <a:pt x="265" y="61"/>
                  </a:cubicBezTo>
                  <a:cubicBezTo>
                    <a:pt x="265" y="61"/>
                    <a:pt x="265" y="61"/>
                    <a:pt x="264" y="61"/>
                  </a:cubicBezTo>
                  <a:cubicBezTo>
                    <a:pt x="264" y="62"/>
                    <a:pt x="264" y="61"/>
                    <a:pt x="264" y="61"/>
                  </a:cubicBezTo>
                  <a:cubicBezTo>
                    <a:pt x="264" y="61"/>
                    <a:pt x="264" y="61"/>
                    <a:pt x="265" y="60"/>
                  </a:cubicBezTo>
                  <a:cubicBezTo>
                    <a:pt x="265" y="60"/>
                    <a:pt x="265" y="60"/>
                    <a:pt x="265" y="60"/>
                  </a:cubicBezTo>
                  <a:cubicBezTo>
                    <a:pt x="266" y="59"/>
                    <a:pt x="266" y="59"/>
                    <a:pt x="267" y="59"/>
                  </a:cubicBezTo>
                  <a:cubicBezTo>
                    <a:pt x="267" y="59"/>
                    <a:pt x="268" y="60"/>
                    <a:pt x="269" y="59"/>
                  </a:cubicBezTo>
                  <a:cubicBezTo>
                    <a:pt x="269" y="59"/>
                    <a:pt x="270" y="59"/>
                    <a:pt x="270" y="59"/>
                  </a:cubicBezTo>
                  <a:cubicBezTo>
                    <a:pt x="270" y="58"/>
                    <a:pt x="270" y="57"/>
                    <a:pt x="270" y="56"/>
                  </a:cubicBezTo>
                  <a:cubicBezTo>
                    <a:pt x="271" y="56"/>
                    <a:pt x="271" y="56"/>
                    <a:pt x="271" y="55"/>
                  </a:cubicBezTo>
                  <a:cubicBezTo>
                    <a:pt x="270" y="54"/>
                    <a:pt x="268" y="54"/>
                    <a:pt x="267" y="54"/>
                  </a:cubicBezTo>
                  <a:cubicBezTo>
                    <a:pt x="266" y="54"/>
                    <a:pt x="266" y="53"/>
                    <a:pt x="265" y="53"/>
                  </a:cubicBezTo>
                  <a:cubicBezTo>
                    <a:pt x="265" y="53"/>
                    <a:pt x="264" y="53"/>
                    <a:pt x="264" y="53"/>
                  </a:cubicBezTo>
                  <a:cubicBezTo>
                    <a:pt x="264" y="53"/>
                    <a:pt x="263" y="53"/>
                    <a:pt x="263" y="53"/>
                  </a:cubicBezTo>
                  <a:cubicBezTo>
                    <a:pt x="263" y="52"/>
                    <a:pt x="263" y="52"/>
                    <a:pt x="262" y="52"/>
                  </a:cubicBezTo>
                  <a:cubicBezTo>
                    <a:pt x="261" y="52"/>
                    <a:pt x="260" y="51"/>
                    <a:pt x="259" y="51"/>
                  </a:cubicBezTo>
                  <a:cubicBezTo>
                    <a:pt x="259" y="50"/>
                    <a:pt x="258" y="50"/>
                    <a:pt x="258" y="50"/>
                  </a:cubicBezTo>
                  <a:cubicBezTo>
                    <a:pt x="257" y="49"/>
                    <a:pt x="256" y="49"/>
                    <a:pt x="256" y="48"/>
                  </a:cubicBezTo>
                  <a:cubicBezTo>
                    <a:pt x="255" y="48"/>
                    <a:pt x="254" y="48"/>
                    <a:pt x="254" y="47"/>
                  </a:cubicBezTo>
                  <a:cubicBezTo>
                    <a:pt x="255" y="47"/>
                    <a:pt x="256" y="48"/>
                    <a:pt x="257" y="48"/>
                  </a:cubicBezTo>
                  <a:cubicBezTo>
                    <a:pt x="258" y="49"/>
                    <a:pt x="260" y="49"/>
                    <a:pt x="261" y="49"/>
                  </a:cubicBezTo>
                  <a:cubicBezTo>
                    <a:pt x="262" y="50"/>
                    <a:pt x="264" y="50"/>
                    <a:pt x="265" y="50"/>
                  </a:cubicBezTo>
                  <a:cubicBezTo>
                    <a:pt x="265" y="51"/>
                    <a:pt x="266" y="51"/>
                    <a:pt x="266" y="51"/>
                  </a:cubicBezTo>
                  <a:cubicBezTo>
                    <a:pt x="266" y="51"/>
                    <a:pt x="267" y="51"/>
                    <a:pt x="267" y="51"/>
                  </a:cubicBezTo>
                  <a:cubicBezTo>
                    <a:pt x="268" y="51"/>
                    <a:pt x="267" y="50"/>
                    <a:pt x="267" y="49"/>
                  </a:cubicBezTo>
                  <a:cubicBezTo>
                    <a:pt x="266" y="49"/>
                    <a:pt x="266" y="48"/>
                    <a:pt x="266" y="47"/>
                  </a:cubicBezTo>
                  <a:cubicBezTo>
                    <a:pt x="267" y="47"/>
                    <a:pt x="267" y="46"/>
                    <a:pt x="267" y="46"/>
                  </a:cubicBezTo>
                  <a:cubicBezTo>
                    <a:pt x="268" y="45"/>
                    <a:pt x="268" y="45"/>
                    <a:pt x="269" y="45"/>
                  </a:cubicBezTo>
                  <a:cubicBezTo>
                    <a:pt x="270" y="45"/>
                    <a:pt x="271" y="45"/>
                    <a:pt x="271" y="45"/>
                  </a:cubicBezTo>
                  <a:cubicBezTo>
                    <a:pt x="271" y="46"/>
                    <a:pt x="271" y="47"/>
                    <a:pt x="271" y="47"/>
                  </a:cubicBezTo>
                  <a:cubicBezTo>
                    <a:pt x="270" y="47"/>
                    <a:pt x="270" y="47"/>
                    <a:pt x="269" y="46"/>
                  </a:cubicBezTo>
                  <a:cubicBezTo>
                    <a:pt x="269" y="46"/>
                    <a:pt x="268" y="46"/>
                    <a:pt x="268" y="47"/>
                  </a:cubicBezTo>
                  <a:cubicBezTo>
                    <a:pt x="268" y="47"/>
                    <a:pt x="269" y="48"/>
                    <a:pt x="269" y="48"/>
                  </a:cubicBezTo>
                  <a:cubicBezTo>
                    <a:pt x="269" y="49"/>
                    <a:pt x="270" y="49"/>
                    <a:pt x="270" y="50"/>
                  </a:cubicBezTo>
                  <a:cubicBezTo>
                    <a:pt x="270" y="50"/>
                    <a:pt x="270" y="51"/>
                    <a:pt x="271" y="51"/>
                  </a:cubicBezTo>
                  <a:cubicBezTo>
                    <a:pt x="271" y="52"/>
                    <a:pt x="272" y="52"/>
                    <a:pt x="272" y="52"/>
                  </a:cubicBezTo>
                  <a:cubicBezTo>
                    <a:pt x="273" y="51"/>
                    <a:pt x="273" y="50"/>
                    <a:pt x="274" y="50"/>
                  </a:cubicBezTo>
                  <a:cubicBezTo>
                    <a:pt x="275" y="50"/>
                    <a:pt x="275" y="51"/>
                    <a:pt x="276" y="51"/>
                  </a:cubicBezTo>
                  <a:cubicBezTo>
                    <a:pt x="276" y="52"/>
                    <a:pt x="277" y="52"/>
                    <a:pt x="277" y="53"/>
                  </a:cubicBezTo>
                  <a:cubicBezTo>
                    <a:pt x="278" y="53"/>
                    <a:pt x="278" y="53"/>
                    <a:pt x="279" y="53"/>
                  </a:cubicBezTo>
                  <a:cubicBezTo>
                    <a:pt x="279" y="53"/>
                    <a:pt x="280" y="53"/>
                    <a:pt x="281" y="54"/>
                  </a:cubicBezTo>
                  <a:cubicBezTo>
                    <a:pt x="281" y="54"/>
                    <a:pt x="281" y="54"/>
                    <a:pt x="282" y="54"/>
                  </a:cubicBezTo>
                  <a:cubicBezTo>
                    <a:pt x="283" y="54"/>
                    <a:pt x="283" y="54"/>
                    <a:pt x="283" y="53"/>
                  </a:cubicBezTo>
                  <a:cubicBezTo>
                    <a:pt x="284" y="53"/>
                    <a:pt x="285" y="53"/>
                    <a:pt x="285" y="52"/>
                  </a:cubicBezTo>
                  <a:cubicBezTo>
                    <a:pt x="286" y="52"/>
                    <a:pt x="286" y="51"/>
                    <a:pt x="287" y="51"/>
                  </a:cubicBezTo>
                  <a:cubicBezTo>
                    <a:pt x="287" y="50"/>
                    <a:pt x="288" y="49"/>
                    <a:pt x="288" y="49"/>
                  </a:cubicBezTo>
                  <a:cubicBezTo>
                    <a:pt x="289" y="47"/>
                    <a:pt x="289" y="46"/>
                    <a:pt x="290" y="45"/>
                  </a:cubicBezTo>
                  <a:cubicBezTo>
                    <a:pt x="291" y="44"/>
                    <a:pt x="293" y="43"/>
                    <a:pt x="294" y="43"/>
                  </a:cubicBezTo>
                  <a:cubicBezTo>
                    <a:pt x="295" y="43"/>
                    <a:pt x="295" y="43"/>
                    <a:pt x="296" y="43"/>
                  </a:cubicBezTo>
                  <a:cubicBezTo>
                    <a:pt x="296" y="43"/>
                    <a:pt x="296" y="42"/>
                    <a:pt x="296" y="42"/>
                  </a:cubicBezTo>
                  <a:cubicBezTo>
                    <a:pt x="296" y="41"/>
                    <a:pt x="297" y="40"/>
                    <a:pt x="298" y="39"/>
                  </a:cubicBezTo>
                  <a:cubicBezTo>
                    <a:pt x="298" y="39"/>
                    <a:pt x="298" y="38"/>
                    <a:pt x="298" y="38"/>
                  </a:cubicBezTo>
                  <a:cubicBezTo>
                    <a:pt x="298" y="37"/>
                    <a:pt x="298" y="37"/>
                    <a:pt x="298" y="37"/>
                  </a:cubicBezTo>
                  <a:cubicBezTo>
                    <a:pt x="297" y="36"/>
                    <a:pt x="297" y="35"/>
                    <a:pt x="297" y="34"/>
                  </a:cubicBezTo>
                  <a:cubicBezTo>
                    <a:pt x="297" y="34"/>
                    <a:pt x="297" y="33"/>
                    <a:pt x="297" y="33"/>
                  </a:cubicBezTo>
                  <a:cubicBezTo>
                    <a:pt x="297" y="32"/>
                    <a:pt x="297" y="31"/>
                    <a:pt x="296" y="30"/>
                  </a:cubicBezTo>
                  <a:cubicBezTo>
                    <a:pt x="296" y="29"/>
                    <a:pt x="295" y="29"/>
                    <a:pt x="294" y="29"/>
                  </a:cubicBezTo>
                  <a:cubicBezTo>
                    <a:pt x="293" y="29"/>
                    <a:pt x="292" y="28"/>
                    <a:pt x="291" y="29"/>
                  </a:cubicBezTo>
                  <a:cubicBezTo>
                    <a:pt x="290" y="29"/>
                    <a:pt x="289" y="30"/>
                    <a:pt x="288" y="31"/>
                  </a:cubicBezTo>
                  <a:cubicBezTo>
                    <a:pt x="288" y="31"/>
                    <a:pt x="288" y="32"/>
                    <a:pt x="288" y="32"/>
                  </a:cubicBezTo>
                  <a:cubicBezTo>
                    <a:pt x="288" y="33"/>
                    <a:pt x="288" y="34"/>
                    <a:pt x="288" y="35"/>
                  </a:cubicBezTo>
                  <a:cubicBezTo>
                    <a:pt x="288" y="36"/>
                    <a:pt x="288" y="38"/>
                    <a:pt x="288" y="39"/>
                  </a:cubicBezTo>
                  <a:cubicBezTo>
                    <a:pt x="287" y="40"/>
                    <a:pt x="286" y="40"/>
                    <a:pt x="285" y="40"/>
                  </a:cubicBezTo>
                  <a:cubicBezTo>
                    <a:pt x="284" y="39"/>
                    <a:pt x="284" y="39"/>
                    <a:pt x="284" y="39"/>
                  </a:cubicBezTo>
                  <a:cubicBezTo>
                    <a:pt x="283" y="39"/>
                    <a:pt x="283" y="38"/>
                    <a:pt x="284" y="38"/>
                  </a:cubicBezTo>
                  <a:cubicBezTo>
                    <a:pt x="284" y="38"/>
                    <a:pt x="284" y="39"/>
                    <a:pt x="285" y="39"/>
                  </a:cubicBezTo>
                  <a:cubicBezTo>
                    <a:pt x="285" y="39"/>
                    <a:pt x="285" y="39"/>
                    <a:pt x="285" y="38"/>
                  </a:cubicBezTo>
                  <a:cubicBezTo>
                    <a:pt x="285" y="37"/>
                    <a:pt x="286" y="37"/>
                    <a:pt x="286" y="36"/>
                  </a:cubicBezTo>
                  <a:cubicBezTo>
                    <a:pt x="286" y="35"/>
                    <a:pt x="286" y="34"/>
                    <a:pt x="286" y="33"/>
                  </a:cubicBezTo>
                  <a:cubicBezTo>
                    <a:pt x="286" y="32"/>
                    <a:pt x="286" y="31"/>
                    <a:pt x="286" y="30"/>
                  </a:cubicBezTo>
                  <a:cubicBezTo>
                    <a:pt x="285" y="29"/>
                    <a:pt x="286" y="29"/>
                    <a:pt x="286" y="29"/>
                  </a:cubicBezTo>
                  <a:cubicBezTo>
                    <a:pt x="286" y="28"/>
                    <a:pt x="286" y="27"/>
                    <a:pt x="286" y="27"/>
                  </a:cubicBezTo>
                  <a:cubicBezTo>
                    <a:pt x="286" y="27"/>
                    <a:pt x="286" y="26"/>
                    <a:pt x="285" y="26"/>
                  </a:cubicBezTo>
                  <a:cubicBezTo>
                    <a:pt x="281" y="26"/>
                    <a:pt x="281" y="26"/>
                    <a:pt x="281" y="26"/>
                  </a:cubicBezTo>
                  <a:cubicBezTo>
                    <a:pt x="280" y="26"/>
                    <a:pt x="280" y="27"/>
                    <a:pt x="279" y="27"/>
                  </a:cubicBezTo>
                  <a:cubicBezTo>
                    <a:pt x="279" y="27"/>
                    <a:pt x="278" y="27"/>
                    <a:pt x="277" y="28"/>
                  </a:cubicBezTo>
                  <a:cubicBezTo>
                    <a:pt x="277" y="28"/>
                    <a:pt x="277" y="28"/>
                    <a:pt x="276" y="28"/>
                  </a:cubicBezTo>
                  <a:cubicBezTo>
                    <a:pt x="276" y="28"/>
                    <a:pt x="275" y="27"/>
                    <a:pt x="275" y="27"/>
                  </a:cubicBezTo>
                  <a:cubicBezTo>
                    <a:pt x="275" y="27"/>
                    <a:pt x="275" y="26"/>
                    <a:pt x="274" y="26"/>
                  </a:cubicBezTo>
                  <a:cubicBezTo>
                    <a:pt x="274" y="26"/>
                    <a:pt x="273" y="27"/>
                    <a:pt x="273" y="27"/>
                  </a:cubicBezTo>
                  <a:cubicBezTo>
                    <a:pt x="272" y="27"/>
                    <a:pt x="272" y="27"/>
                    <a:pt x="271" y="27"/>
                  </a:cubicBezTo>
                  <a:cubicBezTo>
                    <a:pt x="271" y="27"/>
                    <a:pt x="270" y="28"/>
                    <a:pt x="270" y="28"/>
                  </a:cubicBezTo>
                  <a:cubicBezTo>
                    <a:pt x="270" y="28"/>
                    <a:pt x="270" y="28"/>
                    <a:pt x="270" y="29"/>
                  </a:cubicBezTo>
                  <a:cubicBezTo>
                    <a:pt x="264" y="29"/>
                    <a:pt x="264" y="29"/>
                    <a:pt x="264" y="29"/>
                  </a:cubicBezTo>
                  <a:cubicBezTo>
                    <a:pt x="263" y="28"/>
                    <a:pt x="262" y="28"/>
                    <a:pt x="263" y="28"/>
                  </a:cubicBezTo>
                  <a:cubicBezTo>
                    <a:pt x="263" y="27"/>
                    <a:pt x="264" y="27"/>
                    <a:pt x="264" y="26"/>
                  </a:cubicBezTo>
                  <a:cubicBezTo>
                    <a:pt x="265" y="26"/>
                    <a:pt x="265" y="25"/>
                    <a:pt x="265" y="25"/>
                  </a:cubicBezTo>
                  <a:cubicBezTo>
                    <a:pt x="264" y="24"/>
                    <a:pt x="264" y="25"/>
                    <a:pt x="263" y="25"/>
                  </a:cubicBezTo>
                  <a:cubicBezTo>
                    <a:pt x="263" y="25"/>
                    <a:pt x="263" y="24"/>
                    <a:pt x="263" y="23"/>
                  </a:cubicBezTo>
                  <a:cubicBezTo>
                    <a:pt x="263" y="23"/>
                    <a:pt x="263" y="23"/>
                    <a:pt x="263" y="22"/>
                  </a:cubicBezTo>
                  <a:cubicBezTo>
                    <a:pt x="263" y="22"/>
                    <a:pt x="262" y="22"/>
                    <a:pt x="262" y="22"/>
                  </a:cubicBezTo>
                  <a:cubicBezTo>
                    <a:pt x="262" y="21"/>
                    <a:pt x="262" y="21"/>
                    <a:pt x="262" y="20"/>
                  </a:cubicBezTo>
                  <a:cubicBezTo>
                    <a:pt x="262" y="20"/>
                    <a:pt x="261" y="20"/>
                    <a:pt x="261" y="19"/>
                  </a:cubicBezTo>
                  <a:cubicBezTo>
                    <a:pt x="262" y="19"/>
                    <a:pt x="262" y="19"/>
                    <a:pt x="262" y="19"/>
                  </a:cubicBezTo>
                  <a:cubicBezTo>
                    <a:pt x="262" y="18"/>
                    <a:pt x="262" y="18"/>
                    <a:pt x="263" y="17"/>
                  </a:cubicBezTo>
                  <a:cubicBezTo>
                    <a:pt x="263" y="17"/>
                    <a:pt x="263" y="16"/>
                    <a:pt x="263" y="15"/>
                  </a:cubicBezTo>
                  <a:cubicBezTo>
                    <a:pt x="263" y="15"/>
                    <a:pt x="264" y="14"/>
                    <a:pt x="264" y="14"/>
                  </a:cubicBezTo>
                  <a:cubicBezTo>
                    <a:pt x="265" y="14"/>
                    <a:pt x="265" y="15"/>
                    <a:pt x="265" y="15"/>
                  </a:cubicBezTo>
                  <a:cubicBezTo>
                    <a:pt x="264" y="15"/>
                    <a:pt x="264" y="16"/>
                    <a:pt x="264" y="16"/>
                  </a:cubicBezTo>
                  <a:cubicBezTo>
                    <a:pt x="264" y="16"/>
                    <a:pt x="264" y="17"/>
                    <a:pt x="264" y="17"/>
                  </a:cubicBezTo>
                  <a:cubicBezTo>
                    <a:pt x="263" y="18"/>
                    <a:pt x="263" y="18"/>
                    <a:pt x="263" y="19"/>
                  </a:cubicBezTo>
                  <a:cubicBezTo>
                    <a:pt x="263" y="20"/>
                    <a:pt x="264" y="20"/>
                    <a:pt x="264" y="21"/>
                  </a:cubicBezTo>
                  <a:cubicBezTo>
                    <a:pt x="264" y="22"/>
                    <a:pt x="265" y="22"/>
                    <a:pt x="265" y="23"/>
                  </a:cubicBezTo>
                  <a:cubicBezTo>
                    <a:pt x="265" y="23"/>
                    <a:pt x="265" y="24"/>
                    <a:pt x="266" y="24"/>
                  </a:cubicBezTo>
                  <a:cubicBezTo>
                    <a:pt x="266" y="24"/>
                    <a:pt x="266" y="23"/>
                    <a:pt x="266" y="23"/>
                  </a:cubicBezTo>
                  <a:cubicBezTo>
                    <a:pt x="267" y="23"/>
                    <a:pt x="267" y="24"/>
                    <a:pt x="268" y="24"/>
                  </a:cubicBezTo>
                  <a:cubicBezTo>
                    <a:pt x="268" y="25"/>
                    <a:pt x="269" y="24"/>
                    <a:pt x="269" y="24"/>
                  </a:cubicBezTo>
                  <a:cubicBezTo>
                    <a:pt x="270" y="24"/>
                    <a:pt x="270" y="24"/>
                    <a:pt x="270" y="24"/>
                  </a:cubicBezTo>
                  <a:cubicBezTo>
                    <a:pt x="271" y="24"/>
                    <a:pt x="271" y="24"/>
                    <a:pt x="271" y="24"/>
                  </a:cubicBezTo>
                  <a:cubicBezTo>
                    <a:pt x="272" y="24"/>
                    <a:pt x="272" y="24"/>
                    <a:pt x="272" y="23"/>
                  </a:cubicBezTo>
                  <a:cubicBezTo>
                    <a:pt x="273" y="23"/>
                    <a:pt x="274" y="23"/>
                    <a:pt x="275" y="22"/>
                  </a:cubicBezTo>
                  <a:cubicBezTo>
                    <a:pt x="275" y="22"/>
                    <a:pt x="276" y="22"/>
                    <a:pt x="276" y="22"/>
                  </a:cubicBezTo>
                  <a:cubicBezTo>
                    <a:pt x="277" y="22"/>
                    <a:pt x="276" y="21"/>
                    <a:pt x="276" y="21"/>
                  </a:cubicBezTo>
                  <a:cubicBezTo>
                    <a:pt x="275" y="20"/>
                    <a:pt x="275" y="20"/>
                    <a:pt x="274" y="19"/>
                  </a:cubicBezTo>
                  <a:cubicBezTo>
                    <a:pt x="274" y="19"/>
                    <a:pt x="273" y="19"/>
                    <a:pt x="272" y="18"/>
                  </a:cubicBezTo>
                  <a:cubicBezTo>
                    <a:pt x="273" y="17"/>
                    <a:pt x="274" y="19"/>
                    <a:pt x="275" y="19"/>
                  </a:cubicBezTo>
                  <a:cubicBezTo>
                    <a:pt x="276" y="20"/>
                    <a:pt x="277" y="20"/>
                    <a:pt x="278" y="20"/>
                  </a:cubicBezTo>
                  <a:cubicBezTo>
                    <a:pt x="278" y="21"/>
                    <a:pt x="280" y="21"/>
                    <a:pt x="280" y="21"/>
                  </a:cubicBezTo>
                  <a:cubicBezTo>
                    <a:pt x="281" y="20"/>
                    <a:pt x="281" y="20"/>
                    <a:pt x="281" y="19"/>
                  </a:cubicBezTo>
                  <a:cubicBezTo>
                    <a:pt x="280" y="19"/>
                    <a:pt x="280" y="18"/>
                    <a:pt x="279" y="18"/>
                  </a:cubicBezTo>
                  <a:cubicBezTo>
                    <a:pt x="279" y="18"/>
                    <a:pt x="278" y="17"/>
                    <a:pt x="279" y="17"/>
                  </a:cubicBezTo>
                  <a:cubicBezTo>
                    <a:pt x="279" y="17"/>
                    <a:pt x="280" y="18"/>
                    <a:pt x="280" y="19"/>
                  </a:cubicBezTo>
                  <a:cubicBezTo>
                    <a:pt x="281" y="19"/>
                    <a:pt x="282" y="20"/>
                    <a:pt x="282" y="20"/>
                  </a:cubicBezTo>
                  <a:cubicBezTo>
                    <a:pt x="283" y="20"/>
                    <a:pt x="283" y="20"/>
                    <a:pt x="284" y="19"/>
                  </a:cubicBezTo>
                  <a:cubicBezTo>
                    <a:pt x="284" y="19"/>
                    <a:pt x="285" y="19"/>
                    <a:pt x="286" y="19"/>
                  </a:cubicBezTo>
                  <a:cubicBezTo>
                    <a:pt x="286" y="18"/>
                    <a:pt x="285" y="18"/>
                    <a:pt x="285" y="17"/>
                  </a:cubicBezTo>
                  <a:cubicBezTo>
                    <a:pt x="284" y="17"/>
                    <a:pt x="284" y="16"/>
                    <a:pt x="284" y="16"/>
                  </a:cubicBezTo>
                  <a:cubicBezTo>
                    <a:pt x="284" y="16"/>
                    <a:pt x="283" y="15"/>
                    <a:pt x="283" y="15"/>
                  </a:cubicBezTo>
                  <a:cubicBezTo>
                    <a:pt x="283" y="14"/>
                    <a:pt x="283" y="14"/>
                    <a:pt x="282" y="13"/>
                  </a:cubicBezTo>
                  <a:cubicBezTo>
                    <a:pt x="282" y="13"/>
                    <a:pt x="282" y="13"/>
                    <a:pt x="282" y="13"/>
                  </a:cubicBezTo>
                  <a:cubicBezTo>
                    <a:pt x="282" y="12"/>
                    <a:pt x="282" y="13"/>
                    <a:pt x="283" y="13"/>
                  </a:cubicBezTo>
                  <a:cubicBezTo>
                    <a:pt x="283" y="13"/>
                    <a:pt x="284" y="14"/>
                    <a:pt x="284" y="14"/>
                  </a:cubicBezTo>
                  <a:cubicBezTo>
                    <a:pt x="285" y="15"/>
                    <a:pt x="286" y="15"/>
                    <a:pt x="286" y="15"/>
                  </a:cubicBezTo>
                  <a:cubicBezTo>
                    <a:pt x="287" y="16"/>
                    <a:pt x="287" y="16"/>
                    <a:pt x="288" y="17"/>
                  </a:cubicBezTo>
                  <a:cubicBezTo>
                    <a:pt x="288" y="17"/>
                    <a:pt x="289" y="17"/>
                    <a:pt x="289" y="17"/>
                  </a:cubicBezTo>
                  <a:cubicBezTo>
                    <a:pt x="290" y="17"/>
                    <a:pt x="289" y="16"/>
                    <a:pt x="289" y="15"/>
                  </a:cubicBezTo>
                  <a:cubicBezTo>
                    <a:pt x="289" y="15"/>
                    <a:pt x="289" y="14"/>
                    <a:pt x="290" y="14"/>
                  </a:cubicBezTo>
                  <a:cubicBezTo>
                    <a:pt x="290" y="14"/>
                    <a:pt x="290" y="15"/>
                    <a:pt x="290" y="15"/>
                  </a:cubicBezTo>
                  <a:cubicBezTo>
                    <a:pt x="290" y="16"/>
                    <a:pt x="290" y="17"/>
                    <a:pt x="291" y="17"/>
                  </a:cubicBezTo>
                  <a:cubicBezTo>
                    <a:pt x="291" y="18"/>
                    <a:pt x="292" y="19"/>
                    <a:pt x="292" y="20"/>
                  </a:cubicBezTo>
                  <a:cubicBezTo>
                    <a:pt x="293" y="21"/>
                    <a:pt x="294" y="22"/>
                    <a:pt x="295" y="22"/>
                  </a:cubicBezTo>
                  <a:cubicBezTo>
                    <a:pt x="295" y="21"/>
                    <a:pt x="295" y="21"/>
                    <a:pt x="294" y="20"/>
                  </a:cubicBezTo>
                  <a:cubicBezTo>
                    <a:pt x="294" y="20"/>
                    <a:pt x="294" y="19"/>
                    <a:pt x="294" y="19"/>
                  </a:cubicBezTo>
                  <a:cubicBezTo>
                    <a:pt x="294" y="17"/>
                    <a:pt x="293" y="16"/>
                    <a:pt x="293" y="15"/>
                  </a:cubicBezTo>
                  <a:cubicBezTo>
                    <a:pt x="293" y="14"/>
                    <a:pt x="293" y="13"/>
                    <a:pt x="292" y="12"/>
                  </a:cubicBezTo>
                  <a:cubicBezTo>
                    <a:pt x="291" y="11"/>
                    <a:pt x="290" y="10"/>
                    <a:pt x="290" y="9"/>
                  </a:cubicBezTo>
                  <a:cubicBezTo>
                    <a:pt x="289" y="9"/>
                    <a:pt x="288" y="8"/>
                    <a:pt x="288" y="7"/>
                  </a:cubicBezTo>
                  <a:cubicBezTo>
                    <a:pt x="288" y="6"/>
                    <a:pt x="287" y="6"/>
                    <a:pt x="287" y="5"/>
                  </a:cubicBezTo>
                  <a:cubicBezTo>
                    <a:pt x="287" y="5"/>
                    <a:pt x="287" y="4"/>
                    <a:pt x="287" y="4"/>
                  </a:cubicBezTo>
                  <a:cubicBezTo>
                    <a:pt x="287" y="3"/>
                    <a:pt x="288" y="3"/>
                    <a:pt x="288" y="3"/>
                  </a:cubicBezTo>
                  <a:cubicBezTo>
                    <a:pt x="288" y="4"/>
                    <a:pt x="289" y="4"/>
                    <a:pt x="289" y="4"/>
                  </a:cubicBezTo>
                  <a:cubicBezTo>
                    <a:pt x="290" y="4"/>
                    <a:pt x="291" y="4"/>
                    <a:pt x="292" y="4"/>
                  </a:cubicBezTo>
                  <a:cubicBezTo>
                    <a:pt x="292" y="5"/>
                    <a:pt x="292" y="5"/>
                    <a:pt x="292" y="6"/>
                  </a:cubicBezTo>
                  <a:cubicBezTo>
                    <a:pt x="292" y="7"/>
                    <a:pt x="293" y="7"/>
                    <a:pt x="293" y="8"/>
                  </a:cubicBezTo>
                  <a:cubicBezTo>
                    <a:pt x="293" y="9"/>
                    <a:pt x="294" y="10"/>
                    <a:pt x="294" y="10"/>
                  </a:cubicBezTo>
                  <a:cubicBezTo>
                    <a:pt x="293" y="11"/>
                    <a:pt x="294" y="11"/>
                    <a:pt x="294" y="12"/>
                  </a:cubicBezTo>
                  <a:cubicBezTo>
                    <a:pt x="294" y="12"/>
                    <a:pt x="294" y="13"/>
                    <a:pt x="294" y="13"/>
                  </a:cubicBezTo>
                  <a:cubicBezTo>
                    <a:pt x="294" y="14"/>
                    <a:pt x="295" y="15"/>
                    <a:pt x="295" y="16"/>
                  </a:cubicBezTo>
                  <a:cubicBezTo>
                    <a:pt x="296" y="17"/>
                    <a:pt x="296" y="19"/>
                    <a:pt x="297" y="20"/>
                  </a:cubicBezTo>
                  <a:cubicBezTo>
                    <a:pt x="297" y="21"/>
                    <a:pt x="297" y="22"/>
                    <a:pt x="298" y="23"/>
                  </a:cubicBezTo>
                  <a:cubicBezTo>
                    <a:pt x="298" y="23"/>
                    <a:pt x="299" y="24"/>
                    <a:pt x="299" y="24"/>
                  </a:cubicBezTo>
                  <a:cubicBezTo>
                    <a:pt x="300" y="25"/>
                    <a:pt x="300" y="26"/>
                    <a:pt x="300" y="27"/>
                  </a:cubicBezTo>
                  <a:cubicBezTo>
                    <a:pt x="301" y="28"/>
                    <a:pt x="301" y="29"/>
                    <a:pt x="302" y="29"/>
                  </a:cubicBezTo>
                  <a:cubicBezTo>
                    <a:pt x="301" y="28"/>
                    <a:pt x="301" y="27"/>
                    <a:pt x="300" y="26"/>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3" name="Freeform 26">
              <a:extLst>
                <a:ext uri="{FF2B5EF4-FFF2-40B4-BE49-F238E27FC236}">
                  <a16:creationId xmlns:a16="http://schemas.microsoft.com/office/drawing/2014/main" id="{BE522357-600A-FBD5-23B7-6C9EAC6325B4}"/>
                </a:ext>
              </a:extLst>
            </p:cNvPr>
            <p:cNvSpPr>
              <a:spLocks/>
            </p:cNvSpPr>
            <p:nvPr/>
          </p:nvSpPr>
          <p:spPr bwMode="auto">
            <a:xfrm>
              <a:off x="4662676" y="3216769"/>
              <a:ext cx="827755" cy="935148"/>
            </a:xfrm>
            <a:custGeom>
              <a:avLst/>
              <a:gdLst>
                <a:gd name="T0" fmla="*/ 1 w 209"/>
                <a:gd name="T1" fmla="*/ 0 h 236"/>
                <a:gd name="T2" fmla="*/ 0 w 209"/>
                <a:gd name="T3" fmla="*/ 236 h 236"/>
                <a:gd name="T4" fmla="*/ 29 w 209"/>
                <a:gd name="T5" fmla="*/ 236 h 236"/>
                <a:gd name="T6" fmla="*/ 29 w 209"/>
                <a:gd name="T7" fmla="*/ 218 h 236"/>
                <a:gd name="T8" fmla="*/ 88 w 209"/>
                <a:gd name="T9" fmla="*/ 218 h 236"/>
                <a:gd name="T10" fmla="*/ 86 w 209"/>
                <a:gd name="T11" fmla="*/ 217 h 236"/>
                <a:gd name="T12" fmla="*/ 84 w 209"/>
                <a:gd name="T13" fmla="*/ 216 h 236"/>
                <a:gd name="T14" fmla="*/ 84 w 209"/>
                <a:gd name="T15" fmla="*/ 214 h 236"/>
                <a:gd name="T16" fmla="*/ 84 w 209"/>
                <a:gd name="T17" fmla="*/ 213 h 236"/>
                <a:gd name="T18" fmla="*/ 85 w 209"/>
                <a:gd name="T19" fmla="*/ 212 h 236"/>
                <a:gd name="T20" fmla="*/ 84 w 209"/>
                <a:gd name="T21" fmla="*/ 211 h 236"/>
                <a:gd name="T22" fmla="*/ 84 w 209"/>
                <a:gd name="T23" fmla="*/ 211 h 236"/>
                <a:gd name="T24" fmla="*/ 84 w 209"/>
                <a:gd name="T25" fmla="*/ 209 h 236"/>
                <a:gd name="T26" fmla="*/ 207 w 209"/>
                <a:gd name="T27" fmla="*/ 210 h 236"/>
                <a:gd name="T28" fmla="*/ 208 w 209"/>
                <a:gd name="T29" fmla="*/ 21 h 236"/>
                <a:gd name="T30" fmla="*/ 209 w 209"/>
                <a:gd name="T31" fmla="*/ 21 h 236"/>
                <a:gd name="T32" fmla="*/ 209 w 209"/>
                <a:gd name="T33" fmla="*/ 0 h 236"/>
                <a:gd name="T34" fmla="*/ 1 w 209"/>
                <a:gd name="T35"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236">
                  <a:moveTo>
                    <a:pt x="1" y="0"/>
                  </a:moveTo>
                  <a:cubicBezTo>
                    <a:pt x="0" y="236"/>
                    <a:pt x="0" y="236"/>
                    <a:pt x="0" y="236"/>
                  </a:cubicBezTo>
                  <a:cubicBezTo>
                    <a:pt x="29" y="236"/>
                    <a:pt x="29" y="236"/>
                    <a:pt x="29" y="236"/>
                  </a:cubicBezTo>
                  <a:cubicBezTo>
                    <a:pt x="29" y="218"/>
                    <a:pt x="29" y="218"/>
                    <a:pt x="29" y="218"/>
                  </a:cubicBezTo>
                  <a:cubicBezTo>
                    <a:pt x="88" y="218"/>
                    <a:pt x="88" y="218"/>
                    <a:pt x="88" y="218"/>
                  </a:cubicBezTo>
                  <a:cubicBezTo>
                    <a:pt x="88" y="218"/>
                    <a:pt x="87" y="217"/>
                    <a:pt x="86" y="217"/>
                  </a:cubicBezTo>
                  <a:cubicBezTo>
                    <a:pt x="86" y="217"/>
                    <a:pt x="85" y="216"/>
                    <a:pt x="84" y="216"/>
                  </a:cubicBezTo>
                  <a:cubicBezTo>
                    <a:pt x="84" y="215"/>
                    <a:pt x="84" y="214"/>
                    <a:pt x="84" y="214"/>
                  </a:cubicBezTo>
                  <a:cubicBezTo>
                    <a:pt x="84" y="214"/>
                    <a:pt x="84" y="213"/>
                    <a:pt x="84" y="213"/>
                  </a:cubicBezTo>
                  <a:cubicBezTo>
                    <a:pt x="85" y="212"/>
                    <a:pt x="85" y="212"/>
                    <a:pt x="85" y="212"/>
                  </a:cubicBezTo>
                  <a:cubicBezTo>
                    <a:pt x="84" y="211"/>
                    <a:pt x="84" y="211"/>
                    <a:pt x="84" y="211"/>
                  </a:cubicBezTo>
                  <a:cubicBezTo>
                    <a:pt x="84" y="211"/>
                    <a:pt x="84" y="211"/>
                    <a:pt x="84" y="211"/>
                  </a:cubicBezTo>
                  <a:cubicBezTo>
                    <a:pt x="84" y="211"/>
                    <a:pt x="84" y="209"/>
                    <a:pt x="84" y="209"/>
                  </a:cubicBezTo>
                  <a:cubicBezTo>
                    <a:pt x="207" y="210"/>
                    <a:pt x="207" y="210"/>
                    <a:pt x="207" y="210"/>
                  </a:cubicBezTo>
                  <a:cubicBezTo>
                    <a:pt x="208" y="21"/>
                    <a:pt x="208" y="21"/>
                    <a:pt x="208" y="21"/>
                  </a:cubicBezTo>
                  <a:cubicBezTo>
                    <a:pt x="209" y="21"/>
                    <a:pt x="209" y="21"/>
                    <a:pt x="209" y="21"/>
                  </a:cubicBezTo>
                  <a:cubicBezTo>
                    <a:pt x="209" y="0"/>
                    <a:pt x="209" y="0"/>
                    <a:pt x="209" y="0"/>
                  </a:cubicBezTo>
                  <a:lnTo>
                    <a:pt x="1" y="0"/>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4" name="Freeform 27">
              <a:extLst>
                <a:ext uri="{FF2B5EF4-FFF2-40B4-BE49-F238E27FC236}">
                  <a16:creationId xmlns:a16="http://schemas.microsoft.com/office/drawing/2014/main" id="{0F3C168B-F62B-5F08-0029-FD22A70C517A}"/>
                </a:ext>
              </a:extLst>
            </p:cNvPr>
            <p:cNvSpPr>
              <a:spLocks noEditPoints="1"/>
            </p:cNvSpPr>
            <p:nvPr/>
          </p:nvSpPr>
          <p:spPr bwMode="auto">
            <a:xfrm>
              <a:off x="8670922" y="1757871"/>
              <a:ext cx="1077237" cy="849234"/>
            </a:xfrm>
            <a:custGeom>
              <a:avLst/>
              <a:gdLst>
                <a:gd name="T0" fmla="*/ 207 w 272"/>
                <a:gd name="T1" fmla="*/ 195 h 214"/>
                <a:gd name="T2" fmla="*/ 207 w 272"/>
                <a:gd name="T3" fmla="*/ 198 h 214"/>
                <a:gd name="T4" fmla="*/ 211 w 272"/>
                <a:gd name="T5" fmla="*/ 197 h 214"/>
                <a:gd name="T6" fmla="*/ 217 w 272"/>
                <a:gd name="T7" fmla="*/ 196 h 214"/>
                <a:gd name="T8" fmla="*/ 222 w 272"/>
                <a:gd name="T9" fmla="*/ 194 h 214"/>
                <a:gd name="T10" fmla="*/ 236 w 272"/>
                <a:gd name="T11" fmla="*/ 192 h 214"/>
                <a:gd name="T12" fmla="*/ 248 w 272"/>
                <a:gd name="T13" fmla="*/ 190 h 214"/>
                <a:gd name="T14" fmla="*/ 255 w 272"/>
                <a:gd name="T15" fmla="*/ 187 h 214"/>
                <a:gd name="T16" fmla="*/ 249 w 272"/>
                <a:gd name="T17" fmla="*/ 192 h 214"/>
                <a:gd name="T18" fmla="*/ 250 w 272"/>
                <a:gd name="T19" fmla="*/ 194 h 214"/>
                <a:gd name="T20" fmla="*/ 260 w 272"/>
                <a:gd name="T21" fmla="*/ 189 h 214"/>
                <a:gd name="T22" fmla="*/ 269 w 272"/>
                <a:gd name="T23" fmla="*/ 188 h 214"/>
                <a:gd name="T24" fmla="*/ 269 w 272"/>
                <a:gd name="T25" fmla="*/ 189 h 214"/>
                <a:gd name="T26" fmla="*/ 261 w 272"/>
                <a:gd name="T27" fmla="*/ 193 h 214"/>
                <a:gd name="T28" fmla="*/ 254 w 272"/>
                <a:gd name="T29" fmla="*/ 196 h 214"/>
                <a:gd name="T30" fmla="*/ 250 w 272"/>
                <a:gd name="T31" fmla="*/ 197 h 214"/>
                <a:gd name="T32" fmla="*/ 241 w 272"/>
                <a:gd name="T33" fmla="*/ 200 h 214"/>
                <a:gd name="T34" fmla="*/ 233 w 272"/>
                <a:gd name="T35" fmla="*/ 202 h 214"/>
                <a:gd name="T36" fmla="*/ 227 w 272"/>
                <a:gd name="T37" fmla="*/ 204 h 214"/>
                <a:gd name="T38" fmla="*/ 220 w 272"/>
                <a:gd name="T39" fmla="*/ 206 h 214"/>
                <a:gd name="T40" fmla="*/ 211 w 272"/>
                <a:gd name="T41" fmla="*/ 208 h 214"/>
                <a:gd name="T42" fmla="*/ 206 w 272"/>
                <a:gd name="T43" fmla="*/ 208 h 214"/>
                <a:gd name="T44" fmla="*/ 203 w 272"/>
                <a:gd name="T45" fmla="*/ 209 h 214"/>
                <a:gd name="T46" fmla="*/ 198 w 272"/>
                <a:gd name="T47" fmla="*/ 207 h 214"/>
                <a:gd name="T48" fmla="*/ 202 w 272"/>
                <a:gd name="T49" fmla="*/ 191 h 214"/>
                <a:gd name="T50" fmla="*/ 167 w 272"/>
                <a:gd name="T51" fmla="*/ 169 h 214"/>
                <a:gd name="T52" fmla="*/ 162 w 272"/>
                <a:gd name="T53" fmla="*/ 159 h 214"/>
                <a:gd name="T54" fmla="*/ 158 w 272"/>
                <a:gd name="T55" fmla="*/ 150 h 214"/>
                <a:gd name="T56" fmla="*/ 0 w 272"/>
                <a:gd name="T57" fmla="*/ 132 h 214"/>
                <a:gd name="T58" fmla="*/ 18 w 272"/>
                <a:gd name="T59" fmla="*/ 120 h 214"/>
                <a:gd name="T60" fmla="*/ 24 w 272"/>
                <a:gd name="T61" fmla="*/ 113 h 214"/>
                <a:gd name="T62" fmla="*/ 30 w 272"/>
                <a:gd name="T63" fmla="*/ 103 h 214"/>
                <a:gd name="T64" fmla="*/ 26 w 272"/>
                <a:gd name="T65" fmla="*/ 94 h 214"/>
                <a:gd name="T66" fmla="*/ 35 w 272"/>
                <a:gd name="T67" fmla="*/ 82 h 214"/>
                <a:gd name="T68" fmla="*/ 73 w 272"/>
                <a:gd name="T69" fmla="*/ 84 h 214"/>
                <a:gd name="T70" fmla="*/ 101 w 272"/>
                <a:gd name="T71" fmla="*/ 83 h 214"/>
                <a:gd name="T72" fmla="*/ 123 w 272"/>
                <a:gd name="T73" fmla="*/ 68 h 214"/>
                <a:gd name="T74" fmla="*/ 122 w 272"/>
                <a:gd name="T75" fmla="*/ 60 h 214"/>
                <a:gd name="T76" fmla="*/ 124 w 272"/>
                <a:gd name="T77" fmla="*/ 55 h 214"/>
                <a:gd name="T78" fmla="*/ 124 w 272"/>
                <a:gd name="T79" fmla="*/ 51 h 214"/>
                <a:gd name="T80" fmla="*/ 122 w 272"/>
                <a:gd name="T81" fmla="*/ 50 h 214"/>
                <a:gd name="T82" fmla="*/ 119 w 272"/>
                <a:gd name="T83" fmla="*/ 46 h 214"/>
                <a:gd name="T84" fmla="*/ 125 w 272"/>
                <a:gd name="T85" fmla="*/ 39 h 214"/>
                <a:gd name="T86" fmla="*/ 133 w 272"/>
                <a:gd name="T87" fmla="*/ 33 h 214"/>
                <a:gd name="T88" fmla="*/ 139 w 272"/>
                <a:gd name="T89" fmla="*/ 25 h 214"/>
                <a:gd name="T90" fmla="*/ 168 w 272"/>
                <a:gd name="T91" fmla="*/ 2 h 214"/>
                <a:gd name="T92" fmla="*/ 220 w 272"/>
                <a:gd name="T93" fmla="*/ 8 h 214"/>
                <a:gd name="T94" fmla="*/ 222 w 272"/>
                <a:gd name="T95" fmla="*/ 28 h 214"/>
                <a:gd name="T96" fmla="*/ 218 w 272"/>
                <a:gd name="T97" fmla="*/ 47 h 214"/>
                <a:gd name="T98" fmla="*/ 218 w 272"/>
                <a:gd name="T99" fmla="*/ 68 h 214"/>
                <a:gd name="T100" fmla="*/ 223 w 272"/>
                <a:gd name="T101" fmla="*/ 70 h 214"/>
                <a:gd name="T102" fmla="*/ 215 w 272"/>
                <a:gd name="T103" fmla="*/ 161 h 214"/>
                <a:gd name="T104" fmla="*/ 208 w 272"/>
                <a:gd name="T105" fmla="*/ 188 h 214"/>
                <a:gd name="T106" fmla="*/ 190 w 272"/>
                <a:gd name="T107" fmla="*/ 213 h 214"/>
                <a:gd name="T108" fmla="*/ 196 w 272"/>
                <a:gd name="T109" fmla="*/ 20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2" h="214">
                  <a:moveTo>
                    <a:pt x="208" y="188"/>
                  </a:moveTo>
                  <a:cubicBezTo>
                    <a:pt x="211" y="191"/>
                    <a:pt x="211" y="191"/>
                    <a:pt x="211" y="191"/>
                  </a:cubicBezTo>
                  <a:cubicBezTo>
                    <a:pt x="210" y="191"/>
                    <a:pt x="210" y="191"/>
                    <a:pt x="210" y="191"/>
                  </a:cubicBezTo>
                  <a:cubicBezTo>
                    <a:pt x="210" y="191"/>
                    <a:pt x="209" y="191"/>
                    <a:pt x="209" y="192"/>
                  </a:cubicBezTo>
                  <a:cubicBezTo>
                    <a:pt x="209" y="192"/>
                    <a:pt x="209" y="193"/>
                    <a:pt x="208" y="193"/>
                  </a:cubicBezTo>
                  <a:cubicBezTo>
                    <a:pt x="208" y="194"/>
                    <a:pt x="207" y="194"/>
                    <a:pt x="207" y="195"/>
                  </a:cubicBezTo>
                  <a:cubicBezTo>
                    <a:pt x="207" y="195"/>
                    <a:pt x="207" y="196"/>
                    <a:pt x="206" y="196"/>
                  </a:cubicBezTo>
                  <a:cubicBezTo>
                    <a:pt x="206" y="197"/>
                    <a:pt x="206" y="197"/>
                    <a:pt x="206" y="197"/>
                  </a:cubicBezTo>
                  <a:cubicBezTo>
                    <a:pt x="206" y="197"/>
                    <a:pt x="206" y="198"/>
                    <a:pt x="206" y="198"/>
                  </a:cubicBezTo>
                  <a:cubicBezTo>
                    <a:pt x="206" y="199"/>
                    <a:pt x="206" y="199"/>
                    <a:pt x="206" y="200"/>
                  </a:cubicBezTo>
                  <a:cubicBezTo>
                    <a:pt x="207" y="200"/>
                    <a:pt x="208" y="200"/>
                    <a:pt x="207" y="199"/>
                  </a:cubicBezTo>
                  <a:cubicBezTo>
                    <a:pt x="207" y="199"/>
                    <a:pt x="207" y="199"/>
                    <a:pt x="207" y="198"/>
                  </a:cubicBezTo>
                  <a:cubicBezTo>
                    <a:pt x="208" y="198"/>
                    <a:pt x="208" y="198"/>
                    <a:pt x="208" y="198"/>
                  </a:cubicBezTo>
                  <a:cubicBezTo>
                    <a:pt x="208" y="198"/>
                    <a:pt x="209" y="198"/>
                    <a:pt x="209" y="198"/>
                  </a:cubicBezTo>
                  <a:cubicBezTo>
                    <a:pt x="209" y="198"/>
                    <a:pt x="209" y="198"/>
                    <a:pt x="209" y="198"/>
                  </a:cubicBezTo>
                  <a:cubicBezTo>
                    <a:pt x="208" y="197"/>
                    <a:pt x="208" y="197"/>
                    <a:pt x="208" y="197"/>
                  </a:cubicBezTo>
                  <a:cubicBezTo>
                    <a:pt x="209" y="197"/>
                    <a:pt x="209" y="197"/>
                    <a:pt x="210" y="197"/>
                  </a:cubicBezTo>
                  <a:cubicBezTo>
                    <a:pt x="210" y="197"/>
                    <a:pt x="211" y="197"/>
                    <a:pt x="211" y="197"/>
                  </a:cubicBezTo>
                  <a:cubicBezTo>
                    <a:pt x="211" y="197"/>
                    <a:pt x="211" y="196"/>
                    <a:pt x="211" y="196"/>
                  </a:cubicBezTo>
                  <a:cubicBezTo>
                    <a:pt x="212" y="196"/>
                    <a:pt x="212" y="195"/>
                    <a:pt x="212" y="195"/>
                  </a:cubicBezTo>
                  <a:cubicBezTo>
                    <a:pt x="212" y="195"/>
                    <a:pt x="213" y="195"/>
                    <a:pt x="213" y="195"/>
                  </a:cubicBezTo>
                  <a:cubicBezTo>
                    <a:pt x="214" y="195"/>
                    <a:pt x="214" y="195"/>
                    <a:pt x="214" y="195"/>
                  </a:cubicBezTo>
                  <a:cubicBezTo>
                    <a:pt x="215" y="195"/>
                    <a:pt x="215" y="195"/>
                    <a:pt x="216" y="195"/>
                  </a:cubicBezTo>
                  <a:cubicBezTo>
                    <a:pt x="216" y="196"/>
                    <a:pt x="217" y="196"/>
                    <a:pt x="217" y="196"/>
                  </a:cubicBezTo>
                  <a:cubicBezTo>
                    <a:pt x="217" y="196"/>
                    <a:pt x="218" y="195"/>
                    <a:pt x="218" y="195"/>
                  </a:cubicBezTo>
                  <a:cubicBezTo>
                    <a:pt x="218" y="195"/>
                    <a:pt x="218" y="195"/>
                    <a:pt x="218" y="195"/>
                  </a:cubicBezTo>
                  <a:cubicBezTo>
                    <a:pt x="218" y="195"/>
                    <a:pt x="218" y="194"/>
                    <a:pt x="218" y="194"/>
                  </a:cubicBezTo>
                  <a:cubicBezTo>
                    <a:pt x="219" y="194"/>
                    <a:pt x="219" y="194"/>
                    <a:pt x="219" y="195"/>
                  </a:cubicBezTo>
                  <a:cubicBezTo>
                    <a:pt x="220" y="195"/>
                    <a:pt x="220" y="195"/>
                    <a:pt x="221" y="194"/>
                  </a:cubicBezTo>
                  <a:cubicBezTo>
                    <a:pt x="221" y="194"/>
                    <a:pt x="221" y="194"/>
                    <a:pt x="222" y="194"/>
                  </a:cubicBezTo>
                  <a:cubicBezTo>
                    <a:pt x="223" y="194"/>
                    <a:pt x="223" y="194"/>
                    <a:pt x="224" y="194"/>
                  </a:cubicBezTo>
                  <a:cubicBezTo>
                    <a:pt x="226" y="194"/>
                    <a:pt x="228" y="194"/>
                    <a:pt x="229" y="193"/>
                  </a:cubicBezTo>
                  <a:cubicBezTo>
                    <a:pt x="229" y="192"/>
                    <a:pt x="230" y="192"/>
                    <a:pt x="231" y="192"/>
                  </a:cubicBezTo>
                  <a:cubicBezTo>
                    <a:pt x="231" y="192"/>
                    <a:pt x="232" y="192"/>
                    <a:pt x="233" y="192"/>
                  </a:cubicBezTo>
                  <a:cubicBezTo>
                    <a:pt x="233" y="192"/>
                    <a:pt x="234" y="192"/>
                    <a:pt x="234" y="192"/>
                  </a:cubicBezTo>
                  <a:cubicBezTo>
                    <a:pt x="235" y="192"/>
                    <a:pt x="236" y="192"/>
                    <a:pt x="236" y="192"/>
                  </a:cubicBezTo>
                  <a:cubicBezTo>
                    <a:pt x="237" y="192"/>
                    <a:pt x="237" y="192"/>
                    <a:pt x="238" y="192"/>
                  </a:cubicBezTo>
                  <a:cubicBezTo>
                    <a:pt x="238" y="192"/>
                    <a:pt x="238" y="192"/>
                    <a:pt x="239" y="192"/>
                  </a:cubicBezTo>
                  <a:cubicBezTo>
                    <a:pt x="240" y="192"/>
                    <a:pt x="240" y="191"/>
                    <a:pt x="241" y="191"/>
                  </a:cubicBezTo>
                  <a:cubicBezTo>
                    <a:pt x="242" y="192"/>
                    <a:pt x="243" y="192"/>
                    <a:pt x="244" y="191"/>
                  </a:cubicBezTo>
                  <a:cubicBezTo>
                    <a:pt x="245" y="191"/>
                    <a:pt x="246" y="191"/>
                    <a:pt x="246" y="191"/>
                  </a:cubicBezTo>
                  <a:cubicBezTo>
                    <a:pt x="247" y="190"/>
                    <a:pt x="247" y="190"/>
                    <a:pt x="248" y="190"/>
                  </a:cubicBezTo>
                  <a:cubicBezTo>
                    <a:pt x="248" y="190"/>
                    <a:pt x="249" y="190"/>
                    <a:pt x="249" y="189"/>
                  </a:cubicBezTo>
                  <a:cubicBezTo>
                    <a:pt x="250" y="189"/>
                    <a:pt x="251" y="188"/>
                    <a:pt x="251" y="188"/>
                  </a:cubicBezTo>
                  <a:cubicBezTo>
                    <a:pt x="252" y="188"/>
                    <a:pt x="252" y="187"/>
                    <a:pt x="253" y="187"/>
                  </a:cubicBezTo>
                  <a:cubicBezTo>
                    <a:pt x="253" y="187"/>
                    <a:pt x="254" y="186"/>
                    <a:pt x="254" y="186"/>
                  </a:cubicBezTo>
                  <a:cubicBezTo>
                    <a:pt x="254" y="186"/>
                    <a:pt x="255" y="186"/>
                    <a:pt x="255" y="186"/>
                  </a:cubicBezTo>
                  <a:cubicBezTo>
                    <a:pt x="255" y="186"/>
                    <a:pt x="255" y="186"/>
                    <a:pt x="255" y="187"/>
                  </a:cubicBezTo>
                  <a:cubicBezTo>
                    <a:pt x="255" y="187"/>
                    <a:pt x="255" y="187"/>
                    <a:pt x="254" y="187"/>
                  </a:cubicBezTo>
                  <a:cubicBezTo>
                    <a:pt x="254" y="188"/>
                    <a:pt x="253" y="189"/>
                    <a:pt x="253" y="190"/>
                  </a:cubicBezTo>
                  <a:cubicBezTo>
                    <a:pt x="253" y="190"/>
                    <a:pt x="253" y="191"/>
                    <a:pt x="252" y="191"/>
                  </a:cubicBezTo>
                  <a:cubicBezTo>
                    <a:pt x="252" y="191"/>
                    <a:pt x="251" y="191"/>
                    <a:pt x="251" y="191"/>
                  </a:cubicBezTo>
                  <a:cubicBezTo>
                    <a:pt x="251" y="191"/>
                    <a:pt x="251" y="191"/>
                    <a:pt x="250" y="192"/>
                  </a:cubicBezTo>
                  <a:cubicBezTo>
                    <a:pt x="250" y="192"/>
                    <a:pt x="249" y="192"/>
                    <a:pt x="249" y="192"/>
                  </a:cubicBezTo>
                  <a:cubicBezTo>
                    <a:pt x="248" y="193"/>
                    <a:pt x="248" y="193"/>
                    <a:pt x="248" y="193"/>
                  </a:cubicBezTo>
                  <a:cubicBezTo>
                    <a:pt x="247" y="193"/>
                    <a:pt x="247" y="193"/>
                    <a:pt x="247" y="194"/>
                  </a:cubicBezTo>
                  <a:cubicBezTo>
                    <a:pt x="247" y="194"/>
                    <a:pt x="247" y="194"/>
                    <a:pt x="247" y="194"/>
                  </a:cubicBezTo>
                  <a:cubicBezTo>
                    <a:pt x="248" y="194"/>
                    <a:pt x="248" y="194"/>
                    <a:pt x="248" y="194"/>
                  </a:cubicBezTo>
                  <a:cubicBezTo>
                    <a:pt x="248" y="194"/>
                    <a:pt x="248" y="194"/>
                    <a:pt x="249" y="195"/>
                  </a:cubicBezTo>
                  <a:cubicBezTo>
                    <a:pt x="249" y="195"/>
                    <a:pt x="249" y="194"/>
                    <a:pt x="250" y="194"/>
                  </a:cubicBezTo>
                  <a:cubicBezTo>
                    <a:pt x="251" y="194"/>
                    <a:pt x="252" y="194"/>
                    <a:pt x="253" y="193"/>
                  </a:cubicBezTo>
                  <a:cubicBezTo>
                    <a:pt x="254" y="193"/>
                    <a:pt x="254" y="192"/>
                    <a:pt x="255" y="192"/>
                  </a:cubicBezTo>
                  <a:cubicBezTo>
                    <a:pt x="255" y="191"/>
                    <a:pt x="256" y="191"/>
                    <a:pt x="256" y="191"/>
                  </a:cubicBezTo>
                  <a:cubicBezTo>
                    <a:pt x="257" y="190"/>
                    <a:pt x="257" y="190"/>
                    <a:pt x="258" y="190"/>
                  </a:cubicBezTo>
                  <a:cubicBezTo>
                    <a:pt x="258" y="190"/>
                    <a:pt x="259" y="190"/>
                    <a:pt x="259" y="190"/>
                  </a:cubicBezTo>
                  <a:cubicBezTo>
                    <a:pt x="259" y="190"/>
                    <a:pt x="260" y="189"/>
                    <a:pt x="260" y="189"/>
                  </a:cubicBezTo>
                  <a:cubicBezTo>
                    <a:pt x="260" y="189"/>
                    <a:pt x="261" y="189"/>
                    <a:pt x="261" y="189"/>
                  </a:cubicBezTo>
                  <a:cubicBezTo>
                    <a:pt x="261" y="189"/>
                    <a:pt x="261" y="188"/>
                    <a:pt x="262" y="188"/>
                  </a:cubicBezTo>
                  <a:cubicBezTo>
                    <a:pt x="262" y="188"/>
                    <a:pt x="263" y="189"/>
                    <a:pt x="263" y="189"/>
                  </a:cubicBezTo>
                  <a:cubicBezTo>
                    <a:pt x="263" y="189"/>
                    <a:pt x="264" y="189"/>
                    <a:pt x="265" y="189"/>
                  </a:cubicBezTo>
                  <a:cubicBezTo>
                    <a:pt x="265" y="189"/>
                    <a:pt x="266" y="189"/>
                    <a:pt x="267" y="189"/>
                  </a:cubicBezTo>
                  <a:cubicBezTo>
                    <a:pt x="267" y="189"/>
                    <a:pt x="268" y="188"/>
                    <a:pt x="269" y="188"/>
                  </a:cubicBezTo>
                  <a:cubicBezTo>
                    <a:pt x="269" y="188"/>
                    <a:pt x="269" y="188"/>
                    <a:pt x="270" y="188"/>
                  </a:cubicBezTo>
                  <a:cubicBezTo>
                    <a:pt x="270" y="187"/>
                    <a:pt x="270" y="187"/>
                    <a:pt x="271" y="187"/>
                  </a:cubicBezTo>
                  <a:cubicBezTo>
                    <a:pt x="271" y="187"/>
                    <a:pt x="272" y="187"/>
                    <a:pt x="272" y="188"/>
                  </a:cubicBezTo>
                  <a:cubicBezTo>
                    <a:pt x="272" y="189"/>
                    <a:pt x="271" y="189"/>
                    <a:pt x="270" y="189"/>
                  </a:cubicBezTo>
                  <a:cubicBezTo>
                    <a:pt x="270" y="189"/>
                    <a:pt x="270" y="189"/>
                    <a:pt x="270" y="189"/>
                  </a:cubicBezTo>
                  <a:cubicBezTo>
                    <a:pt x="270" y="189"/>
                    <a:pt x="269" y="189"/>
                    <a:pt x="269" y="189"/>
                  </a:cubicBezTo>
                  <a:cubicBezTo>
                    <a:pt x="268" y="190"/>
                    <a:pt x="268" y="190"/>
                    <a:pt x="267" y="190"/>
                  </a:cubicBezTo>
                  <a:cubicBezTo>
                    <a:pt x="267" y="191"/>
                    <a:pt x="266" y="191"/>
                    <a:pt x="265" y="191"/>
                  </a:cubicBezTo>
                  <a:cubicBezTo>
                    <a:pt x="265" y="191"/>
                    <a:pt x="265" y="192"/>
                    <a:pt x="264" y="192"/>
                  </a:cubicBezTo>
                  <a:cubicBezTo>
                    <a:pt x="264" y="192"/>
                    <a:pt x="264" y="192"/>
                    <a:pt x="263" y="192"/>
                  </a:cubicBezTo>
                  <a:cubicBezTo>
                    <a:pt x="263" y="193"/>
                    <a:pt x="263" y="193"/>
                    <a:pt x="262" y="193"/>
                  </a:cubicBezTo>
                  <a:cubicBezTo>
                    <a:pt x="262" y="193"/>
                    <a:pt x="261" y="193"/>
                    <a:pt x="261" y="193"/>
                  </a:cubicBezTo>
                  <a:cubicBezTo>
                    <a:pt x="260" y="193"/>
                    <a:pt x="260" y="194"/>
                    <a:pt x="259" y="194"/>
                  </a:cubicBezTo>
                  <a:cubicBezTo>
                    <a:pt x="259" y="194"/>
                    <a:pt x="258" y="194"/>
                    <a:pt x="258" y="194"/>
                  </a:cubicBezTo>
                  <a:cubicBezTo>
                    <a:pt x="258" y="195"/>
                    <a:pt x="257" y="195"/>
                    <a:pt x="257" y="195"/>
                  </a:cubicBezTo>
                  <a:cubicBezTo>
                    <a:pt x="256" y="195"/>
                    <a:pt x="256" y="195"/>
                    <a:pt x="256" y="195"/>
                  </a:cubicBezTo>
                  <a:cubicBezTo>
                    <a:pt x="255" y="195"/>
                    <a:pt x="255" y="196"/>
                    <a:pt x="255" y="196"/>
                  </a:cubicBezTo>
                  <a:cubicBezTo>
                    <a:pt x="255" y="196"/>
                    <a:pt x="254" y="196"/>
                    <a:pt x="254" y="196"/>
                  </a:cubicBezTo>
                  <a:cubicBezTo>
                    <a:pt x="254" y="196"/>
                    <a:pt x="253" y="196"/>
                    <a:pt x="253" y="196"/>
                  </a:cubicBezTo>
                  <a:cubicBezTo>
                    <a:pt x="253" y="196"/>
                    <a:pt x="253" y="196"/>
                    <a:pt x="253" y="196"/>
                  </a:cubicBezTo>
                  <a:cubicBezTo>
                    <a:pt x="253" y="195"/>
                    <a:pt x="252" y="196"/>
                    <a:pt x="251" y="196"/>
                  </a:cubicBezTo>
                  <a:cubicBezTo>
                    <a:pt x="251" y="196"/>
                    <a:pt x="251" y="195"/>
                    <a:pt x="251" y="196"/>
                  </a:cubicBezTo>
                  <a:cubicBezTo>
                    <a:pt x="251" y="196"/>
                    <a:pt x="251" y="196"/>
                    <a:pt x="250" y="196"/>
                  </a:cubicBezTo>
                  <a:cubicBezTo>
                    <a:pt x="250" y="196"/>
                    <a:pt x="250" y="196"/>
                    <a:pt x="250" y="197"/>
                  </a:cubicBezTo>
                  <a:cubicBezTo>
                    <a:pt x="250" y="197"/>
                    <a:pt x="250" y="198"/>
                    <a:pt x="250" y="198"/>
                  </a:cubicBezTo>
                  <a:cubicBezTo>
                    <a:pt x="249" y="198"/>
                    <a:pt x="249" y="199"/>
                    <a:pt x="248" y="199"/>
                  </a:cubicBezTo>
                  <a:cubicBezTo>
                    <a:pt x="248" y="199"/>
                    <a:pt x="247" y="199"/>
                    <a:pt x="247" y="199"/>
                  </a:cubicBezTo>
                  <a:cubicBezTo>
                    <a:pt x="246" y="199"/>
                    <a:pt x="246" y="199"/>
                    <a:pt x="245" y="199"/>
                  </a:cubicBezTo>
                  <a:cubicBezTo>
                    <a:pt x="244" y="199"/>
                    <a:pt x="244" y="200"/>
                    <a:pt x="244" y="200"/>
                  </a:cubicBezTo>
                  <a:cubicBezTo>
                    <a:pt x="243" y="200"/>
                    <a:pt x="242" y="200"/>
                    <a:pt x="241" y="200"/>
                  </a:cubicBezTo>
                  <a:cubicBezTo>
                    <a:pt x="241" y="200"/>
                    <a:pt x="240" y="200"/>
                    <a:pt x="240" y="200"/>
                  </a:cubicBezTo>
                  <a:cubicBezTo>
                    <a:pt x="239" y="201"/>
                    <a:pt x="239" y="201"/>
                    <a:pt x="239" y="201"/>
                  </a:cubicBezTo>
                  <a:cubicBezTo>
                    <a:pt x="239" y="202"/>
                    <a:pt x="238" y="202"/>
                    <a:pt x="238" y="202"/>
                  </a:cubicBezTo>
                  <a:cubicBezTo>
                    <a:pt x="237" y="202"/>
                    <a:pt x="237" y="202"/>
                    <a:pt x="236" y="202"/>
                  </a:cubicBezTo>
                  <a:cubicBezTo>
                    <a:pt x="235" y="202"/>
                    <a:pt x="235" y="202"/>
                    <a:pt x="234" y="202"/>
                  </a:cubicBezTo>
                  <a:cubicBezTo>
                    <a:pt x="234" y="202"/>
                    <a:pt x="233" y="202"/>
                    <a:pt x="233" y="202"/>
                  </a:cubicBezTo>
                  <a:cubicBezTo>
                    <a:pt x="232" y="202"/>
                    <a:pt x="232" y="202"/>
                    <a:pt x="232" y="202"/>
                  </a:cubicBezTo>
                  <a:cubicBezTo>
                    <a:pt x="231" y="202"/>
                    <a:pt x="231" y="202"/>
                    <a:pt x="231" y="202"/>
                  </a:cubicBezTo>
                  <a:cubicBezTo>
                    <a:pt x="230" y="202"/>
                    <a:pt x="230" y="203"/>
                    <a:pt x="230" y="203"/>
                  </a:cubicBezTo>
                  <a:cubicBezTo>
                    <a:pt x="229" y="203"/>
                    <a:pt x="229" y="203"/>
                    <a:pt x="229" y="203"/>
                  </a:cubicBezTo>
                  <a:cubicBezTo>
                    <a:pt x="229" y="203"/>
                    <a:pt x="229" y="203"/>
                    <a:pt x="229" y="203"/>
                  </a:cubicBezTo>
                  <a:cubicBezTo>
                    <a:pt x="228" y="204"/>
                    <a:pt x="228" y="204"/>
                    <a:pt x="227" y="204"/>
                  </a:cubicBezTo>
                  <a:cubicBezTo>
                    <a:pt x="226" y="204"/>
                    <a:pt x="226" y="204"/>
                    <a:pt x="225" y="204"/>
                  </a:cubicBezTo>
                  <a:cubicBezTo>
                    <a:pt x="225" y="204"/>
                    <a:pt x="224" y="204"/>
                    <a:pt x="224" y="204"/>
                  </a:cubicBezTo>
                  <a:cubicBezTo>
                    <a:pt x="224" y="204"/>
                    <a:pt x="224" y="204"/>
                    <a:pt x="224" y="204"/>
                  </a:cubicBezTo>
                  <a:cubicBezTo>
                    <a:pt x="223" y="204"/>
                    <a:pt x="223" y="204"/>
                    <a:pt x="223" y="205"/>
                  </a:cubicBezTo>
                  <a:cubicBezTo>
                    <a:pt x="222" y="205"/>
                    <a:pt x="222" y="205"/>
                    <a:pt x="222" y="205"/>
                  </a:cubicBezTo>
                  <a:cubicBezTo>
                    <a:pt x="221" y="205"/>
                    <a:pt x="221" y="205"/>
                    <a:pt x="220" y="206"/>
                  </a:cubicBezTo>
                  <a:cubicBezTo>
                    <a:pt x="219" y="206"/>
                    <a:pt x="218" y="206"/>
                    <a:pt x="218" y="206"/>
                  </a:cubicBezTo>
                  <a:cubicBezTo>
                    <a:pt x="217" y="206"/>
                    <a:pt x="217" y="206"/>
                    <a:pt x="217" y="206"/>
                  </a:cubicBezTo>
                  <a:cubicBezTo>
                    <a:pt x="216" y="207"/>
                    <a:pt x="216" y="207"/>
                    <a:pt x="216" y="207"/>
                  </a:cubicBezTo>
                  <a:cubicBezTo>
                    <a:pt x="216" y="207"/>
                    <a:pt x="216" y="208"/>
                    <a:pt x="215" y="209"/>
                  </a:cubicBezTo>
                  <a:cubicBezTo>
                    <a:pt x="214" y="209"/>
                    <a:pt x="214" y="208"/>
                    <a:pt x="213" y="208"/>
                  </a:cubicBezTo>
                  <a:cubicBezTo>
                    <a:pt x="213" y="208"/>
                    <a:pt x="211" y="207"/>
                    <a:pt x="211" y="208"/>
                  </a:cubicBezTo>
                  <a:cubicBezTo>
                    <a:pt x="211" y="208"/>
                    <a:pt x="211" y="208"/>
                    <a:pt x="211" y="209"/>
                  </a:cubicBezTo>
                  <a:cubicBezTo>
                    <a:pt x="211" y="209"/>
                    <a:pt x="210" y="209"/>
                    <a:pt x="210" y="209"/>
                  </a:cubicBezTo>
                  <a:cubicBezTo>
                    <a:pt x="210" y="209"/>
                    <a:pt x="209" y="209"/>
                    <a:pt x="209" y="209"/>
                  </a:cubicBezTo>
                  <a:cubicBezTo>
                    <a:pt x="209" y="209"/>
                    <a:pt x="208" y="209"/>
                    <a:pt x="208" y="209"/>
                  </a:cubicBezTo>
                  <a:cubicBezTo>
                    <a:pt x="207" y="209"/>
                    <a:pt x="207" y="209"/>
                    <a:pt x="206" y="209"/>
                  </a:cubicBezTo>
                  <a:cubicBezTo>
                    <a:pt x="206" y="209"/>
                    <a:pt x="206" y="208"/>
                    <a:pt x="206" y="208"/>
                  </a:cubicBezTo>
                  <a:cubicBezTo>
                    <a:pt x="206" y="208"/>
                    <a:pt x="207" y="208"/>
                    <a:pt x="206" y="208"/>
                  </a:cubicBezTo>
                  <a:cubicBezTo>
                    <a:pt x="206" y="208"/>
                    <a:pt x="205" y="208"/>
                    <a:pt x="205" y="207"/>
                  </a:cubicBezTo>
                  <a:cubicBezTo>
                    <a:pt x="205" y="207"/>
                    <a:pt x="205" y="207"/>
                    <a:pt x="205" y="207"/>
                  </a:cubicBezTo>
                  <a:cubicBezTo>
                    <a:pt x="204" y="207"/>
                    <a:pt x="204" y="207"/>
                    <a:pt x="204" y="207"/>
                  </a:cubicBezTo>
                  <a:cubicBezTo>
                    <a:pt x="204" y="208"/>
                    <a:pt x="204" y="208"/>
                    <a:pt x="203" y="208"/>
                  </a:cubicBezTo>
                  <a:cubicBezTo>
                    <a:pt x="203" y="208"/>
                    <a:pt x="203" y="208"/>
                    <a:pt x="203" y="209"/>
                  </a:cubicBezTo>
                  <a:cubicBezTo>
                    <a:pt x="202" y="209"/>
                    <a:pt x="202" y="209"/>
                    <a:pt x="202" y="209"/>
                  </a:cubicBezTo>
                  <a:cubicBezTo>
                    <a:pt x="202" y="209"/>
                    <a:pt x="201" y="209"/>
                    <a:pt x="201" y="209"/>
                  </a:cubicBezTo>
                  <a:cubicBezTo>
                    <a:pt x="201" y="209"/>
                    <a:pt x="201" y="210"/>
                    <a:pt x="201" y="210"/>
                  </a:cubicBezTo>
                  <a:cubicBezTo>
                    <a:pt x="200" y="210"/>
                    <a:pt x="200" y="210"/>
                    <a:pt x="199" y="210"/>
                  </a:cubicBezTo>
                  <a:cubicBezTo>
                    <a:pt x="199" y="210"/>
                    <a:pt x="199" y="210"/>
                    <a:pt x="198" y="209"/>
                  </a:cubicBezTo>
                  <a:cubicBezTo>
                    <a:pt x="198" y="209"/>
                    <a:pt x="198" y="208"/>
                    <a:pt x="198" y="207"/>
                  </a:cubicBezTo>
                  <a:cubicBezTo>
                    <a:pt x="198" y="207"/>
                    <a:pt x="198" y="206"/>
                    <a:pt x="198" y="206"/>
                  </a:cubicBezTo>
                  <a:cubicBezTo>
                    <a:pt x="198" y="206"/>
                    <a:pt x="199" y="205"/>
                    <a:pt x="199" y="204"/>
                  </a:cubicBezTo>
                  <a:cubicBezTo>
                    <a:pt x="199" y="204"/>
                    <a:pt x="199" y="203"/>
                    <a:pt x="199" y="202"/>
                  </a:cubicBezTo>
                  <a:cubicBezTo>
                    <a:pt x="199" y="202"/>
                    <a:pt x="199" y="202"/>
                    <a:pt x="199" y="202"/>
                  </a:cubicBezTo>
                  <a:cubicBezTo>
                    <a:pt x="199" y="202"/>
                    <a:pt x="198" y="202"/>
                    <a:pt x="198" y="202"/>
                  </a:cubicBezTo>
                  <a:cubicBezTo>
                    <a:pt x="202" y="191"/>
                    <a:pt x="202" y="191"/>
                    <a:pt x="202" y="191"/>
                  </a:cubicBezTo>
                  <a:cubicBezTo>
                    <a:pt x="202" y="191"/>
                    <a:pt x="176" y="175"/>
                    <a:pt x="176" y="175"/>
                  </a:cubicBezTo>
                  <a:cubicBezTo>
                    <a:pt x="176" y="175"/>
                    <a:pt x="174" y="173"/>
                    <a:pt x="174" y="173"/>
                  </a:cubicBezTo>
                  <a:cubicBezTo>
                    <a:pt x="174" y="173"/>
                    <a:pt x="173" y="171"/>
                    <a:pt x="173" y="171"/>
                  </a:cubicBezTo>
                  <a:cubicBezTo>
                    <a:pt x="173" y="170"/>
                    <a:pt x="172" y="170"/>
                    <a:pt x="172" y="170"/>
                  </a:cubicBezTo>
                  <a:cubicBezTo>
                    <a:pt x="171" y="170"/>
                    <a:pt x="169" y="170"/>
                    <a:pt x="168" y="170"/>
                  </a:cubicBezTo>
                  <a:cubicBezTo>
                    <a:pt x="167" y="170"/>
                    <a:pt x="167" y="169"/>
                    <a:pt x="167" y="169"/>
                  </a:cubicBezTo>
                  <a:cubicBezTo>
                    <a:pt x="167" y="169"/>
                    <a:pt x="167" y="168"/>
                    <a:pt x="167" y="168"/>
                  </a:cubicBezTo>
                  <a:cubicBezTo>
                    <a:pt x="166" y="168"/>
                    <a:pt x="165" y="168"/>
                    <a:pt x="164" y="168"/>
                  </a:cubicBezTo>
                  <a:cubicBezTo>
                    <a:pt x="164" y="168"/>
                    <a:pt x="162" y="162"/>
                    <a:pt x="162" y="162"/>
                  </a:cubicBezTo>
                  <a:cubicBezTo>
                    <a:pt x="162" y="162"/>
                    <a:pt x="162" y="162"/>
                    <a:pt x="162" y="162"/>
                  </a:cubicBezTo>
                  <a:cubicBezTo>
                    <a:pt x="163" y="162"/>
                    <a:pt x="163" y="161"/>
                    <a:pt x="163" y="161"/>
                  </a:cubicBezTo>
                  <a:cubicBezTo>
                    <a:pt x="163" y="161"/>
                    <a:pt x="162" y="160"/>
                    <a:pt x="162" y="159"/>
                  </a:cubicBezTo>
                  <a:cubicBezTo>
                    <a:pt x="162" y="159"/>
                    <a:pt x="162" y="158"/>
                    <a:pt x="162" y="158"/>
                  </a:cubicBezTo>
                  <a:cubicBezTo>
                    <a:pt x="162" y="158"/>
                    <a:pt x="162" y="156"/>
                    <a:pt x="162" y="156"/>
                  </a:cubicBezTo>
                  <a:cubicBezTo>
                    <a:pt x="162" y="155"/>
                    <a:pt x="161" y="155"/>
                    <a:pt x="161" y="155"/>
                  </a:cubicBezTo>
                  <a:cubicBezTo>
                    <a:pt x="161" y="154"/>
                    <a:pt x="161" y="154"/>
                    <a:pt x="161" y="154"/>
                  </a:cubicBezTo>
                  <a:cubicBezTo>
                    <a:pt x="161" y="154"/>
                    <a:pt x="162" y="152"/>
                    <a:pt x="162" y="152"/>
                  </a:cubicBezTo>
                  <a:cubicBezTo>
                    <a:pt x="162" y="152"/>
                    <a:pt x="158" y="150"/>
                    <a:pt x="158" y="150"/>
                  </a:cubicBezTo>
                  <a:cubicBezTo>
                    <a:pt x="158" y="149"/>
                    <a:pt x="157" y="150"/>
                    <a:pt x="156" y="150"/>
                  </a:cubicBezTo>
                  <a:cubicBezTo>
                    <a:pt x="156" y="150"/>
                    <a:pt x="155" y="150"/>
                    <a:pt x="155" y="150"/>
                  </a:cubicBezTo>
                  <a:cubicBezTo>
                    <a:pt x="155" y="150"/>
                    <a:pt x="154" y="147"/>
                    <a:pt x="154" y="146"/>
                  </a:cubicBezTo>
                  <a:cubicBezTo>
                    <a:pt x="154" y="146"/>
                    <a:pt x="152" y="144"/>
                    <a:pt x="152" y="144"/>
                  </a:cubicBezTo>
                  <a:cubicBezTo>
                    <a:pt x="0" y="144"/>
                    <a:pt x="0" y="144"/>
                    <a:pt x="0" y="144"/>
                  </a:cubicBezTo>
                  <a:cubicBezTo>
                    <a:pt x="0" y="132"/>
                    <a:pt x="0" y="132"/>
                    <a:pt x="0" y="132"/>
                  </a:cubicBezTo>
                  <a:cubicBezTo>
                    <a:pt x="0" y="132"/>
                    <a:pt x="0" y="131"/>
                    <a:pt x="0" y="131"/>
                  </a:cubicBezTo>
                  <a:cubicBezTo>
                    <a:pt x="4" y="129"/>
                    <a:pt x="7" y="127"/>
                    <a:pt x="10" y="125"/>
                  </a:cubicBezTo>
                  <a:cubicBezTo>
                    <a:pt x="11" y="124"/>
                    <a:pt x="12" y="123"/>
                    <a:pt x="13" y="122"/>
                  </a:cubicBezTo>
                  <a:cubicBezTo>
                    <a:pt x="14" y="122"/>
                    <a:pt x="15" y="122"/>
                    <a:pt x="16" y="121"/>
                  </a:cubicBezTo>
                  <a:cubicBezTo>
                    <a:pt x="16" y="121"/>
                    <a:pt x="16" y="121"/>
                    <a:pt x="17" y="120"/>
                  </a:cubicBezTo>
                  <a:cubicBezTo>
                    <a:pt x="17" y="120"/>
                    <a:pt x="18" y="120"/>
                    <a:pt x="18" y="120"/>
                  </a:cubicBezTo>
                  <a:cubicBezTo>
                    <a:pt x="19" y="119"/>
                    <a:pt x="19" y="119"/>
                    <a:pt x="20" y="119"/>
                  </a:cubicBezTo>
                  <a:cubicBezTo>
                    <a:pt x="20" y="118"/>
                    <a:pt x="21" y="118"/>
                    <a:pt x="22" y="118"/>
                  </a:cubicBezTo>
                  <a:cubicBezTo>
                    <a:pt x="22" y="117"/>
                    <a:pt x="22" y="117"/>
                    <a:pt x="23" y="116"/>
                  </a:cubicBezTo>
                  <a:cubicBezTo>
                    <a:pt x="23" y="116"/>
                    <a:pt x="23" y="115"/>
                    <a:pt x="23" y="115"/>
                  </a:cubicBezTo>
                  <a:cubicBezTo>
                    <a:pt x="24" y="114"/>
                    <a:pt x="24" y="114"/>
                    <a:pt x="24" y="114"/>
                  </a:cubicBezTo>
                  <a:cubicBezTo>
                    <a:pt x="24" y="113"/>
                    <a:pt x="24" y="113"/>
                    <a:pt x="24" y="113"/>
                  </a:cubicBezTo>
                  <a:cubicBezTo>
                    <a:pt x="25" y="113"/>
                    <a:pt x="25" y="112"/>
                    <a:pt x="25" y="112"/>
                  </a:cubicBezTo>
                  <a:cubicBezTo>
                    <a:pt x="27" y="111"/>
                    <a:pt x="28" y="110"/>
                    <a:pt x="29" y="110"/>
                  </a:cubicBezTo>
                  <a:cubicBezTo>
                    <a:pt x="30" y="109"/>
                    <a:pt x="31" y="108"/>
                    <a:pt x="31" y="107"/>
                  </a:cubicBezTo>
                  <a:cubicBezTo>
                    <a:pt x="31" y="106"/>
                    <a:pt x="31" y="105"/>
                    <a:pt x="31" y="105"/>
                  </a:cubicBezTo>
                  <a:cubicBezTo>
                    <a:pt x="31" y="105"/>
                    <a:pt x="31" y="104"/>
                    <a:pt x="30" y="103"/>
                  </a:cubicBezTo>
                  <a:cubicBezTo>
                    <a:pt x="30" y="103"/>
                    <a:pt x="30" y="103"/>
                    <a:pt x="30" y="103"/>
                  </a:cubicBezTo>
                  <a:cubicBezTo>
                    <a:pt x="29" y="103"/>
                    <a:pt x="29" y="103"/>
                    <a:pt x="29" y="102"/>
                  </a:cubicBezTo>
                  <a:cubicBezTo>
                    <a:pt x="29" y="100"/>
                    <a:pt x="29" y="100"/>
                    <a:pt x="29" y="100"/>
                  </a:cubicBezTo>
                  <a:cubicBezTo>
                    <a:pt x="25" y="98"/>
                    <a:pt x="25" y="98"/>
                    <a:pt x="25" y="98"/>
                  </a:cubicBezTo>
                  <a:cubicBezTo>
                    <a:pt x="25" y="96"/>
                    <a:pt x="25" y="96"/>
                    <a:pt x="25" y="96"/>
                  </a:cubicBezTo>
                  <a:cubicBezTo>
                    <a:pt x="26" y="95"/>
                    <a:pt x="26" y="95"/>
                    <a:pt x="26" y="95"/>
                  </a:cubicBezTo>
                  <a:cubicBezTo>
                    <a:pt x="26" y="94"/>
                    <a:pt x="26" y="94"/>
                    <a:pt x="26" y="94"/>
                  </a:cubicBezTo>
                  <a:cubicBezTo>
                    <a:pt x="23" y="93"/>
                    <a:pt x="23" y="93"/>
                    <a:pt x="23" y="93"/>
                  </a:cubicBezTo>
                  <a:cubicBezTo>
                    <a:pt x="24" y="91"/>
                    <a:pt x="24" y="91"/>
                    <a:pt x="24" y="91"/>
                  </a:cubicBezTo>
                  <a:cubicBezTo>
                    <a:pt x="24" y="85"/>
                    <a:pt x="24" y="85"/>
                    <a:pt x="24" y="85"/>
                  </a:cubicBezTo>
                  <a:cubicBezTo>
                    <a:pt x="25" y="85"/>
                    <a:pt x="26" y="84"/>
                    <a:pt x="26" y="84"/>
                  </a:cubicBezTo>
                  <a:cubicBezTo>
                    <a:pt x="28" y="83"/>
                    <a:pt x="29" y="83"/>
                    <a:pt x="31" y="83"/>
                  </a:cubicBezTo>
                  <a:cubicBezTo>
                    <a:pt x="32" y="83"/>
                    <a:pt x="33" y="82"/>
                    <a:pt x="35" y="82"/>
                  </a:cubicBezTo>
                  <a:cubicBezTo>
                    <a:pt x="36" y="81"/>
                    <a:pt x="38" y="81"/>
                    <a:pt x="39" y="81"/>
                  </a:cubicBezTo>
                  <a:cubicBezTo>
                    <a:pt x="42" y="81"/>
                    <a:pt x="46" y="80"/>
                    <a:pt x="49" y="80"/>
                  </a:cubicBezTo>
                  <a:cubicBezTo>
                    <a:pt x="51" y="80"/>
                    <a:pt x="53" y="80"/>
                    <a:pt x="55" y="80"/>
                  </a:cubicBezTo>
                  <a:cubicBezTo>
                    <a:pt x="57" y="80"/>
                    <a:pt x="59" y="80"/>
                    <a:pt x="61" y="80"/>
                  </a:cubicBezTo>
                  <a:cubicBezTo>
                    <a:pt x="64" y="80"/>
                    <a:pt x="67" y="81"/>
                    <a:pt x="70" y="82"/>
                  </a:cubicBezTo>
                  <a:cubicBezTo>
                    <a:pt x="71" y="82"/>
                    <a:pt x="72" y="84"/>
                    <a:pt x="73" y="84"/>
                  </a:cubicBezTo>
                  <a:cubicBezTo>
                    <a:pt x="75" y="85"/>
                    <a:pt x="76" y="87"/>
                    <a:pt x="78" y="86"/>
                  </a:cubicBezTo>
                  <a:cubicBezTo>
                    <a:pt x="79" y="86"/>
                    <a:pt x="80" y="86"/>
                    <a:pt x="81" y="85"/>
                  </a:cubicBezTo>
                  <a:cubicBezTo>
                    <a:pt x="82" y="85"/>
                    <a:pt x="84" y="85"/>
                    <a:pt x="85" y="85"/>
                  </a:cubicBezTo>
                  <a:cubicBezTo>
                    <a:pt x="87" y="85"/>
                    <a:pt x="89" y="85"/>
                    <a:pt x="91" y="85"/>
                  </a:cubicBezTo>
                  <a:cubicBezTo>
                    <a:pt x="93" y="85"/>
                    <a:pt x="96" y="85"/>
                    <a:pt x="98" y="84"/>
                  </a:cubicBezTo>
                  <a:cubicBezTo>
                    <a:pt x="99" y="84"/>
                    <a:pt x="100" y="84"/>
                    <a:pt x="101" y="83"/>
                  </a:cubicBezTo>
                  <a:cubicBezTo>
                    <a:pt x="102" y="83"/>
                    <a:pt x="103" y="83"/>
                    <a:pt x="104" y="82"/>
                  </a:cubicBezTo>
                  <a:cubicBezTo>
                    <a:pt x="106" y="81"/>
                    <a:pt x="107" y="79"/>
                    <a:pt x="109" y="78"/>
                  </a:cubicBezTo>
                  <a:cubicBezTo>
                    <a:pt x="111" y="76"/>
                    <a:pt x="113" y="75"/>
                    <a:pt x="115" y="73"/>
                  </a:cubicBezTo>
                  <a:cubicBezTo>
                    <a:pt x="117" y="73"/>
                    <a:pt x="118" y="72"/>
                    <a:pt x="119" y="72"/>
                  </a:cubicBezTo>
                  <a:cubicBezTo>
                    <a:pt x="120" y="72"/>
                    <a:pt x="122" y="72"/>
                    <a:pt x="122" y="71"/>
                  </a:cubicBezTo>
                  <a:cubicBezTo>
                    <a:pt x="123" y="71"/>
                    <a:pt x="123" y="69"/>
                    <a:pt x="123" y="68"/>
                  </a:cubicBezTo>
                  <a:cubicBezTo>
                    <a:pt x="123" y="68"/>
                    <a:pt x="124" y="67"/>
                    <a:pt x="124" y="66"/>
                  </a:cubicBezTo>
                  <a:cubicBezTo>
                    <a:pt x="124" y="65"/>
                    <a:pt x="123" y="65"/>
                    <a:pt x="123" y="64"/>
                  </a:cubicBezTo>
                  <a:cubicBezTo>
                    <a:pt x="123" y="64"/>
                    <a:pt x="123" y="64"/>
                    <a:pt x="123" y="63"/>
                  </a:cubicBezTo>
                  <a:cubicBezTo>
                    <a:pt x="123" y="63"/>
                    <a:pt x="123" y="63"/>
                    <a:pt x="123" y="62"/>
                  </a:cubicBezTo>
                  <a:cubicBezTo>
                    <a:pt x="123" y="62"/>
                    <a:pt x="123" y="62"/>
                    <a:pt x="123" y="61"/>
                  </a:cubicBezTo>
                  <a:cubicBezTo>
                    <a:pt x="123" y="61"/>
                    <a:pt x="123" y="61"/>
                    <a:pt x="122" y="60"/>
                  </a:cubicBezTo>
                  <a:cubicBezTo>
                    <a:pt x="122" y="60"/>
                    <a:pt x="122" y="59"/>
                    <a:pt x="121" y="59"/>
                  </a:cubicBezTo>
                  <a:cubicBezTo>
                    <a:pt x="121" y="59"/>
                    <a:pt x="121" y="58"/>
                    <a:pt x="120" y="58"/>
                  </a:cubicBezTo>
                  <a:cubicBezTo>
                    <a:pt x="120" y="58"/>
                    <a:pt x="120" y="58"/>
                    <a:pt x="120" y="57"/>
                  </a:cubicBezTo>
                  <a:cubicBezTo>
                    <a:pt x="120" y="57"/>
                    <a:pt x="120" y="57"/>
                    <a:pt x="121" y="56"/>
                  </a:cubicBezTo>
                  <a:cubicBezTo>
                    <a:pt x="121" y="56"/>
                    <a:pt x="122" y="56"/>
                    <a:pt x="123" y="56"/>
                  </a:cubicBezTo>
                  <a:cubicBezTo>
                    <a:pt x="123" y="55"/>
                    <a:pt x="124" y="55"/>
                    <a:pt x="124" y="55"/>
                  </a:cubicBezTo>
                  <a:cubicBezTo>
                    <a:pt x="125" y="55"/>
                    <a:pt x="126" y="55"/>
                    <a:pt x="126" y="54"/>
                  </a:cubicBezTo>
                  <a:cubicBezTo>
                    <a:pt x="126" y="54"/>
                    <a:pt x="126" y="54"/>
                    <a:pt x="126" y="54"/>
                  </a:cubicBezTo>
                  <a:cubicBezTo>
                    <a:pt x="126" y="53"/>
                    <a:pt x="126" y="53"/>
                    <a:pt x="126" y="53"/>
                  </a:cubicBezTo>
                  <a:cubicBezTo>
                    <a:pt x="126" y="53"/>
                    <a:pt x="126" y="53"/>
                    <a:pt x="126" y="53"/>
                  </a:cubicBezTo>
                  <a:cubicBezTo>
                    <a:pt x="126" y="53"/>
                    <a:pt x="126" y="52"/>
                    <a:pt x="125" y="52"/>
                  </a:cubicBezTo>
                  <a:cubicBezTo>
                    <a:pt x="125" y="51"/>
                    <a:pt x="124" y="51"/>
                    <a:pt x="124" y="51"/>
                  </a:cubicBezTo>
                  <a:cubicBezTo>
                    <a:pt x="124" y="51"/>
                    <a:pt x="123" y="51"/>
                    <a:pt x="123" y="51"/>
                  </a:cubicBezTo>
                  <a:cubicBezTo>
                    <a:pt x="122" y="51"/>
                    <a:pt x="123" y="51"/>
                    <a:pt x="124" y="50"/>
                  </a:cubicBezTo>
                  <a:cubicBezTo>
                    <a:pt x="124" y="50"/>
                    <a:pt x="125" y="49"/>
                    <a:pt x="124" y="49"/>
                  </a:cubicBezTo>
                  <a:cubicBezTo>
                    <a:pt x="124" y="49"/>
                    <a:pt x="124" y="49"/>
                    <a:pt x="123" y="49"/>
                  </a:cubicBezTo>
                  <a:cubicBezTo>
                    <a:pt x="123" y="48"/>
                    <a:pt x="123" y="48"/>
                    <a:pt x="123" y="49"/>
                  </a:cubicBezTo>
                  <a:cubicBezTo>
                    <a:pt x="122" y="49"/>
                    <a:pt x="122" y="49"/>
                    <a:pt x="122" y="50"/>
                  </a:cubicBezTo>
                  <a:cubicBezTo>
                    <a:pt x="122" y="50"/>
                    <a:pt x="121" y="50"/>
                    <a:pt x="121" y="51"/>
                  </a:cubicBezTo>
                  <a:cubicBezTo>
                    <a:pt x="121" y="51"/>
                    <a:pt x="121" y="51"/>
                    <a:pt x="121" y="51"/>
                  </a:cubicBezTo>
                  <a:cubicBezTo>
                    <a:pt x="120" y="51"/>
                    <a:pt x="120" y="50"/>
                    <a:pt x="120" y="50"/>
                  </a:cubicBezTo>
                  <a:cubicBezTo>
                    <a:pt x="120" y="50"/>
                    <a:pt x="120" y="49"/>
                    <a:pt x="119" y="49"/>
                  </a:cubicBezTo>
                  <a:cubicBezTo>
                    <a:pt x="119" y="49"/>
                    <a:pt x="119" y="48"/>
                    <a:pt x="119" y="48"/>
                  </a:cubicBezTo>
                  <a:cubicBezTo>
                    <a:pt x="119" y="47"/>
                    <a:pt x="119" y="47"/>
                    <a:pt x="119" y="46"/>
                  </a:cubicBezTo>
                  <a:cubicBezTo>
                    <a:pt x="119" y="46"/>
                    <a:pt x="118" y="46"/>
                    <a:pt x="118" y="45"/>
                  </a:cubicBezTo>
                  <a:cubicBezTo>
                    <a:pt x="118" y="44"/>
                    <a:pt x="118" y="44"/>
                    <a:pt x="119" y="44"/>
                  </a:cubicBezTo>
                  <a:cubicBezTo>
                    <a:pt x="119" y="44"/>
                    <a:pt x="119" y="44"/>
                    <a:pt x="119" y="43"/>
                  </a:cubicBezTo>
                  <a:cubicBezTo>
                    <a:pt x="119" y="43"/>
                    <a:pt x="120" y="43"/>
                    <a:pt x="120" y="42"/>
                  </a:cubicBezTo>
                  <a:cubicBezTo>
                    <a:pt x="121" y="42"/>
                    <a:pt x="122" y="41"/>
                    <a:pt x="123" y="41"/>
                  </a:cubicBezTo>
                  <a:cubicBezTo>
                    <a:pt x="124" y="40"/>
                    <a:pt x="124" y="40"/>
                    <a:pt x="125" y="39"/>
                  </a:cubicBezTo>
                  <a:cubicBezTo>
                    <a:pt x="126" y="39"/>
                    <a:pt x="126" y="39"/>
                    <a:pt x="127" y="38"/>
                  </a:cubicBezTo>
                  <a:cubicBezTo>
                    <a:pt x="127" y="38"/>
                    <a:pt x="128" y="37"/>
                    <a:pt x="128" y="37"/>
                  </a:cubicBezTo>
                  <a:cubicBezTo>
                    <a:pt x="128" y="36"/>
                    <a:pt x="129" y="35"/>
                    <a:pt x="129" y="35"/>
                  </a:cubicBezTo>
                  <a:cubicBezTo>
                    <a:pt x="129" y="34"/>
                    <a:pt x="129" y="34"/>
                    <a:pt x="130" y="34"/>
                  </a:cubicBezTo>
                  <a:cubicBezTo>
                    <a:pt x="130" y="33"/>
                    <a:pt x="131" y="33"/>
                    <a:pt x="131" y="33"/>
                  </a:cubicBezTo>
                  <a:cubicBezTo>
                    <a:pt x="132" y="33"/>
                    <a:pt x="133" y="33"/>
                    <a:pt x="133" y="33"/>
                  </a:cubicBezTo>
                  <a:cubicBezTo>
                    <a:pt x="134" y="32"/>
                    <a:pt x="134" y="32"/>
                    <a:pt x="135" y="31"/>
                  </a:cubicBezTo>
                  <a:cubicBezTo>
                    <a:pt x="135" y="31"/>
                    <a:pt x="136" y="30"/>
                    <a:pt x="136" y="30"/>
                  </a:cubicBezTo>
                  <a:cubicBezTo>
                    <a:pt x="137" y="30"/>
                    <a:pt x="137" y="29"/>
                    <a:pt x="138" y="29"/>
                  </a:cubicBezTo>
                  <a:cubicBezTo>
                    <a:pt x="138" y="28"/>
                    <a:pt x="138" y="28"/>
                    <a:pt x="139" y="27"/>
                  </a:cubicBezTo>
                  <a:cubicBezTo>
                    <a:pt x="139" y="27"/>
                    <a:pt x="139" y="26"/>
                    <a:pt x="139" y="25"/>
                  </a:cubicBezTo>
                  <a:cubicBezTo>
                    <a:pt x="139" y="25"/>
                    <a:pt x="139" y="25"/>
                    <a:pt x="139" y="25"/>
                  </a:cubicBezTo>
                  <a:cubicBezTo>
                    <a:pt x="152" y="12"/>
                    <a:pt x="152" y="12"/>
                    <a:pt x="152" y="12"/>
                  </a:cubicBezTo>
                  <a:cubicBezTo>
                    <a:pt x="152" y="10"/>
                    <a:pt x="152" y="10"/>
                    <a:pt x="152" y="10"/>
                  </a:cubicBezTo>
                  <a:cubicBezTo>
                    <a:pt x="156" y="8"/>
                    <a:pt x="156" y="8"/>
                    <a:pt x="156" y="8"/>
                  </a:cubicBezTo>
                  <a:cubicBezTo>
                    <a:pt x="157" y="8"/>
                    <a:pt x="157" y="8"/>
                    <a:pt x="157" y="8"/>
                  </a:cubicBezTo>
                  <a:cubicBezTo>
                    <a:pt x="157" y="8"/>
                    <a:pt x="161" y="6"/>
                    <a:pt x="161" y="6"/>
                  </a:cubicBezTo>
                  <a:cubicBezTo>
                    <a:pt x="161" y="6"/>
                    <a:pt x="168" y="2"/>
                    <a:pt x="168" y="2"/>
                  </a:cubicBezTo>
                  <a:cubicBezTo>
                    <a:pt x="168" y="2"/>
                    <a:pt x="169" y="1"/>
                    <a:pt x="169" y="1"/>
                  </a:cubicBezTo>
                  <a:cubicBezTo>
                    <a:pt x="169" y="1"/>
                    <a:pt x="170" y="0"/>
                    <a:pt x="170" y="0"/>
                  </a:cubicBezTo>
                  <a:cubicBezTo>
                    <a:pt x="173" y="2"/>
                    <a:pt x="173" y="2"/>
                    <a:pt x="173" y="2"/>
                  </a:cubicBezTo>
                  <a:cubicBezTo>
                    <a:pt x="221" y="0"/>
                    <a:pt x="221" y="0"/>
                    <a:pt x="221" y="0"/>
                  </a:cubicBezTo>
                  <a:cubicBezTo>
                    <a:pt x="221" y="0"/>
                    <a:pt x="221" y="4"/>
                    <a:pt x="221" y="5"/>
                  </a:cubicBezTo>
                  <a:cubicBezTo>
                    <a:pt x="221" y="6"/>
                    <a:pt x="220" y="7"/>
                    <a:pt x="220" y="8"/>
                  </a:cubicBezTo>
                  <a:cubicBezTo>
                    <a:pt x="219" y="9"/>
                    <a:pt x="220" y="9"/>
                    <a:pt x="221" y="10"/>
                  </a:cubicBezTo>
                  <a:cubicBezTo>
                    <a:pt x="221" y="11"/>
                    <a:pt x="221" y="12"/>
                    <a:pt x="221" y="13"/>
                  </a:cubicBezTo>
                  <a:cubicBezTo>
                    <a:pt x="221" y="13"/>
                    <a:pt x="221" y="15"/>
                    <a:pt x="220" y="16"/>
                  </a:cubicBezTo>
                  <a:cubicBezTo>
                    <a:pt x="220" y="18"/>
                    <a:pt x="220" y="20"/>
                    <a:pt x="220" y="21"/>
                  </a:cubicBezTo>
                  <a:cubicBezTo>
                    <a:pt x="219" y="22"/>
                    <a:pt x="221" y="24"/>
                    <a:pt x="222" y="25"/>
                  </a:cubicBezTo>
                  <a:cubicBezTo>
                    <a:pt x="222" y="26"/>
                    <a:pt x="222" y="28"/>
                    <a:pt x="222" y="28"/>
                  </a:cubicBezTo>
                  <a:cubicBezTo>
                    <a:pt x="222" y="29"/>
                    <a:pt x="222" y="31"/>
                    <a:pt x="222" y="32"/>
                  </a:cubicBezTo>
                  <a:cubicBezTo>
                    <a:pt x="221" y="32"/>
                    <a:pt x="222" y="37"/>
                    <a:pt x="222" y="37"/>
                  </a:cubicBezTo>
                  <a:cubicBezTo>
                    <a:pt x="222" y="37"/>
                    <a:pt x="221" y="38"/>
                    <a:pt x="221" y="39"/>
                  </a:cubicBezTo>
                  <a:cubicBezTo>
                    <a:pt x="220" y="39"/>
                    <a:pt x="219" y="40"/>
                    <a:pt x="219" y="41"/>
                  </a:cubicBezTo>
                  <a:cubicBezTo>
                    <a:pt x="219" y="41"/>
                    <a:pt x="219" y="43"/>
                    <a:pt x="218" y="44"/>
                  </a:cubicBezTo>
                  <a:cubicBezTo>
                    <a:pt x="218" y="44"/>
                    <a:pt x="218" y="47"/>
                    <a:pt x="218" y="47"/>
                  </a:cubicBezTo>
                  <a:cubicBezTo>
                    <a:pt x="218" y="47"/>
                    <a:pt x="219" y="49"/>
                    <a:pt x="219" y="49"/>
                  </a:cubicBezTo>
                  <a:cubicBezTo>
                    <a:pt x="219" y="49"/>
                    <a:pt x="219" y="52"/>
                    <a:pt x="219" y="53"/>
                  </a:cubicBezTo>
                  <a:cubicBezTo>
                    <a:pt x="219" y="53"/>
                    <a:pt x="219" y="58"/>
                    <a:pt x="219" y="58"/>
                  </a:cubicBezTo>
                  <a:cubicBezTo>
                    <a:pt x="221" y="61"/>
                    <a:pt x="221" y="61"/>
                    <a:pt x="221" y="61"/>
                  </a:cubicBezTo>
                  <a:cubicBezTo>
                    <a:pt x="221" y="61"/>
                    <a:pt x="219" y="65"/>
                    <a:pt x="219" y="65"/>
                  </a:cubicBezTo>
                  <a:cubicBezTo>
                    <a:pt x="219" y="66"/>
                    <a:pt x="218" y="68"/>
                    <a:pt x="218" y="68"/>
                  </a:cubicBezTo>
                  <a:cubicBezTo>
                    <a:pt x="218" y="68"/>
                    <a:pt x="219" y="69"/>
                    <a:pt x="219" y="70"/>
                  </a:cubicBezTo>
                  <a:cubicBezTo>
                    <a:pt x="219" y="70"/>
                    <a:pt x="220" y="70"/>
                    <a:pt x="220" y="70"/>
                  </a:cubicBezTo>
                  <a:cubicBezTo>
                    <a:pt x="220" y="69"/>
                    <a:pt x="220" y="69"/>
                    <a:pt x="220" y="69"/>
                  </a:cubicBezTo>
                  <a:cubicBezTo>
                    <a:pt x="220" y="69"/>
                    <a:pt x="221" y="68"/>
                    <a:pt x="221" y="68"/>
                  </a:cubicBezTo>
                  <a:cubicBezTo>
                    <a:pt x="221" y="68"/>
                    <a:pt x="222" y="68"/>
                    <a:pt x="222" y="68"/>
                  </a:cubicBezTo>
                  <a:cubicBezTo>
                    <a:pt x="223" y="68"/>
                    <a:pt x="223" y="69"/>
                    <a:pt x="223" y="70"/>
                  </a:cubicBezTo>
                  <a:cubicBezTo>
                    <a:pt x="223" y="70"/>
                    <a:pt x="224" y="71"/>
                    <a:pt x="224" y="71"/>
                  </a:cubicBezTo>
                  <a:cubicBezTo>
                    <a:pt x="223" y="105"/>
                    <a:pt x="223" y="105"/>
                    <a:pt x="223" y="105"/>
                  </a:cubicBezTo>
                  <a:cubicBezTo>
                    <a:pt x="224" y="109"/>
                    <a:pt x="224" y="109"/>
                    <a:pt x="224" y="109"/>
                  </a:cubicBezTo>
                  <a:cubicBezTo>
                    <a:pt x="215" y="140"/>
                    <a:pt x="215" y="140"/>
                    <a:pt x="215" y="140"/>
                  </a:cubicBezTo>
                  <a:cubicBezTo>
                    <a:pt x="216" y="142"/>
                    <a:pt x="216" y="142"/>
                    <a:pt x="216" y="142"/>
                  </a:cubicBezTo>
                  <a:cubicBezTo>
                    <a:pt x="215" y="161"/>
                    <a:pt x="215" y="161"/>
                    <a:pt x="215" y="161"/>
                  </a:cubicBezTo>
                  <a:cubicBezTo>
                    <a:pt x="214" y="176"/>
                    <a:pt x="214" y="176"/>
                    <a:pt x="214" y="176"/>
                  </a:cubicBezTo>
                  <a:cubicBezTo>
                    <a:pt x="214" y="176"/>
                    <a:pt x="215" y="178"/>
                    <a:pt x="215" y="178"/>
                  </a:cubicBezTo>
                  <a:cubicBezTo>
                    <a:pt x="215" y="178"/>
                    <a:pt x="216" y="181"/>
                    <a:pt x="216" y="181"/>
                  </a:cubicBezTo>
                  <a:cubicBezTo>
                    <a:pt x="210" y="184"/>
                    <a:pt x="210" y="184"/>
                    <a:pt x="210" y="184"/>
                  </a:cubicBezTo>
                  <a:cubicBezTo>
                    <a:pt x="210" y="184"/>
                    <a:pt x="208" y="186"/>
                    <a:pt x="208" y="186"/>
                  </a:cubicBezTo>
                  <a:cubicBezTo>
                    <a:pt x="208" y="187"/>
                    <a:pt x="208" y="188"/>
                    <a:pt x="208" y="188"/>
                  </a:cubicBezTo>
                  <a:close/>
                  <a:moveTo>
                    <a:pt x="195" y="206"/>
                  </a:moveTo>
                  <a:cubicBezTo>
                    <a:pt x="195" y="206"/>
                    <a:pt x="193" y="206"/>
                    <a:pt x="193" y="206"/>
                  </a:cubicBezTo>
                  <a:cubicBezTo>
                    <a:pt x="193" y="206"/>
                    <a:pt x="192" y="207"/>
                    <a:pt x="192" y="207"/>
                  </a:cubicBezTo>
                  <a:cubicBezTo>
                    <a:pt x="192" y="208"/>
                    <a:pt x="191" y="209"/>
                    <a:pt x="191" y="209"/>
                  </a:cubicBezTo>
                  <a:cubicBezTo>
                    <a:pt x="190" y="210"/>
                    <a:pt x="190" y="211"/>
                    <a:pt x="190" y="212"/>
                  </a:cubicBezTo>
                  <a:cubicBezTo>
                    <a:pt x="190" y="212"/>
                    <a:pt x="190" y="213"/>
                    <a:pt x="190" y="213"/>
                  </a:cubicBezTo>
                  <a:cubicBezTo>
                    <a:pt x="192" y="214"/>
                    <a:pt x="192" y="214"/>
                    <a:pt x="192" y="214"/>
                  </a:cubicBezTo>
                  <a:cubicBezTo>
                    <a:pt x="192" y="213"/>
                    <a:pt x="193" y="213"/>
                    <a:pt x="193" y="212"/>
                  </a:cubicBezTo>
                  <a:cubicBezTo>
                    <a:pt x="194" y="212"/>
                    <a:pt x="194" y="211"/>
                    <a:pt x="195" y="211"/>
                  </a:cubicBezTo>
                  <a:cubicBezTo>
                    <a:pt x="195" y="210"/>
                    <a:pt x="195" y="210"/>
                    <a:pt x="195" y="209"/>
                  </a:cubicBezTo>
                  <a:cubicBezTo>
                    <a:pt x="195" y="209"/>
                    <a:pt x="195" y="209"/>
                    <a:pt x="195" y="208"/>
                  </a:cubicBezTo>
                  <a:cubicBezTo>
                    <a:pt x="196" y="208"/>
                    <a:pt x="196" y="207"/>
                    <a:pt x="196" y="207"/>
                  </a:cubicBezTo>
                  <a:cubicBezTo>
                    <a:pt x="196" y="207"/>
                    <a:pt x="196" y="206"/>
                    <a:pt x="196" y="206"/>
                  </a:cubicBezTo>
                  <a:cubicBezTo>
                    <a:pt x="196" y="206"/>
                    <a:pt x="196" y="206"/>
                    <a:pt x="196" y="206"/>
                  </a:cubicBezTo>
                  <a:cubicBezTo>
                    <a:pt x="196" y="206"/>
                    <a:pt x="195" y="205"/>
                    <a:pt x="195" y="206"/>
                  </a:cubicBezTo>
                  <a:close/>
                </a:path>
              </a:pathLst>
            </a:custGeom>
            <a:pattFill prst="wdUpDiag">
              <a:fgClr>
                <a:srgbClr val="FF0000"/>
              </a:fgClr>
              <a:bgClr>
                <a:schemeClr val="bg1">
                  <a:lumMod val="85000"/>
                </a:schemeClr>
              </a:bgClr>
            </a:patt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5" name="Freeform 28">
              <a:extLst>
                <a:ext uri="{FF2B5EF4-FFF2-40B4-BE49-F238E27FC236}">
                  <a16:creationId xmlns:a16="http://schemas.microsoft.com/office/drawing/2014/main" id="{C01D081F-EBEB-5A44-8EDA-2EDE26DB3A34}"/>
                </a:ext>
              </a:extLst>
            </p:cNvPr>
            <p:cNvSpPr>
              <a:spLocks/>
            </p:cNvSpPr>
            <p:nvPr/>
          </p:nvSpPr>
          <p:spPr bwMode="auto">
            <a:xfrm>
              <a:off x="9245889" y="2443537"/>
              <a:ext cx="224700" cy="436182"/>
            </a:xfrm>
            <a:custGeom>
              <a:avLst/>
              <a:gdLst>
                <a:gd name="T0" fmla="*/ 52 w 57"/>
                <a:gd name="T1" fmla="*/ 44 h 110"/>
                <a:gd name="T2" fmla="*/ 48 w 57"/>
                <a:gd name="T3" fmla="*/ 43 h 110"/>
                <a:gd name="T4" fmla="*/ 45 w 57"/>
                <a:gd name="T5" fmla="*/ 42 h 110"/>
                <a:gd name="T6" fmla="*/ 45 w 57"/>
                <a:gd name="T7" fmla="*/ 41 h 110"/>
                <a:gd name="T8" fmla="*/ 45 w 57"/>
                <a:gd name="T9" fmla="*/ 36 h 110"/>
                <a:gd name="T10" fmla="*/ 47 w 57"/>
                <a:gd name="T11" fmla="*/ 33 h 110"/>
                <a:gd name="T12" fmla="*/ 50 w 57"/>
                <a:gd name="T13" fmla="*/ 32 h 110"/>
                <a:gd name="T14" fmla="*/ 52 w 57"/>
                <a:gd name="T15" fmla="*/ 32 h 110"/>
                <a:gd name="T16" fmla="*/ 53 w 57"/>
                <a:gd name="T17" fmla="*/ 29 h 110"/>
                <a:gd name="T18" fmla="*/ 31 w 57"/>
                <a:gd name="T19" fmla="*/ 2 h 110"/>
                <a:gd name="T20" fmla="*/ 25 w 57"/>
                <a:gd name="T21" fmla="*/ 4 h 110"/>
                <a:gd name="T22" fmla="*/ 20 w 57"/>
                <a:gd name="T23" fmla="*/ 13 h 110"/>
                <a:gd name="T24" fmla="*/ 17 w 57"/>
                <a:gd name="T25" fmla="*/ 23 h 110"/>
                <a:gd name="T26" fmla="*/ 12 w 57"/>
                <a:gd name="T27" fmla="*/ 28 h 110"/>
                <a:gd name="T28" fmla="*/ 17 w 57"/>
                <a:gd name="T29" fmla="*/ 38 h 110"/>
                <a:gd name="T30" fmla="*/ 21 w 57"/>
                <a:gd name="T31" fmla="*/ 47 h 110"/>
                <a:gd name="T32" fmla="*/ 27 w 57"/>
                <a:gd name="T33" fmla="*/ 57 h 110"/>
                <a:gd name="T34" fmla="*/ 14 w 57"/>
                <a:gd name="T35" fmla="*/ 68 h 110"/>
                <a:gd name="T36" fmla="*/ 8 w 57"/>
                <a:gd name="T37" fmla="*/ 70 h 110"/>
                <a:gd name="T38" fmla="*/ 3 w 57"/>
                <a:gd name="T39" fmla="*/ 75 h 110"/>
                <a:gd name="T40" fmla="*/ 1 w 57"/>
                <a:gd name="T41" fmla="*/ 80 h 110"/>
                <a:gd name="T42" fmla="*/ 1 w 57"/>
                <a:gd name="T43" fmla="*/ 85 h 110"/>
                <a:gd name="T44" fmla="*/ 6 w 57"/>
                <a:gd name="T45" fmla="*/ 88 h 110"/>
                <a:gd name="T46" fmla="*/ 7 w 57"/>
                <a:gd name="T47" fmla="*/ 92 h 110"/>
                <a:gd name="T48" fmla="*/ 12 w 57"/>
                <a:gd name="T49" fmla="*/ 97 h 110"/>
                <a:gd name="T50" fmla="*/ 14 w 57"/>
                <a:gd name="T51" fmla="*/ 99 h 110"/>
                <a:gd name="T52" fmla="*/ 17 w 57"/>
                <a:gd name="T53" fmla="*/ 98 h 110"/>
                <a:gd name="T54" fmla="*/ 20 w 57"/>
                <a:gd name="T55" fmla="*/ 99 h 110"/>
                <a:gd name="T56" fmla="*/ 23 w 57"/>
                <a:gd name="T57" fmla="*/ 101 h 110"/>
                <a:gd name="T58" fmla="*/ 22 w 57"/>
                <a:gd name="T59" fmla="*/ 105 h 110"/>
                <a:gd name="T60" fmla="*/ 21 w 57"/>
                <a:gd name="T61" fmla="*/ 110 h 110"/>
                <a:gd name="T62" fmla="*/ 25 w 57"/>
                <a:gd name="T63" fmla="*/ 108 h 110"/>
                <a:gd name="T64" fmla="*/ 28 w 57"/>
                <a:gd name="T65" fmla="*/ 104 h 110"/>
                <a:gd name="T66" fmla="*/ 31 w 57"/>
                <a:gd name="T67" fmla="*/ 98 h 110"/>
                <a:gd name="T68" fmla="*/ 32 w 57"/>
                <a:gd name="T69" fmla="*/ 95 h 110"/>
                <a:gd name="T70" fmla="*/ 35 w 57"/>
                <a:gd name="T71" fmla="*/ 94 h 110"/>
                <a:gd name="T72" fmla="*/ 39 w 57"/>
                <a:gd name="T73" fmla="*/ 91 h 110"/>
                <a:gd name="T74" fmla="*/ 42 w 57"/>
                <a:gd name="T75" fmla="*/ 88 h 110"/>
                <a:gd name="T76" fmla="*/ 40 w 57"/>
                <a:gd name="T77" fmla="*/ 89 h 110"/>
                <a:gd name="T78" fmla="*/ 38 w 57"/>
                <a:gd name="T79" fmla="*/ 89 h 110"/>
                <a:gd name="T80" fmla="*/ 40 w 57"/>
                <a:gd name="T81" fmla="*/ 86 h 110"/>
                <a:gd name="T82" fmla="*/ 40 w 57"/>
                <a:gd name="T83" fmla="*/ 83 h 110"/>
                <a:gd name="T84" fmla="*/ 43 w 57"/>
                <a:gd name="T85" fmla="*/ 81 h 110"/>
                <a:gd name="T86" fmla="*/ 46 w 57"/>
                <a:gd name="T87" fmla="*/ 79 h 110"/>
                <a:gd name="T88" fmla="*/ 48 w 57"/>
                <a:gd name="T89" fmla="*/ 71 h 110"/>
                <a:gd name="T90" fmla="*/ 49 w 57"/>
                <a:gd name="T91" fmla="*/ 64 h 110"/>
                <a:gd name="T92" fmla="*/ 52 w 57"/>
                <a:gd name="T93" fmla="*/ 60 h 110"/>
                <a:gd name="T94" fmla="*/ 53 w 57"/>
                <a:gd name="T95" fmla="*/ 55 h 110"/>
                <a:gd name="T96" fmla="*/ 54 w 57"/>
                <a:gd name="T97" fmla="*/ 50 h 110"/>
                <a:gd name="T98" fmla="*/ 54 w 57"/>
                <a:gd name="T99" fmla="*/ 4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7" h="110">
                  <a:moveTo>
                    <a:pt x="54" y="46"/>
                  </a:moveTo>
                  <a:cubicBezTo>
                    <a:pt x="54" y="45"/>
                    <a:pt x="53" y="45"/>
                    <a:pt x="53" y="44"/>
                  </a:cubicBezTo>
                  <a:cubicBezTo>
                    <a:pt x="52" y="44"/>
                    <a:pt x="52" y="44"/>
                    <a:pt x="52" y="44"/>
                  </a:cubicBezTo>
                  <a:cubicBezTo>
                    <a:pt x="51" y="43"/>
                    <a:pt x="51" y="43"/>
                    <a:pt x="51" y="43"/>
                  </a:cubicBezTo>
                  <a:cubicBezTo>
                    <a:pt x="51" y="43"/>
                    <a:pt x="50" y="43"/>
                    <a:pt x="50" y="43"/>
                  </a:cubicBezTo>
                  <a:cubicBezTo>
                    <a:pt x="49" y="43"/>
                    <a:pt x="49" y="43"/>
                    <a:pt x="48" y="43"/>
                  </a:cubicBezTo>
                  <a:cubicBezTo>
                    <a:pt x="48" y="43"/>
                    <a:pt x="48" y="43"/>
                    <a:pt x="47" y="42"/>
                  </a:cubicBezTo>
                  <a:cubicBezTo>
                    <a:pt x="47" y="42"/>
                    <a:pt x="47" y="42"/>
                    <a:pt x="46" y="42"/>
                  </a:cubicBezTo>
                  <a:cubicBezTo>
                    <a:pt x="46" y="42"/>
                    <a:pt x="45" y="42"/>
                    <a:pt x="45" y="42"/>
                  </a:cubicBezTo>
                  <a:cubicBezTo>
                    <a:pt x="45" y="41"/>
                    <a:pt x="45" y="41"/>
                    <a:pt x="45" y="41"/>
                  </a:cubicBezTo>
                  <a:cubicBezTo>
                    <a:pt x="45" y="41"/>
                    <a:pt x="46" y="41"/>
                    <a:pt x="46" y="41"/>
                  </a:cubicBezTo>
                  <a:cubicBezTo>
                    <a:pt x="45" y="41"/>
                    <a:pt x="45" y="41"/>
                    <a:pt x="45" y="41"/>
                  </a:cubicBezTo>
                  <a:cubicBezTo>
                    <a:pt x="45" y="41"/>
                    <a:pt x="45" y="41"/>
                    <a:pt x="44" y="41"/>
                  </a:cubicBezTo>
                  <a:cubicBezTo>
                    <a:pt x="44" y="40"/>
                    <a:pt x="44" y="39"/>
                    <a:pt x="44" y="39"/>
                  </a:cubicBezTo>
                  <a:cubicBezTo>
                    <a:pt x="44" y="38"/>
                    <a:pt x="45" y="36"/>
                    <a:pt x="45" y="36"/>
                  </a:cubicBezTo>
                  <a:cubicBezTo>
                    <a:pt x="45" y="36"/>
                    <a:pt x="45" y="36"/>
                    <a:pt x="46" y="35"/>
                  </a:cubicBezTo>
                  <a:cubicBezTo>
                    <a:pt x="46" y="34"/>
                    <a:pt x="46" y="34"/>
                    <a:pt x="47" y="34"/>
                  </a:cubicBezTo>
                  <a:cubicBezTo>
                    <a:pt x="47" y="34"/>
                    <a:pt x="47" y="33"/>
                    <a:pt x="47" y="33"/>
                  </a:cubicBezTo>
                  <a:cubicBezTo>
                    <a:pt x="47" y="33"/>
                    <a:pt x="47" y="32"/>
                    <a:pt x="47" y="32"/>
                  </a:cubicBezTo>
                  <a:cubicBezTo>
                    <a:pt x="48" y="32"/>
                    <a:pt x="48" y="32"/>
                    <a:pt x="50" y="32"/>
                  </a:cubicBezTo>
                  <a:cubicBezTo>
                    <a:pt x="50" y="32"/>
                    <a:pt x="50" y="32"/>
                    <a:pt x="50" y="32"/>
                  </a:cubicBezTo>
                  <a:cubicBezTo>
                    <a:pt x="50" y="32"/>
                    <a:pt x="50" y="32"/>
                    <a:pt x="50" y="32"/>
                  </a:cubicBezTo>
                  <a:cubicBezTo>
                    <a:pt x="50" y="32"/>
                    <a:pt x="51" y="32"/>
                    <a:pt x="52" y="32"/>
                  </a:cubicBezTo>
                  <a:cubicBezTo>
                    <a:pt x="52" y="32"/>
                    <a:pt x="52" y="32"/>
                    <a:pt x="52" y="32"/>
                  </a:cubicBezTo>
                  <a:cubicBezTo>
                    <a:pt x="52" y="32"/>
                    <a:pt x="52" y="31"/>
                    <a:pt x="52" y="31"/>
                  </a:cubicBezTo>
                  <a:cubicBezTo>
                    <a:pt x="52" y="31"/>
                    <a:pt x="53" y="30"/>
                    <a:pt x="53" y="30"/>
                  </a:cubicBezTo>
                  <a:cubicBezTo>
                    <a:pt x="53" y="29"/>
                    <a:pt x="53" y="29"/>
                    <a:pt x="53" y="29"/>
                  </a:cubicBezTo>
                  <a:cubicBezTo>
                    <a:pt x="53" y="29"/>
                    <a:pt x="53" y="29"/>
                    <a:pt x="53" y="29"/>
                  </a:cubicBezTo>
                  <a:cubicBezTo>
                    <a:pt x="57" y="18"/>
                    <a:pt x="57" y="18"/>
                    <a:pt x="57" y="18"/>
                  </a:cubicBezTo>
                  <a:cubicBezTo>
                    <a:pt x="57" y="18"/>
                    <a:pt x="31" y="2"/>
                    <a:pt x="31" y="2"/>
                  </a:cubicBezTo>
                  <a:cubicBezTo>
                    <a:pt x="31" y="2"/>
                    <a:pt x="30" y="1"/>
                    <a:pt x="30" y="0"/>
                  </a:cubicBezTo>
                  <a:cubicBezTo>
                    <a:pt x="26" y="2"/>
                    <a:pt x="26" y="2"/>
                    <a:pt x="26" y="2"/>
                  </a:cubicBezTo>
                  <a:cubicBezTo>
                    <a:pt x="25" y="4"/>
                    <a:pt x="25" y="4"/>
                    <a:pt x="25" y="4"/>
                  </a:cubicBezTo>
                  <a:cubicBezTo>
                    <a:pt x="23" y="9"/>
                    <a:pt x="23" y="9"/>
                    <a:pt x="23" y="9"/>
                  </a:cubicBezTo>
                  <a:cubicBezTo>
                    <a:pt x="20" y="11"/>
                    <a:pt x="20" y="11"/>
                    <a:pt x="20" y="11"/>
                  </a:cubicBezTo>
                  <a:cubicBezTo>
                    <a:pt x="20" y="13"/>
                    <a:pt x="20" y="13"/>
                    <a:pt x="20" y="13"/>
                  </a:cubicBezTo>
                  <a:cubicBezTo>
                    <a:pt x="15" y="17"/>
                    <a:pt x="15" y="17"/>
                    <a:pt x="15" y="17"/>
                  </a:cubicBezTo>
                  <a:cubicBezTo>
                    <a:pt x="15" y="20"/>
                    <a:pt x="15" y="20"/>
                    <a:pt x="15" y="20"/>
                  </a:cubicBezTo>
                  <a:cubicBezTo>
                    <a:pt x="17" y="23"/>
                    <a:pt x="17" y="23"/>
                    <a:pt x="17" y="23"/>
                  </a:cubicBezTo>
                  <a:cubicBezTo>
                    <a:pt x="16" y="24"/>
                    <a:pt x="16" y="24"/>
                    <a:pt x="16" y="24"/>
                  </a:cubicBezTo>
                  <a:cubicBezTo>
                    <a:pt x="15" y="26"/>
                    <a:pt x="15" y="26"/>
                    <a:pt x="15" y="26"/>
                  </a:cubicBezTo>
                  <a:cubicBezTo>
                    <a:pt x="12" y="28"/>
                    <a:pt x="12" y="28"/>
                    <a:pt x="12" y="28"/>
                  </a:cubicBezTo>
                  <a:cubicBezTo>
                    <a:pt x="12" y="36"/>
                    <a:pt x="12" y="36"/>
                    <a:pt x="12" y="36"/>
                  </a:cubicBezTo>
                  <a:cubicBezTo>
                    <a:pt x="15" y="36"/>
                    <a:pt x="15" y="36"/>
                    <a:pt x="15" y="36"/>
                  </a:cubicBezTo>
                  <a:cubicBezTo>
                    <a:pt x="17" y="38"/>
                    <a:pt x="17" y="38"/>
                    <a:pt x="17" y="38"/>
                  </a:cubicBezTo>
                  <a:cubicBezTo>
                    <a:pt x="16" y="43"/>
                    <a:pt x="16" y="43"/>
                    <a:pt x="16" y="43"/>
                  </a:cubicBezTo>
                  <a:cubicBezTo>
                    <a:pt x="20" y="44"/>
                    <a:pt x="20" y="44"/>
                    <a:pt x="20" y="44"/>
                  </a:cubicBezTo>
                  <a:cubicBezTo>
                    <a:pt x="21" y="47"/>
                    <a:pt x="21" y="47"/>
                    <a:pt x="21" y="47"/>
                  </a:cubicBezTo>
                  <a:cubicBezTo>
                    <a:pt x="27" y="53"/>
                    <a:pt x="27" y="53"/>
                    <a:pt x="27" y="53"/>
                  </a:cubicBezTo>
                  <a:cubicBezTo>
                    <a:pt x="28" y="54"/>
                    <a:pt x="28" y="54"/>
                    <a:pt x="28" y="54"/>
                  </a:cubicBezTo>
                  <a:cubicBezTo>
                    <a:pt x="27" y="57"/>
                    <a:pt x="27" y="57"/>
                    <a:pt x="27" y="57"/>
                  </a:cubicBezTo>
                  <a:cubicBezTo>
                    <a:pt x="24" y="58"/>
                    <a:pt x="24" y="58"/>
                    <a:pt x="24" y="58"/>
                  </a:cubicBezTo>
                  <a:cubicBezTo>
                    <a:pt x="14" y="64"/>
                    <a:pt x="14" y="64"/>
                    <a:pt x="14" y="64"/>
                  </a:cubicBezTo>
                  <a:cubicBezTo>
                    <a:pt x="14" y="68"/>
                    <a:pt x="14" y="68"/>
                    <a:pt x="14" y="68"/>
                  </a:cubicBezTo>
                  <a:cubicBezTo>
                    <a:pt x="14" y="68"/>
                    <a:pt x="14" y="68"/>
                    <a:pt x="13" y="68"/>
                  </a:cubicBezTo>
                  <a:cubicBezTo>
                    <a:pt x="13" y="69"/>
                    <a:pt x="12" y="69"/>
                    <a:pt x="12" y="69"/>
                  </a:cubicBezTo>
                  <a:cubicBezTo>
                    <a:pt x="10" y="70"/>
                    <a:pt x="9" y="70"/>
                    <a:pt x="8" y="70"/>
                  </a:cubicBezTo>
                  <a:cubicBezTo>
                    <a:pt x="7" y="71"/>
                    <a:pt x="6" y="71"/>
                    <a:pt x="5" y="72"/>
                  </a:cubicBezTo>
                  <a:cubicBezTo>
                    <a:pt x="4" y="72"/>
                    <a:pt x="4" y="73"/>
                    <a:pt x="4" y="74"/>
                  </a:cubicBezTo>
                  <a:cubicBezTo>
                    <a:pt x="3" y="74"/>
                    <a:pt x="3" y="75"/>
                    <a:pt x="3" y="75"/>
                  </a:cubicBezTo>
                  <a:cubicBezTo>
                    <a:pt x="2" y="76"/>
                    <a:pt x="2" y="77"/>
                    <a:pt x="1" y="78"/>
                  </a:cubicBezTo>
                  <a:cubicBezTo>
                    <a:pt x="1" y="78"/>
                    <a:pt x="0" y="78"/>
                    <a:pt x="1" y="79"/>
                  </a:cubicBezTo>
                  <a:cubicBezTo>
                    <a:pt x="1" y="79"/>
                    <a:pt x="1" y="80"/>
                    <a:pt x="1" y="80"/>
                  </a:cubicBezTo>
                  <a:cubicBezTo>
                    <a:pt x="2" y="81"/>
                    <a:pt x="2" y="81"/>
                    <a:pt x="3" y="81"/>
                  </a:cubicBezTo>
                  <a:cubicBezTo>
                    <a:pt x="3" y="82"/>
                    <a:pt x="2" y="83"/>
                    <a:pt x="2" y="84"/>
                  </a:cubicBezTo>
                  <a:cubicBezTo>
                    <a:pt x="2" y="84"/>
                    <a:pt x="1" y="84"/>
                    <a:pt x="1" y="85"/>
                  </a:cubicBezTo>
                  <a:cubicBezTo>
                    <a:pt x="1" y="85"/>
                    <a:pt x="1" y="86"/>
                    <a:pt x="1" y="86"/>
                  </a:cubicBezTo>
                  <a:cubicBezTo>
                    <a:pt x="1" y="87"/>
                    <a:pt x="3" y="87"/>
                    <a:pt x="4" y="87"/>
                  </a:cubicBezTo>
                  <a:cubicBezTo>
                    <a:pt x="5" y="87"/>
                    <a:pt x="6" y="87"/>
                    <a:pt x="6" y="88"/>
                  </a:cubicBezTo>
                  <a:cubicBezTo>
                    <a:pt x="6" y="88"/>
                    <a:pt x="6" y="90"/>
                    <a:pt x="6" y="90"/>
                  </a:cubicBezTo>
                  <a:cubicBezTo>
                    <a:pt x="6" y="91"/>
                    <a:pt x="5" y="91"/>
                    <a:pt x="6" y="92"/>
                  </a:cubicBezTo>
                  <a:cubicBezTo>
                    <a:pt x="6" y="92"/>
                    <a:pt x="7" y="92"/>
                    <a:pt x="7" y="92"/>
                  </a:cubicBezTo>
                  <a:cubicBezTo>
                    <a:pt x="8" y="93"/>
                    <a:pt x="8" y="93"/>
                    <a:pt x="9" y="93"/>
                  </a:cubicBezTo>
                  <a:cubicBezTo>
                    <a:pt x="10" y="94"/>
                    <a:pt x="10" y="94"/>
                    <a:pt x="11" y="95"/>
                  </a:cubicBezTo>
                  <a:cubicBezTo>
                    <a:pt x="11" y="96"/>
                    <a:pt x="12" y="96"/>
                    <a:pt x="12" y="97"/>
                  </a:cubicBezTo>
                  <a:cubicBezTo>
                    <a:pt x="13" y="97"/>
                    <a:pt x="13" y="97"/>
                    <a:pt x="13" y="98"/>
                  </a:cubicBezTo>
                  <a:cubicBezTo>
                    <a:pt x="14" y="98"/>
                    <a:pt x="14" y="98"/>
                    <a:pt x="14" y="98"/>
                  </a:cubicBezTo>
                  <a:cubicBezTo>
                    <a:pt x="14" y="99"/>
                    <a:pt x="14" y="99"/>
                    <a:pt x="14" y="99"/>
                  </a:cubicBezTo>
                  <a:cubicBezTo>
                    <a:pt x="15" y="99"/>
                    <a:pt x="15" y="99"/>
                    <a:pt x="15" y="99"/>
                  </a:cubicBezTo>
                  <a:cubicBezTo>
                    <a:pt x="16" y="99"/>
                    <a:pt x="16" y="99"/>
                    <a:pt x="16" y="98"/>
                  </a:cubicBezTo>
                  <a:cubicBezTo>
                    <a:pt x="17" y="98"/>
                    <a:pt x="17" y="98"/>
                    <a:pt x="17" y="98"/>
                  </a:cubicBezTo>
                  <a:cubicBezTo>
                    <a:pt x="17" y="97"/>
                    <a:pt x="18" y="98"/>
                    <a:pt x="18" y="98"/>
                  </a:cubicBezTo>
                  <a:cubicBezTo>
                    <a:pt x="19" y="98"/>
                    <a:pt x="19" y="98"/>
                    <a:pt x="19" y="99"/>
                  </a:cubicBezTo>
                  <a:cubicBezTo>
                    <a:pt x="20" y="99"/>
                    <a:pt x="20" y="99"/>
                    <a:pt x="20" y="99"/>
                  </a:cubicBezTo>
                  <a:cubicBezTo>
                    <a:pt x="20" y="99"/>
                    <a:pt x="21" y="99"/>
                    <a:pt x="21" y="99"/>
                  </a:cubicBezTo>
                  <a:cubicBezTo>
                    <a:pt x="21" y="99"/>
                    <a:pt x="22" y="99"/>
                    <a:pt x="22" y="99"/>
                  </a:cubicBezTo>
                  <a:cubicBezTo>
                    <a:pt x="22" y="100"/>
                    <a:pt x="23" y="100"/>
                    <a:pt x="23" y="101"/>
                  </a:cubicBezTo>
                  <a:cubicBezTo>
                    <a:pt x="23" y="101"/>
                    <a:pt x="23" y="102"/>
                    <a:pt x="23" y="102"/>
                  </a:cubicBezTo>
                  <a:cubicBezTo>
                    <a:pt x="23" y="103"/>
                    <a:pt x="23" y="103"/>
                    <a:pt x="23" y="104"/>
                  </a:cubicBezTo>
                  <a:cubicBezTo>
                    <a:pt x="23" y="104"/>
                    <a:pt x="22" y="104"/>
                    <a:pt x="22" y="105"/>
                  </a:cubicBezTo>
                  <a:cubicBezTo>
                    <a:pt x="22" y="106"/>
                    <a:pt x="22" y="107"/>
                    <a:pt x="21" y="107"/>
                  </a:cubicBezTo>
                  <a:cubicBezTo>
                    <a:pt x="21" y="108"/>
                    <a:pt x="21" y="108"/>
                    <a:pt x="21" y="109"/>
                  </a:cubicBezTo>
                  <a:cubicBezTo>
                    <a:pt x="21" y="109"/>
                    <a:pt x="21" y="110"/>
                    <a:pt x="21" y="110"/>
                  </a:cubicBezTo>
                  <a:cubicBezTo>
                    <a:pt x="22" y="110"/>
                    <a:pt x="22" y="110"/>
                    <a:pt x="22" y="110"/>
                  </a:cubicBezTo>
                  <a:cubicBezTo>
                    <a:pt x="23" y="110"/>
                    <a:pt x="23" y="110"/>
                    <a:pt x="24" y="109"/>
                  </a:cubicBezTo>
                  <a:cubicBezTo>
                    <a:pt x="24" y="109"/>
                    <a:pt x="24" y="109"/>
                    <a:pt x="25" y="108"/>
                  </a:cubicBezTo>
                  <a:cubicBezTo>
                    <a:pt x="25" y="108"/>
                    <a:pt x="26" y="108"/>
                    <a:pt x="26" y="108"/>
                  </a:cubicBezTo>
                  <a:cubicBezTo>
                    <a:pt x="27" y="107"/>
                    <a:pt x="27" y="106"/>
                    <a:pt x="27" y="106"/>
                  </a:cubicBezTo>
                  <a:cubicBezTo>
                    <a:pt x="28" y="105"/>
                    <a:pt x="28" y="104"/>
                    <a:pt x="28" y="104"/>
                  </a:cubicBezTo>
                  <a:cubicBezTo>
                    <a:pt x="29" y="103"/>
                    <a:pt x="29" y="102"/>
                    <a:pt x="29" y="102"/>
                  </a:cubicBezTo>
                  <a:cubicBezTo>
                    <a:pt x="29" y="102"/>
                    <a:pt x="30" y="101"/>
                    <a:pt x="30" y="101"/>
                  </a:cubicBezTo>
                  <a:cubicBezTo>
                    <a:pt x="30" y="100"/>
                    <a:pt x="30" y="99"/>
                    <a:pt x="31" y="98"/>
                  </a:cubicBezTo>
                  <a:cubicBezTo>
                    <a:pt x="31" y="97"/>
                    <a:pt x="32" y="97"/>
                    <a:pt x="32" y="97"/>
                  </a:cubicBezTo>
                  <a:cubicBezTo>
                    <a:pt x="32" y="96"/>
                    <a:pt x="34" y="96"/>
                    <a:pt x="34" y="95"/>
                  </a:cubicBezTo>
                  <a:cubicBezTo>
                    <a:pt x="33" y="94"/>
                    <a:pt x="33" y="95"/>
                    <a:pt x="32" y="95"/>
                  </a:cubicBezTo>
                  <a:cubicBezTo>
                    <a:pt x="32" y="95"/>
                    <a:pt x="31" y="95"/>
                    <a:pt x="32" y="94"/>
                  </a:cubicBezTo>
                  <a:cubicBezTo>
                    <a:pt x="32" y="94"/>
                    <a:pt x="33" y="94"/>
                    <a:pt x="33" y="94"/>
                  </a:cubicBezTo>
                  <a:cubicBezTo>
                    <a:pt x="34" y="94"/>
                    <a:pt x="34" y="94"/>
                    <a:pt x="35" y="94"/>
                  </a:cubicBezTo>
                  <a:cubicBezTo>
                    <a:pt x="36" y="94"/>
                    <a:pt x="36" y="93"/>
                    <a:pt x="37" y="93"/>
                  </a:cubicBezTo>
                  <a:cubicBezTo>
                    <a:pt x="37" y="92"/>
                    <a:pt x="37" y="92"/>
                    <a:pt x="38" y="92"/>
                  </a:cubicBezTo>
                  <a:cubicBezTo>
                    <a:pt x="38" y="92"/>
                    <a:pt x="38" y="91"/>
                    <a:pt x="39" y="91"/>
                  </a:cubicBezTo>
                  <a:cubicBezTo>
                    <a:pt x="39" y="91"/>
                    <a:pt x="39" y="91"/>
                    <a:pt x="39" y="91"/>
                  </a:cubicBezTo>
                  <a:cubicBezTo>
                    <a:pt x="40" y="90"/>
                    <a:pt x="40" y="90"/>
                    <a:pt x="41" y="89"/>
                  </a:cubicBezTo>
                  <a:cubicBezTo>
                    <a:pt x="41" y="89"/>
                    <a:pt x="41" y="89"/>
                    <a:pt x="42" y="88"/>
                  </a:cubicBezTo>
                  <a:cubicBezTo>
                    <a:pt x="42" y="88"/>
                    <a:pt x="42" y="87"/>
                    <a:pt x="41" y="88"/>
                  </a:cubicBezTo>
                  <a:cubicBezTo>
                    <a:pt x="41" y="88"/>
                    <a:pt x="41" y="88"/>
                    <a:pt x="41" y="88"/>
                  </a:cubicBezTo>
                  <a:cubicBezTo>
                    <a:pt x="41" y="88"/>
                    <a:pt x="40" y="88"/>
                    <a:pt x="40" y="89"/>
                  </a:cubicBezTo>
                  <a:cubicBezTo>
                    <a:pt x="40" y="89"/>
                    <a:pt x="40" y="89"/>
                    <a:pt x="39" y="89"/>
                  </a:cubicBezTo>
                  <a:cubicBezTo>
                    <a:pt x="39" y="89"/>
                    <a:pt x="39" y="89"/>
                    <a:pt x="39" y="89"/>
                  </a:cubicBezTo>
                  <a:cubicBezTo>
                    <a:pt x="39" y="89"/>
                    <a:pt x="38" y="89"/>
                    <a:pt x="38" y="89"/>
                  </a:cubicBezTo>
                  <a:cubicBezTo>
                    <a:pt x="38" y="89"/>
                    <a:pt x="38" y="88"/>
                    <a:pt x="38" y="88"/>
                  </a:cubicBezTo>
                  <a:cubicBezTo>
                    <a:pt x="38" y="88"/>
                    <a:pt x="39" y="87"/>
                    <a:pt x="39" y="87"/>
                  </a:cubicBezTo>
                  <a:cubicBezTo>
                    <a:pt x="39" y="87"/>
                    <a:pt x="40" y="87"/>
                    <a:pt x="40" y="86"/>
                  </a:cubicBezTo>
                  <a:cubicBezTo>
                    <a:pt x="40" y="86"/>
                    <a:pt x="40" y="86"/>
                    <a:pt x="40" y="85"/>
                  </a:cubicBezTo>
                  <a:cubicBezTo>
                    <a:pt x="40" y="85"/>
                    <a:pt x="40" y="85"/>
                    <a:pt x="40" y="85"/>
                  </a:cubicBezTo>
                  <a:cubicBezTo>
                    <a:pt x="40" y="84"/>
                    <a:pt x="39" y="84"/>
                    <a:pt x="40" y="83"/>
                  </a:cubicBezTo>
                  <a:cubicBezTo>
                    <a:pt x="40" y="83"/>
                    <a:pt x="41" y="82"/>
                    <a:pt x="41" y="82"/>
                  </a:cubicBezTo>
                  <a:cubicBezTo>
                    <a:pt x="42" y="82"/>
                    <a:pt x="42" y="81"/>
                    <a:pt x="42" y="81"/>
                  </a:cubicBezTo>
                  <a:cubicBezTo>
                    <a:pt x="43" y="81"/>
                    <a:pt x="43" y="81"/>
                    <a:pt x="43" y="81"/>
                  </a:cubicBezTo>
                  <a:cubicBezTo>
                    <a:pt x="44" y="80"/>
                    <a:pt x="44" y="80"/>
                    <a:pt x="45" y="80"/>
                  </a:cubicBezTo>
                  <a:cubicBezTo>
                    <a:pt x="45" y="79"/>
                    <a:pt x="45" y="79"/>
                    <a:pt x="46" y="79"/>
                  </a:cubicBezTo>
                  <a:cubicBezTo>
                    <a:pt x="46" y="79"/>
                    <a:pt x="46" y="79"/>
                    <a:pt x="46" y="79"/>
                  </a:cubicBezTo>
                  <a:cubicBezTo>
                    <a:pt x="47" y="78"/>
                    <a:pt x="47" y="77"/>
                    <a:pt x="48" y="76"/>
                  </a:cubicBezTo>
                  <a:cubicBezTo>
                    <a:pt x="48" y="75"/>
                    <a:pt x="48" y="74"/>
                    <a:pt x="48" y="73"/>
                  </a:cubicBezTo>
                  <a:cubicBezTo>
                    <a:pt x="48" y="73"/>
                    <a:pt x="48" y="72"/>
                    <a:pt x="48" y="71"/>
                  </a:cubicBezTo>
                  <a:cubicBezTo>
                    <a:pt x="48" y="70"/>
                    <a:pt x="48" y="70"/>
                    <a:pt x="49" y="69"/>
                  </a:cubicBezTo>
                  <a:cubicBezTo>
                    <a:pt x="49" y="69"/>
                    <a:pt x="49" y="68"/>
                    <a:pt x="49" y="67"/>
                  </a:cubicBezTo>
                  <a:cubicBezTo>
                    <a:pt x="49" y="66"/>
                    <a:pt x="49" y="65"/>
                    <a:pt x="49" y="64"/>
                  </a:cubicBezTo>
                  <a:cubicBezTo>
                    <a:pt x="50" y="64"/>
                    <a:pt x="50" y="63"/>
                    <a:pt x="50" y="63"/>
                  </a:cubicBezTo>
                  <a:cubicBezTo>
                    <a:pt x="50" y="62"/>
                    <a:pt x="50" y="62"/>
                    <a:pt x="50" y="62"/>
                  </a:cubicBezTo>
                  <a:cubicBezTo>
                    <a:pt x="51" y="61"/>
                    <a:pt x="51" y="60"/>
                    <a:pt x="52" y="60"/>
                  </a:cubicBezTo>
                  <a:cubicBezTo>
                    <a:pt x="52" y="59"/>
                    <a:pt x="52" y="59"/>
                    <a:pt x="53" y="58"/>
                  </a:cubicBezTo>
                  <a:cubicBezTo>
                    <a:pt x="53" y="58"/>
                    <a:pt x="53" y="57"/>
                    <a:pt x="53" y="56"/>
                  </a:cubicBezTo>
                  <a:cubicBezTo>
                    <a:pt x="53" y="56"/>
                    <a:pt x="53" y="55"/>
                    <a:pt x="53" y="55"/>
                  </a:cubicBezTo>
                  <a:cubicBezTo>
                    <a:pt x="53" y="54"/>
                    <a:pt x="54" y="54"/>
                    <a:pt x="54" y="53"/>
                  </a:cubicBezTo>
                  <a:cubicBezTo>
                    <a:pt x="54" y="53"/>
                    <a:pt x="54" y="52"/>
                    <a:pt x="54" y="51"/>
                  </a:cubicBezTo>
                  <a:cubicBezTo>
                    <a:pt x="54" y="51"/>
                    <a:pt x="54" y="51"/>
                    <a:pt x="54" y="50"/>
                  </a:cubicBezTo>
                  <a:cubicBezTo>
                    <a:pt x="54" y="50"/>
                    <a:pt x="55" y="50"/>
                    <a:pt x="55" y="49"/>
                  </a:cubicBezTo>
                  <a:cubicBezTo>
                    <a:pt x="55" y="49"/>
                    <a:pt x="55" y="48"/>
                    <a:pt x="55" y="47"/>
                  </a:cubicBezTo>
                  <a:cubicBezTo>
                    <a:pt x="55" y="47"/>
                    <a:pt x="55" y="46"/>
                    <a:pt x="54" y="46"/>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6" name="Freeform 29">
              <a:extLst>
                <a:ext uri="{FF2B5EF4-FFF2-40B4-BE49-F238E27FC236}">
                  <a16:creationId xmlns:a16="http://schemas.microsoft.com/office/drawing/2014/main" id="{C37A7A9E-D9E5-10C1-EE40-B5685D661559}"/>
                </a:ext>
              </a:extLst>
            </p:cNvPr>
            <p:cNvSpPr>
              <a:spLocks/>
            </p:cNvSpPr>
            <p:nvPr/>
          </p:nvSpPr>
          <p:spPr bwMode="auto">
            <a:xfrm>
              <a:off x="9653982" y="1703349"/>
              <a:ext cx="252788" cy="498966"/>
            </a:xfrm>
            <a:custGeom>
              <a:avLst/>
              <a:gdLst>
                <a:gd name="T0" fmla="*/ 37 w 64"/>
                <a:gd name="T1" fmla="*/ 20 h 126"/>
                <a:gd name="T2" fmla="*/ 34 w 64"/>
                <a:gd name="T3" fmla="*/ 24 h 126"/>
                <a:gd name="T4" fmla="*/ 32 w 64"/>
                <a:gd name="T5" fmla="*/ 28 h 126"/>
                <a:gd name="T6" fmla="*/ 36 w 64"/>
                <a:gd name="T7" fmla="*/ 35 h 126"/>
                <a:gd name="T8" fmla="*/ 34 w 64"/>
                <a:gd name="T9" fmla="*/ 37 h 126"/>
                <a:gd name="T10" fmla="*/ 33 w 64"/>
                <a:gd name="T11" fmla="*/ 40 h 126"/>
                <a:gd name="T12" fmla="*/ 30 w 64"/>
                <a:gd name="T13" fmla="*/ 43 h 126"/>
                <a:gd name="T14" fmla="*/ 26 w 64"/>
                <a:gd name="T15" fmla="*/ 46 h 126"/>
                <a:gd name="T16" fmla="*/ 21 w 64"/>
                <a:gd name="T17" fmla="*/ 47 h 126"/>
                <a:gd name="T18" fmla="*/ 18 w 64"/>
                <a:gd name="T19" fmla="*/ 50 h 126"/>
                <a:gd name="T20" fmla="*/ 18 w 64"/>
                <a:gd name="T21" fmla="*/ 60 h 126"/>
                <a:gd name="T22" fmla="*/ 16 w 64"/>
                <a:gd name="T23" fmla="*/ 66 h 126"/>
                <a:gd name="T24" fmla="*/ 12 w 64"/>
                <a:gd name="T25" fmla="*/ 71 h 126"/>
                <a:gd name="T26" fmla="*/ 9 w 64"/>
                <a:gd name="T27" fmla="*/ 77 h 126"/>
                <a:gd name="T28" fmla="*/ 7 w 64"/>
                <a:gd name="T29" fmla="*/ 82 h 126"/>
                <a:gd name="T30" fmla="*/ 6 w 64"/>
                <a:gd name="T31" fmla="*/ 91 h 126"/>
                <a:gd name="T32" fmla="*/ 6 w 64"/>
                <a:gd name="T33" fmla="*/ 97 h 126"/>
                <a:gd name="T34" fmla="*/ 3 w 64"/>
                <a:gd name="T35" fmla="*/ 104 h 126"/>
                <a:gd name="T36" fmla="*/ 3 w 64"/>
                <a:gd name="T37" fmla="*/ 111 h 126"/>
                <a:gd name="T38" fmla="*/ 1 w 64"/>
                <a:gd name="T39" fmla="*/ 115 h 126"/>
                <a:gd name="T40" fmla="*/ 1 w 64"/>
                <a:gd name="T41" fmla="*/ 120 h 126"/>
                <a:gd name="T42" fmla="*/ 3 w 64"/>
                <a:gd name="T43" fmla="*/ 124 h 126"/>
                <a:gd name="T44" fmla="*/ 45 w 64"/>
                <a:gd name="T45" fmla="*/ 123 h 126"/>
                <a:gd name="T46" fmla="*/ 47 w 64"/>
                <a:gd name="T47" fmla="*/ 122 h 126"/>
                <a:gd name="T48" fmla="*/ 52 w 64"/>
                <a:gd name="T49" fmla="*/ 119 h 126"/>
                <a:gd name="T50" fmla="*/ 57 w 64"/>
                <a:gd name="T51" fmla="*/ 117 h 126"/>
                <a:gd name="T52" fmla="*/ 61 w 64"/>
                <a:gd name="T53" fmla="*/ 116 h 126"/>
                <a:gd name="T54" fmla="*/ 63 w 64"/>
                <a:gd name="T55" fmla="*/ 111 h 126"/>
                <a:gd name="T56" fmla="*/ 63 w 64"/>
                <a:gd name="T57" fmla="*/ 109 h 126"/>
                <a:gd name="T58" fmla="*/ 59 w 64"/>
                <a:gd name="T59" fmla="*/ 106 h 126"/>
                <a:gd name="T60" fmla="*/ 60 w 64"/>
                <a:gd name="T61" fmla="*/ 103 h 126"/>
                <a:gd name="T62" fmla="*/ 55 w 64"/>
                <a:gd name="T63" fmla="*/ 94 h 126"/>
                <a:gd name="T64" fmla="*/ 55 w 64"/>
                <a:gd name="T65" fmla="*/ 78 h 126"/>
                <a:gd name="T66" fmla="*/ 51 w 64"/>
                <a:gd name="T67" fmla="*/ 0 h 126"/>
                <a:gd name="T68" fmla="*/ 49 w 64"/>
                <a:gd name="T69" fmla="*/ 3 h 126"/>
                <a:gd name="T70" fmla="*/ 44 w 64"/>
                <a:gd name="T71" fmla="*/ 0 h 126"/>
                <a:gd name="T72" fmla="*/ 39 w 64"/>
                <a:gd name="T73" fmla="*/ 4 h 126"/>
                <a:gd name="T74" fmla="*/ 39 w 64"/>
                <a:gd name="T75" fmla="*/ 9 h 126"/>
                <a:gd name="T76" fmla="*/ 37 w 64"/>
                <a:gd name="T77" fmla="*/ 14 h 126"/>
                <a:gd name="T78" fmla="*/ 37 w 64"/>
                <a:gd name="T79" fmla="*/ 1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4" h="126">
                  <a:moveTo>
                    <a:pt x="37" y="19"/>
                  </a:moveTo>
                  <a:cubicBezTo>
                    <a:pt x="37" y="19"/>
                    <a:pt x="37" y="20"/>
                    <a:pt x="37" y="20"/>
                  </a:cubicBezTo>
                  <a:cubicBezTo>
                    <a:pt x="37" y="20"/>
                    <a:pt x="36" y="21"/>
                    <a:pt x="36" y="21"/>
                  </a:cubicBezTo>
                  <a:cubicBezTo>
                    <a:pt x="35" y="21"/>
                    <a:pt x="35" y="24"/>
                    <a:pt x="34" y="24"/>
                  </a:cubicBezTo>
                  <a:cubicBezTo>
                    <a:pt x="34" y="25"/>
                    <a:pt x="34" y="26"/>
                    <a:pt x="33" y="26"/>
                  </a:cubicBezTo>
                  <a:cubicBezTo>
                    <a:pt x="33" y="26"/>
                    <a:pt x="32" y="27"/>
                    <a:pt x="32" y="28"/>
                  </a:cubicBezTo>
                  <a:cubicBezTo>
                    <a:pt x="32" y="28"/>
                    <a:pt x="33" y="30"/>
                    <a:pt x="34" y="30"/>
                  </a:cubicBezTo>
                  <a:cubicBezTo>
                    <a:pt x="34" y="31"/>
                    <a:pt x="36" y="35"/>
                    <a:pt x="36" y="35"/>
                  </a:cubicBezTo>
                  <a:cubicBezTo>
                    <a:pt x="36" y="35"/>
                    <a:pt x="34" y="36"/>
                    <a:pt x="34" y="36"/>
                  </a:cubicBezTo>
                  <a:cubicBezTo>
                    <a:pt x="34" y="36"/>
                    <a:pt x="34" y="37"/>
                    <a:pt x="34" y="37"/>
                  </a:cubicBezTo>
                  <a:cubicBezTo>
                    <a:pt x="34" y="38"/>
                    <a:pt x="34" y="39"/>
                    <a:pt x="34" y="39"/>
                  </a:cubicBezTo>
                  <a:cubicBezTo>
                    <a:pt x="34" y="39"/>
                    <a:pt x="34" y="40"/>
                    <a:pt x="33" y="40"/>
                  </a:cubicBezTo>
                  <a:cubicBezTo>
                    <a:pt x="33" y="40"/>
                    <a:pt x="32" y="41"/>
                    <a:pt x="32" y="41"/>
                  </a:cubicBezTo>
                  <a:cubicBezTo>
                    <a:pt x="31" y="42"/>
                    <a:pt x="31" y="43"/>
                    <a:pt x="30" y="43"/>
                  </a:cubicBezTo>
                  <a:cubicBezTo>
                    <a:pt x="30" y="43"/>
                    <a:pt x="27" y="44"/>
                    <a:pt x="27" y="44"/>
                  </a:cubicBezTo>
                  <a:cubicBezTo>
                    <a:pt x="26" y="46"/>
                    <a:pt x="26" y="46"/>
                    <a:pt x="26" y="46"/>
                  </a:cubicBezTo>
                  <a:cubicBezTo>
                    <a:pt x="26" y="46"/>
                    <a:pt x="24" y="47"/>
                    <a:pt x="23" y="47"/>
                  </a:cubicBezTo>
                  <a:cubicBezTo>
                    <a:pt x="23" y="47"/>
                    <a:pt x="21" y="47"/>
                    <a:pt x="21" y="47"/>
                  </a:cubicBezTo>
                  <a:cubicBezTo>
                    <a:pt x="21" y="47"/>
                    <a:pt x="19" y="48"/>
                    <a:pt x="18" y="48"/>
                  </a:cubicBezTo>
                  <a:cubicBezTo>
                    <a:pt x="18" y="48"/>
                    <a:pt x="18" y="50"/>
                    <a:pt x="18" y="50"/>
                  </a:cubicBezTo>
                  <a:cubicBezTo>
                    <a:pt x="18" y="51"/>
                    <a:pt x="18" y="54"/>
                    <a:pt x="18" y="54"/>
                  </a:cubicBezTo>
                  <a:cubicBezTo>
                    <a:pt x="18" y="54"/>
                    <a:pt x="18" y="59"/>
                    <a:pt x="18" y="60"/>
                  </a:cubicBezTo>
                  <a:cubicBezTo>
                    <a:pt x="18" y="60"/>
                    <a:pt x="16" y="63"/>
                    <a:pt x="16" y="63"/>
                  </a:cubicBezTo>
                  <a:cubicBezTo>
                    <a:pt x="16" y="63"/>
                    <a:pt x="16" y="66"/>
                    <a:pt x="16" y="66"/>
                  </a:cubicBezTo>
                  <a:cubicBezTo>
                    <a:pt x="16" y="66"/>
                    <a:pt x="15" y="67"/>
                    <a:pt x="15" y="68"/>
                  </a:cubicBezTo>
                  <a:cubicBezTo>
                    <a:pt x="14" y="68"/>
                    <a:pt x="13" y="71"/>
                    <a:pt x="12" y="71"/>
                  </a:cubicBezTo>
                  <a:cubicBezTo>
                    <a:pt x="12" y="72"/>
                    <a:pt x="12" y="74"/>
                    <a:pt x="12" y="74"/>
                  </a:cubicBezTo>
                  <a:cubicBezTo>
                    <a:pt x="11" y="75"/>
                    <a:pt x="9" y="77"/>
                    <a:pt x="9" y="77"/>
                  </a:cubicBezTo>
                  <a:cubicBezTo>
                    <a:pt x="9" y="77"/>
                    <a:pt x="9" y="78"/>
                    <a:pt x="9" y="78"/>
                  </a:cubicBezTo>
                  <a:cubicBezTo>
                    <a:pt x="9" y="79"/>
                    <a:pt x="8" y="81"/>
                    <a:pt x="7" y="82"/>
                  </a:cubicBezTo>
                  <a:cubicBezTo>
                    <a:pt x="7" y="82"/>
                    <a:pt x="5" y="86"/>
                    <a:pt x="5" y="87"/>
                  </a:cubicBezTo>
                  <a:cubicBezTo>
                    <a:pt x="5" y="87"/>
                    <a:pt x="6" y="91"/>
                    <a:pt x="6" y="91"/>
                  </a:cubicBezTo>
                  <a:cubicBezTo>
                    <a:pt x="6" y="92"/>
                    <a:pt x="5" y="94"/>
                    <a:pt x="5" y="95"/>
                  </a:cubicBezTo>
                  <a:cubicBezTo>
                    <a:pt x="5" y="96"/>
                    <a:pt x="6" y="97"/>
                    <a:pt x="6" y="97"/>
                  </a:cubicBezTo>
                  <a:cubicBezTo>
                    <a:pt x="6" y="97"/>
                    <a:pt x="4" y="102"/>
                    <a:pt x="4" y="102"/>
                  </a:cubicBezTo>
                  <a:cubicBezTo>
                    <a:pt x="4" y="103"/>
                    <a:pt x="3" y="103"/>
                    <a:pt x="3" y="104"/>
                  </a:cubicBezTo>
                  <a:cubicBezTo>
                    <a:pt x="3" y="104"/>
                    <a:pt x="4" y="105"/>
                    <a:pt x="4" y="106"/>
                  </a:cubicBezTo>
                  <a:cubicBezTo>
                    <a:pt x="4" y="106"/>
                    <a:pt x="3" y="110"/>
                    <a:pt x="3" y="111"/>
                  </a:cubicBezTo>
                  <a:cubicBezTo>
                    <a:pt x="3" y="111"/>
                    <a:pt x="1" y="113"/>
                    <a:pt x="1" y="113"/>
                  </a:cubicBezTo>
                  <a:cubicBezTo>
                    <a:pt x="1" y="113"/>
                    <a:pt x="1" y="115"/>
                    <a:pt x="1" y="115"/>
                  </a:cubicBezTo>
                  <a:cubicBezTo>
                    <a:pt x="1" y="115"/>
                    <a:pt x="0" y="117"/>
                    <a:pt x="0" y="117"/>
                  </a:cubicBezTo>
                  <a:cubicBezTo>
                    <a:pt x="0" y="118"/>
                    <a:pt x="1" y="120"/>
                    <a:pt x="1" y="120"/>
                  </a:cubicBezTo>
                  <a:cubicBezTo>
                    <a:pt x="1" y="120"/>
                    <a:pt x="1" y="121"/>
                    <a:pt x="1" y="121"/>
                  </a:cubicBezTo>
                  <a:cubicBezTo>
                    <a:pt x="3" y="124"/>
                    <a:pt x="3" y="124"/>
                    <a:pt x="3" y="124"/>
                  </a:cubicBezTo>
                  <a:cubicBezTo>
                    <a:pt x="43" y="126"/>
                    <a:pt x="43" y="126"/>
                    <a:pt x="43" y="126"/>
                  </a:cubicBezTo>
                  <a:cubicBezTo>
                    <a:pt x="43" y="126"/>
                    <a:pt x="45" y="124"/>
                    <a:pt x="45" y="123"/>
                  </a:cubicBezTo>
                  <a:cubicBezTo>
                    <a:pt x="45" y="123"/>
                    <a:pt x="47" y="123"/>
                    <a:pt x="47" y="123"/>
                  </a:cubicBezTo>
                  <a:cubicBezTo>
                    <a:pt x="47" y="123"/>
                    <a:pt x="47" y="122"/>
                    <a:pt x="47" y="122"/>
                  </a:cubicBezTo>
                  <a:cubicBezTo>
                    <a:pt x="47" y="121"/>
                    <a:pt x="49" y="120"/>
                    <a:pt x="49" y="120"/>
                  </a:cubicBezTo>
                  <a:cubicBezTo>
                    <a:pt x="49" y="120"/>
                    <a:pt x="52" y="119"/>
                    <a:pt x="52" y="119"/>
                  </a:cubicBezTo>
                  <a:cubicBezTo>
                    <a:pt x="52" y="119"/>
                    <a:pt x="53" y="118"/>
                    <a:pt x="53" y="118"/>
                  </a:cubicBezTo>
                  <a:cubicBezTo>
                    <a:pt x="53" y="118"/>
                    <a:pt x="56" y="117"/>
                    <a:pt x="57" y="117"/>
                  </a:cubicBezTo>
                  <a:cubicBezTo>
                    <a:pt x="57" y="117"/>
                    <a:pt x="59" y="117"/>
                    <a:pt x="61" y="117"/>
                  </a:cubicBezTo>
                  <a:cubicBezTo>
                    <a:pt x="61" y="117"/>
                    <a:pt x="61" y="116"/>
                    <a:pt x="61" y="116"/>
                  </a:cubicBezTo>
                  <a:cubicBezTo>
                    <a:pt x="61" y="115"/>
                    <a:pt x="61" y="114"/>
                    <a:pt x="62" y="114"/>
                  </a:cubicBezTo>
                  <a:cubicBezTo>
                    <a:pt x="63" y="113"/>
                    <a:pt x="63" y="112"/>
                    <a:pt x="63" y="111"/>
                  </a:cubicBezTo>
                  <a:cubicBezTo>
                    <a:pt x="63" y="111"/>
                    <a:pt x="64" y="110"/>
                    <a:pt x="64" y="110"/>
                  </a:cubicBezTo>
                  <a:cubicBezTo>
                    <a:pt x="64" y="109"/>
                    <a:pt x="63" y="109"/>
                    <a:pt x="63" y="109"/>
                  </a:cubicBezTo>
                  <a:cubicBezTo>
                    <a:pt x="63" y="108"/>
                    <a:pt x="63" y="108"/>
                    <a:pt x="63" y="107"/>
                  </a:cubicBezTo>
                  <a:cubicBezTo>
                    <a:pt x="62" y="106"/>
                    <a:pt x="60" y="107"/>
                    <a:pt x="59" y="106"/>
                  </a:cubicBezTo>
                  <a:cubicBezTo>
                    <a:pt x="60" y="106"/>
                    <a:pt x="60" y="106"/>
                    <a:pt x="60" y="106"/>
                  </a:cubicBezTo>
                  <a:cubicBezTo>
                    <a:pt x="60" y="105"/>
                    <a:pt x="60" y="103"/>
                    <a:pt x="60" y="103"/>
                  </a:cubicBezTo>
                  <a:cubicBezTo>
                    <a:pt x="60" y="103"/>
                    <a:pt x="60" y="100"/>
                    <a:pt x="60" y="100"/>
                  </a:cubicBezTo>
                  <a:cubicBezTo>
                    <a:pt x="55" y="94"/>
                    <a:pt x="55" y="94"/>
                    <a:pt x="55" y="94"/>
                  </a:cubicBezTo>
                  <a:cubicBezTo>
                    <a:pt x="55" y="94"/>
                    <a:pt x="55" y="87"/>
                    <a:pt x="55" y="87"/>
                  </a:cubicBezTo>
                  <a:cubicBezTo>
                    <a:pt x="55" y="87"/>
                    <a:pt x="55" y="78"/>
                    <a:pt x="55" y="78"/>
                  </a:cubicBezTo>
                  <a:cubicBezTo>
                    <a:pt x="54" y="58"/>
                    <a:pt x="54" y="58"/>
                    <a:pt x="54" y="58"/>
                  </a:cubicBezTo>
                  <a:cubicBezTo>
                    <a:pt x="51" y="0"/>
                    <a:pt x="51" y="0"/>
                    <a:pt x="51" y="0"/>
                  </a:cubicBezTo>
                  <a:cubicBezTo>
                    <a:pt x="51" y="0"/>
                    <a:pt x="51" y="0"/>
                    <a:pt x="51" y="0"/>
                  </a:cubicBezTo>
                  <a:cubicBezTo>
                    <a:pt x="49" y="3"/>
                    <a:pt x="49" y="3"/>
                    <a:pt x="49" y="3"/>
                  </a:cubicBezTo>
                  <a:cubicBezTo>
                    <a:pt x="46" y="3"/>
                    <a:pt x="46" y="3"/>
                    <a:pt x="46" y="3"/>
                  </a:cubicBezTo>
                  <a:cubicBezTo>
                    <a:pt x="44" y="0"/>
                    <a:pt x="44" y="0"/>
                    <a:pt x="44" y="0"/>
                  </a:cubicBezTo>
                  <a:cubicBezTo>
                    <a:pt x="41" y="4"/>
                    <a:pt x="41" y="4"/>
                    <a:pt x="41" y="4"/>
                  </a:cubicBezTo>
                  <a:cubicBezTo>
                    <a:pt x="39" y="4"/>
                    <a:pt x="39" y="4"/>
                    <a:pt x="39" y="4"/>
                  </a:cubicBezTo>
                  <a:cubicBezTo>
                    <a:pt x="40" y="5"/>
                    <a:pt x="40" y="5"/>
                    <a:pt x="40" y="5"/>
                  </a:cubicBezTo>
                  <a:cubicBezTo>
                    <a:pt x="40" y="5"/>
                    <a:pt x="39" y="9"/>
                    <a:pt x="39" y="9"/>
                  </a:cubicBezTo>
                  <a:cubicBezTo>
                    <a:pt x="39" y="10"/>
                    <a:pt x="37" y="12"/>
                    <a:pt x="37" y="12"/>
                  </a:cubicBezTo>
                  <a:cubicBezTo>
                    <a:pt x="37" y="14"/>
                    <a:pt x="37" y="14"/>
                    <a:pt x="37" y="14"/>
                  </a:cubicBezTo>
                  <a:cubicBezTo>
                    <a:pt x="37" y="14"/>
                    <a:pt x="36" y="17"/>
                    <a:pt x="36" y="17"/>
                  </a:cubicBezTo>
                  <a:cubicBezTo>
                    <a:pt x="36" y="17"/>
                    <a:pt x="37" y="18"/>
                    <a:pt x="37" y="19"/>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7" name="Freeform 30">
              <a:extLst>
                <a:ext uri="{FF2B5EF4-FFF2-40B4-BE49-F238E27FC236}">
                  <a16:creationId xmlns:a16="http://schemas.microsoft.com/office/drawing/2014/main" id="{906C65BB-4206-070B-652C-0BBE33DDA141}"/>
                </a:ext>
              </a:extLst>
            </p:cNvPr>
            <p:cNvSpPr>
              <a:spLocks/>
            </p:cNvSpPr>
            <p:nvPr/>
          </p:nvSpPr>
          <p:spPr bwMode="auto">
            <a:xfrm>
              <a:off x="3165779" y="2329534"/>
              <a:ext cx="816189" cy="1224284"/>
            </a:xfrm>
            <a:custGeom>
              <a:avLst/>
              <a:gdLst>
                <a:gd name="T0" fmla="*/ 0 w 206"/>
                <a:gd name="T1" fmla="*/ 0 h 309"/>
                <a:gd name="T2" fmla="*/ 0 w 206"/>
                <a:gd name="T3" fmla="*/ 137 h 309"/>
                <a:gd name="T4" fmla="*/ 40 w 206"/>
                <a:gd name="T5" fmla="*/ 171 h 309"/>
                <a:gd name="T6" fmla="*/ 186 w 206"/>
                <a:gd name="T7" fmla="*/ 309 h 309"/>
                <a:gd name="T8" fmla="*/ 186 w 206"/>
                <a:gd name="T9" fmla="*/ 307 h 309"/>
                <a:gd name="T10" fmla="*/ 186 w 206"/>
                <a:gd name="T11" fmla="*/ 305 h 309"/>
                <a:gd name="T12" fmla="*/ 185 w 206"/>
                <a:gd name="T13" fmla="*/ 305 h 309"/>
                <a:gd name="T14" fmla="*/ 187 w 206"/>
                <a:gd name="T15" fmla="*/ 304 h 309"/>
                <a:gd name="T16" fmla="*/ 188 w 206"/>
                <a:gd name="T17" fmla="*/ 302 h 309"/>
                <a:gd name="T18" fmla="*/ 187 w 206"/>
                <a:gd name="T19" fmla="*/ 298 h 309"/>
                <a:gd name="T20" fmla="*/ 187 w 206"/>
                <a:gd name="T21" fmla="*/ 295 h 309"/>
                <a:gd name="T22" fmla="*/ 186 w 206"/>
                <a:gd name="T23" fmla="*/ 292 h 309"/>
                <a:gd name="T24" fmla="*/ 184 w 206"/>
                <a:gd name="T25" fmla="*/ 289 h 309"/>
                <a:gd name="T26" fmla="*/ 184 w 206"/>
                <a:gd name="T27" fmla="*/ 286 h 309"/>
                <a:gd name="T28" fmla="*/ 185 w 206"/>
                <a:gd name="T29" fmla="*/ 283 h 309"/>
                <a:gd name="T30" fmla="*/ 183 w 206"/>
                <a:gd name="T31" fmla="*/ 279 h 309"/>
                <a:gd name="T32" fmla="*/ 183 w 206"/>
                <a:gd name="T33" fmla="*/ 277 h 309"/>
                <a:gd name="T34" fmla="*/ 183 w 206"/>
                <a:gd name="T35" fmla="*/ 274 h 309"/>
                <a:gd name="T36" fmla="*/ 185 w 206"/>
                <a:gd name="T37" fmla="*/ 272 h 309"/>
                <a:gd name="T38" fmla="*/ 183 w 206"/>
                <a:gd name="T39" fmla="*/ 271 h 309"/>
                <a:gd name="T40" fmla="*/ 183 w 206"/>
                <a:gd name="T41" fmla="*/ 269 h 309"/>
                <a:gd name="T42" fmla="*/ 183 w 206"/>
                <a:gd name="T43" fmla="*/ 265 h 309"/>
                <a:gd name="T44" fmla="*/ 182 w 206"/>
                <a:gd name="T45" fmla="*/ 263 h 309"/>
                <a:gd name="T46" fmla="*/ 183 w 206"/>
                <a:gd name="T47" fmla="*/ 262 h 309"/>
                <a:gd name="T48" fmla="*/ 185 w 206"/>
                <a:gd name="T49" fmla="*/ 262 h 309"/>
                <a:gd name="T50" fmla="*/ 188 w 206"/>
                <a:gd name="T51" fmla="*/ 261 h 309"/>
                <a:gd name="T52" fmla="*/ 190 w 206"/>
                <a:gd name="T53" fmla="*/ 261 h 309"/>
                <a:gd name="T54" fmla="*/ 191 w 206"/>
                <a:gd name="T55" fmla="*/ 262 h 309"/>
                <a:gd name="T56" fmla="*/ 193 w 206"/>
                <a:gd name="T57" fmla="*/ 261 h 309"/>
                <a:gd name="T58" fmla="*/ 195 w 206"/>
                <a:gd name="T59" fmla="*/ 263 h 309"/>
                <a:gd name="T60" fmla="*/ 198 w 206"/>
                <a:gd name="T61" fmla="*/ 265 h 309"/>
                <a:gd name="T62" fmla="*/ 201 w 206"/>
                <a:gd name="T63" fmla="*/ 266 h 309"/>
                <a:gd name="T64" fmla="*/ 203 w 206"/>
                <a:gd name="T65" fmla="*/ 265 h 309"/>
                <a:gd name="T66" fmla="*/ 203 w 206"/>
                <a:gd name="T67" fmla="*/ 262 h 309"/>
                <a:gd name="T68" fmla="*/ 204 w 206"/>
                <a:gd name="T69" fmla="*/ 260 h 309"/>
                <a:gd name="T70" fmla="*/ 206 w 206"/>
                <a:gd name="T71" fmla="*/ 259 h 309"/>
                <a:gd name="T72" fmla="*/ 206 w 206"/>
                <a:gd name="T73" fmla="*/ 224 h 309"/>
                <a:gd name="T74" fmla="*/ 206 w 206"/>
                <a:gd name="T75" fmla="*/ 0 h 309"/>
                <a:gd name="T76" fmla="*/ 0 w 206"/>
                <a:gd name="T77"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6" h="309">
                  <a:moveTo>
                    <a:pt x="0" y="0"/>
                  </a:moveTo>
                  <a:cubicBezTo>
                    <a:pt x="0" y="137"/>
                    <a:pt x="0" y="137"/>
                    <a:pt x="0" y="137"/>
                  </a:cubicBezTo>
                  <a:cubicBezTo>
                    <a:pt x="40" y="171"/>
                    <a:pt x="40" y="171"/>
                    <a:pt x="40" y="171"/>
                  </a:cubicBezTo>
                  <a:cubicBezTo>
                    <a:pt x="186" y="309"/>
                    <a:pt x="186" y="309"/>
                    <a:pt x="186" y="309"/>
                  </a:cubicBezTo>
                  <a:cubicBezTo>
                    <a:pt x="186" y="309"/>
                    <a:pt x="186" y="307"/>
                    <a:pt x="186" y="307"/>
                  </a:cubicBezTo>
                  <a:cubicBezTo>
                    <a:pt x="186" y="307"/>
                    <a:pt x="187" y="306"/>
                    <a:pt x="186" y="305"/>
                  </a:cubicBezTo>
                  <a:cubicBezTo>
                    <a:pt x="186" y="305"/>
                    <a:pt x="185" y="305"/>
                    <a:pt x="185" y="305"/>
                  </a:cubicBezTo>
                  <a:cubicBezTo>
                    <a:pt x="186" y="305"/>
                    <a:pt x="187" y="304"/>
                    <a:pt x="187" y="304"/>
                  </a:cubicBezTo>
                  <a:cubicBezTo>
                    <a:pt x="187" y="304"/>
                    <a:pt x="189" y="302"/>
                    <a:pt x="188" y="302"/>
                  </a:cubicBezTo>
                  <a:cubicBezTo>
                    <a:pt x="188" y="301"/>
                    <a:pt x="187" y="299"/>
                    <a:pt x="187" y="298"/>
                  </a:cubicBezTo>
                  <a:cubicBezTo>
                    <a:pt x="188" y="298"/>
                    <a:pt x="187" y="296"/>
                    <a:pt x="187" y="295"/>
                  </a:cubicBezTo>
                  <a:cubicBezTo>
                    <a:pt x="187" y="295"/>
                    <a:pt x="186" y="293"/>
                    <a:pt x="186" y="292"/>
                  </a:cubicBezTo>
                  <a:cubicBezTo>
                    <a:pt x="185" y="291"/>
                    <a:pt x="184" y="290"/>
                    <a:pt x="184" y="289"/>
                  </a:cubicBezTo>
                  <a:cubicBezTo>
                    <a:pt x="184" y="288"/>
                    <a:pt x="184" y="287"/>
                    <a:pt x="184" y="286"/>
                  </a:cubicBezTo>
                  <a:cubicBezTo>
                    <a:pt x="185" y="285"/>
                    <a:pt x="185" y="284"/>
                    <a:pt x="185" y="283"/>
                  </a:cubicBezTo>
                  <a:cubicBezTo>
                    <a:pt x="184" y="283"/>
                    <a:pt x="183" y="280"/>
                    <a:pt x="183" y="279"/>
                  </a:cubicBezTo>
                  <a:cubicBezTo>
                    <a:pt x="183" y="278"/>
                    <a:pt x="183" y="278"/>
                    <a:pt x="183" y="277"/>
                  </a:cubicBezTo>
                  <a:cubicBezTo>
                    <a:pt x="183" y="276"/>
                    <a:pt x="182" y="275"/>
                    <a:pt x="183" y="274"/>
                  </a:cubicBezTo>
                  <a:cubicBezTo>
                    <a:pt x="183" y="274"/>
                    <a:pt x="185" y="272"/>
                    <a:pt x="185" y="272"/>
                  </a:cubicBezTo>
                  <a:cubicBezTo>
                    <a:pt x="185" y="272"/>
                    <a:pt x="183" y="271"/>
                    <a:pt x="183" y="271"/>
                  </a:cubicBezTo>
                  <a:cubicBezTo>
                    <a:pt x="183" y="270"/>
                    <a:pt x="183" y="270"/>
                    <a:pt x="183" y="269"/>
                  </a:cubicBezTo>
                  <a:cubicBezTo>
                    <a:pt x="183" y="268"/>
                    <a:pt x="183" y="266"/>
                    <a:pt x="183" y="265"/>
                  </a:cubicBezTo>
                  <a:cubicBezTo>
                    <a:pt x="182" y="264"/>
                    <a:pt x="182" y="263"/>
                    <a:pt x="182" y="263"/>
                  </a:cubicBezTo>
                  <a:cubicBezTo>
                    <a:pt x="182" y="263"/>
                    <a:pt x="182" y="263"/>
                    <a:pt x="183" y="262"/>
                  </a:cubicBezTo>
                  <a:cubicBezTo>
                    <a:pt x="184" y="262"/>
                    <a:pt x="185" y="262"/>
                    <a:pt x="185" y="262"/>
                  </a:cubicBezTo>
                  <a:cubicBezTo>
                    <a:pt x="186" y="261"/>
                    <a:pt x="187" y="261"/>
                    <a:pt x="188" y="261"/>
                  </a:cubicBezTo>
                  <a:cubicBezTo>
                    <a:pt x="188" y="261"/>
                    <a:pt x="189" y="260"/>
                    <a:pt x="190" y="261"/>
                  </a:cubicBezTo>
                  <a:cubicBezTo>
                    <a:pt x="190" y="261"/>
                    <a:pt x="190" y="262"/>
                    <a:pt x="191" y="262"/>
                  </a:cubicBezTo>
                  <a:cubicBezTo>
                    <a:pt x="192" y="262"/>
                    <a:pt x="193" y="261"/>
                    <a:pt x="193" y="261"/>
                  </a:cubicBezTo>
                  <a:cubicBezTo>
                    <a:pt x="193" y="261"/>
                    <a:pt x="195" y="262"/>
                    <a:pt x="195" y="263"/>
                  </a:cubicBezTo>
                  <a:cubicBezTo>
                    <a:pt x="196" y="263"/>
                    <a:pt x="197" y="265"/>
                    <a:pt x="198" y="265"/>
                  </a:cubicBezTo>
                  <a:cubicBezTo>
                    <a:pt x="199" y="266"/>
                    <a:pt x="200" y="267"/>
                    <a:pt x="201" y="266"/>
                  </a:cubicBezTo>
                  <a:cubicBezTo>
                    <a:pt x="202" y="266"/>
                    <a:pt x="202" y="266"/>
                    <a:pt x="203" y="265"/>
                  </a:cubicBezTo>
                  <a:cubicBezTo>
                    <a:pt x="203" y="264"/>
                    <a:pt x="203" y="263"/>
                    <a:pt x="203" y="262"/>
                  </a:cubicBezTo>
                  <a:cubicBezTo>
                    <a:pt x="204" y="262"/>
                    <a:pt x="204" y="261"/>
                    <a:pt x="204" y="260"/>
                  </a:cubicBezTo>
                  <a:cubicBezTo>
                    <a:pt x="205" y="259"/>
                    <a:pt x="206" y="259"/>
                    <a:pt x="206" y="259"/>
                  </a:cubicBezTo>
                  <a:cubicBezTo>
                    <a:pt x="206" y="224"/>
                    <a:pt x="206" y="224"/>
                    <a:pt x="206" y="224"/>
                  </a:cubicBezTo>
                  <a:cubicBezTo>
                    <a:pt x="206" y="0"/>
                    <a:pt x="206" y="0"/>
                    <a:pt x="206" y="0"/>
                  </a:cubicBezTo>
                  <a:lnTo>
                    <a:pt x="0" y="0"/>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8" name="Freeform 31">
              <a:extLst>
                <a:ext uri="{FF2B5EF4-FFF2-40B4-BE49-F238E27FC236}">
                  <a16:creationId xmlns:a16="http://schemas.microsoft.com/office/drawing/2014/main" id="{3E065E81-AD7E-DB70-945C-761F1C45AA5E}"/>
                </a:ext>
              </a:extLst>
            </p:cNvPr>
            <p:cNvSpPr>
              <a:spLocks/>
            </p:cNvSpPr>
            <p:nvPr/>
          </p:nvSpPr>
          <p:spPr bwMode="auto">
            <a:xfrm>
              <a:off x="5348340" y="2142835"/>
              <a:ext cx="1191239" cy="546879"/>
            </a:xfrm>
            <a:custGeom>
              <a:avLst/>
              <a:gdLst>
                <a:gd name="T0" fmla="*/ 299 w 301"/>
                <a:gd name="T1" fmla="*/ 137 h 138"/>
                <a:gd name="T2" fmla="*/ 299 w 301"/>
                <a:gd name="T3" fmla="*/ 134 h 138"/>
                <a:gd name="T4" fmla="*/ 296 w 301"/>
                <a:gd name="T5" fmla="*/ 130 h 138"/>
                <a:gd name="T6" fmla="*/ 293 w 301"/>
                <a:gd name="T7" fmla="*/ 126 h 138"/>
                <a:gd name="T8" fmla="*/ 291 w 301"/>
                <a:gd name="T9" fmla="*/ 123 h 138"/>
                <a:gd name="T10" fmla="*/ 288 w 301"/>
                <a:gd name="T11" fmla="*/ 116 h 138"/>
                <a:gd name="T12" fmla="*/ 289 w 301"/>
                <a:gd name="T13" fmla="*/ 113 h 138"/>
                <a:gd name="T14" fmla="*/ 286 w 301"/>
                <a:gd name="T15" fmla="*/ 114 h 138"/>
                <a:gd name="T16" fmla="*/ 285 w 301"/>
                <a:gd name="T17" fmla="*/ 109 h 138"/>
                <a:gd name="T18" fmla="*/ 282 w 301"/>
                <a:gd name="T19" fmla="*/ 105 h 138"/>
                <a:gd name="T20" fmla="*/ 284 w 301"/>
                <a:gd name="T21" fmla="*/ 98 h 138"/>
                <a:gd name="T22" fmla="*/ 282 w 301"/>
                <a:gd name="T23" fmla="*/ 89 h 138"/>
                <a:gd name="T24" fmla="*/ 280 w 301"/>
                <a:gd name="T25" fmla="*/ 83 h 138"/>
                <a:gd name="T26" fmla="*/ 282 w 301"/>
                <a:gd name="T27" fmla="*/ 79 h 138"/>
                <a:gd name="T28" fmla="*/ 280 w 301"/>
                <a:gd name="T29" fmla="*/ 72 h 138"/>
                <a:gd name="T30" fmla="*/ 278 w 301"/>
                <a:gd name="T31" fmla="*/ 68 h 138"/>
                <a:gd name="T32" fmla="*/ 275 w 301"/>
                <a:gd name="T33" fmla="*/ 68 h 138"/>
                <a:gd name="T34" fmla="*/ 274 w 301"/>
                <a:gd name="T35" fmla="*/ 63 h 138"/>
                <a:gd name="T36" fmla="*/ 275 w 301"/>
                <a:gd name="T37" fmla="*/ 61 h 138"/>
                <a:gd name="T38" fmla="*/ 276 w 301"/>
                <a:gd name="T39" fmla="*/ 56 h 138"/>
                <a:gd name="T40" fmla="*/ 273 w 301"/>
                <a:gd name="T41" fmla="*/ 49 h 138"/>
                <a:gd name="T42" fmla="*/ 271 w 301"/>
                <a:gd name="T43" fmla="*/ 47 h 138"/>
                <a:gd name="T44" fmla="*/ 270 w 301"/>
                <a:gd name="T45" fmla="*/ 45 h 138"/>
                <a:gd name="T46" fmla="*/ 268 w 301"/>
                <a:gd name="T47" fmla="*/ 41 h 138"/>
                <a:gd name="T48" fmla="*/ 266 w 301"/>
                <a:gd name="T49" fmla="*/ 37 h 138"/>
                <a:gd name="T50" fmla="*/ 265 w 301"/>
                <a:gd name="T51" fmla="*/ 33 h 138"/>
                <a:gd name="T52" fmla="*/ 264 w 301"/>
                <a:gd name="T53" fmla="*/ 28 h 138"/>
                <a:gd name="T54" fmla="*/ 261 w 301"/>
                <a:gd name="T55" fmla="*/ 24 h 138"/>
                <a:gd name="T56" fmla="*/ 257 w 301"/>
                <a:gd name="T57" fmla="*/ 23 h 138"/>
                <a:gd name="T58" fmla="*/ 254 w 301"/>
                <a:gd name="T59" fmla="*/ 16 h 138"/>
                <a:gd name="T60" fmla="*/ 249 w 301"/>
                <a:gd name="T61" fmla="*/ 13 h 138"/>
                <a:gd name="T62" fmla="*/ 244 w 301"/>
                <a:gd name="T63" fmla="*/ 12 h 138"/>
                <a:gd name="T64" fmla="*/ 236 w 301"/>
                <a:gd name="T65" fmla="*/ 9 h 138"/>
                <a:gd name="T66" fmla="*/ 232 w 301"/>
                <a:gd name="T67" fmla="*/ 7 h 138"/>
                <a:gd name="T68" fmla="*/ 227 w 301"/>
                <a:gd name="T69" fmla="*/ 7 h 138"/>
                <a:gd name="T70" fmla="*/ 219 w 301"/>
                <a:gd name="T71" fmla="*/ 8 h 138"/>
                <a:gd name="T72" fmla="*/ 212 w 301"/>
                <a:gd name="T73" fmla="*/ 10 h 138"/>
                <a:gd name="T74" fmla="*/ 203 w 301"/>
                <a:gd name="T75" fmla="*/ 7 h 138"/>
                <a:gd name="T76" fmla="*/ 192 w 301"/>
                <a:gd name="T77" fmla="*/ 0 h 138"/>
                <a:gd name="T78" fmla="*/ 0 w 301"/>
                <a:gd name="T79" fmla="*/ 93 h 138"/>
                <a:gd name="T80" fmla="*/ 69 w 301"/>
                <a:gd name="T8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1" h="138">
                  <a:moveTo>
                    <a:pt x="301" y="138"/>
                  </a:moveTo>
                  <a:cubicBezTo>
                    <a:pt x="301" y="138"/>
                    <a:pt x="299" y="137"/>
                    <a:pt x="299" y="137"/>
                  </a:cubicBezTo>
                  <a:cubicBezTo>
                    <a:pt x="299" y="137"/>
                    <a:pt x="298" y="136"/>
                    <a:pt x="298" y="136"/>
                  </a:cubicBezTo>
                  <a:cubicBezTo>
                    <a:pt x="298" y="135"/>
                    <a:pt x="299" y="134"/>
                    <a:pt x="299" y="134"/>
                  </a:cubicBezTo>
                  <a:cubicBezTo>
                    <a:pt x="299" y="133"/>
                    <a:pt x="298" y="132"/>
                    <a:pt x="298" y="132"/>
                  </a:cubicBezTo>
                  <a:cubicBezTo>
                    <a:pt x="297" y="132"/>
                    <a:pt x="296" y="131"/>
                    <a:pt x="296" y="130"/>
                  </a:cubicBezTo>
                  <a:cubicBezTo>
                    <a:pt x="296" y="130"/>
                    <a:pt x="296" y="128"/>
                    <a:pt x="296" y="128"/>
                  </a:cubicBezTo>
                  <a:cubicBezTo>
                    <a:pt x="296" y="127"/>
                    <a:pt x="294" y="126"/>
                    <a:pt x="293" y="126"/>
                  </a:cubicBezTo>
                  <a:cubicBezTo>
                    <a:pt x="292" y="125"/>
                    <a:pt x="290" y="125"/>
                    <a:pt x="290" y="125"/>
                  </a:cubicBezTo>
                  <a:cubicBezTo>
                    <a:pt x="290" y="125"/>
                    <a:pt x="291" y="123"/>
                    <a:pt x="291" y="123"/>
                  </a:cubicBezTo>
                  <a:cubicBezTo>
                    <a:pt x="291" y="122"/>
                    <a:pt x="290" y="120"/>
                    <a:pt x="290" y="120"/>
                  </a:cubicBezTo>
                  <a:cubicBezTo>
                    <a:pt x="289" y="119"/>
                    <a:pt x="288" y="117"/>
                    <a:pt x="288" y="116"/>
                  </a:cubicBezTo>
                  <a:cubicBezTo>
                    <a:pt x="288" y="116"/>
                    <a:pt x="290" y="115"/>
                    <a:pt x="290" y="114"/>
                  </a:cubicBezTo>
                  <a:cubicBezTo>
                    <a:pt x="290" y="114"/>
                    <a:pt x="289" y="113"/>
                    <a:pt x="289" y="113"/>
                  </a:cubicBezTo>
                  <a:cubicBezTo>
                    <a:pt x="289" y="113"/>
                    <a:pt x="289" y="114"/>
                    <a:pt x="288" y="114"/>
                  </a:cubicBezTo>
                  <a:cubicBezTo>
                    <a:pt x="288" y="115"/>
                    <a:pt x="286" y="115"/>
                    <a:pt x="286" y="114"/>
                  </a:cubicBezTo>
                  <a:cubicBezTo>
                    <a:pt x="286" y="114"/>
                    <a:pt x="286" y="112"/>
                    <a:pt x="286" y="112"/>
                  </a:cubicBezTo>
                  <a:cubicBezTo>
                    <a:pt x="286" y="112"/>
                    <a:pt x="286" y="109"/>
                    <a:pt x="285" y="109"/>
                  </a:cubicBezTo>
                  <a:cubicBezTo>
                    <a:pt x="285" y="108"/>
                    <a:pt x="283" y="108"/>
                    <a:pt x="283" y="107"/>
                  </a:cubicBezTo>
                  <a:cubicBezTo>
                    <a:pt x="282" y="107"/>
                    <a:pt x="281" y="106"/>
                    <a:pt x="282" y="105"/>
                  </a:cubicBezTo>
                  <a:cubicBezTo>
                    <a:pt x="283" y="105"/>
                    <a:pt x="283" y="105"/>
                    <a:pt x="284" y="103"/>
                  </a:cubicBezTo>
                  <a:cubicBezTo>
                    <a:pt x="284" y="102"/>
                    <a:pt x="284" y="99"/>
                    <a:pt x="284" y="98"/>
                  </a:cubicBezTo>
                  <a:cubicBezTo>
                    <a:pt x="284" y="97"/>
                    <a:pt x="284" y="94"/>
                    <a:pt x="283" y="93"/>
                  </a:cubicBezTo>
                  <a:cubicBezTo>
                    <a:pt x="283" y="92"/>
                    <a:pt x="282" y="90"/>
                    <a:pt x="282" y="89"/>
                  </a:cubicBezTo>
                  <a:cubicBezTo>
                    <a:pt x="282" y="88"/>
                    <a:pt x="282" y="86"/>
                    <a:pt x="282" y="85"/>
                  </a:cubicBezTo>
                  <a:cubicBezTo>
                    <a:pt x="281" y="85"/>
                    <a:pt x="280" y="84"/>
                    <a:pt x="280" y="83"/>
                  </a:cubicBezTo>
                  <a:cubicBezTo>
                    <a:pt x="280" y="82"/>
                    <a:pt x="280" y="81"/>
                    <a:pt x="281" y="81"/>
                  </a:cubicBezTo>
                  <a:cubicBezTo>
                    <a:pt x="281" y="80"/>
                    <a:pt x="282" y="80"/>
                    <a:pt x="282" y="79"/>
                  </a:cubicBezTo>
                  <a:cubicBezTo>
                    <a:pt x="282" y="78"/>
                    <a:pt x="281" y="75"/>
                    <a:pt x="281" y="75"/>
                  </a:cubicBezTo>
                  <a:cubicBezTo>
                    <a:pt x="281" y="74"/>
                    <a:pt x="281" y="73"/>
                    <a:pt x="280" y="72"/>
                  </a:cubicBezTo>
                  <a:cubicBezTo>
                    <a:pt x="280" y="72"/>
                    <a:pt x="277" y="71"/>
                    <a:pt x="277" y="71"/>
                  </a:cubicBezTo>
                  <a:cubicBezTo>
                    <a:pt x="277" y="71"/>
                    <a:pt x="278" y="68"/>
                    <a:pt x="278" y="68"/>
                  </a:cubicBezTo>
                  <a:cubicBezTo>
                    <a:pt x="277" y="68"/>
                    <a:pt x="276" y="70"/>
                    <a:pt x="276" y="70"/>
                  </a:cubicBezTo>
                  <a:cubicBezTo>
                    <a:pt x="276" y="70"/>
                    <a:pt x="275" y="68"/>
                    <a:pt x="275" y="68"/>
                  </a:cubicBezTo>
                  <a:cubicBezTo>
                    <a:pt x="275" y="67"/>
                    <a:pt x="274" y="65"/>
                    <a:pt x="274" y="65"/>
                  </a:cubicBezTo>
                  <a:cubicBezTo>
                    <a:pt x="274" y="65"/>
                    <a:pt x="274" y="63"/>
                    <a:pt x="274" y="63"/>
                  </a:cubicBezTo>
                  <a:cubicBezTo>
                    <a:pt x="274" y="63"/>
                    <a:pt x="274" y="61"/>
                    <a:pt x="274" y="61"/>
                  </a:cubicBezTo>
                  <a:cubicBezTo>
                    <a:pt x="274" y="61"/>
                    <a:pt x="275" y="61"/>
                    <a:pt x="275" y="61"/>
                  </a:cubicBezTo>
                  <a:cubicBezTo>
                    <a:pt x="275" y="60"/>
                    <a:pt x="275" y="58"/>
                    <a:pt x="275" y="58"/>
                  </a:cubicBezTo>
                  <a:cubicBezTo>
                    <a:pt x="275" y="58"/>
                    <a:pt x="276" y="56"/>
                    <a:pt x="276" y="56"/>
                  </a:cubicBezTo>
                  <a:cubicBezTo>
                    <a:pt x="275" y="55"/>
                    <a:pt x="272" y="52"/>
                    <a:pt x="272" y="52"/>
                  </a:cubicBezTo>
                  <a:cubicBezTo>
                    <a:pt x="272" y="52"/>
                    <a:pt x="274" y="49"/>
                    <a:pt x="273" y="49"/>
                  </a:cubicBezTo>
                  <a:cubicBezTo>
                    <a:pt x="273" y="48"/>
                    <a:pt x="272" y="48"/>
                    <a:pt x="272" y="48"/>
                  </a:cubicBezTo>
                  <a:cubicBezTo>
                    <a:pt x="272" y="48"/>
                    <a:pt x="272" y="47"/>
                    <a:pt x="271" y="47"/>
                  </a:cubicBezTo>
                  <a:cubicBezTo>
                    <a:pt x="271" y="47"/>
                    <a:pt x="270" y="48"/>
                    <a:pt x="270" y="47"/>
                  </a:cubicBezTo>
                  <a:cubicBezTo>
                    <a:pt x="270" y="47"/>
                    <a:pt x="270" y="45"/>
                    <a:pt x="270" y="45"/>
                  </a:cubicBezTo>
                  <a:cubicBezTo>
                    <a:pt x="270" y="45"/>
                    <a:pt x="268" y="45"/>
                    <a:pt x="268" y="45"/>
                  </a:cubicBezTo>
                  <a:cubicBezTo>
                    <a:pt x="268" y="41"/>
                    <a:pt x="268" y="41"/>
                    <a:pt x="268" y="41"/>
                  </a:cubicBezTo>
                  <a:cubicBezTo>
                    <a:pt x="268" y="41"/>
                    <a:pt x="266" y="39"/>
                    <a:pt x="266" y="39"/>
                  </a:cubicBezTo>
                  <a:cubicBezTo>
                    <a:pt x="266" y="39"/>
                    <a:pt x="266" y="38"/>
                    <a:pt x="266" y="37"/>
                  </a:cubicBezTo>
                  <a:cubicBezTo>
                    <a:pt x="266" y="37"/>
                    <a:pt x="267" y="35"/>
                    <a:pt x="267" y="35"/>
                  </a:cubicBezTo>
                  <a:cubicBezTo>
                    <a:pt x="267" y="35"/>
                    <a:pt x="266" y="34"/>
                    <a:pt x="265" y="33"/>
                  </a:cubicBezTo>
                  <a:cubicBezTo>
                    <a:pt x="265" y="33"/>
                    <a:pt x="264" y="31"/>
                    <a:pt x="264" y="31"/>
                  </a:cubicBezTo>
                  <a:cubicBezTo>
                    <a:pt x="264" y="30"/>
                    <a:pt x="264" y="29"/>
                    <a:pt x="264" y="28"/>
                  </a:cubicBezTo>
                  <a:cubicBezTo>
                    <a:pt x="264" y="28"/>
                    <a:pt x="265" y="25"/>
                    <a:pt x="265" y="25"/>
                  </a:cubicBezTo>
                  <a:cubicBezTo>
                    <a:pt x="261" y="24"/>
                    <a:pt x="261" y="24"/>
                    <a:pt x="261" y="24"/>
                  </a:cubicBezTo>
                  <a:cubicBezTo>
                    <a:pt x="258" y="23"/>
                    <a:pt x="258" y="23"/>
                    <a:pt x="258" y="23"/>
                  </a:cubicBezTo>
                  <a:cubicBezTo>
                    <a:pt x="257" y="23"/>
                    <a:pt x="257" y="23"/>
                    <a:pt x="257" y="23"/>
                  </a:cubicBezTo>
                  <a:cubicBezTo>
                    <a:pt x="257" y="23"/>
                    <a:pt x="253" y="19"/>
                    <a:pt x="253" y="19"/>
                  </a:cubicBezTo>
                  <a:cubicBezTo>
                    <a:pt x="253" y="19"/>
                    <a:pt x="254" y="16"/>
                    <a:pt x="254" y="16"/>
                  </a:cubicBezTo>
                  <a:cubicBezTo>
                    <a:pt x="254" y="16"/>
                    <a:pt x="251" y="16"/>
                    <a:pt x="251" y="16"/>
                  </a:cubicBezTo>
                  <a:cubicBezTo>
                    <a:pt x="251" y="16"/>
                    <a:pt x="249" y="13"/>
                    <a:pt x="249" y="13"/>
                  </a:cubicBezTo>
                  <a:cubicBezTo>
                    <a:pt x="244" y="13"/>
                    <a:pt x="244" y="13"/>
                    <a:pt x="244" y="13"/>
                  </a:cubicBezTo>
                  <a:cubicBezTo>
                    <a:pt x="244" y="12"/>
                    <a:pt x="244" y="12"/>
                    <a:pt x="244" y="12"/>
                  </a:cubicBezTo>
                  <a:cubicBezTo>
                    <a:pt x="239" y="11"/>
                    <a:pt x="239" y="11"/>
                    <a:pt x="239" y="11"/>
                  </a:cubicBezTo>
                  <a:cubicBezTo>
                    <a:pt x="239" y="11"/>
                    <a:pt x="236" y="10"/>
                    <a:pt x="236" y="9"/>
                  </a:cubicBezTo>
                  <a:cubicBezTo>
                    <a:pt x="236" y="9"/>
                    <a:pt x="235" y="7"/>
                    <a:pt x="235" y="7"/>
                  </a:cubicBezTo>
                  <a:cubicBezTo>
                    <a:pt x="232" y="7"/>
                    <a:pt x="232" y="7"/>
                    <a:pt x="232" y="7"/>
                  </a:cubicBezTo>
                  <a:cubicBezTo>
                    <a:pt x="229" y="6"/>
                    <a:pt x="229" y="6"/>
                    <a:pt x="229" y="6"/>
                  </a:cubicBezTo>
                  <a:cubicBezTo>
                    <a:pt x="229" y="6"/>
                    <a:pt x="228" y="7"/>
                    <a:pt x="227" y="7"/>
                  </a:cubicBezTo>
                  <a:cubicBezTo>
                    <a:pt x="227" y="7"/>
                    <a:pt x="222" y="8"/>
                    <a:pt x="222" y="8"/>
                  </a:cubicBezTo>
                  <a:cubicBezTo>
                    <a:pt x="221" y="8"/>
                    <a:pt x="220" y="8"/>
                    <a:pt x="219" y="8"/>
                  </a:cubicBezTo>
                  <a:cubicBezTo>
                    <a:pt x="219" y="8"/>
                    <a:pt x="214" y="6"/>
                    <a:pt x="214" y="6"/>
                  </a:cubicBezTo>
                  <a:cubicBezTo>
                    <a:pt x="212" y="10"/>
                    <a:pt x="212" y="10"/>
                    <a:pt x="212" y="10"/>
                  </a:cubicBezTo>
                  <a:cubicBezTo>
                    <a:pt x="212" y="10"/>
                    <a:pt x="207" y="12"/>
                    <a:pt x="207" y="11"/>
                  </a:cubicBezTo>
                  <a:cubicBezTo>
                    <a:pt x="207" y="11"/>
                    <a:pt x="203" y="7"/>
                    <a:pt x="203" y="7"/>
                  </a:cubicBezTo>
                  <a:cubicBezTo>
                    <a:pt x="203" y="7"/>
                    <a:pt x="193" y="4"/>
                    <a:pt x="193" y="4"/>
                  </a:cubicBezTo>
                  <a:cubicBezTo>
                    <a:pt x="192" y="0"/>
                    <a:pt x="192" y="0"/>
                    <a:pt x="192" y="0"/>
                  </a:cubicBezTo>
                  <a:cubicBezTo>
                    <a:pt x="0" y="0"/>
                    <a:pt x="0" y="0"/>
                    <a:pt x="0" y="0"/>
                  </a:cubicBezTo>
                  <a:cubicBezTo>
                    <a:pt x="0" y="93"/>
                    <a:pt x="0" y="93"/>
                    <a:pt x="0" y="93"/>
                  </a:cubicBezTo>
                  <a:cubicBezTo>
                    <a:pt x="69" y="93"/>
                    <a:pt x="69" y="93"/>
                    <a:pt x="69" y="93"/>
                  </a:cubicBezTo>
                  <a:cubicBezTo>
                    <a:pt x="69" y="138"/>
                    <a:pt x="69" y="138"/>
                    <a:pt x="69" y="138"/>
                  </a:cubicBezTo>
                  <a:lnTo>
                    <a:pt x="301" y="138"/>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29" name="Freeform 32">
              <a:extLst>
                <a:ext uri="{FF2B5EF4-FFF2-40B4-BE49-F238E27FC236}">
                  <a16:creationId xmlns:a16="http://schemas.microsoft.com/office/drawing/2014/main" id="{CDC96048-249A-C8FD-FA67-1019CB626269}"/>
                </a:ext>
              </a:extLst>
            </p:cNvPr>
            <p:cNvSpPr>
              <a:spLocks/>
            </p:cNvSpPr>
            <p:nvPr/>
          </p:nvSpPr>
          <p:spPr bwMode="auto">
            <a:xfrm>
              <a:off x="3707702" y="956552"/>
              <a:ext cx="1640639" cy="928539"/>
            </a:xfrm>
            <a:custGeom>
              <a:avLst/>
              <a:gdLst>
                <a:gd name="T0" fmla="*/ 10 w 414"/>
                <a:gd name="T1" fmla="*/ 67 h 234"/>
                <a:gd name="T2" fmla="*/ 10 w 414"/>
                <a:gd name="T3" fmla="*/ 75 h 234"/>
                <a:gd name="T4" fmla="*/ 14 w 414"/>
                <a:gd name="T5" fmla="*/ 79 h 234"/>
                <a:gd name="T6" fmla="*/ 10 w 414"/>
                <a:gd name="T7" fmla="*/ 82 h 234"/>
                <a:gd name="T8" fmla="*/ 15 w 414"/>
                <a:gd name="T9" fmla="*/ 85 h 234"/>
                <a:gd name="T10" fmla="*/ 23 w 414"/>
                <a:gd name="T11" fmla="*/ 90 h 234"/>
                <a:gd name="T12" fmla="*/ 30 w 414"/>
                <a:gd name="T13" fmla="*/ 98 h 234"/>
                <a:gd name="T14" fmla="*/ 36 w 414"/>
                <a:gd name="T15" fmla="*/ 106 h 234"/>
                <a:gd name="T16" fmla="*/ 40 w 414"/>
                <a:gd name="T17" fmla="*/ 114 h 234"/>
                <a:gd name="T18" fmla="*/ 44 w 414"/>
                <a:gd name="T19" fmla="*/ 117 h 234"/>
                <a:gd name="T20" fmla="*/ 48 w 414"/>
                <a:gd name="T21" fmla="*/ 118 h 234"/>
                <a:gd name="T22" fmla="*/ 52 w 414"/>
                <a:gd name="T23" fmla="*/ 122 h 234"/>
                <a:gd name="T24" fmla="*/ 58 w 414"/>
                <a:gd name="T25" fmla="*/ 121 h 234"/>
                <a:gd name="T26" fmla="*/ 58 w 414"/>
                <a:gd name="T27" fmla="*/ 128 h 234"/>
                <a:gd name="T28" fmla="*/ 57 w 414"/>
                <a:gd name="T29" fmla="*/ 134 h 234"/>
                <a:gd name="T30" fmla="*/ 54 w 414"/>
                <a:gd name="T31" fmla="*/ 143 h 234"/>
                <a:gd name="T32" fmla="*/ 53 w 414"/>
                <a:gd name="T33" fmla="*/ 147 h 234"/>
                <a:gd name="T34" fmla="*/ 54 w 414"/>
                <a:gd name="T35" fmla="*/ 153 h 234"/>
                <a:gd name="T36" fmla="*/ 57 w 414"/>
                <a:gd name="T37" fmla="*/ 160 h 234"/>
                <a:gd name="T38" fmla="*/ 52 w 414"/>
                <a:gd name="T39" fmla="*/ 163 h 234"/>
                <a:gd name="T40" fmla="*/ 52 w 414"/>
                <a:gd name="T41" fmla="*/ 172 h 234"/>
                <a:gd name="T42" fmla="*/ 55 w 414"/>
                <a:gd name="T43" fmla="*/ 176 h 234"/>
                <a:gd name="T44" fmla="*/ 61 w 414"/>
                <a:gd name="T45" fmla="*/ 179 h 234"/>
                <a:gd name="T46" fmla="*/ 68 w 414"/>
                <a:gd name="T47" fmla="*/ 173 h 234"/>
                <a:gd name="T48" fmla="*/ 73 w 414"/>
                <a:gd name="T49" fmla="*/ 171 h 234"/>
                <a:gd name="T50" fmla="*/ 76 w 414"/>
                <a:gd name="T51" fmla="*/ 176 h 234"/>
                <a:gd name="T52" fmla="*/ 78 w 414"/>
                <a:gd name="T53" fmla="*/ 180 h 234"/>
                <a:gd name="T54" fmla="*/ 80 w 414"/>
                <a:gd name="T55" fmla="*/ 185 h 234"/>
                <a:gd name="T56" fmla="*/ 84 w 414"/>
                <a:gd name="T57" fmla="*/ 194 h 234"/>
                <a:gd name="T58" fmla="*/ 88 w 414"/>
                <a:gd name="T59" fmla="*/ 199 h 234"/>
                <a:gd name="T60" fmla="*/ 90 w 414"/>
                <a:gd name="T61" fmla="*/ 205 h 234"/>
                <a:gd name="T62" fmla="*/ 91 w 414"/>
                <a:gd name="T63" fmla="*/ 210 h 234"/>
                <a:gd name="T64" fmla="*/ 95 w 414"/>
                <a:gd name="T65" fmla="*/ 212 h 234"/>
                <a:gd name="T66" fmla="*/ 102 w 414"/>
                <a:gd name="T67" fmla="*/ 217 h 234"/>
                <a:gd name="T68" fmla="*/ 102 w 414"/>
                <a:gd name="T69" fmla="*/ 223 h 234"/>
                <a:gd name="T70" fmla="*/ 105 w 414"/>
                <a:gd name="T71" fmla="*/ 229 h 234"/>
                <a:gd name="T72" fmla="*/ 111 w 414"/>
                <a:gd name="T73" fmla="*/ 234 h 234"/>
                <a:gd name="T74" fmla="*/ 117 w 414"/>
                <a:gd name="T75" fmla="*/ 228 h 234"/>
                <a:gd name="T76" fmla="*/ 127 w 414"/>
                <a:gd name="T77" fmla="*/ 228 h 234"/>
                <a:gd name="T78" fmla="*/ 137 w 414"/>
                <a:gd name="T79" fmla="*/ 226 h 234"/>
                <a:gd name="T80" fmla="*/ 145 w 414"/>
                <a:gd name="T81" fmla="*/ 227 h 234"/>
                <a:gd name="T82" fmla="*/ 155 w 414"/>
                <a:gd name="T83" fmla="*/ 225 h 234"/>
                <a:gd name="T84" fmla="*/ 156 w 414"/>
                <a:gd name="T85" fmla="*/ 222 h 234"/>
                <a:gd name="T86" fmla="*/ 160 w 414"/>
                <a:gd name="T87" fmla="*/ 217 h 234"/>
                <a:gd name="T88" fmla="*/ 172 w 414"/>
                <a:gd name="T89" fmla="*/ 229 h 234"/>
                <a:gd name="T90" fmla="*/ 414 w 414"/>
                <a:gd name="T9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4" h="234">
                  <a:moveTo>
                    <a:pt x="0" y="0"/>
                  </a:moveTo>
                  <a:cubicBezTo>
                    <a:pt x="0" y="54"/>
                    <a:pt x="0" y="54"/>
                    <a:pt x="0" y="54"/>
                  </a:cubicBezTo>
                  <a:cubicBezTo>
                    <a:pt x="10" y="67"/>
                    <a:pt x="10" y="67"/>
                    <a:pt x="10" y="67"/>
                  </a:cubicBezTo>
                  <a:cubicBezTo>
                    <a:pt x="10" y="67"/>
                    <a:pt x="12" y="70"/>
                    <a:pt x="12" y="71"/>
                  </a:cubicBezTo>
                  <a:cubicBezTo>
                    <a:pt x="12" y="71"/>
                    <a:pt x="12" y="74"/>
                    <a:pt x="12" y="74"/>
                  </a:cubicBezTo>
                  <a:cubicBezTo>
                    <a:pt x="10" y="75"/>
                    <a:pt x="10" y="75"/>
                    <a:pt x="10" y="75"/>
                  </a:cubicBezTo>
                  <a:cubicBezTo>
                    <a:pt x="10" y="76"/>
                    <a:pt x="10" y="76"/>
                    <a:pt x="10" y="76"/>
                  </a:cubicBezTo>
                  <a:cubicBezTo>
                    <a:pt x="10" y="76"/>
                    <a:pt x="12" y="78"/>
                    <a:pt x="13" y="78"/>
                  </a:cubicBezTo>
                  <a:cubicBezTo>
                    <a:pt x="13" y="79"/>
                    <a:pt x="14" y="79"/>
                    <a:pt x="14" y="79"/>
                  </a:cubicBezTo>
                  <a:cubicBezTo>
                    <a:pt x="14" y="80"/>
                    <a:pt x="14" y="80"/>
                    <a:pt x="14" y="80"/>
                  </a:cubicBezTo>
                  <a:cubicBezTo>
                    <a:pt x="14" y="80"/>
                    <a:pt x="13" y="81"/>
                    <a:pt x="12" y="81"/>
                  </a:cubicBezTo>
                  <a:cubicBezTo>
                    <a:pt x="12" y="81"/>
                    <a:pt x="10" y="82"/>
                    <a:pt x="10" y="82"/>
                  </a:cubicBezTo>
                  <a:cubicBezTo>
                    <a:pt x="11" y="83"/>
                    <a:pt x="11" y="83"/>
                    <a:pt x="11" y="83"/>
                  </a:cubicBezTo>
                  <a:cubicBezTo>
                    <a:pt x="11" y="83"/>
                    <a:pt x="13" y="83"/>
                    <a:pt x="13" y="84"/>
                  </a:cubicBezTo>
                  <a:cubicBezTo>
                    <a:pt x="14" y="84"/>
                    <a:pt x="15" y="84"/>
                    <a:pt x="15" y="85"/>
                  </a:cubicBezTo>
                  <a:cubicBezTo>
                    <a:pt x="16" y="86"/>
                    <a:pt x="17" y="88"/>
                    <a:pt x="18" y="89"/>
                  </a:cubicBezTo>
                  <a:cubicBezTo>
                    <a:pt x="19" y="89"/>
                    <a:pt x="19" y="89"/>
                    <a:pt x="20" y="90"/>
                  </a:cubicBezTo>
                  <a:cubicBezTo>
                    <a:pt x="21" y="90"/>
                    <a:pt x="23" y="90"/>
                    <a:pt x="23" y="90"/>
                  </a:cubicBezTo>
                  <a:cubicBezTo>
                    <a:pt x="24" y="91"/>
                    <a:pt x="25" y="91"/>
                    <a:pt x="25" y="91"/>
                  </a:cubicBezTo>
                  <a:cubicBezTo>
                    <a:pt x="25" y="92"/>
                    <a:pt x="25" y="94"/>
                    <a:pt x="26" y="94"/>
                  </a:cubicBezTo>
                  <a:cubicBezTo>
                    <a:pt x="26" y="95"/>
                    <a:pt x="30" y="98"/>
                    <a:pt x="30" y="98"/>
                  </a:cubicBezTo>
                  <a:cubicBezTo>
                    <a:pt x="31" y="99"/>
                    <a:pt x="32" y="100"/>
                    <a:pt x="32" y="101"/>
                  </a:cubicBezTo>
                  <a:cubicBezTo>
                    <a:pt x="32" y="101"/>
                    <a:pt x="33" y="104"/>
                    <a:pt x="34" y="105"/>
                  </a:cubicBezTo>
                  <a:cubicBezTo>
                    <a:pt x="34" y="105"/>
                    <a:pt x="35" y="105"/>
                    <a:pt x="36" y="106"/>
                  </a:cubicBezTo>
                  <a:cubicBezTo>
                    <a:pt x="37" y="106"/>
                    <a:pt x="38" y="107"/>
                    <a:pt x="38" y="108"/>
                  </a:cubicBezTo>
                  <a:cubicBezTo>
                    <a:pt x="38" y="109"/>
                    <a:pt x="38" y="111"/>
                    <a:pt x="38" y="112"/>
                  </a:cubicBezTo>
                  <a:cubicBezTo>
                    <a:pt x="38" y="112"/>
                    <a:pt x="39" y="114"/>
                    <a:pt x="40" y="114"/>
                  </a:cubicBezTo>
                  <a:cubicBezTo>
                    <a:pt x="40" y="114"/>
                    <a:pt x="41" y="113"/>
                    <a:pt x="41" y="113"/>
                  </a:cubicBezTo>
                  <a:cubicBezTo>
                    <a:pt x="42" y="114"/>
                    <a:pt x="43" y="115"/>
                    <a:pt x="43" y="115"/>
                  </a:cubicBezTo>
                  <a:cubicBezTo>
                    <a:pt x="44" y="116"/>
                    <a:pt x="44" y="116"/>
                    <a:pt x="44" y="117"/>
                  </a:cubicBezTo>
                  <a:cubicBezTo>
                    <a:pt x="44" y="118"/>
                    <a:pt x="44" y="119"/>
                    <a:pt x="44" y="119"/>
                  </a:cubicBezTo>
                  <a:cubicBezTo>
                    <a:pt x="45" y="119"/>
                    <a:pt x="46" y="117"/>
                    <a:pt x="46" y="117"/>
                  </a:cubicBezTo>
                  <a:cubicBezTo>
                    <a:pt x="47" y="117"/>
                    <a:pt x="48" y="117"/>
                    <a:pt x="48" y="118"/>
                  </a:cubicBezTo>
                  <a:cubicBezTo>
                    <a:pt x="48" y="118"/>
                    <a:pt x="48" y="119"/>
                    <a:pt x="49" y="120"/>
                  </a:cubicBezTo>
                  <a:cubicBezTo>
                    <a:pt x="49" y="121"/>
                    <a:pt x="50" y="122"/>
                    <a:pt x="50" y="122"/>
                  </a:cubicBezTo>
                  <a:cubicBezTo>
                    <a:pt x="50" y="122"/>
                    <a:pt x="52" y="122"/>
                    <a:pt x="52" y="122"/>
                  </a:cubicBezTo>
                  <a:cubicBezTo>
                    <a:pt x="52" y="122"/>
                    <a:pt x="53" y="122"/>
                    <a:pt x="54" y="122"/>
                  </a:cubicBezTo>
                  <a:cubicBezTo>
                    <a:pt x="54" y="122"/>
                    <a:pt x="55" y="123"/>
                    <a:pt x="55" y="122"/>
                  </a:cubicBezTo>
                  <a:cubicBezTo>
                    <a:pt x="56" y="122"/>
                    <a:pt x="58" y="121"/>
                    <a:pt x="58" y="121"/>
                  </a:cubicBezTo>
                  <a:cubicBezTo>
                    <a:pt x="58" y="121"/>
                    <a:pt x="59" y="121"/>
                    <a:pt x="59" y="122"/>
                  </a:cubicBezTo>
                  <a:cubicBezTo>
                    <a:pt x="59" y="122"/>
                    <a:pt x="59" y="125"/>
                    <a:pt x="59" y="125"/>
                  </a:cubicBezTo>
                  <a:cubicBezTo>
                    <a:pt x="59" y="125"/>
                    <a:pt x="59" y="128"/>
                    <a:pt x="58" y="128"/>
                  </a:cubicBezTo>
                  <a:cubicBezTo>
                    <a:pt x="58" y="128"/>
                    <a:pt x="57" y="129"/>
                    <a:pt x="57" y="129"/>
                  </a:cubicBezTo>
                  <a:cubicBezTo>
                    <a:pt x="57" y="129"/>
                    <a:pt x="57" y="130"/>
                    <a:pt x="57" y="130"/>
                  </a:cubicBezTo>
                  <a:cubicBezTo>
                    <a:pt x="57" y="131"/>
                    <a:pt x="57" y="133"/>
                    <a:pt x="57" y="134"/>
                  </a:cubicBezTo>
                  <a:cubicBezTo>
                    <a:pt x="57" y="135"/>
                    <a:pt x="56" y="137"/>
                    <a:pt x="56" y="138"/>
                  </a:cubicBezTo>
                  <a:cubicBezTo>
                    <a:pt x="56" y="138"/>
                    <a:pt x="55" y="140"/>
                    <a:pt x="55" y="140"/>
                  </a:cubicBezTo>
                  <a:cubicBezTo>
                    <a:pt x="54" y="141"/>
                    <a:pt x="54" y="142"/>
                    <a:pt x="54" y="143"/>
                  </a:cubicBezTo>
                  <a:cubicBezTo>
                    <a:pt x="55" y="143"/>
                    <a:pt x="55" y="144"/>
                    <a:pt x="55" y="145"/>
                  </a:cubicBezTo>
                  <a:cubicBezTo>
                    <a:pt x="55" y="145"/>
                    <a:pt x="55" y="146"/>
                    <a:pt x="54" y="146"/>
                  </a:cubicBezTo>
                  <a:cubicBezTo>
                    <a:pt x="53" y="146"/>
                    <a:pt x="53" y="147"/>
                    <a:pt x="53" y="147"/>
                  </a:cubicBezTo>
                  <a:cubicBezTo>
                    <a:pt x="53" y="148"/>
                    <a:pt x="54" y="149"/>
                    <a:pt x="54" y="149"/>
                  </a:cubicBezTo>
                  <a:cubicBezTo>
                    <a:pt x="54" y="150"/>
                    <a:pt x="54" y="151"/>
                    <a:pt x="54" y="151"/>
                  </a:cubicBezTo>
                  <a:cubicBezTo>
                    <a:pt x="54" y="151"/>
                    <a:pt x="54" y="153"/>
                    <a:pt x="54" y="153"/>
                  </a:cubicBezTo>
                  <a:cubicBezTo>
                    <a:pt x="54" y="154"/>
                    <a:pt x="55" y="154"/>
                    <a:pt x="56" y="155"/>
                  </a:cubicBezTo>
                  <a:cubicBezTo>
                    <a:pt x="56" y="155"/>
                    <a:pt x="56" y="156"/>
                    <a:pt x="57" y="158"/>
                  </a:cubicBezTo>
                  <a:cubicBezTo>
                    <a:pt x="57" y="159"/>
                    <a:pt x="57" y="159"/>
                    <a:pt x="57" y="160"/>
                  </a:cubicBezTo>
                  <a:cubicBezTo>
                    <a:pt x="57" y="161"/>
                    <a:pt x="57" y="161"/>
                    <a:pt x="56" y="161"/>
                  </a:cubicBezTo>
                  <a:cubicBezTo>
                    <a:pt x="55" y="161"/>
                    <a:pt x="54" y="161"/>
                    <a:pt x="54" y="161"/>
                  </a:cubicBezTo>
                  <a:cubicBezTo>
                    <a:pt x="53" y="162"/>
                    <a:pt x="53" y="162"/>
                    <a:pt x="52" y="163"/>
                  </a:cubicBezTo>
                  <a:cubicBezTo>
                    <a:pt x="52" y="164"/>
                    <a:pt x="51" y="164"/>
                    <a:pt x="51" y="165"/>
                  </a:cubicBezTo>
                  <a:cubicBezTo>
                    <a:pt x="51" y="166"/>
                    <a:pt x="53" y="168"/>
                    <a:pt x="53" y="169"/>
                  </a:cubicBezTo>
                  <a:cubicBezTo>
                    <a:pt x="53" y="169"/>
                    <a:pt x="53" y="171"/>
                    <a:pt x="52" y="172"/>
                  </a:cubicBezTo>
                  <a:cubicBezTo>
                    <a:pt x="52" y="172"/>
                    <a:pt x="51" y="173"/>
                    <a:pt x="51" y="174"/>
                  </a:cubicBezTo>
                  <a:cubicBezTo>
                    <a:pt x="51" y="175"/>
                    <a:pt x="51" y="176"/>
                    <a:pt x="52" y="176"/>
                  </a:cubicBezTo>
                  <a:cubicBezTo>
                    <a:pt x="53" y="176"/>
                    <a:pt x="54" y="176"/>
                    <a:pt x="55" y="176"/>
                  </a:cubicBezTo>
                  <a:cubicBezTo>
                    <a:pt x="55" y="177"/>
                    <a:pt x="55" y="178"/>
                    <a:pt x="56" y="179"/>
                  </a:cubicBezTo>
                  <a:cubicBezTo>
                    <a:pt x="57" y="179"/>
                    <a:pt x="58" y="180"/>
                    <a:pt x="59" y="180"/>
                  </a:cubicBezTo>
                  <a:cubicBezTo>
                    <a:pt x="59" y="180"/>
                    <a:pt x="60" y="179"/>
                    <a:pt x="61" y="179"/>
                  </a:cubicBezTo>
                  <a:cubicBezTo>
                    <a:pt x="62" y="179"/>
                    <a:pt x="62" y="177"/>
                    <a:pt x="62" y="177"/>
                  </a:cubicBezTo>
                  <a:cubicBezTo>
                    <a:pt x="62" y="176"/>
                    <a:pt x="63" y="176"/>
                    <a:pt x="64" y="176"/>
                  </a:cubicBezTo>
                  <a:cubicBezTo>
                    <a:pt x="65" y="176"/>
                    <a:pt x="68" y="174"/>
                    <a:pt x="68" y="173"/>
                  </a:cubicBezTo>
                  <a:cubicBezTo>
                    <a:pt x="69" y="173"/>
                    <a:pt x="70" y="172"/>
                    <a:pt x="70" y="171"/>
                  </a:cubicBezTo>
                  <a:cubicBezTo>
                    <a:pt x="70" y="170"/>
                    <a:pt x="69" y="169"/>
                    <a:pt x="70" y="169"/>
                  </a:cubicBezTo>
                  <a:cubicBezTo>
                    <a:pt x="72" y="169"/>
                    <a:pt x="73" y="171"/>
                    <a:pt x="73" y="171"/>
                  </a:cubicBezTo>
                  <a:cubicBezTo>
                    <a:pt x="73" y="172"/>
                    <a:pt x="74" y="173"/>
                    <a:pt x="75" y="173"/>
                  </a:cubicBezTo>
                  <a:cubicBezTo>
                    <a:pt x="76" y="173"/>
                    <a:pt x="76" y="173"/>
                    <a:pt x="76" y="174"/>
                  </a:cubicBezTo>
                  <a:cubicBezTo>
                    <a:pt x="77" y="174"/>
                    <a:pt x="77" y="176"/>
                    <a:pt x="76" y="176"/>
                  </a:cubicBezTo>
                  <a:cubicBezTo>
                    <a:pt x="76" y="176"/>
                    <a:pt x="76" y="177"/>
                    <a:pt x="77" y="177"/>
                  </a:cubicBezTo>
                  <a:cubicBezTo>
                    <a:pt x="78" y="178"/>
                    <a:pt x="78" y="178"/>
                    <a:pt x="78" y="178"/>
                  </a:cubicBezTo>
                  <a:cubicBezTo>
                    <a:pt x="78" y="179"/>
                    <a:pt x="79" y="180"/>
                    <a:pt x="78" y="180"/>
                  </a:cubicBezTo>
                  <a:cubicBezTo>
                    <a:pt x="78" y="181"/>
                    <a:pt x="78" y="182"/>
                    <a:pt x="78" y="182"/>
                  </a:cubicBezTo>
                  <a:cubicBezTo>
                    <a:pt x="79" y="183"/>
                    <a:pt x="79" y="184"/>
                    <a:pt x="80" y="184"/>
                  </a:cubicBezTo>
                  <a:cubicBezTo>
                    <a:pt x="80" y="184"/>
                    <a:pt x="80" y="184"/>
                    <a:pt x="80" y="185"/>
                  </a:cubicBezTo>
                  <a:cubicBezTo>
                    <a:pt x="80" y="186"/>
                    <a:pt x="80" y="187"/>
                    <a:pt x="81" y="188"/>
                  </a:cubicBezTo>
                  <a:cubicBezTo>
                    <a:pt x="81" y="189"/>
                    <a:pt x="81" y="190"/>
                    <a:pt x="82" y="191"/>
                  </a:cubicBezTo>
                  <a:cubicBezTo>
                    <a:pt x="83" y="192"/>
                    <a:pt x="83" y="194"/>
                    <a:pt x="84" y="194"/>
                  </a:cubicBezTo>
                  <a:cubicBezTo>
                    <a:pt x="84" y="195"/>
                    <a:pt x="85" y="196"/>
                    <a:pt x="85" y="196"/>
                  </a:cubicBezTo>
                  <a:cubicBezTo>
                    <a:pt x="86" y="197"/>
                    <a:pt x="87" y="197"/>
                    <a:pt x="87" y="197"/>
                  </a:cubicBezTo>
                  <a:cubicBezTo>
                    <a:pt x="87" y="198"/>
                    <a:pt x="88" y="199"/>
                    <a:pt x="88" y="199"/>
                  </a:cubicBezTo>
                  <a:cubicBezTo>
                    <a:pt x="88" y="199"/>
                    <a:pt x="89" y="199"/>
                    <a:pt x="89" y="200"/>
                  </a:cubicBezTo>
                  <a:cubicBezTo>
                    <a:pt x="89" y="200"/>
                    <a:pt x="90" y="200"/>
                    <a:pt x="90" y="201"/>
                  </a:cubicBezTo>
                  <a:cubicBezTo>
                    <a:pt x="90" y="202"/>
                    <a:pt x="90" y="205"/>
                    <a:pt x="90" y="205"/>
                  </a:cubicBezTo>
                  <a:cubicBezTo>
                    <a:pt x="90" y="205"/>
                    <a:pt x="88" y="205"/>
                    <a:pt x="88" y="206"/>
                  </a:cubicBezTo>
                  <a:cubicBezTo>
                    <a:pt x="88" y="206"/>
                    <a:pt x="88" y="207"/>
                    <a:pt x="88" y="208"/>
                  </a:cubicBezTo>
                  <a:cubicBezTo>
                    <a:pt x="89" y="208"/>
                    <a:pt x="90" y="210"/>
                    <a:pt x="91" y="210"/>
                  </a:cubicBezTo>
                  <a:cubicBezTo>
                    <a:pt x="91" y="211"/>
                    <a:pt x="92" y="211"/>
                    <a:pt x="92" y="212"/>
                  </a:cubicBezTo>
                  <a:cubicBezTo>
                    <a:pt x="92" y="212"/>
                    <a:pt x="93" y="213"/>
                    <a:pt x="93" y="213"/>
                  </a:cubicBezTo>
                  <a:cubicBezTo>
                    <a:pt x="93" y="213"/>
                    <a:pt x="94" y="213"/>
                    <a:pt x="95" y="212"/>
                  </a:cubicBezTo>
                  <a:cubicBezTo>
                    <a:pt x="96" y="212"/>
                    <a:pt x="96" y="212"/>
                    <a:pt x="97" y="212"/>
                  </a:cubicBezTo>
                  <a:cubicBezTo>
                    <a:pt x="98" y="213"/>
                    <a:pt x="99" y="214"/>
                    <a:pt x="100" y="214"/>
                  </a:cubicBezTo>
                  <a:cubicBezTo>
                    <a:pt x="100" y="215"/>
                    <a:pt x="101" y="216"/>
                    <a:pt x="102" y="217"/>
                  </a:cubicBezTo>
                  <a:cubicBezTo>
                    <a:pt x="102" y="218"/>
                    <a:pt x="102" y="219"/>
                    <a:pt x="103" y="220"/>
                  </a:cubicBezTo>
                  <a:cubicBezTo>
                    <a:pt x="103" y="221"/>
                    <a:pt x="103" y="221"/>
                    <a:pt x="103" y="222"/>
                  </a:cubicBezTo>
                  <a:cubicBezTo>
                    <a:pt x="103" y="222"/>
                    <a:pt x="102" y="223"/>
                    <a:pt x="102" y="223"/>
                  </a:cubicBezTo>
                  <a:cubicBezTo>
                    <a:pt x="102" y="223"/>
                    <a:pt x="104" y="224"/>
                    <a:pt x="104" y="225"/>
                  </a:cubicBezTo>
                  <a:cubicBezTo>
                    <a:pt x="104" y="226"/>
                    <a:pt x="105" y="226"/>
                    <a:pt x="105" y="227"/>
                  </a:cubicBezTo>
                  <a:cubicBezTo>
                    <a:pt x="105" y="228"/>
                    <a:pt x="104" y="228"/>
                    <a:pt x="105" y="229"/>
                  </a:cubicBezTo>
                  <a:cubicBezTo>
                    <a:pt x="105" y="230"/>
                    <a:pt x="106" y="230"/>
                    <a:pt x="106" y="231"/>
                  </a:cubicBezTo>
                  <a:cubicBezTo>
                    <a:pt x="107" y="232"/>
                    <a:pt x="108" y="232"/>
                    <a:pt x="109" y="233"/>
                  </a:cubicBezTo>
                  <a:cubicBezTo>
                    <a:pt x="110" y="234"/>
                    <a:pt x="111" y="234"/>
                    <a:pt x="111" y="234"/>
                  </a:cubicBezTo>
                  <a:cubicBezTo>
                    <a:pt x="111" y="233"/>
                    <a:pt x="111" y="231"/>
                    <a:pt x="111" y="230"/>
                  </a:cubicBezTo>
                  <a:cubicBezTo>
                    <a:pt x="112" y="229"/>
                    <a:pt x="113" y="229"/>
                    <a:pt x="114" y="228"/>
                  </a:cubicBezTo>
                  <a:cubicBezTo>
                    <a:pt x="115" y="228"/>
                    <a:pt x="115" y="227"/>
                    <a:pt x="117" y="228"/>
                  </a:cubicBezTo>
                  <a:cubicBezTo>
                    <a:pt x="119" y="229"/>
                    <a:pt x="121" y="229"/>
                    <a:pt x="123" y="229"/>
                  </a:cubicBezTo>
                  <a:cubicBezTo>
                    <a:pt x="124" y="230"/>
                    <a:pt x="126" y="230"/>
                    <a:pt x="126" y="230"/>
                  </a:cubicBezTo>
                  <a:cubicBezTo>
                    <a:pt x="126" y="230"/>
                    <a:pt x="126" y="229"/>
                    <a:pt x="127" y="228"/>
                  </a:cubicBezTo>
                  <a:cubicBezTo>
                    <a:pt x="127" y="227"/>
                    <a:pt x="127" y="224"/>
                    <a:pt x="128" y="224"/>
                  </a:cubicBezTo>
                  <a:cubicBezTo>
                    <a:pt x="128" y="224"/>
                    <a:pt x="129" y="224"/>
                    <a:pt x="129" y="224"/>
                  </a:cubicBezTo>
                  <a:cubicBezTo>
                    <a:pt x="130" y="224"/>
                    <a:pt x="136" y="226"/>
                    <a:pt x="137" y="226"/>
                  </a:cubicBezTo>
                  <a:cubicBezTo>
                    <a:pt x="137" y="226"/>
                    <a:pt x="141" y="225"/>
                    <a:pt x="141" y="225"/>
                  </a:cubicBezTo>
                  <a:cubicBezTo>
                    <a:pt x="142" y="225"/>
                    <a:pt x="144" y="225"/>
                    <a:pt x="144" y="225"/>
                  </a:cubicBezTo>
                  <a:cubicBezTo>
                    <a:pt x="144" y="225"/>
                    <a:pt x="145" y="227"/>
                    <a:pt x="145" y="227"/>
                  </a:cubicBezTo>
                  <a:cubicBezTo>
                    <a:pt x="145" y="227"/>
                    <a:pt x="146" y="227"/>
                    <a:pt x="147" y="226"/>
                  </a:cubicBezTo>
                  <a:cubicBezTo>
                    <a:pt x="148" y="226"/>
                    <a:pt x="149" y="225"/>
                    <a:pt x="151" y="225"/>
                  </a:cubicBezTo>
                  <a:cubicBezTo>
                    <a:pt x="152" y="224"/>
                    <a:pt x="154" y="225"/>
                    <a:pt x="155" y="225"/>
                  </a:cubicBezTo>
                  <a:cubicBezTo>
                    <a:pt x="155" y="225"/>
                    <a:pt x="157" y="225"/>
                    <a:pt x="157" y="225"/>
                  </a:cubicBezTo>
                  <a:cubicBezTo>
                    <a:pt x="158" y="225"/>
                    <a:pt x="157" y="225"/>
                    <a:pt x="157" y="224"/>
                  </a:cubicBezTo>
                  <a:cubicBezTo>
                    <a:pt x="157" y="223"/>
                    <a:pt x="156" y="222"/>
                    <a:pt x="156" y="222"/>
                  </a:cubicBezTo>
                  <a:cubicBezTo>
                    <a:pt x="157" y="221"/>
                    <a:pt x="157" y="220"/>
                    <a:pt x="157" y="219"/>
                  </a:cubicBezTo>
                  <a:cubicBezTo>
                    <a:pt x="157" y="218"/>
                    <a:pt x="157" y="218"/>
                    <a:pt x="158" y="217"/>
                  </a:cubicBezTo>
                  <a:cubicBezTo>
                    <a:pt x="159" y="217"/>
                    <a:pt x="159" y="217"/>
                    <a:pt x="160" y="217"/>
                  </a:cubicBezTo>
                  <a:cubicBezTo>
                    <a:pt x="160" y="216"/>
                    <a:pt x="161" y="214"/>
                    <a:pt x="161" y="215"/>
                  </a:cubicBezTo>
                  <a:cubicBezTo>
                    <a:pt x="162" y="215"/>
                    <a:pt x="170" y="228"/>
                    <a:pt x="170" y="228"/>
                  </a:cubicBezTo>
                  <a:cubicBezTo>
                    <a:pt x="172" y="229"/>
                    <a:pt x="172" y="229"/>
                    <a:pt x="172" y="229"/>
                  </a:cubicBezTo>
                  <a:cubicBezTo>
                    <a:pt x="172" y="203"/>
                    <a:pt x="172" y="203"/>
                    <a:pt x="172" y="203"/>
                  </a:cubicBezTo>
                  <a:cubicBezTo>
                    <a:pt x="414" y="203"/>
                    <a:pt x="414" y="203"/>
                    <a:pt x="414" y="203"/>
                  </a:cubicBezTo>
                  <a:cubicBezTo>
                    <a:pt x="414" y="0"/>
                    <a:pt x="414" y="0"/>
                    <a:pt x="414" y="0"/>
                  </a:cubicBezTo>
                  <a:lnTo>
                    <a:pt x="0" y="0"/>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0" name="Freeform 33">
              <a:extLst>
                <a:ext uri="{FF2B5EF4-FFF2-40B4-BE49-F238E27FC236}">
                  <a16:creationId xmlns:a16="http://schemas.microsoft.com/office/drawing/2014/main" id="{97CB9DFA-9381-B61F-0477-8BEFB8F26E73}"/>
                </a:ext>
              </a:extLst>
            </p:cNvPr>
            <p:cNvSpPr>
              <a:spLocks/>
            </p:cNvSpPr>
            <p:nvPr/>
          </p:nvSpPr>
          <p:spPr bwMode="auto">
            <a:xfrm>
              <a:off x="6480100" y="2582322"/>
              <a:ext cx="915321" cy="804623"/>
            </a:xfrm>
            <a:custGeom>
              <a:avLst/>
              <a:gdLst>
                <a:gd name="T0" fmla="*/ 223 w 231"/>
                <a:gd name="T1" fmla="*/ 157 h 203"/>
                <a:gd name="T2" fmla="*/ 224 w 231"/>
                <a:gd name="T3" fmla="*/ 160 h 203"/>
                <a:gd name="T4" fmla="*/ 220 w 231"/>
                <a:gd name="T5" fmla="*/ 157 h 203"/>
                <a:gd name="T6" fmla="*/ 218 w 231"/>
                <a:gd name="T7" fmla="*/ 149 h 203"/>
                <a:gd name="T8" fmla="*/ 217 w 231"/>
                <a:gd name="T9" fmla="*/ 146 h 203"/>
                <a:gd name="T10" fmla="*/ 218 w 231"/>
                <a:gd name="T11" fmla="*/ 141 h 203"/>
                <a:gd name="T12" fmla="*/ 216 w 231"/>
                <a:gd name="T13" fmla="*/ 135 h 203"/>
                <a:gd name="T14" fmla="*/ 216 w 231"/>
                <a:gd name="T15" fmla="*/ 131 h 203"/>
                <a:gd name="T16" fmla="*/ 211 w 231"/>
                <a:gd name="T17" fmla="*/ 125 h 203"/>
                <a:gd name="T18" fmla="*/ 202 w 231"/>
                <a:gd name="T19" fmla="*/ 122 h 203"/>
                <a:gd name="T20" fmla="*/ 202 w 231"/>
                <a:gd name="T21" fmla="*/ 119 h 203"/>
                <a:gd name="T22" fmla="*/ 187 w 231"/>
                <a:gd name="T23" fmla="*/ 103 h 203"/>
                <a:gd name="T24" fmla="*/ 190 w 231"/>
                <a:gd name="T25" fmla="*/ 95 h 203"/>
                <a:gd name="T26" fmla="*/ 192 w 231"/>
                <a:gd name="T27" fmla="*/ 85 h 203"/>
                <a:gd name="T28" fmla="*/ 190 w 231"/>
                <a:gd name="T29" fmla="*/ 75 h 203"/>
                <a:gd name="T30" fmla="*/ 179 w 231"/>
                <a:gd name="T31" fmla="*/ 78 h 203"/>
                <a:gd name="T32" fmla="*/ 175 w 231"/>
                <a:gd name="T33" fmla="*/ 71 h 203"/>
                <a:gd name="T34" fmla="*/ 174 w 231"/>
                <a:gd name="T35" fmla="*/ 61 h 203"/>
                <a:gd name="T36" fmla="*/ 161 w 231"/>
                <a:gd name="T37" fmla="*/ 48 h 203"/>
                <a:gd name="T38" fmla="*/ 154 w 231"/>
                <a:gd name="T39" fmla="*/ 42 h 203"/>
                <a:gd name="T40" fmla="*/ 150 w 231"/>
                <a:gd name="T41" fmla="*/ 35 h 203"/>
                <a:gd name="T42" fmla="*/ 149 w 231"/>
                <a:gd name="T43" fmla="*/ 28 h 203"/>
                <a:gd name="T44" fmla="*/ 147 w 231"/>
                <a:gd name="T45" fmla="*/ 20 h 203"/>
                <a:gd name="T46" fmla="*/ 150 w 231"/>
                <a:gd name="T47" fmla="*/ 11 h 203"/>
                <a:gd name="T48" fmla="*/ 146 w 231"/>
                <a:gd name="T49" fmla="*/ 8 h 203"/>
                <a:gd name="T50" fmla="*/ 144 w 231"/>
                <a:gd name="T51" fmla="*/ 4 h 203"/>
                <a:gd name="T52" fmla="*/ 139 w 231"/>
                <a:gd name="T53" fmla="*/ 0 h 203"/>
                <a:gd name="T54" fmla="*/ 0 w 231"/>
                <a:gd name="T55" fmla="*/ 3 h 203"/>
                <a:gd name="T56" fmla="*/ 4 w 231"/>
                <a:gd name="T57" fmla="*/ 3 h 203"/>
                <a:gd name="T58" fmla="*/ 5 w 231"/>
                <a:gd name="T59" fmla="*/ 12 h 203"/>
                <a:gd name="T60" fmla="*/ 10 w 231"/>
                <a:gd name="T61" fmla="*/ 17 h 203"/>
                <a:gd name="T62" fmla="*/ 13 w 231"/>
                <a:gd name="T63" fmla="*/ 23 h 203"/>
                <a:gd name="T64" fmla="*/ 15 w 231"/>
                <a:gd name="T65" fmla="*/ 27 h 203"/>
                <a:gd name="T66" fmla="*/ 21 w 231"/>
                <a:gd name="T67" fmla="*/ 32 h 203"/>
                <a:gd name="T68" fmla="*/ 26 w 231"/>
                <a:gd name="T69" fmla="*/ 33 h 203"/>
                <a:gd name="T70" fmla="*/ 29 w 231"/>
                <a:gd name="T71" fmla="*/ 35 h 203"/>
                <a:gd name="T72" fmla="*/ 30 w 231"/>
                <a:gd name="T73" fmla="*/ 38 h 203"/>
                <a:gd name="T74" fmla="*/ 28 w 231"/>
                <a:gd name="T75" fmla="*/ 40 h 203"/>
                <a:gd name="T76" fmla="*/ 26 w 231"/>
                <a:gd name="T77" fmla="*/ 43 h 203"/>
                <a:gd name="T78" fmla="*/ 24 w 231"/>
                <a:gd name="T79" fmla="*/ 46 h 203"/>
                <a:gd name="T80" fmla="*/ 28 w 231"/>
                <a:gd name="T81" fmla="*/ 55 h 203"/>
                <a:gd name="T82" fmla="*/ 30 w 231"/>
                <a:gd name="T83" fmla="*/ 57 h 203"/>
                <a:gd name="T84" fmla="*/ 38 w 231"/>
                <a:gd name="T85" fmla="*/ 65 h 203"/>
                <a:gd name="T86" fmla="*/ 40 w 231"/>
                <a:gd name="T87" fmla="*/ 182 h 203"/>
                <a:gd name="T88" fmla="*/ 197 w 231"/>
                <a:gd name="T89" fmla="*/ 186 h 203"/>
                <a:gd name="T90" fmla="*/ 190 w 231"/>
                <a:gd name="T91" fmla="*/ 197 h 203"/>
                <a:gd name="T92" fmla="*/ 209 w 231"/>
                <a:gd name="T93" fmla="*/ 203 h 203"/>
                <a:gd name="T94" fmla="*/ 210 w 231"/>
                <a:gd name="T95" fmla="*/ 201 h 203"/>
                <a:gd name="T96" fmla="*/ 211 w 231"/>
                <a:gd name="T97" fmla="*/ 199 h 203"/>
                <a:gd name="T98" fmla="*/ 212 w 231"/>
                <a:gd name="T99" fmla="*/ 194 h 203"/>
                <a:gd name="T100" fmla="*/ 211 w 231"/>
                <a:gd name="T101" fmla="*/ 192 h 203"/>
                <a:gd name="T102" fmla="*/ 214 w 231"/>
                <a:gd name="T103" fmla="*/ 191 h 203"/>
                <a:gd name="T104" fmla="*/ 214 w 231"/>
                <a:gd name="T105" fmla="*/ 188 h 203"/>
                <a:gd name="T106" fmla="*/ 215 w 231"/>
                <a:gd name="T107" fmla="*/ 180 h 203"/>
                <a:gd name="T108" fmla="*/ 217 w 231"/>
                <a:gd name="T109" fmla="*/ 179 h 203"/>
                <a:gd name="T110" fmla="*/ 217 w 231"/>
                <a:gd name="T111" fmla="*/ 182 h 203"/>
                <a:gd name="T112" fmla="*/ 219 w 231"/>
                <a:gd name="T113" fmla="*/ 182 h 203"/>
                <a:gd name="T114" fmla="*/ 224 w 231"/>
                <a:gd name="T115" fmla="*/ 177 h 203"/>
                <a:gd name="T116" fmla="*/ 228 w 231"/>
                <a:gd name="T117" fmla="*/ 175 h 203"/>
                <a:gd name="T118" fmla="*/ 227 w 231"/>
                <a:gd name="T119" fmla="*/ 168 h 203"/>
                <a:gd name="T120" fmla="*/ 229 w 231"/>
                <a:gd name="T121" fmla="*/ 16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1" h="203">
                  <a:moveTo>
                    <a:pt x="226" y="160"/>
                  </a:moveTo>
                  <a:cubicBezTo>
                    <a:pt x="226" y="159"/>
                    <a:pt x="225" y="157"/>
                    <a:pt x="225" y="157"/>
                  </a:cubicBezTo>
                  <a:cubicBezTo>
                    <a:pt x="223" y="157"/>
                    <a:pt x="223" y="157"/>
                    <a:pt x="223" y="157"/>
                  </a:cubicBezTo>
                  <a:cubicBezTo>
                    <a:pt x="223" y="157"/>
                    <a:pt x="224" y="158"/>
                    <a:pt x="224" y="158"/>
                  </a:cubicBezTo>
                  <a:cubicBezTo>
                    <a:pt x="224" y="158"/>
                    <a:pt x="225" y="159"/>
                    <a:pt x="225" y="159"/>
                  </a:cubicBezTo>
                  <a:cubicBezTo>
                    <a:pt x="225" y="159"/>
                    <a:pt x="224" y="160"/>
                    <a:pt x="224" y="160"/>
                  </a:cubicBezTo>
                  <a:cubicBezTo>
                    <a:pt x="224" y="160"/>
                    <a:pt x="223" y="160"/>
                    <a:pt x="223" y="160"/>
                  </a:cubicBezTo>
                  <a:cubicBezTo>
                    <a:pt x="223" y="160"/>
                    <a:pt x="221" y="159"/>
                    <a:pt x="221" y="159"/>
                  </a:cubicBezTo>
                  <a:cubicBezTo>
                    <a:pt x="221" y="159"/>
                    <a:pt x="220" y="157"/>
                    <a:pt x="220" y="157"/>
                  </a:cubicBezTo>
                  <a:cubicBezTo>
                    <a:pt x="220" y="156"/>
                    <a:pt x="220" y="155"/>
                    <a:pt x="220" y="155"/>
                  </a:cubicBezTo>
                  <a:cubicBezTo>
                    <a:pt x="218" y="151"/>
                    <a:pt x="218" y="151"/>
                    <a:pt x="218" y="151"/>
                  </a:cubicBezTo>
                  <a:cubicBezTo>
                    <a:pt x="218" y="151"/>
                    <a:pt x="218" y="149"/>
                    <a:pt x="218" y="149"/>
                  </a:cubicBezTo>
                  <a:cubicBezTo>
                    <a:pt x="218" y="149"/>
                    <a:pt x="216" y="149"/>
                    <a:pt x="216" y="148"/>
                  </a:cubicBezTo>
                  <a:cubicBezTo>
                    <a:pt x="216" y="148"/>
                    <a:pt x="216" y="147"/>
                    <a:pt x="216" y="147"/>
                  </a:cubicBezTo>
                  <a:cubicBezTo>
                    <a:pt x="217" y="146"/>
                    <a:pt x="217" y="146"/>
                    <a:pt x="217" y="146"/>
                  </a:cubicBezTo>
                  <a:cubicBezTo>
                    <a:pt x="217" y="146"/>
                    <a:pt x="218" y="145"/>
                    <a:pt x="218" y="145"/>
                  </a:cubicBezTo>
                  <a:cubicBezTo>
                    <a:pt x="218" y="145"/>
                    <a:pt x="219" y="144"/>
                    <a:pt x="219" y="143"/>
                  </a:cubicBezTo>
                  <a:cubicBezTo>
                    <a:pt x="219" y="143"/>
                    <a:pt x="218" y="141"/>
                    <a:pt x="218" y="141"/>
                  </a:cubicBezTo>
                  <a:cubicBezTo>
                    <a:pt x="218" y="141"/>
                    <a:pt x="217" y="138"/>
                    <a:pt x="216" y="138"/>
                  </a:cubicBezTo>
                  <a:cubicBezTo>
                    <a:pt x="216" y="138"/>
                    <a:pt x="216" y="136"/>
                    <a:pt x="216" y="136"/>
                  </a:cubicBezTo>
                  <a:cubicBezTo>
                    <a:pt x="216" y="136"/>
                    <a:pt x="216" y="135"/>
                    <a:pt x="216" y="135"/>
                  </a:cubicBezTo>
                  <a:cubicBezTo>
                    <a:pt x="217" y="135"/>
                    <a:pt x="217" y="135"/>
                    <a:pt x="217" y="135"/>
                  </a:cubicBezTo>
                  <a:cubicBezTo>
                    <a:pt x="217" y="135"/>
                    <a:pt x="217" y="133"/>
                    <a:pt x="217" y="133"/>
                  </a:cubicBezTo>
                  <a:cubicBezTo>
                    <a:pt x="217" y="132"/>
                    <a:pt x="216" y="131"/>
                    <a:pt x="216" y="131"/>
                  </a:cubicBezTo>
                  <a:cubicBezTo>
                    <a:pt x="216" y="130"/>
                    <a:pt x="213" y="128"/>
                    <a:pt x="213" y="128"/>
                  </a:cubicBezTo>
                  <a:cubicBezTo>
                    <a:pt x="212" y="128"/>
                    <a:pt x="210" y="128"/>
                    <a:pt x="210" y="128"/>
                  </a:cubicBezTo>
                  <a:cubicBezTo>
                    <a:pt x="210" y="127"/>
                    <a:pt x="211" y="125"/>
                    <a:pt x="211" y="125"/>
                  </a:cubicBezTo>
                  <a:cubicBezTo>
                    <a:pt x="205" y="121"/>
                    <a:pt x="205" y="121"/>
                    <a:pt x="205" y="121"/>
                  </a:cubicBezTo>
                  <a:cubicBezTo>
                    <a:pt x="205" y="121"/>
                    <a:pt x="204" y="121"/>
                    <a:pt x="204" y="121"/>
                  </a:cubicBezTo>
                  <a:cubicBezTo>
                    <a:pt x="204" y="122"/>
                    <a:pt x="202" y="122"/>
                    <a:pt x="202" y="122"/>
                  </a:cubicBezTo>
                  <a:cubicBezTo>
                    <a:pt x="202" y="122"/>
                    <a:pt x="200" y="122"/>
                    <a:pt x="200" y="121"/>
                  </a:cubicBezTo>
                  <a:cubicBezTo>
                    <a:pt x="200" y="121"/>
                    <a:pt x="200" y="119"/>
                    <a:pt x="200" y="119"/>
                  </a:cubicBezTo>
                  <a:cubicBezTo>
                    <a:pt x="202" y="119"/>
                    <a:pt x="202" y="119"/>
                    <a:pt x="202" y="119"/>
                  </a:cubicBezTo>
                  <a:cubicBezTo>
                    <a:pt x="198" y="117"/>
                    <a:pt x="198" y="117"/>
                    <a:pt x="198" y="117"/>
                  </a:cubicBezTo>
                  <a:cubicBezTo>
                    <a:pt x="187" y="108"/>
                    <a:pt x="187" y="108"/>
                    <a:pt x="187" y="108"/>
                  </a:cubicBezTo>
                  <a:cubicBezTo>
                    <a:pt x="187" y="108"/>
                    <a:pt x="187" y="103"/>
                    <a:pt x="187" y="103"/>
                  </a:cubicBezTo>
                  <a:cubicBezTo>
                    <a:pt x="187" y="103"/>
                    <a:pt x="187" y="101"/>
                    <a:pt x="187" y="101"/>
                  </a:cubicBezTo>
                  <a:cubicBezTo>
                    <a:pt x="187" y="100"/>
                    <a:pt x="189" y="97"/>
                    <a:pt x="189" y="97"/>
                  </a:cubicBezTo>
                  <a:cubicBezTo>
                    <a:pt x="189" y="97"/>
                    <a:pt x="190" y="95"/>
                    <a:pt x="190" y="95"/>
                  </a:cubicBezTo>
                  <a:cubicBezTo>
                    <a:pt x="190" y="95"/>
                    <a:pt x="191" y="93"/>
                    <a:pt x="191" y="93"/>
                  </a:cubicBezTo>
                  <a:cubicBezTo>
                    <a:pt x="191" y="93"/>
                    <a:pt x="192" y="89"/>
                    <a:pt x="192" y="89"/>
                  </a:cubicBezTo>
                  <a:cubicBezTo>
                    <a:pt x="192" y="89"/>
                    <a:pt x="192" y="86"/>
                    <a:pt x="192" y="85"/>
                  </a:cubicBezTo>
                  <a:cubicBezTo>
                    <a:pt x="192" y="85"/>
                    <a:pt x="194" y="83"/>
                    <a:pt x="194" y="83"/>
                  </a:cubicBezTo>
                  <a:cubicBezTo>
                    <a:pt x="194" y="82"/>
                    <a:pt x="195" y="79"/>
                    <a:pt x="195" y="79"/>
                  </a:cubicBezTo>
                  <a:cubicBezTo>
                    <a:pt x="190" y="75"/>
                    <a:pt x="190" y="75"/>
                    <a:pt x="190" y="75"/>
                  </a:cubicBezTo>
                  <a:cubicBezTo>
                    <a:pt x="184" y="74"/>
                    <a:pt x="184" y="74"/>
                    <a:pt x="184" y="74"/>
                  </a:cubicBezTo>
                  <a:cubicBezTo>
                    <a:pt x="184" y="74"/>
                    <a:pt x="181" y="77"/>
                    <a:pt x="181" y="78"/>
                  </a:cubicBezTo>
                  <a:cubicBezTo>
                    <a:pt x="181" y="78"/>
                    <a:pt x="179" y="78"/>
                    <a:pt x="179" y="78"/>
                  </a:cubicBezTo>
                  <a:cubicBezTo>
                    <a:pt x="179" y="78"/>
                    <a:pt x="177" y="78"/>
                    <a:pt x="177" y="78"/>
                  </a:cubicBezTo>
                  <a:cubicBezTo>
                    <a:pt x="177" y="78"/>
                    <a:pt x="176" y="73"/>
                    <a:pt x="176" y="73"/>
                  </a:cubicBezTo>
                  <a:cubicBezTo>
                    <a:pt x="176" y="73"/>
                    <a:pt x="175" y="72"/>
                    <a:pt x="175" y="71"/>
                  </a:cubicBezTo>
                  <a:cubicBezTo>
                    <a:pt x="175" y="71"/>
                    <a:pt x="175" y="70"/>
                    <a:pt x="175" y="70"/>
                  </a:cubicBezTo>
                  <a:cubicBezTo>
                    <a:pt x="176" y="68"/>
                    <a:pt x="176" y="68"/>
                    <a:pt x="176" y="68"/>
                  </a:cubicBezTo>
                  <a:cubicBezTo>
                    <a:pt x="174" y="61"/>
                    <a:pt x="174" y="61"/>
                    <a:pt x="174" y="61"/>
                  </a:cubicBezTo>
                  <a:cubicBezTo>
                    <a:pt x="166" y="54"/>
                    <a:pt x="166" y="54"/>
                    <a:pt x="166" y="54"/>
                  </a:cubicBezTo>
                  <a:cubicBezTo>
                    <a:pt x="164" y="53"/>
                    <a:pt x="164" y="53"/>
                    <a:pt x="164" y="53"/>
                  </a:cubicBezTo>
                  <a:cubicBezTo>
                    <a:pt x="164" y="53"/>
                    <a:pt x="161" y="48"/>
                    <a:pt x="161" y="48"/>
                  </a:cubicBezTo>
                  <a:cubicBezTo>
                    <a:pt x="161" y="48"/>
                    <a:pt x="159" y="48"/>
                    <a:pt x="159" y="48"/>
                  </a:cubicBezTo>
                  <a:cubicBezTo>
                    <a:pt x="159" y="48"/>
                    <a:pt x="159" y="46"/>
                    <a:pt x="159" y="46"/>
                  </a:cubicBezTo>
                  <a:cubicBezTo>
                    <a:pt x="154" y="42"/>
                    <a:pt x="154" y="42"/>
                    <a:pt x="154" y="42"/>
                  </a:cubicBezTo>
                  <a:cubicBezTo>
                    <a:pt x="152" y="39"/>
                    <a:pt x="152" y="39"/>
                    <a:pt x="152" y="39"/>
                  </a:cubicBezTo>
                  <a:cubicBezTo>
                    <a:pt x="152" y="37"/>
                    <a:pt x="152" y="37"/>
                    <a:pt x="152" y="37"/>
                  </a:cubicBezTo>
                  <a:cubicBezTo>
                    <a:pt x="150" y="35"/>
                    <a:pt x="150" y="35"/>
                    <a:pt x="150" y="35"/>
                  </a:cubicBezTo>
                  <a:cubicBezTo>
                    <a:pt x="150" y="35"/>
                    <a:pt x="150" y="33"/>
                    <a:pt x="150" y="33"/>
                  </a:cubicBezTo>
                  <a:cubicBezTo>
                    <a:pt x="150" y="33"/>
                    <a:pt x="150" y="31"/>
                    <a:pt x="150" y="31"/>
                  </a:cubicBezTo>
                  <a:cubicBezTo>
                    <a:pt x="149" y="28"/>
                    <a:pt x="149" y="28"/>
                    <a:pt x="149" y="28"/>
                  </a:cubicBezTo>
                  <a:cubicBezTo>
                    <a:pt x="149" y="28"/>
                    <a:pt x="148" y="26"/>
                    <a:pt x="148" y="26"/>
                  </a:cubicBezTo>
                  <a:cubicBezTo>
                    <a:pt x="148" y="26"/>
                    <a:pt x="148" y="25"/>
                    <a:pt x="148" y="25"/>
                  </a:cubicBezTo>
                  <a:cubicBezTo>
                    <a:pt x="148" y="25"/>
                    <a:pt x="147" y="20"/>
                    <a:pt x="147" y="20"/>
                  </a:cubicBezTo>
                  <a:cubicBezTo>
                    <a:pt x="147" y="20"/>
                    <a:pt x="147" y="16"/>
                    <a:pt x="147" y="16"/>
                  </a:cubicBezTo>
                  <a:cubicBezTo>
                    <a:pt x="147" y="16"/>
                    <a:pt x="148" y="14"/>
                    <a:pt x="148" y="14"/>
                  </a:cubicBezTo>
                  <a:cubicBezTo>
                    <a:pt x="148" y="14"/>
                    <a:pt x="150" y="11"/>
                    <a:pt x="150" y="11"/>
                  </a:cubicBezTo>
                  <a:cubicBezTo>
                    <a:pt x="150" y="11"/>
                    <a:pt x="150" y="10"/>
                    <a:pt x="150" y="10"/>
                  </a:cubicBezTo>
                  <a:cubicBezTo>
                    <a:pt x="150" y="10"/>
                    <a:pt x="148" y="9"/>
                    <a:pt x="148" y="9"/>
                  </a:cubicBezTo>
                  <a:cubicBezTo>
                    <a:pt x="147" y="9"/>
                    <a:pt x="147" y="9"/>
                    <a:pt x="146" y="8"/>
                  </a:cubicBezTo>
                  <a:cubicBezTo>
                    <a:pt x="146" y="8"/>
                    <a:pt x="146" y="7"/>
                    <a:pt x="146" y="7"/>
                  </a:cubicBezTo>
                  <a:cubicBezTo>
                    <a:pt x="146" y="7"/>
                    <a:pt x="145" y="6"/>
                    <a:pt x="145" y="6"/>
                  </a:cubicBezTo>
                  <a:cubicBezTo>
                    <a:pt x="144" y="6"/>
                    <a:pt x="144" y="4"/>
                    <a:pt x="144" y="4"/>
                  </a:cubicBezTo>
                  <a:cubicBezTo>
                    <a:pt x="144" y="4"/>
                    <a:pt x="143" y="3"/>
                    <a:pt x="143" y="3"/>
                  </a:cubicBezTo>
                  <a:cubicBezTo>
                    <a:pt x="143" y="3"/>
                    <a:pt x="141" y="2"/>
                    <a:pt x="141" y="2"/>
                  </a:cubicBezTo>
                  <a:cubicBezTo>
                    <a:pt x="140" y="2"/>
                    <a:pt x="139" y="0"/>
                    <a:pt x="139" y="0"/>
                  </a:cubicBezTo>
                  <a:cubicBezTo>
                    <a:pt x="40" y="1"/>
                    <a:pt x="40" y="1"/>
                    <a:pt x="40" y="1"/>
                  </a:cubicBezTo>
                  <a:cubicBezTo>
                    <a:pt x="0" y="1"/>
                    <a:pt x="0" y="1"/>
                    <a:pt x="0" y="1"/>
                  </a:cubicBezTo>
                  <a:cubicBezTo>
                    <a:pt x="0" y="1"/>
                    <a:pt x="0" y="3"/>
                    <a:pt x="0" y="3"/>
                  </a:cubicBezTo>
                  <a:cubicBezTo>
                    <a:pt x="0" y="4"/>
                    <a:pt x="2" y="4"/>
                    <a:pt x="2" y="3"/>
                  </a:cubicBezTo>
                  <a:cubicBezTo>
                    <a:pt x="3" y="3"/>
                    <a:pt x="3" y="2"/>
                    <a:pt x="3" y="2"/>
                  </a:cubicBezTo>
                  <a:cubicBezTo>
                    <a:pt x="3" y="2"/>
                    <a:pt x="4" y="3"/>
                    <a:pt x="4" y="3"/>
                  </a:cubicBezTo>
                  <a:cubicBezTo>
                    <a:pt x="4" y="4"/>
                    <a:pt x="2" y="5"/>
                    <a:pt x="2" y="5"/>
                  </a:cubicBezTo>
                  <a:cubicBezTo>
                    <a:pt x="2" y="6"/>
                    <a:pt x="3" y="8"/>
                    <a:pt x="4" y="9"/>
                  </a:cubicBezTo>
                  <a:cubicBezTo>
                    <a:pt x="4" y="9"/>
                    <a:pt x="5" y="11"/>
                    <a:pt x="5" y="12"/>
                  </a:cubicBezTo>
                  <a:cubicBezTo>
                    <a:pt x="5" y="12"/>
                    <a:pt x="4" y="14"/>
                    <a:pt x="4" y="14"/>
                  </a:cubicBezTo>
                  <a:cubicBezTo>
                    <a:pt x="4" y="14"/>
                    <a:pt x="6" y="14"/>
                    <a:pt x="7" y="15"/>
                  </a:cubicBezTo>
                  <a:cubicBezTo>
                    <a:pt x="8" y="15"/>
                    <a:pt x="10" y="16"/>
                    <a:pt x="10" y="17"/>
                  </a:cubicBezTo>
                  <a:cubicBezTo>
                    <a:pt x="10" y="17"/>
                    <a:pt x="10" y="19"/>
                    <a:pt x="10" y="19"/>
                  </a:cubicBezTo>
                  <a:cubicBezTo>
                    <a:pt x="10" y="20"/>
                    <a:pt x="11" y="21"/>
                    <a:pt x="12" y="21"/>
                  </a:cubicBezTo>
                  <a:cubicBezTo>
                    <a:pt x="12" y="21"/>
                    <a:pt x="13" y="22"/>
                    <a:pt x="13" y="23"/>
                  </a:cubicBezTo>
                  <a:cubicBezTo>
                    <a:pt x="13" y="23"/>
                    <a:pt x="12" y="24"/>
                    <a:pt x="12" y="25"/>
                  </a:cubicBezTo>
                  <a:cubicBezTo>
                    <a:pt x="12" y="25"/>
                    <a:pt x="13" y="26"/>
                    <a:pt x="13" y="26"/>
                  </a:cubicBezTo>
                  <a:cubicBezTo>
                    <a:pt x="13" y="26"/>
                    <a:pt x="15" y="27"/>
                    <a:pt x="15" y="27"/>
                  </a:cubicBezTo>
                  <a:cubicBezTo>
                    <a:pt x="16" y="28"/>
                    <a:pt x="16" y="28"/>
                    <a:pt x="17" y="28"/>
                  </a:cubicBezTo>
                  <a:cubicBezTo>
                    <a:pt x="18" y="29"/>
                    <a:pt x="18" y="29"/>
                    <a:pt x="19" y="30"/>
                  </a:cubicBezTo>
                  <a:cubicBezTo>
                    <a:pt x="19" y="31"/>
                    <a:pt x="20" y="31"/>
                    <a:pt x="21" y="32"/>
                  </a:cubicBezTo>
                  <a:cubicBezTo>
                    <a:pt x="21" y="32"/>
                    <a:pt x="22" y="33"/>
                    <a:pt x="23" y="34"/>
                  </a:cubicBezTo>
                  <a:cubicBezTo>
                    <a:pt x="24" y="34"/>
                    <a:pt x="25" y="34"/>
                    <a:pt x="25" y="34"/>
                  </a:cubicBezTo>
                  <a:cubicBezTo>
                    <a:pt x="26" y="34"/>
                    <a:pt x="26" y="33"/>
                    <a:pt x="26" y="33"/>
                  </a:cubicBezTo>
                  <a:cubicBezTo>
                    <a:pt x="26" y="32"/>
                    <a:pt x="27" y="32"/>
                    <a:pt x="27" y="32"/>
                  </a:cubicBezTo>
                  <a:cubicBezTo>
                    <a:pt x="28" y="32"/>
                    <a:pt x="28" y="32"/>
                    <a:pt x="29" y="33"/>
                  </a:cubicBezTo>
                  <a:cubicBezTo>
                    <a:pt x="29" y="33"/>
                    <a:pt x="29" y="34"/>
                    <a:pt x="29" y="35"/>
                  </a:cubicBezTo>
                  <a:cubicBezTo>
                    <a:pt x="30" y="35"/>
                    <a:pt x="30" y="35"/>
                    <a:pt x="31" y="35"/>
                  </a:cubicBezTo>
                  <a:cubicBezTo>
                    <a:pt x="31" y="36"/>
                    <a:pt x="31" y="36"/>
                    <a:pt x="31" y="37"/>
                  </a:cubicBezTo>
                  <a:cubicBezTo>
                    <a:pt x="31" y="37"/>
                    <a:pt x="31" y="38"/>
                    <a:pt x="30" y="38"/>
                  </a:cubicBezTo>
                  <a:cubicBezTo>
                    <a:pt x="30" y="38"/>
                    <a:pt x="30" y="37"/>
                    <a:pt x="29" y="38"/>
                  </a:cubicBezTo>
                  <a:cubicBezTo>
                    <a:pt x="28" y="39"/>
                    <a:pt x="30" y="39"/>
                    <a:pt x="30" y="40"/>
                  </a:cubicBezTo>
                  <a:cubicBezTo>
                    <a:pt x="30" y="40"/>
                    <a:pt x="29" y="40"/>
                    <a:pt x="28" y="40"/>
                  </a:cubicBezTo>
                  <a:cubicBezTo>
                    <a:pt x="28" y="40"/>
                    <a:pt x="28" y="41"/>
                    <a:pt x="28" y="42"/>
                  </a:cubicBezTo>
                  <a:cubicBezTo>
                    <a:pt x="27" y="42"/>
                    <a:pt x="27" y="42"/>
                    <a:pt x="26" y="42"/>
                  </a:cubicBezTo>
                  <a:cubicBezTo>
                    <a:pt x="26" y="43"/>
                    <a:pt x="26" y="43"/>
                    <a:pt x="26" y="43"/>
                  </a:cubicBezTo>
                  <a:cubicBezTo>
                    <a:pt x="25" y="44"/>
                    <a:pt x="25" y="44"/>
                    <a:pt x="25" y="45"/>
                  </a:cubicBezTo>
                  <a:cubicBezTo>
                    <a:pt x="25" y="45"/>
                    <a:pt x="25" y="46"/>
                    <a:pt x="25" y="46"/>
                  </a:cubicBezTo>
                  <a:cubicBezTo>
                    <a:pt x="25" y="46"/>
                    <a:pt x="24" y="46"/>
                    <a:pt x="24" y="46"/>
                  </a:cubicBezTo>
                  <a:cubicBezTo>
                    <a:pt x="22" y="47"/>
                    <a:pt x="24" y="50"/>
                    <a:pt x="25" y="51"/>
                  </a:cubicBezTo>
                  <a:cubicBezTo>
                    <a:pt x="25" y="51"/>
                    <a:pt x="26" y="52"/>
                    <a:pt x="26" y="53"/>
                  </a:cubicBezTo>
                  <a:cubicBezTo>
                    <a:pt x="27" y="53"/>
                    <a:pt x="27" y="54"/>
                    <a:pt x="28" y="55"/>
                  </a:cubicBezTo>
                  <a:cubicBezTo>
                    <a:pt x="28" y="55"/>
                    <a:pt x="28" y="55"/>
                    <a:pt x="29" y="55"/>
                  </a:cubicBezTo>
                  <a:cubicBezTo>
                    <a:pt x="29" y="55"/>
                    <a:pt x="30" y="55"/>
                    <a:pt x="30" y="55"/>
                  </a:cubicBezTo>
                  <a:cubicBezTo>
                    <a:pt x="30" y="56"/>
                    <a:pt x="30" y="56"/>
                    <a:pt x="30" y="57"/>
                  </a:cubicBezTo>
                  <a:cubicBezTo>
                    <a:pt x="29" y="59"/>
                    <a:pt x="31" y="60"/>
                    <a:pt x="32" y="61"/>
                  </a:cubicBezTo>
                  <a:cubicBezTo>
                    <a:pt x="33" y="62"/>
                    <a:pt x="33" y="63"/>
                    <a:pt x="34" y="64"/>
                  </a:cubicBezTo>
                  <a:cubicBezTo>
                    <a:pt x="36" y="64"/>
                    <a:pt x="37" y="65"/>
                    <a:pt x="38" y="65"/>
                  </a:cubicBezTo>
                  <a:cubicBezTo>
                    <a:pt x="39" y="65"/>
                    <a:pt x="40" y="65"/>
                    <a:pt x="40" y="65"/>
                  </a:cubicBezTo>
                  <a:cubicBezTo>
                    <a:pt x="41" y="67"/>
                    <a:pt x="41" y="67"/>
                    <a:pt x="41" y="67"/>
                  </a:cubicBezTo>
                  <a:cubicBezTo>
                    <a:pt x="40" y="182"/>
                    <a:pt x="40" y="182"/>
                    <a:pt x="40" y="182"/>
                  </a:cubicBezTo>
                  <a:cubicBezTo>
                    <a:pt x="194" y="182"/>
                    <a:pt x="194" y="182"/>
                    <a:pt x="194" y="182"/>
                  </a:cubicBezTo>
                  <a:cubicBezTo>
                    <a:pt x="194" y="184"/>
                    <a:pt x="194" y="184"/>
                    <a:pt x="194" y="184"/>
                  </a:cubicBezTo>
                  <a:cubicBezTo>
                    <a:pt x="197" y="186"/>
                    <a:pt x="197" y="186"/>
                    <a:pt x="197" y="186"/>
                  </a:cubicBezTo>
                  <a:cubicBezTo>
                    <a:pt x="197" y="191"/>
                    <a:pt x="197" y="191"/>
                    <a:pt x="197" y="191"/>
                  </a:cubicBezTo>
                  <a:cubicBezTo>
                    <a:pt x="197" y="191"/>
                    <a:pt x="193" y="194"/>
                    <a:pt x="193" y="194"/>
                  </a:cubicBezTo>
                  <a:cubicBezTo>
                    <a:pt x="193" y="194"/>
                    <a:pt x="190" y="197"/>
                    <a:pt x="190" y="197"/>
                  </a:cubicBezTo>
                  <a:cubicBezTo>
                    <a:pt x="190" y="198"/>
                    <a:pt x="187" y="202"/>
                    <a:pt x="187" y="202"/>
                  </a:cubicBezTo>
                  <a:cubicBezTo>
                    <a:pt x="187" y="203"/>
                    <a:pt x="187" y="203"/>
                    <a:pt x="187" y="203"/>
                  </a:cubicBezTo>
                  <a:cubicBezTo>
                    <a:pt x="209" y="203"/>
                    <a:pt x="209" y="203"/>
                    <a:pt x="209" y="203"/>
                  </a:cubicBezTo>
                  <a:cubicBezTo>
                    <a:pt x="209" y="203"/>
                    <a:pt x="209" y="202"/>
                    <a:pt x="209" y="202"/>
                  </a:cubicBezTo>
                  <a:cubicBezTo>
                    <a:pt x="209" y="202"/>
                    <a:pt x="209" y="202"/>
                    <a:pt x="209" y="202"/>
                  </a:cubicBezTo>
                  <a:cubicBezTo>
                    <a:pt x="210" y="202"/>
                    <a:pt x="210" y="201"/>
                    <a:pt x="210" y="201"/>
                  </a:cubicBezTo>
                  <a:cubicBezTo>
                    <a:pt x="210" y="200"/>
                    <a:pt x="210" y="200"/>
                    <a:pt x="210" y="200"/>
                  </a:cubicBezTo>
                  <a:cubicBezTo>
                    <a:pt x="210" y="200"/>
                    <a:pt x="211" y="200"/>
                    <a:pt x="211" y="200"/>
                  </a:cubicBezTo>
                  <a:cubicBezTo>
                    <a:pt x="211" y="200"/>
                    <a:pt x="211" y="199"/>
                    <a:pt x="211" y="199"/>
                  </a:cubicBezTo>
                  <a:cubicBezTo>
                    <a:pt x="212" y="198"/>
                    <a:pt x="212" y="198"/>
                    <a:pt x="213" y="198"/>
                  </a:cubicBezTo>
                  <a:cubicBezTo>
                    <a:pt x="213" y="197"/>
                    <a:pt x="213" y="196"/>
                    <a:pt x="213" y="196"/>
                  </a:cubicBezTo>
                  <a:cubicBezTo>
                    <a:pt x="213" y="195"/>
                    <a:pt x="212" y="195"/>
                    <a:pt x="212" y="194"/>
                  </a:cubicBezTo>
                  <a:cubicBezTo>
                    <a:pt x="212" y="194"/>
                    <a:pt x="211" y="194"/>
                    <a:pt x="211" y="193"/>
                  </a:cubicBezTo>
                  <a:cubicBezTo>
                    <a:pt x="210" y="193"/>
                    <a:pt x="210" y="192"/>
                    <a:pt x="210" y="192"/>
                  </a:cubicBezTo>
                  <a:cubicBezTo>
                    <a:pt x="210" y="192"/>
                    <a:pt x="211" y="192"/>
                    <a:pt x="211" y="192"/>
                  </a:cubicBezTo>
                  <a:cubicBezTo>
                    <a:pt x="212" y="192"/>
                    <a:pt x="213" y="192"/>
                    <a:pt x="214" y="192"/>
                  </a:cubicBezTo>
                  <a:cubicBezTo>
                    <a:pt x="214" y="192"/>
                    <a:pt x="215" y="192"/>
                    <a:pt x="215" y="192"/>
                  </a:cubicBezTo>
                  <a:cubicBezTo>
                    <a:pt x="215" y="192"/>
                    <a:pt x="214" y="191"/>
                    <a:pt x="214" y="191"/>
                  </a:cubicBezTo>
                  <a:cubicBezTo>
                    <a:pt x="213" y="190"/>
                    <a:pt x="213" y="190"/>
                    <a:pt x="213" y="189"/>
                  </a:cubicBezTo>
                  <a:cubicBezTo>
                    <a:pt x="213" y="188"/>
                    <a:pt x="213" y="188"/>
                    <a:pt x="213" y="188"/>
                  </a:cubicBezTo>
                  <a:cubicBezTo>
                    <a:pt x="213" y="188"/>
                    <a:pt x="213" y="188"/>
                    <a:pt x="214" y="188"/>
                  </a:cubicBezTo>
                  <a:cubicBezTo>
                    <a:pt x="215" y="188"/>
                    <a:pt x="215" y="188"/>
                    <a:pt x="216" y="188"/>
                  </a:cubicBezTo>
                  <a:cubicBezTo>
                    <a:pt x="216" y="186"/>
                    <a:pt x="216" y="184"/>
                    <a:pt x="215" y="182"/>
                  </a:cubicBezTo>
                  <a:cubicBezTo>
                    <a:pt x="215" y="182"/>
                    <a:pt x="214" y="181"/>
                    <a:pt x="215" y="180"/>
                  </a:cubicBezTo>
                  <a:cubicBezTo>
                    <a:pt x="215" y="180"/>
                    <a:pt x="215" y="180"/>
                    <a:pt x="215" y="179"/>
                  </a:cubicBezTo>
                  <a:cubicBezTo>
                    <a:pt x="215" y="179"/>
                    <a:pt x="215" y="179"/>
                    <a:pt x="215" y="178"/>
                  </a:cubicBezTo>
                  <a:cubicBezTo>
                    <a:pt x="216" y="178"/>
                    <a:pt x="217" y="178"/>
                    <a:pt x="217" y="179"/>
                  </a:cubicBezTo>
                  <a:cubicBezTo>
                    <a:pt x="217" y="179"/>
                    <a:pt x="217" y="180"/>
                    <a:pt x="217" y="181"/>
                  </a:cubicBezTo>
                  <a:cubicBezTo>
                    <a:pt x="217" y="181"/>
                    <a:pt x="216" y="182"/>
                    <a:pt x="216" y="182"/>
                  </a:cubicBezTo>
                  <a:cubicBezTo>
                    <a:pt x="216" y="182"/>
                    <a:pt x="217" y="182"/>
                    <a:pt x="217" y="182"/>
                  </a:cubicBezTo>
                  <a:cubicBezTo>
                    <a:pt x="217" y="183"/>
                    <a:pt x="217" y="183"/>
                    <a:pt x="217" y="183"/>
                  </a:cubicBezTo>
                  <a:cubicBezTo>
                    <a:pt x="218" y="184"/>
                    <a:pt x="218" y="183"/>
                    <a:pt x="218" y="183"/>
                  </a:cubicBezTo>
                  <a:cubicBezTo>
                    <a:pt x="219" y="183"/>
                    <a:pt x="219" y="182"/>
                    <a:pt x="219" y="182"/>
                  </a:cubicBezTo>
                  <a:cubicBezTo>
                    <a:pt x="220" y="178"/>
                    <a:pt x="220" y="178"/>
                    <a:pt x="220" y="178"/>
                  </a:cubicBezTo>
                  <a:cubicBezTo>
                    <a:pt x="220" y="178"/>
                    <a:pt x="222" y="176"/>
                    <a:pt x="222" y="176"/>
                  </a:cubicBezTo>
                  <a:cubicBezTo>
                    <a:pt x="222" y="176"/>
                    <a:pt x="224" y="177"/>
                    <a:pt x="224" y="177"/>
                  </a:cubicBezTo>
                  <a:cubicBezTo>
                    <a:pt x="224" y="177"/>
                    <a:pt x="225" y="178"/>
                    <a:pt x="225" y="178"/>
                  </a:cubicBezTo>
                  <a:cubicBezTo>
                    <a:pt x="225" y="178"/>
                    <a:pt x="226" y="179"/>
                    <a:pt x="226" y="179"/>
                  </a:cubicBezTo>
                  <a:cubicBezTo>
                    <a:pt x="226" y="179"/>
                    <a:pt x="228" y="175"/>
                    <a:pt x="228" y="175"/>
                  </a:cubicBezTo>
                  <a:cubicBezTo>
                    <a:pt x="228" y="175"/>
                    <a:pt x="227" y="171"/>
                    <a:pt x="227" y="171"/>
                  </a:cubicBezTo>
                  <a:cubicBezTo>
                    <a:pt x="227" y="171"/>
                    <a:pt x="230" y="170"/>
                    <a:pt x="230" y="170"/>
                  </a:cubicBezTo>
                  <a:cubicBezTo>
                    <a:pt x="230" y="170"/>
                    <a:pt x="227" y="168"/>
                    <a:pt x="227" y="168"/>
                  </a:cubicBezTo>
                  <a:cubicBezTo>
                    <a:pt x="227" y="168"/>
                    <a:pt x="229" y="165"/>
                    <a:pt x="229" y="165"/>
                  </a:cubicBezTo>
                  <a:cubicBezTo>
                    <a:pt x="229" y="165"/>
                    <a:pt x="231" y="163"/>
                    <a:pt x="231" y="163"/>
                  </a:cubicBezTo>
                  <a:cubicBezTo>
                    <a:pt x="229" y="161"/>
                    <a:pt x="229" y="161"/>
                    <a:pt x="229" y="161"/>
                  </a:cubicBezTo>
                  <a:cubicBezTo>
                    <a:pt x="227" y="161"/>
                    <a:pt x="227" y="161"/>
                    <a:pt x="227" y="161"/>
                  </a:cubicBezTo>
                  <a:cubicBezTo>
                    <a:pt x="227" y="161"/>
                    <a:pt x="226" y="160"/>
                    <a:pt x="226" y="160"/>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1" name="Freeform 34">
              <a:extLst>
                <a:ext uri="{FF2B5EF4-FFF2-40B4-BE49-F238E27FC236}">
                  <a16:creationId xmlns:a16="http://schemas.microsoft.com/office/drawing/2014/main" id="{04611397-447D-F59B-3002-BDCD1DDA9F45}"/>
                </a:ext>
              </a:extLst>
            </p:cNvPr>
            <p:cNvSpPr>
              <a:spLocks/>
            </p:cNvSpPr>
            <p:nvPr/>
          </p:nvSpPr>
          <p:spPr bwMode="auto">
            <a:xfrm>
              <a:off x="7046805" y="3557123"/>
              <a:ext cx="484096" cy="781493"/>
            </a:xfrm>
            <a:custGeom>
              <a:avLst/>
              <a:gdLst>
                <a:gd name="T0" fmla="*/ 47 w 122"/>
                <a:gd name="T1" fmla="*/ 1 h 197"/>
                <a:gd name="T2" fmla="*/ 41 w 122"/>
                <a:gd name="T3" fmla="*/ 6 h 197"/>
                <a:gd name="T4" fmla="*/ 39 w 122"/>
                <a:gd name="T5" fmla="*/ 10 h 197"/>
                <a:gd name="T6" fmla="*/ 40 w 122"/>
                <a:gd name="T7" fmla="*/ 13 h 197"/>
                <a:gd name="T8" fmla="*/ 37 w 122"/>
                <a:gd name="T9" fmla="*/ 13 h 197"/>
                <a:gd name="T10" fmla="*/ 36 w 122"/>
                <a:gd name="T11" fmla="*/ 20 h 197"/>
                <a:gd name="T12" fmla="*/ 34 w 122"/>
                <a:gd name="T13" fmla="*/ 28 h 197"/>
                <a:gd name="T14" fmla="*/ 29 w 122"/>
                <a:gd name="T15" fmla="*/ 29 h 197"/>
                <a:gd name="T16" fmla="*/ 24 w 122"/>
                <a:gd name="T17" fmla="*/ 32 h 197"/>
                <a:gd name="T18" fmla="*/ 24 w 122"/>
                <a:gd name="T19" fmla="*/ 35 h 197"/>
                <a:gd name="T20" fmla="*/ 23 w 122"/>
                <a:gd name="T21" fmla="*/ 41 h 197"/>
                <a:gd name="T22" fmla="*/ 19 w 122"/>
                <a:gd name="T23" fmla="*/ 41 h 197"/>
                <a:gd name="T24" fmla="*/ 21 w 122"/>
                <a:gd name="T25" fmla="*/ 44 h 197"/>
                <a:gd name="T26" fmla="*/ 20 w 122"/>
                <a:gd name="T27" fmla="*/ 49 h 197"/>
                <a:gd name="T28" fmla="*/ 20 w 122"/>
                <a:gd name="T29" fmla="*/ 51 h 197"/>
                <a:gd name="T30" fmla="*/ 20 w 122"/>
                <a:gd name="T31" fmla="*/ 54 h 197"/>
                <a:gd name="T32" fmla="*/ 16 w 122"/>
                <a:gd name="T33" fmla="*/ 53 h 197"/>
                <a:gd name="T34" fmla="*/ 14 w 122"/>
                <a:gd name="T35" fmla="*/ 59 h 197"/>
                <a:gd name="T36" fmla="*/ 14 w 122"/>
                <a:gd name="T37" fmla="*/ 64 h 197"/>
                <a:gd name="T38" fmla="*/ 16 w 122"/>
                <a:gd name="T39" fmla="*/ 67 h 197"/>
                <a:gd name="T40" fmla="*/ 19 w 122"/>
                <a:gd name="T41" fmla="*/ 65 h 197"/>
                <a:gd name="T42" fmla="*/ 18 w 122"/>
                <a:gd name="T43" fmla="*/ 71 h 197"/>
                <a:gd name="T44" fmla="*/ 19 w 122"/>
                <a:gd name="T45" fmla="*/ 76 h 197"/>
                <a:gd name="T46" fmla="*/ 16 w 122"/>
                <a:gd name="T47" fmla="*/ 80 h 197"/>
                <a:gd name="T48" fmla="*/ 16 w 122"/>
                <a:gd name="T49" fmla="*/ 87 h 197"/>
                <a:gd name="T50" fmla="*/ 19 w 122"/>
                <a:gd name="T51" fmla="*/ 86 h 197"/>
                <a:gd name="T52" fmla="*/ 16 w 122"/>
                <a:gd name="T53" fmla="*/ 93 h 197"/>
                <a:gd name="T54" fmla="*/ 17 w 122"/>
                <a:gd name="T55" fmla="*/ 100 h 197"/>
                <a:gd name="T56" fmla="*/ 20 w 122"/>
                <a:gd name="T57" fmla="*/ 102 h 197"/>
                <a:gd name="T58" fmla="*/ 18 w 122"/>
                <a:gd name="T59" fmla="*/ 102 h 197"/>
                <a:gd name="T60" fmla="*/ 23 w 122"/>
                <a:gd name="T61" fmla="*/ 106 h 197"/>
                <a:gd name="T62" fmla="*/ 23 w 122"/>
                <a:gd name="T63" fmla="*/ 112 h 197"/>
                <a:gd name="T64" fmla="*/ 19 w 122"/>
                <a:gd name="T65" fmla="*/ 115 h 197"/>
                <a:gd name="T66" fmla="*/ 20 w 122"/>
                <a:gd name="T67" fmla="*/ 118 h 197"/>
                <a:gd name="T68" fmla="*/ 21 w 122"/>
                <a:gd name="T69" fmla="*/ 119 h 197"/>
                <a:gd name="T70" fmla="*/ 16 w 122"/>
                <a:gd name="T71" fmla="*/ 121 h 197"/>
                <a:gd name="T72" fmla="*/ 14 w 122"/>
                <a:gd name="T73" fmla="*/ 128 h 197"/>
                <a:gd name="T74" fmla="*/ 10 w 122"/>
                <a:gd name="T75" fmla="*/ 131 h 197"/>
                <a:gd name="T76" fmla="*/ 10 w 122"/>
                <a:gd name="T77" fmla="*/ 134 h 197"/>
                <a:gd name="T78" fmla="*/ 5 w 122"/>
                <a:gd name="T79" fmla="*/ 139 h 197"/>
                <a:gd name="T80" fmla="*/ 5 w 122"/>
                <a:gd name="T81" fmla="*/ 142 h 197"/>
                <a:gd name="T82" fmla="*/ 5 w 122"/>
                <a:gd name="T83" fmla="*/ 149 h 197"/>
                <a:gd name="T84" fmla="*/ 4 w 122"/>
                <a:gd name="T85" fmla="*/ 153 h 197"/>
                <a:gd name="T86" fmla="*/ 1 w 122"/>
                <a:gd name="T87" fmla="*/ 157 h 197"/>
                <a:gd name="T88" fmla="*/ 0 w 122"/>
                <a:gd name="T89" fmla="*/ 164 h 197"/>
                <a:gd name="T90" fmla="*/ 67 w 122"/>
                <a:gd name="T91" fmla="*/ 186 h 197"/>
                <a:gd name="T92" fmla="*/ 75 w 122"/>
                <a:gd name="T93" fmla="*/ 197 h 197"/>
                <a:gd name="T94" fmla="*/ 79 w 122"/>
                <a:gd name="T95" fmla="*/ 190 h 197"/>
                <a:gd name="T96" fmla="*/ 86 w 122"/>
                <a:gd name="T97" fmla="*/ 191 h 197"/>
                <a:gd name="T98" fmla="*/ 98 w 122"/>
                <a:gd name="T99" fmla="*/ 190 h 197"/>
                <a:gd name="T100" fmla="*/ 104 w 122"/>
                <a:gd name="T101" fmla="*/ 190 h 197"/>
                <a:gd name="T102" fmla="*/ 106 w 122"/>
                <a:gd name="T103" fmla="*/ 186 h 197"/>
                <a:gd name="T104" fmla="*/ 110 w 122"/>
                <a:gd name="T105" fmla="*/ 19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197">
                  <a:moveTo>
                    <a:pt x="122" y="4"/>
                  </a:moveTo>
                  <a:cubicBezTo>
                    <a:pt x="120" y="3"/>
                    <a:pt x="120" y="3"/>
                    <a:pt x="120" y="3"/>
                  </a:cubicBezTo>
                  <a:cubicBezTo>
                    <a:pt x="119" y="0"/>
                    <a:pt x="119" y="0"/>
                    <a:pt x="119" y="0"/>
                  </a:cubicBezTo>
                  <a:cubicBezTo>
                    <a:pt x="46" y="0"/>
                    <a:pt x="46" y="0"/>
                    <a:pt x="46" y="0"/>
                  </a:cubicBezTo>
                  <a:cubicBezTo>
                    <a:pt x="46" y="0"/>
                    <a:pt x="47" y="0"/>
                    <a:pt x="47" y="1"/>
                  </a:cubicBezTo>
                  <a:cubicBezTo>
                    <a:pt x="48" y="2"/>
                    <a:pt x="48" y="2"/>
                    <a:pt x="47" y="3"/>
                  </a:cubicBezTo>
                  <a:cubicBezTo>
                    <a:pt x="47" y="4"/>
                    <a:pt x="47" y="4"/>
                    <a:pt x="47" y="5"/>
                  </a:cubicBezTo>
                  <a:cubicBezTo>
                    <a:pt x="46" y="5"/>
                    <a:pt x="46" y="5"/>
                    <a:pt x="46" y="5"/>
                  </a:cubicBezTo>
                  <a:cubicBezTo>
                    <a:pt x="45" y="6"/>
                    <a:pt x="44" y="6"/>
                    <a:pt x="43" y="6"/>
                  </a:cubicBezTo>
                  <a:cubicBezTo>
                    <a:pt x="42" y="6"/>
                    <a:pt x="42" y="6"/>
                    <a:pt x="41" y="6"/>
                  </a:cubicBezTo>
                  <a:cubicBezTo>
                    <a:pt x="41" y="5"/>
                    <a:pt x="41" y="5"/>
                    <a:pt x="41" y="4"/>
                  </a:cubicBezTo>
                  <a:cubicBezTo>
                    <a:pt x="40" y="4"/>
                    <a:pt x="40" y="5"/>
                    <a:pt x="40" y="5"/>
                  </a:cubicBezTo>
                  <a:cubicBezTo>
                    <a:pt x="40" y="5"/>
                    <a:pt x="40" y="6"/>
                    <a:pt x="40" y="6"/>
                  </a:cubicBezTo>
                  <a:cubicBezTo>
                    <a:pt x="40" y="7"/>
                    <a:pt x="41" y="8"/>
                    <a:pt x="41" y="10"/>
                  </a:cubicBezTo>
                  <a:cubicBezTo>
                    <a:pt x="40" y="11"/>
                    <a:pt x="39" y="11"/>
                    <a:pt x="39" y="10"/>
                  </a:cubicBezTo>
                  <a:cubicBezTo>
                    <a:pt x="38" y="10"/>
                    <a:pt x="38" y="9"/>
                    <a:pt x="38" y="9"/>
                  </a:cubicBezTo>
                  <a:cubicBezTo>
                    <a:pt x="38" y="9"/>
                    <a:pt x="38" y="8"/>
                    <a:pt x="38" y="7"/>
                  </a:cubicBezTo>
                  <a:cubicBezTo>
                    <a:pt x="37" y="8"/>
                    <a:pt x="37" y="8"/>
                    <a:pt x="37" y="9"/>
                  </a:cubicBezTo>
                  <a:cubicBezTo>
                    <a:pt x="37" y="9"/>
                    <a:pt x="37" y="10"/>
                    <a:pt x="37" y="11"/>
                  </a:cubicBezTo>
                  <a:cubicBezTo>
                    <a:pt x="38" y="12"/>
                    <a:pt x="39" y="12"/>
                    <a:pt x="40" y="13"/>
                  </a:cubicBezTo>
                  <a:cubicBezTo>
                    <a:pt x="40" y="13"/>
                    <a:pt x="40" y="14"/>
                    <a:pt x="40" y="14"/>
                  </a:cubicBezTo>
                  <a:cubicBezTo>
                    <a:pt x="40" y="14"/>
                    <a:pt x="40" y="14"/>
                    <a:pt x="39" y="15"/>
                  </a:cubicBezTo>
                  <a:cubicBezTo>
                    <a:pt x="39" y="15"/>
                    <a:pt x="39" y="15"/>
                    <a:pt x="38" y="15"/>
                  </a:cubicBezTo>
                  <a:cubicBezTo>
                    <a:pt x="38" y="15"/>
                    <a:pt x="37" y="15"/>
                    <a:pt x="37" y="14"/>
                  </a:cubicBezTo>
                  <a:cubicBezTo>
                    <a:pt x="37" y="14"/>
                    <a:pt x="37" y="13"/>
                    <a:pt x="37" y="13"/>
                  </a:cubicBezTo>
                  <a:cubicBezTo>
                    <a:pt x="36" y="13"/>
                    <a:pt x="36" y="14"/>
                    <a:pt x="36" y="14"/>
                  </a:cubicBezTo>
                  <a:cubicBezTo>
                    <a:pt x="36" y="15"/>
                    <a:pt x="36" y="15"/>
                    <a:pt x="37" y="16"/>
                  </a:cubicBezTo>
                  <a:cubicBezTo>
                    <a:pt x="37" y="17"/>
                    <a:pt x="37" y="17"/>
                    <a:pt x="37" y="18"/>
                  </a:cubicBezTo>
                  <a:cubicBezTo>
                    <a:pt x="37" y="18"/>
                    <a:pt x="37" y="19"/>
                    <a:pt x="37" y="19"/>
                  </a:cubicBezTo>
                  <a:cubicBezTo>
                    <a:pt x="37" y="19"/>
                    <a:pt x="37" y="20"/>
                    <a:pt x="36" y="20"/>
                  </a:cubicBezTo>
                  <a:cubicBezTo>
                    <a:pt x="36" y="21"/>
                    <a:pt x="36" y="22"/>
                    <a:pt x="36" y="23"/>
                  </a:cubicBezTo>
                  <a:cubicBezTo>
                    <a:pt x="37" y="24"/>
                    <a:pt x="36" y="24"/>
                    <a:pt x="35" y="25"/>
                  </a:cubicBezTo>
                  <a:cubicBezTo>
                    <a:pt x="35" y="25"/>
                    <a:pt x="34" y="26"/>
                    <a:pt x="34" y="26"/>
                  </a:cubicBezTo>
                  <a:cubicBezTo>
                    <a:pt x="34" y="26"/>
                    <a:pt x="34" y="27"/>
                    <a:pt x="34" y="27"/>
                  </a:cubicBezTo>
                  <a:cubicBezTo>
                    <a:pt x="34" y="27"/>
                    <a:pt x="34" y="28"/>
                    <a:pt x="34" y="28"/>
                  </a:cubicBezTo>
                  <a:cubicBezTo>
                    <a:pt x="33" y="29"/>
                    <a:pt x="33" y="28"/>
                    <a:pt x="33" y="28"/>
                  </a:cubicBezTo>
                  <a:cubicBezTo>
                    <a:pt x="32" y="27"/>
                    <a:pt x="33" y="26"/>
                    <a:pt x="32" y="26"/>
                  </a:cubicBezTo>
                  <a:cubicBezTo>
                    <a:pt x="32" y="26"/>
                    <a:pt x="30" y="26"/>
                    <a:pt x="30" y="27"/>
                  </a:cubicBezTo>
                  <a:cubicBezTo>
                    <a:pt x="30" y="28"/>
                    <a:pt x="31" y="28"/>
                    <a:pt x="30" y="29"/>
                  </a:cubicBezTo>
                  <a:cubicBezTo>
                    <a:pt x="30" y="29"/>
                    <a:pt x="29" y="29"/>
                    <a:pt x="29" y="29"/>
                  </a:cubicBezTo>
                  <a:cubicBezTo>
                    <a:pt x="29" y="29"/>
                    <a:pt x="28" y="30"/>
                    <a:pt x="28" y="30"/>
                  </a:cubicBezTo>
                  <a:cubicBezTo>
                    <a:pt x="28" y="31"/>
                    <a:pt x="28" y="31"/>
                    <a:pt x="28" y="31"/>
                  </a:cubicBezTo>
                  <a:cubicBezTo>
                    <a:pt x="28" y="33"/>
                    <a:pt x="27" y="32"/>
                    <a:pt x="26" y="32"/>
                  </a:cubicBezTo>
                  <a:cubicBezTo>
                    <a:pt x="25" y="32"/>
                    <a:pt x="25" y="31"/>
                    <a:pt x="24" y="31"/>
                  </a:cubicBezTo>
                  <a:cubicBezTo>
                    <a:pt x="24" y="32"/>
                    <a:pt x="24" y="32"/>
                    <a:pt x="24" y="32"/>
                  </a:cubicBezTo>
                  <a:cubicBezTo>
                    <a:pt x="24" y="33"/>
                    <a:pt x="26" y="34"/>
                    <a:pt x="26" y="34"/>
                  </a:cubicBezTo>
                  <a:cubicBezTo>
                    <a:pt x="27" y="34"/>
                    <a:pt x="28" y="34"/>
                    <a:pt x="28" y="34"/>
                  </a:cubicBezTo>
                  <a:cubicBezTo>
                    <a:pt x="28" y="35"/>
                    <a:pt x="28" y="35"/>
                    <a:pt x="27" y="35"/>
                  </a:cubicBezTo>
                  <a:cubicBezTo>
                    <a:pt x="27" y="35"/>
                    <a:pt x="26" y="35"/>
                    <a:pt x="26" y="35"/>
                  </a:cubicBezTo>
                  <a:cubicBezTo>
                    <a:pt x="25" y="35"/>
                    <a:pt x="25" y="35"/>
                    <a:pt x="24" y="35"/>
                  </a:cubicBezTo>
                  <a:cubicBezTo>
                    <a:pt x="24" y="35"/>
                    <a:pt x="23" y="36"/>
                    <a:pt x="24" y="36"/>
                  </a:cubicBezTo>
                  <a:cubicBezTo>
                    <a:pt x="24" y="37"/>
                    <a:pt x="25" y="37"/>
                    <a:pt x="26" y="38"/>
                  </a:cubicBezTo>
                  <a:cubicBezTo>
                    <a:pt x="26" y="38"/>
                    <a:pt x="26" y="40"/>
                    <a:pt x="26" y="40"/>
                  </a:cubicBezTo>
                  <a:cubicBezTo>
                    <a:pt x="25" y="41"/>
                    <a:pt x="24" y="40"/>
                    <a:pt x="23" y="41"/>
                  </a:cubicBezTo>
                  <a:cubicBezTo>
                    <a:pt x="23" y="41"/>
                    <a:pt x="22" y="41"/>
                    <a:pt x="23" y="41"/>
                  </a:cubicBezTo>
                  <a:cubicBezTo>
                    <a:pt x="23" y="42"/>
                    <a:pt x="23" y="42"/>
                    <a:pt x="23" y="42"/>
                  </a:cubicBezTo>
                  <a:cubicBezTo>
                    <a:pt x="23" y="43"/>
                    <a:pt x="23" y="43"/>
                    <a:pt x="22" y="42"/>
                  </a:cubicBezTo>
                  <a:cubicBezTo>
                    <a:pt x="22" y="42"/>
                    <a:pt x="22" y="42"/>
                    <a:pt x="22" y="42"/>
                  </a:cubicBezTo>
                  <a:cubicBezTo>
                    <a:pt x="22" y="42"/>
                    <a:pt x="22" y="42"/>
                    <a:pt x="22" y="42"/>
                  </a:cubicBezTo>
                  <a:cubicBezTo>
                    <a:pt x="21" y="42"/>
                    <a:pt x="20" y="41"/>
                    <a:pt x="19" y="41"/>
                  </a:cubicBezTo>
                  <a:cubicBezTo>
                    <a:pt x="19" y="42"/>
                    <a:pt x="19" y="42"/>
                    <a:pt x="19" y="42"/>
                  </a:cubicBezTo>
                  <a:cubicBezTo>
                    <a:pt x="19" y="43"/>
                    <a:pt x="19" y="43"/>
                    <a:pt x="19" y="43"/>
                  </a:cubicBezTo>
                  <a:cubicBezTo>
                    <a:pt x="19" y="43"/>
                    <a:pt x="19" y="43"/>
                    <a:pt x="20" y="44"/>
                  </a:cubicBezTo>
                  <a:cubicBezTo>
                    <a:pt x="20" y="44"/>
                    <a:pt x="20" y="44"/>
                    <a:pt x="20" y="44"/>
                  </a:cubicBezTo>
                  <a:cubicBezTo>
                    <a:pt x="21" y="44"/>
                    <a:pt x="21" y="44"/>
                    <a:pt x="21" y="44"/>
                  </a:cubicBezTo>
                  <a:cubicBezTo>
                    <a:pt x="21" y="44"/>
                    <a:pt x="21" y="44"/>
                    <a:pt x="21" y="45"/>
                  </a:cubicBezTo>
                  <a:cubicBezTo>
                    <a:pt x="21" y="45"/>
                    <a:pt x="21" y="45"/>
                    <a:pt x="21" y="46"/>
                  </a:cubicBezTo>
                  <a:cubicBezTo>
                    <a:pt x="21" y="46"/>
                    <a:pt x="20" y="46"/>
                    <a:pt x="20" y="47"/>
                  </a:cubicBezTo>
                  <a:cubicBezTo>
                    <a:pt x="20" y="47"/>
                    <a:pt x="20" y="47"/>
                    <a:pt x="20" y="48"/>
                  </a:cubicBezTo>
                  <a:cubicBezTo>
                    <a:pt x="20" y="48"/>
                    <a:pt x="20" y="48"/>
                    <a:pt x="20" y="49"/>
                  </a:cubicBezTo>
                  <a:cubicBezTo>
                    <a:pt x="20" y="49"/>
                    <a:pt x="21" y="49"/>
                    <a:pt x="21" y="49"/>
                  </a:cubicBezTo>
                  <a:cubicBezTo>
                    <a:pt x="21" y="50"/>
                    <a:pt x="21" y="50"/>
                    <a:pt x="22" y="50"/>
                  </a:cubicBezTo>
                  <a:cubicBezTo>
                    <a:pt x="22" y="51"/>
                    <a:pt x="22" y="51"/>
                    <a:pt x="22" y="51"/>
                  </a:cubicBezTo>
                  <a:cubicBezTo>
                    <a:pt x="21" y="51"/>
                    <a:pt x="21" y="51"/>
                    <a:pt x="21" y="51"/>
                  </a:cubicBezTo>
                  <a:cubicBezTo>
                    <a:pt x="20" y="51"/>
                    <a:pt x="20" y="51"/>
                    <a:pt x="20" y="51"/>
                  </a:cubicBezTo>
                  <a:cubicBezTo>
                    <a:pt x="19" y="50"/>
                    <a:pt x="18" y="51"/>
                    <a:pt x="17" y="51"/>
                  </a:cubicBezTo>
                  <a:cubicBezTo>
                    <a:pt x="17" y="51"/>
                    <a:pt x="17" y="52"/>
                    <a:pt x="17" y="52"/>
                  </a:cubicBezTo>
                  <a:cubicBezTo>
                    <a:pt x="17" y="52"/>
                    <a:pt x="17" y="53"/>
                    <a:pt x="17" y="53"/>
                  </a:cubicBezTo>
                  <a:cubicBezTo>
                    <a:pt x="18" y="53"/>
                    <a:pt x="18" y="53"/>
                    <a:pt x="18" y="53"/>
                  </a:cubicBezTo>
                  <a:cubicBezTo>
                    <a:pt x="19" y="53"/>
                    <a:pt x="19" y="53"/>
                    <a:pt x="20" y="54"/>
                  </a:cubicBezTo>
                  <a:cubicBezTo>
                    <a:pt x="20" y="54"/>
                    <a:pt x="21" y="54"/>
                    <a:pt x="21" y="55"/>
                  </a:cubicBezTo>
                  <a:cubicBezTo>
                    <a:pt x="21" y="55"/>
                    <a:pt x="20" y="56"/>
                    <a:pt x="19" y="55"/>
                  </a:cubicBezTo>
                  <a:cubicBezTo>
                    <a:pt x="19" y="55"/>
                    <a:pt x="19" y="55"/>
                    <a:pt x="18" y="55"/>
                  </a:cubicBezTo>
                  <a:cubicBezTo>
                    <a:pt x="18" y="55"/>
                    <a:pt x="18" y="55"/>
                    <a:pt x="17" y="54"/>
                  </a:cubicBezTo>
                  <a:cubicBezTo>
                    <a:pt x="17" y="54"/>
                    <a:pt x="17" y="53"/>
                    <a:pt x="16" y="53"/>
                  </a:cubicBezTo>
                  <a:cubicBezTo>
                    <a:pt x="15" y="53"/>
                    <a:pt x="14" y="55"/>
                    <a:pt x="15" y="55"/>
                  </a:cubicBezTo>
                  <a:cubicBezTo>
                    <a:pt x="15" y="56"/>
                    <a:pt x="16" y="56"/>
                    <a:pt x="16" y="57"/>
                  </a:cubicBezTo>
                  <a:cubicBezTo>
                    <a:pt x="16" y="57"/>
                    <a:pt x="17" y="57"/>
                    <a:pt x="17" y="58"/>
                  </a:cubicBezTo>
                  <a:cubicBezTo>
                    <a:pt x="17" y="58"/>
                    <a:pt x="16" y="58"/>
                    <a:pt x="16" y="59"/>
                  </a:cubicBezTo>
                  <a:cubicBezTo>
                    <a:pt x="15" y="59"/>
                    <a:pt x="15" y="59"/>
                    <a:pt x="14" y="59"/>
                  </a:cubicBezTo>
                  <a:cubicBezTo>
                    <a:pt x="14" y="60"/>
                    <a:pt x="14" y="60"/>
                    <a:pt x="14" y="61"/>
                  </a:cubicBezTo>
                  <a:cubicBezTo>
                    <a:pt x="14" y="61"/>
                    <a:pt x="15" y="61"/>
                    <a:pt x="15" y="61"/>
                  </a:cubicBezTo>
                  <a:cubicBezTo>
                    <a:pt x="15" y="62"/>
                    <a:pt x="15" y="62"/>
                    <a:pt x="15" y="62"/>
                  </a:cubicBezTo>
                  <a:cubicBezTo>
                    <a:pt x="16" y="63"/>
                    <a:pt x="15" y="63"/>
                    <a:pt x="15" y="63"/>
                  </a:cubicBezTo>
                  <a:cubicBezTo>
                    <a:pt x="14" y="63"/>
                    <a:pt x="13" y="64"/>
                    <a:pt x="14" y="64"/>
                  </a:cubicBezTo>
                  <a:cubicBezTo>
                    <a:pt x="14" y="65"/>
                    <a:pt x="15" y="64"/>
                    <a:pt x="16" y="64"/>
                  </a:cubicBezTo>
                  <a:cubicBezTo>
                    <a:pt x="16" y="64"/>
                    <a:pt x="17" y="64"/>
                    <a:pt x="17" y="64"/>
                  </a:cubicBezTo>
                  <a:cubicBezTo>
                    <a:pt x="17" y="65"/>
                    <a:pt x="16" y="65"/>
                    <a:pt x="16" y="65"/>
                  </a:cubicBezTo>
                  <a:cubicBezTo>
                    <a:pt x="16" y="66"/>
                    <a:pt x="15" y="66"/>
                    <a:pt x="15" y="66"/>
                  </a:cubicBezTo>
                  <a:cubicBezTo>
                    <a:pt x="15" y="67"/>
                    <a:pt x="16" y="67"/>
                    <a:pt x="16" y="67"/>
                  </a:cubicBezTo>
                  <a:cubicBezTo>
                    <a:pt x="17" y="67"/>
                    <a:pt x="17" y="67"/>
                    <a:pt x="17" y="67"/>
                  </a:cubicBezTo>
                  <a:cubicBezTo>
                    <a:pt x="17" y="66"/>
                    <a:pt x="18" y="66"/>
                    <a:pt x="18" y="66"/>
                  </a:cubicBezTo>
                  <a:cubicBezTo>
                    <a:pt x="18" y="65"/>
                    <a:pt x="18" y="65"/>
                    <a:pt x="18" y="65"/>
                  </a:cubicBezTo>
                  <a:cubicBezTo>
                    <a:pt x="18" y="64"/>
                    <a:pt x="19" y="64"/>
                    <a:pt x="19" y="64"/>
                  </a:cubicBezTo>
                  <a:cubicBezTo>
                    <a:pt x="19" y="64"/>
                    <a:pt x="19" y="65"/>
                    <a:pt x="19" y="65"/>
                  </a:cubicBezTo>
                  <a:cubicBezTo>
                    <a:pt x="19" y="66"/>
                    <a:pt x="18" y="67"/>
                    <a:pt x="17" y="68"/>
                  </a:cubicBezTo>
                  <a:cubicBezTo>
                    <a:pt x="17" y="68"/>
                    <a:pt x="17" y="68"/>
                    <a:pt x="17" y="69"/>
                  </a:cubicBezTo>
                  <a:cubicBezTo>
                    <a:pt x="17" y="70"/>
                    <a:pt x="17" y="71"/>
                    <a:pt x="17" y="72"/>
                  </a:cubicBezTo>
                  <a:cubicBezTo>
                    <a:pt x="17" y="72"/>
                    <a:pt x="18" y="72"/>
                    <a:pt x="18" y="72"/>
                  </a:cubicBezTo>
                  <a:cubicBezTo>
                    <a:pt x="18" y="72"/>
                    <a:pt x="18" y="71"/>
                    <a:pt x="18" y="71"/>
                  </a:cubicBezTo>
                  <a:cubicBezTo>
                    <a:pt x="19" y="71"/>
                    <a:pt x="19" y="71"/>
                    <a:pt x="19" y="71"/>
                  </a:cubicBezTo>
                  <a:cubicBezTo>
                    <a:pt x="20" y="72"/>
                    <a:pt x="20" y="72"/>
                    <a:pt x="20" y="72"/>
                  </a:cubicBezTo>
                  <a:cubicBezTo>
                    <a:pt x="20" y="73"/>
                    <a:pt x="19" y="73"/>
                    <a:pt x="19" y="73"/>
                  </a:cubicBezTo>
                  <a:cubicBezTo>
                    <a:pt x="18" y="74"/>
                    <a:pt x="18" y="74"/>
                    <a:pt x="18" y="75"/>
                  </a:cubicBezTo>
                  <a:cubicBezTo>
                    <a:pt x="19" y="75"/>
                    <a:pt x="19" y="76"/>
                    <a:pt x="19" y="76"/>
                  </a:cubicBezTo>
                  <a:cubicBezTo>
                    <a:pt x="19" y="76"/>
                    <a:pt x="19" y="77"/>
                    <a:pt x="19" y="77"/>
                  </a:cubicBezTo>
                  <a:cubicBezTo>
                    <a:pt x="18" y="77"/>
                    <a:pt x="17" y="77"/>
                    <a:pt x="17" y="77"/>
                  </a:cubicBezTo>
                  <a:cubicBezTo>
                    <a:pt x="16" y="77"/>
                    <a:pt x="15" y="78"/>
                    <a:pt x="15" y="78"/>
                  </a:cubicBezTo>
                  <a:cubicBezTo>
                    <a:pt x="15" y="78"/>
                    <a:pt x="15" y="79"/>
                    <a:pt x="15" y="79"/>
                  </a:cubicBezTo>
                  <a:cubicBezTo>
                    <a:pt x="16" y="79"/>
                    <a:pt x="16" y="79"/>
                    <a:pt x="16" y="80"/>
                  </a:cubicBezTo>
                  <a:cubicBezTo>
                    <a:pt x="16" y="80"/>
                    <a:pt x="17" y="80"/>
                    <a:pt x="17" y="80"/>
                  </a:cubicBezTo>
                  <a:cubicBezTo>
                    <a:pt x="18" y="81"/>
                    <a:pt x="17" y="82"/>
                    <a:pt x="16" y="82"/>
                  </a:cubicBezTo>
                  <a:cubicBezTo>
                    <a:pt x="15" y="84"/>
                    <a:pt x="15" y="84"/>
                    <a:pt x="15" y="84"/>
                  </a:cubicBezTo>
                  <a:cubicBezTo>
                    <a:pt x="15" y="84"/>
                    <a:pt x="14" y="85"/>
                    <a:pt x="14" y="85"/>
                  </a:cubicBezTo>
                  <a:cubicBezTo>
                    <a:pt x="14" y="86"/>
                    <a:pt x="15" y="87"/>
                    <a:pt x="16" y="87"/>
                  </a:cubicBezTo>
                  <a:cubicBezTo>
                    <a:pt x="17" y="86"/>
                    <a:pt x="17" y="86"/>
                    <a:pt x="17" y="85"/>
                  </a:cubicBezTo>
                  <a:cubicBezTo>
                    <a:pt x="17" y="85"/>
                    <a:pt x="17" y="85"/>
                    <a:pt x="17" y="84"/>
                  </a:cubicBezTo>
                  <a:cubicBezTo>
                    <a:pt x="17" y="84"/>
                    <a:pt x="17" y="83"/>
                    <a:pt x="17" y="83"/>
                  </a:cubicBezTo>
                  <a:cubicBezTo>
                    <a:pt x="18" y="83"/>
                    <a:pt x="18" y="84"/>
                    <a:pt x="18" y="84"/>
                  </a:cubicBezTo>
                  <a:cubicBezTo>
                    <a:pt x="19" y="85"/>
                    <a:pt x="19" y="85"/>
                    <a:pt x="19" y="86"/>
                  </a:cubicBezTo>
                  <a:cubicBezTo>
                    <a:pt x="20" y="88"/>
                    <a:pt x="18" y="89"/>
                    <a:pt x="17" y="89"/>
                  </a:cubicBezTo>
                  <a:cubicBezTo>
                    <a:pt x="17" y="90"/>
                    <a:pt x="16" y="90"/>
                    <a:pt x="16" y="90"/>
                  </a:cubicBezTo>
                  <a:cubicBezTo>
                    <a:pt x="16" y="90"/>
                    <a:pt x="16" y="91"/>
                    <a:pt x="16" y="91"/>
                  </a:cubicBezTo>
                  <a:cubicBezTo>
                    <a:pt x="16" y="91"/>
                    <a:pt x="16" y="92"/>
                    <a:pt x="16" y="92"/>
                  </a:cubicBezTo>
                  <a:cubicBezTo>
                    <a:pt x="16" y="92"/>
                    <a:pt x="16" y="93"/>
                    <a:pt x="16" y="93"/>
                  </a:cubicBezTo>
                  <a:cubicBezTo>
                    <a:pt x="17" y="94"/>
                    <a:pt x="18" y="94"/>
                    <a:pt x="19" y="94"/>
                  </a:cubicBezTo>
                  <a:cubicBezTo>
                    <a:pt x="20" y="94"/>
                    <a:pt x="20" y="94"/>
                    <a:pt x="19" y="95"/>
                  </a:cubicBezTo>
                  <a:cubicBezTo>
                    <a:pt x="19" y="95"/>
                    <a:pt x="18" y="96"/>
                    <a:pt x="18" y="96"/>
                  </a:cubicBezTo>
                  <a:cubicBezTo>
                    <a:pt x="18" y="97"/>
                    <a:pt x="17" y="98"/>
                    <a:pt x="17" y="99"/>
                  </a:cubicBezTo>
                  <a:cubicBezTo>
                    <a:pt x="17" y="99"/>
                    <a:pt x="17" y="100"/>
                    <a:pt x="17" y="100"/>
                  </a:cubicBezTo>
                  <a:cubicBezTo>
                    <a:pt x="18" y="100"/>
                    <a:pt x="19" y="99"/>
                    <a:pt x="19" y="99"/>
                  </a:cubicBezTo>
                  <a:cubicBezTo>
                    <a:pt x="20" y="98"/>
                    <a:pt x="20" y="98"/>
                    <a:pt x="21" y="98"/>
                  </a:cubicBezTo>
                  <a:cubicBezTo>
                    <a:pt x="22" y="98"/>
                    <a:pt x="22" y="98"/>
                    <a:pt x="21" y="99"/>
                  </a:cubicBezTo>
                  <a:cubicBezTo>
                    <a:pt x="21" y="100"/>
                    <a:pt x="20" y="100"/>
                    <a:pt x="19" y="101"/>
                  </a:cubicBezTo>
                  <a:cubicBezTo>
                    <a:pt x="19" y="101"/>
                    <a:pt x="20" y="101"/>
                    <a:pt x="20" y="102"/>
                  </a:cubicBezTo>
                  <a:cubicBezTo>
                    <a:pt x="20" y="102"/>
                    <a:pt x="20" y="102"/>
                    <a:pt x="20" y="102"/>
                  </a:cubicBezTo>
                  <a:cubicBezTo>
                    <a:pt x="21" y="102"/>
                    <a:pt x="22" y="103"/>
                    <a:pt x="22" y="104"/>
                  </a:cubicBezTo>
                  <a:cubicBezTo>
                    <a:pt x="22" y="104"/>
                    <a:pt x="20" y="103"/>
                    <a:pt x="20" y="103"/>
                  </a:cubicBezTo>
                  <a:cubicBezTo>
                    <a:pt x="19" y="103"/>
                    <a:pt x="19" y="102"/>
                    <a:pt x="19" y="102"/>
                  </a:cubicBezTo>
                  <a:cubicBezTo>
                    <a:pt x="18" y="101"/>
                    <a:pt x="18" y="102"/>
                    <a:pt x="18" y="102"/>
                  </a:cubicBezTo>
                  <a:cubicBezTo>
                    <a:pt x="18" y="103"/>
                    <a:pt x="18" y="103"/>
                    <a:pt x="18" y="104"/>
                  </a:cubicBezTo>
                  <a:cubicBezTo>
                    <a:pt x="18" y="104"/>
                    <a:pt x="18" y="105"/>
                    <a:pt x="18" y="105"/>
                  </a:cubicBezTo>
                  <a:cubicBezTo>
                    <a:pt x="19" y="105"/>
                    <a:pt x="19" y="106"/>
                    <a:pt x="20" y="106"/>
                  </a:cubicBezTo>
                  <a:cubicBezTo>
                    <a:pt x="20" y="106"/>
                    <a:pt x="21" y="106"/>
                    <a:pt x="21" y="106"/>
                  </a:cubicBezTo>
                  <a:cubicBezTo>
                    <a:pt x="22" y="106"/>
                    <a:pt x="22" y="106"/>
                    <a:pt x="23" y="106"/>
                  </a:cubicBezTo>
                  <a:cubicBezTo>
                    <a:pt x="23" y="107"/>
                    <a:pt x="22" y="108"/>
                    <a:pt x="22" y="109"/>
                  </a:cubicBezTo>
                  <a:cubicBezTo>
                    <a:pt x="22" y="110"/>
                    <a:pt x="24" y="110"/>
                    <a:pt x="24" y="110"/>
                  </a:cubicBezTo>
                  <a:cubicBezTo>
                    <a:pt x="25" y="110"/>
                    <a:pt x="25" y="109"/>
                    <a:pt x="26" y="109"/>
                  </a:cubicBezTo>
                  <a:cubicBezTo>
                    <a:pt x="26" y="110"/>
                    <a:pt x="26" y="111"/>
                    <a:pt x="25" y="111"/>
                  </a:cubicBezTo>
                  <a:cubicBezTo>
                    <a:pt x="25" y="111"/>
                    <a:pt x="23" y="112"/>
                    <a:pt x="23" y="112"/>
                  </a:cubicBezTo>
                  <a:cubicBezTo>
                    <a:pt x="22" y="112"/>
                    <a:pt x="22" y="113"/>
                    <a:pt x="22" y="114"/>
                  </a:cubicBezTo>
                  <a:cubicBezTo>
                    <a:pt x="22" y="114"/>
                    <a:pt x="23" y="116"/>
                    <a:pt x="22" y="116"/>
                  </a:cubicBezTo>
                  <a:cubicBezTo>
                    <a:pt x="21" y="116"/>
                    <a:pt x="21" y="115"/>
                    <a:pt x="21" y="115"/>
                  </a:cubicBezTo>
                  <a:cubicBezTo>
                    <a:pt x="21" y="115"/>
                    <a:pt x="21" y="115"/>
                    <a:pt x="21" y="114"/>
                  </a:cubicBezTo>
                  <a:cubicBezTo>
                    <a:pt x="20" y="114"/>
                    <a:pt x="19" y="114"/>
                    <a:pt x="19" y="115"/>
                  </a:cubicBezTo>
                  <a:cubicBezTo>
                    <a:pt x="18" y="115"/>
                    <a:pt x="18" y="115"/>
                    <a:pt x="17" y="115"/>
                  </a:cubicBezTo>
                  <a:cubicBezTo>
                    <a:pt x="16" y="115"/>
                    <a:pt x="16" y="116"/>
                    <a:pt x="16" y="116"/>
                  </a:cubicBezTo>
                  <a:cubicBezTo>
                    <a:pt x="16" y="117"/>
                    <a:pt x="16" y="118"/>
                    <a:pt x="17" y="118"/>
                  </a:cubicBezTo>
                  <a:cubicBezTo>
                    <a:pt x="17" y="119"/>
                    <a:pt x="18" y="119"/>
                    <a:pt x="19" y="119"/>
                  </a:cubicBezTo>
                  <a:cubicBezTo>
                    <a:pt x="19" y="118"/>
                    <a:pt x="20" y="118"/>
                    <a:pt x="20" y="118"/>
                  </a:cubicBezTo>
                  <a:cubicBezTo>
                    <a:pt x="20" y="118"/>
                    <a:pt x="20" y="117"/>
                    <a:pt x="20" y="117"/>
                  </a:cubicBezTo>
                  <a:cubicBezTo>
                    <a:pt x="20" y="117"/>
                    <a:pt x="20" y="117"/>
                    <a:pt x="20" y="116"/>
                  </a:cubicBezTo>
                  <a:cubicBezTo>
                    <a:pt x="20" y="116"/>
                    <a:pt x="21" y="117"/>
                    <a:pt x="21" y="117"/>
                  </a:cubicBezTo>
                  <a:cubicBezTo>
                    <a:pt x="21" y="118"/>
                    <a:pt x="21" y="118"/>
                    <a:pt x="21" y="119"/>
                  </a:cubicBezTo>
                  <a:cubicBezTo>
                    <a:pt x="21" y="119"/>
                    <a:pt x="21" y="119"/>
                    <a:pt x="21" y="119"/>
                  </a:cubicBezTo>
                  <a:cubicBezTo>
                    <a:pt x="20" y="119"/>
                    <a:pt x="20" y="120"/>
                    <a:pt x="20" y="120"/>
                  </a:cubicBezTo>
                  <a:cubicBezTo>
                    <a:pt x="20" y="120"/>
                    <a:pt x="19" y="121"/>
                    <a:pt x="19" y="121"/>
                  </a:cubicBezTo>
                  <a:cubicBezTo>
                    <a:pt x="19" y="122"/>
                    <a:pt x="18" y="121"/>
                    <a:pt x="18" y="121"/>
                  </a:cubicBezTo>
                  <a:cubicBezTo>
                    <a:pt x="17" y="121"/>
                    <a:pt x="17" y="121"/>
                    <a:pt x="17" y="120"/>
                  </a:cubicBezTo>
                  <a:cubicBezTo>
                    <a:pt x="17" y="120"/>
                    <a:pt x="16" y="120"/>
                    <a:pt x="16" y="121"/>
                  </a:cubicBezTo>
                  <a:cubicBezTo>
                    <a:pt x="16" y="121"/>
                    <a:pt x="17" y="121"/>
                    <a:pt x="18" y="122"/>
                  </a:cubicBezTo>
                  <a:cubicBezTo>
                    <a:pt x="18" y="122"/>
                    <a:pt x="18" y="122"/>
                    <a:pt x="18" y="123"/>
                  </a:cubicBezTo>
                  <a:cubicBezTo>
                    <a:pt x="19" y="124"/>
                    <a:pt x="18" y="124"/>
                    <a:pt x="17" y="124"/>
                  </a:cubicBezTo>
                  <a:cubicBezTo>
                    <a:pt x="16" y="125"/>
                    <a:pt x="15" y="126"/>
                    <a:pt x="15" y="127"/>
                  </a:cubicBezTo>
                  <a:cubicBezTo>
                    <a:pt x="15" y="127"/>
                    <a:pt x="15" y="127"/>
                    <a:pt x="14" y="128"/>
                  </a:cubicBezTo>
                  <a:cubicBezTo>
                    <a:pt x="14" y="128"/>
                    <a:pt x="13" y="128"/>
                    <a:pt x="13" y="129"/>
                  </a:cubicBezTo>
                  <a:cubicBezTo>
                    <a:pt x="13" y="129"/>
                    <a:pt x="13" y="130"/>
                    <a:pt x="13" y="131"/>
                  </a:cubicBezTo>
                  <a:cubicBezTo>
                    <a:pt x="12" y="131"/>
                    <a:pt x="12" y="131"/>
                    <a:pt x="12" y="131"/>
                  </a:cubicBezTo>
                  <a:cubicBezTo>
                    <a:pt x="11" y="131"/>
                    <a:pt x="12" y="130"/>
                    <a:pt x="11" y="130"/>
                  </a:cubicBezTo>
                  <a:cubicBezTo>
                    <a:pt x="11" y="129"/>
                    <a:pt x="10" y="130"/>
                    <a:pt x="10" y="131"/>
                  </a:cubicBezTo>
                  <a:cubicBezTo>
                    <a:pt x="10" y="131"/>
                    <a:pt x="9" y="132"/>
                    <a:pt x="10" y="133"/>
                  </a:cubicBezTo>
                  <a:cubicBezTo>
                    <a:pt x="10" y="133"/>
                    <a:pt x="11" y="133"/>
                    <a:pt x="11" y="133"/>
                  </a:cubicBezTo>
                  <a:cubicBezTo>
                    <a:pt x="11" y="133"/>
                    <a:pt x="12" y="133"/>
                    <a:pt x="12" y="133"/>
                  </a:cubicBezTo>
                  <a:cubicBezTo>
                    <a:pt x="12" y="134"/>
                    <a:pt x="11" y="134"/>
                    <a:pt x="11" y="134"/>
                  </a:cubicBezTo>
                  <a:cubicBezTo>
                    <a:pt x="11" y="134"/>
                    <a:pt x="10" y="134"/>
                    <a:pt x="10" y="134"/>
                  </a:cubicBezTo>
                  <a:cubicBezTo>
                    <a:pt x="10" y="134"/>
                    <a:pt x="10" y="134"/>
                    <a:pt x="9" y="134"/>
                  </a:cubicBezTo>
                  <a:cubicBezTo>
                    <a:pt x="9" y="135"/>
                    <a:pt x="9" y="135"/>
                    <a:pt x="9" y="135"/>
                  </a:cubicBezTo>
                  <a:cubicBezTo>
                    <a:pt x="8" y="137"/>
                    <a:pt x="8" y="139"/>
                    <a:pt x="8" y="140"/>
                  </a:cubicBezTo>
                  <a:cubicBezTo>
                    <a:pt x="7" y="140"/>
                    <a:pt x="7" y="139"/>
                    <a:pt x="7" y="139"/>
                  </a:cubicBezTo>
                  <a:cubicBezTo>
                    <a:pt x="6" y="139"/>
                    <a:pt x="5" y="139"/>
                    <a:pt x="5" y="139"/>
                  </a:cubicBezTo>
                  <a:cubicBezTo>
                    <a:pt x="4" y="139"/>
                    <a:pt x="4" y="139"/>
                    <a:pt x="4" y="139"/>
                  </a:cubicBezTo>
                  <a:cubicBezTo>
                    <a:pt x="5" y="140"/>
                    <a:pt x="5" y="140"/>
                    <a:pt x="6" y="140"/>
                  </a:cubicBezTo>
                  <a:cubicBezTo>
                    <a:pt x="6" y="140"/>
                    <a:pt x="7" y="140"/>
                    <a:pt x="7" y="141"/>
                  </a:cubicBezTo>
                  <a:cubicBezTo>
                    <a:pt x="7" y="141"/>
                    <a:pt x="7" y="141"/>
                    <a:pt x="7" y="141"/>
                  </a:cubicBezTo>
                  <a:cubicBezTo>
                    <a:pt x="6" y="142"/>
                    <a:pt x="6" y="142"/>
                    <a:pt x="5" y="142"/>
                  </a:cubicBezTo>
                  <a:cubicBezTo>
                    <a:pt x="5" y="143"/>
                    <a:pt x="3" y="143"/>
                    <a:pt x="4" y="144"/>
                  </a:cubicBezTo>
                  <a:cubicBezTo>
                    <a:pt x="4" y="144"/>
                    <a:pt x="4" y="144"/>
                    <a:pt x="4" y="145"/>
                  </a:cubicBezTo>
                  <a:cubicBezTo>
                    <a:pt x="4" y="145"/>
                    <a:pt x="4" y="145"/>
                    <a:pt x="4" y="146"/>
                  </a:cubicBezTo>
                  <a:cubicBezTo>
                    <a:pt x="5" y="146"/>
                    <a:pt x="5" y="147"/>
                    <a:pt x="5" y="148"/>
                  </a:cubicBezTo>
                  <a:cubicBezTo>
                    <a:pt x="5" y="148"/>
                    <a:pt x="5" y="149"/>
                    <a:pt x="5" y="149"/>
                  </a:cubicBezTo>
                  <a:cubicBezTo>
                    <a:pt x="4" y="150"/>
                    <a:pt x="4" y="149"/>
                    <a:pt x="3" y="148"/>
                  </a:cubicBezTo>
                  <a:cubicBezTo>
                    <a:pt x="3" y="148"/>
                    <a:pt x="4" y="147"/>
                    <a:pt x="3" y="147"/>
                  </a:cubicBezTo>
                  <a:cubicBezTo>
                    <a:pt x="3" y="147"/>
                    <a:pt x="2" y="147"/>
                    <a:pt x="2" y="147"/>
                  </a:cubicBezTo>
                  <a:cubicBezTo>
                    <a:pt x="2" y="148"/>
                    <a:pt x="2" y="149"/>
                    <a:pt x="3" y="150"/>
                  </a:cubicBezTo>
                  <a:cubicBezTo>
                    <a:pt x="3" y="151"/>
                    <a:pt x="4" y="153"/>
                    <a:pt x="4" y="153"/>
                  </a:cubicBezTo>
                  <a:cubicBezTo>
                    <a:pt x="4" y="153"/>
                    <a:pt x="3" y="153"/>
                    <a:pt x="2" y="153"/>
                  </a:cubicBezTo>
                  <a:cubicBezTo>
                    <a:pt x="1" y="154"/>
                    <a:pt x="0" y="154"/>
                    <a:pt x="0" y="154"/>
                  </a:cubicBezTo>
                  <a:cubicBezTo>
                    <a:pt x="0" y="154"/>
                    <a:pt x="0" y="154"/>
                    <a:pt x="0" y="154"/>
                  </a:cubicBezTo>
                  <a:cubicBezTo>
                    <a:pt x="0" y="155"/>
                    <a:pt x="0" y="155"/>
                    <a:pt x="1" y="156"/>
                  </a:cubicBezTo>
                  <a:cubicBezTo>
                    <a:pt x="1" y="156"/>
                    <a:pt x="1" y="157"/>
                    <a:pt x="1" y="157"/>
                  </a:cubicBezTo>
                  <a:cubicBezTo>
                    <a:pt x="1" y="157"/>
                    <a:pt x="0" y="158"/>
                    <a:pt x="0" y="159"/>
                  </a:cubicBezTo>
                  <a:cubicBezTo>
                    <a:pt x="0" y="159"/>
                    <a:pt x="0" y="160"/>
                    <a:pt x="0" y="160"/>
                  </a:cubicBezTo>
                  <a:cubicBezTo>
                    <a:pt x="0" y="160"/>
                    <a:pt x="2" y="161"/>
                    <a:pt x="2" y="162"/>
                  </a:cubicBezTo>
                  <a:cubicBezTo>
                    <a:pt x="2" y="162"/>
                    <a:pt x="1" y="163"/>
                    <a:pt x="1" y="163"/>
                  </a:cubicBezTo>
                  <a:cubicBezTo>
                    <a:pt x="1" y="163"/>
                    <a:pt x="0" y="164"/>
                    <a:pt x="0" y="164"/>
                  </a:cubicBezTo>
                  <a:cubicBezTo>
                    <a:pt x="65" y="164"/>
                    <a:pt x="65" y="164"/>
                    <a:pt x="65" y="164"/>
                  </a:cubicBezTo>
                  <a:cubicBezTo>
                    <a:pt x="65" y="164"/>
                    <a:pt x="65" y="167"/>
                    <a:pt x="65" y="167"/>
                  </a:cubicBezTo>
                  <a:cubicBezTo>
                    <a:pt x="65" y="167"/>
                    <a:pt x="62" y="177"/>
                    <a:pt x="62" y="177"/>
                  </a:cubicBezTo>
                  <a:cubicBezTo>
                    <a:pt x="62" y="178"/>
                    <a:pt x="62" y="178"/>
                    <a:pt x="62" y="178"/>
                  </a:cubicBezTo>
                  <a:cubicBezTo>
                    <a:pt x="67" y="186"/>
                    <a:pt x="67" y="186"/>
                    <a:pt x="67" y="186"/>
                  </a:cubicBezTo>
                  <a:cubicBezTo>
                    <a:pt x="67" y="186"/>
                    <a:pt x="69" y="195"/>
                    <a:pt x="69" y="195"/>
                  </a:cubicBezTo>
                  <a:cubicBezTo>
                    <a:pt x="70" y="195"/>
                    <a:pt x="72" y="197"/>
                    <a:pt x="72" y="197"/>
                  </a:cubicBezTo>
                  <a:cubicBezTo>
                    <a:pt x="74" y="197"/>
                    <a:pt x="74" y="197"/>
                    <a:pt x="74" y="197"/>
                  </a:cubicBezTo>
                  <a:cubicBezTo>
                    <a:pt x="74" y="197"/>
                    <a:pt x="74" y="197"/>
                    <a:pt x="74" y="197"/>
                  </a:cubicBezTo>
                  <a:cubicBezTo>
                    <a:pt x="75" y="197"/>
                    <a:pt x="75" y="197"/>
                    <a:pt x="75" y="197"/>
                  </a:cubicBezTo>
                  <a:cubicBezTo>
                    <a:pt x="76" y="197"/>
                    <a:pt x="76" y="196"/>
                    <a:pt x="76" y="196"/>
                  </a:cubicBezTo>
                  <a:cubicBezTo>
                    <a:pt x="77" y="196"/>
                    <a:pt x="77" y="195"/>
                    <a:pt x="77" y="195"/>
                  </a:cubicBezTo>
                  <a:cubicBezTo>
                    <a:pt x="78" y="195"/>
                    <a:pt x="78" y="194"/>
                    <a:pt x="78" y="194"/>
                  </a:cubicBezTo>
                  <a:cubicBezTo>
                    <a:pt x="79" y="193"/>
                    <a:pt x="79" y="192"/>
                    <a:pt x="79" y="190"/>
                  </a:cubicBezTo>
                  <a:cubicBezTo>
                    <a:pt x="79" y="190"/>
                    <a:pt x="79" y="190"/>
                    <a:pt x="79" y="190"/>
                  </a:cubicBezTo>
                  <a:cubicBezTo>
                    <a:pt x="80" y="190"/>
                    <a:pt x="81" y="190"/>
                    <a:pt x="81" y="191"/>
                  </a:cubicBezTo>
                  <a:cubicBezTo>
                    <a:pt x="82" y="191"/>
                    <a:pt x="82" y="191"/>
                    <a:pt x="81" y="192"/>
                  </a:cubicBezTo>
                  <a:cubicBezTo>
                    <a:pt x="81" y="192"/>
                    <a:pt x="81" y="192"/>
                    <a:pt x="81" y="193"/>
                  </a:cubicBezTo>
                  <a:cubicBezTo>
                    <a:pt x="82" y="192"/>
                    <a:pt x="82" y="192"/>
                    <a:pt x="83" y="192"/>
                  </a:cubicBezTo>
                  <a:cubicBezTo>
                    <a:pt x="84" y="192"/>
                    <a:pt x="85" y="191"/>
                    <a:pt x="86" y="191"/>
                  </a:cubicBezTo>
                  <a:cubicBezTo>
                    <a:pt x="87" y="191"/>
                    <a:pt x="88" y="190"/>
                    <a:pt x="89" y="190"/>
                  </a:cubicBezTo>
                  <a:cubicBezTo>
                    <a:pt x="89" y="190"/>
                    <a:pt x="90" y="189"/>
                    <a:pt x="91" y="189"/>
                  </a:cubicBezTo>
                  <a:cubicBezTo>
                    <a:pt x="92" y="189"/>
                    <a:pt x="94" y="189"/>
                    <a:pt x="95" y="189"/>
                  </a:cubicBezTo>
                  <a:cubicBezTo>
                    <a:pt x="96" y="189"/>
                    <a:pt x="97" y="189"/>
                    <a:pt x="97" y="189"/>
                  </a:cubicBezTo>
                  <a:cubicBezTo>
                    <a:pt x="98" y="189"/>
                    <a:pt x="98" y="190"/>
                    <a:pt x="98" y="190"/>
                  </a:cubicBezTo>
                  <a:cubicBezTo>
                    <a:pt x="99" y="190"/>
                    <a:pt x="99" y="190"/>
                    <a:pt x="99" y="190"/>
                  </a:cubicBezTo>
                  <a:cubicBezTo>
                    <a:pt x="99" y="190"/>
                    <a:pt x="100" y="190"/>
                    <a:pt x="100" y="190"/>
                  </a:cubicBezTo>
                  <a:cubicBezTo>
                    <a:pt x="100" y="190"/>
                    <a:pt x="100" y="190"/>
                    <a:pt x="100" y="189"/>
                  </a:cubicBezTo>
                  <a:cubicBezTo>
                    <a:pt x="101" y="189"/>
                    <a:pt x="102" y="189"/>
                    <a:pt x="103" y="189"/>
                  </a:cubicBezTo>
                  <a:cubicBezTo>
                    <a:pt x="103" y="190"/>
                    <a:pt x="104" y="190"/>
                    <a:pt x="104" y="190"/>
                  </a:cubicBezTo>
                  <a:cubicBezTo>
                    <a:pt x="105" y="190"/>
                    <a:pt x="105" y="190"/>
                    <a:pt x="105" y="189"/>
                  </a:cubicBezTo>
                  <a:cubicBezTo>
                    <a:pt x="106" y="189"/>
                    <a:pt x="105" y="189"/>
                    <a:pt x="105" y="188"/>
                  </a:cubicBezTo>
                  <a:cubicBezTo>
                    <a:pt x="104" y="188"/>
                    <a:pt x="104" y="188"/>
                    <a:pt x="104" y="187"/>
                  </a:cubicBezTo>
                  <a:cubicBezTo>
                    <a:pt x="104" y="187"/>
                    <a:pt x="104" y="186"/>
                    <a:pt x="105" y="186"/>
                  </a:cubicBezTo>
                  <a:cubicBezTo>
                    <a:pt x="105" y="185"/>
                    <a:pt x="106" y="186"/>
                    <a:pt x="106" y="186"/>
                  </a:cubicBezTo>
                  <a:cubicBezTo>
                    <a:pt x="106" y="186"/>
                    <a:pt x="106" y="187"/>
                    <a:pt x="106" y="188"/>
                  </a:cubicBezTo>
                  <a:cubicBezTo>
                    <a:pt x="106" y="188"/>
                    <a:pt x="106" y="189"/>
                    <a:pt x="107" y="189"/>
                  </a:cubicBezTo>
                  <a:cubicBezTo>
                    <a:pt x="107" y="190"/>
                    <a:pt x="107" y="190"/>
                    <a:pt x="107" y="190"/>
                  </a:cubicBezTo>
                  <a:cubicBezTo>
                    <a:pt x="107" y="191"/>
                    <a:pt x="108" y="191"/>
                    <a:pt x="108" y="191"/>
                  </a:cubicBezTo>
                  <a:cubicBezTo>
                    <a:pt x="109" y="191"/>
                    <a:pt x="109" y="191"/>
                    <a:pt x="110" y="191"/>
                  </a:cubicBezTo>
                  <a:cubicBezTo>
                    <a:pt x="110" y="191"/>
                    <a:pt x="111" y="190"/>
                    <a:pt x="111" y="190"/>
                  </a:cubicBezTo>
                  <a:cubicBezTo>
                    <a:pt x="111" y="190"/>
                    <a:pt x="112" y="190"/>
                    <a:pt x="112" y="189"/>
                  </a:cubicBezTo>
                  <a:cubicBezTo>
                    <a:pt x="109" y="126"/>
                    <a:pt x="109" y="126"/>
                    <a:pt x="109" y="126"/>
                  </a:cubicBezTo>
                  <a:lnTo>
                    <a:pt x="122" y="4"/>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2" name="Freeform 35">
              <a:extLst>
                <a:ext uri="{FF2B5EF4-FFF2-40B4-BE49-F238E27FC236}">
                  <a16:creationId xmlns:a16="http://schemas.microsoft.com/office/drawing/2014/main" id="{896A9FD7-A311-8F9F-72CF-58D9AE773C18}"/>
                </a:ext>
              </a:extLst>
            </p:cNvPr>
            <p:cNvSpPr>
              <a:spLocks/>
            </p:cNvSpPr>
            <p:nvPr/>
          </p:nvSpPr>
          <p:spPr bwMode="auto">
            <a:xfrm>
              <a:off x="6283487" y="877246"/>
              <a:ext cx="1044193" cy="1174717"/>
            </a:xfrm>
            <a:custGeom>
              <a:avLst/>
              <a:gdLst>
                <a:gd name="T0" fmla="*/ 15 w 264"/>
                <a:gd name="T1" fmla="*/ 190 h 296"/>
                <a:gd name="T2" fmla="*/ 15 w 264"/>
                <a:gd name="T3" fmla="*/ 197 h 296"/>
                <a:gd name="T4" fmla="*/ 25 w 264"/>
                <a:gd name="T5" fmla="*/ 206 h 296"/>
                <a:gd name="T6" fmla="*/ 207 w 264"/>
                <a:gd name="T7" fmla="*/ 295 h 296"/>
                <a:gd name="T8" fmla="*/ 206 w 264"/>
                <a:gd name="T9" fmla="*/ 284 h 296"/>
                <a:gd name="T10" fmla="*/ 200 w 264"/>
                <a:gd name="T11" fmla="*/ 272 h 296"/>
                <a:gd name="T12" fmla="*/ 188 w 264"/>
                <a:gd name="T13" fmla="*/ 264 h 296"/>
                <a:gd name="T14" fmla="*/ 181 w 264"/>
                <a:gd name="T15" fmla="*/ 253 h 296"/>
                <a:gd name="T16" fmla="*/ 169 w 264"/>
                <a:gd name="T17" fmla="*/ 246 h 296"/>
                <a:gd name="T18" fmla="*/ 160 w 264"/>
                <a:gd name="T19" fmla="*/ 243 h 296"/>
                <a:gd name="T20" fmla="*/ 153 w 264"/>
                <a:gd name="T21" fmla="*/ 231 h 296"/>
                <a:gd name="T22" fmla="*/ 153 w 264"/>
                <a:gd name="T23" fmla="*/ 220 h 296"/>
                <a:gd name="T24" fmla="*/ 154 w 264"/>
                <a:gd name="T25" fmla="*/ 213 h 296"/>
                <a:gd name="T26" fmla="*/ 158 w 264"/>
                <a:gd name="T27" fmla="*/ 203 h 296"/>
                <a:gd name="T28" fmla="*/ 150 w 264"/>
                <a:gd name="T29" fmla="*/ 195 h 296"/>
                <a:gd name="T30" fmla="*/ 153 w 264"/>
                <a:gd name="T31" fmla="*/ 186 h 296"/>
                <a:gd name="T32" fmla="*/ 160 w 264"/>
                <a:gd name="T33" fmla="*/ 177 h 296"/>
                <a:gd name="T34" fmla="*/ 166 w 264"/>
                <a:gd name="T35" fmla="*/ 173 h 296"/>
                <a:gd name="T36" fmla="*/ 170 w 264"/>
                <a:gd name="T37" fmla="*/ 169 h 296"/>
                <a:gd name="T38" fmla="*/ 174 w 264"/>
                <a:gd name="T39" fmla="*/ 139 h 296"/>
                <a:gd name="T40" fmla="*/ 181 w 264"/>
                <a:gd name="T41" fmla="*/ 132 h 296"/>
                <a:gd name="T42" fmla="*/ 196 w 264"/>
                <a:gd name="T43" fmla="*/ 120 h 296"/>
                <a:gd name="T44" fmla="*/ 235 w 264"/>
                <a:gd name="T45" fmla="*/ 86 h 296"/>
                <a:gd name="T46" fmla="*/ 264 w 264"/>
                <a:gd name="T47" fmla="*/ 72 h 296"/>
                <a:gd name="T48" fmla="*/ 258 w 264"/>
                <a:gd name="T49" fmla="*/ 72 h 296"/>
                <a:gd name="T50" fmla="*/ 249 w 264"/>
                <a:gd name="T51" fmla="*/ 71 h 296"/>
                <a:gd name="T52" fmla="*/ 247 w 264"/>
                <a:gd name="T53" fmla="*/ 68 h 296"/>
                <a:gd name="T54" fmla="*/ 230 w 264"/>
                <a:gd name="T55" fmla="*/ 67 h 296"/>
                <a:gd name="T56" fmla="*/ 223 w 264"/>
                <a:gd name="T57" fmla="*/ 68 h 296"/>
                <a:gd name="T58" fmla="*/ 222 w 264"/>
                <a:gd name="T59" fmla="*/ 65 h 296"/>
                <a:gd name="T60" fmla="*/ 220 w 264"/>
                <a:gd name="T61" fmla="*/ 64 h 296"/>
                <a:gd name="T62" fmla="*/ 209 w 264"/>
                <a:gd name="T63" fmla="*/ 65 h 296"/>
                <a:gd name="T64" fmla="*/ 195 w 264"/>
                <a:gd name="T65" fmla="*/ 70 h 296"/>
                <a:gd name="T66" fmla="*/ 192 w 264"/>
                <a:gd name="T67" fmla="*/ 67 h 296"/>
                <a:gd name="T68" fmla="*/ 190 w 264"/>
                <a:gd name="T69" fmla="*/ 62 h 296"/>
                <a:gd name="T70" fmla="*/ 181 w 264"/>
                <a:gd name="T71" fmla="*/ 61 h 296"/>
                <a:gd name="T72" fmla="*/ 180 w 264"/>
                <a:gd name="T73" fmla="*/ 56 h 296"/>
                <a:gd name="T74" fmla="*/ 169 w 264"/>
                <a:gd name="T75" fmla="*/ 56 h 296"/>
                <a:gd name="T76" fmla="*/ 167 w 264"/>
                <a:gd name="T77" fmla="*/ 61 h 296"/>
                <a:gd name="T78" fmla="*/ 164 w 264"/>
                <a:gd name="T79" fmla="*/ 51 h 296"/>
                <a:gd name="T80" fmla="*/ 155 w 264"/>
                <a:gd name="T81" fmla="*/ 48 h 296"/>
                <a:gd name="T82" fmla="*/ 158 w 264"/>
                <a:gd name="T83" fmla="*/ 45 h 296"/>
                <a:gd name="T84" fmla="*/ 147 w 264"/>
                <a:gd name="T85" fmla="*/ 40 h 296"/>
                <a:gd name="T86" fmla="*/ 137 w 264"/>
                <a:gd name="T87" fmla="*/ 40 h 296"/>
                <a:gd name="T88" fmla="*/ 118 w 264"/>
                <a:gd name="T89" fmla="*/ 46 h 296"/>
                <a:gd name="T90" fmla="*/ 102 w 264"/>
                <a:gd name="T91" fmla="*/ 37 h 296"/>
                <a:gd name="T92" fmla="*/ 96 w 264"/>
                <a:gd name="T93" fmla="*/ 37 h 296"/>
                <a:gd name="T94" fmla="*/ 87 w 264"/>
                <a:gd name="T95" fmla="*/ 24 h 296"/>
                <a:gd name="T96" fmla="*/ 77 w 264"/>
                <a:gd name="T97" fmla="*/ 1 h 296"/>
                <a:gd name="T98" fmla="*/ 71 w 264"/>
                <a:gd name="T99" fmla="*/ 20 h 296"/>
                <a:gd name="T100" fmla="*/ 1 w 264"/>
                <a:gd name="T101" fmla="*/ 28 h 296"/>
                <a:gd name="T102" fmla="*/ 3 w 264"/>
                <a:gd name="T103" fmla="*/ 41 h 296"/>
                <a:gd name="T104" fmla="*/ 2 w 264"/>
                <a:gd name="T105" fmla="*/ 47 h 296"/>
                <a:gd name="T106" fmla="*/ 2 w 264"/>
                <a:gd name="T107" fmla="*/ 53 h 296"/>
                <a:gd name="T108" fmla="*/ 3 w 264"/>
                <a:gd name="T109" fmla="*/ 67 h 296"/>
                <a:gd name="T110" fmla="*/ 11 w 264"/>
                <a:gd name="T111" fmla="*/ 89 h 296"/>
                <a:gd name="T112" fmla="*/ 13 w 264"/>
                <a:gd name="T113" fmla="*/ 110 h 296"/>
                <a:gd name="T114" fmla="*/ 16 w 264"/>
                <a:gd name="T115" fmla="*/ 129 h 296"/>
                <a:gd name="T116" fmla="*/ 15 w 264"/>
                <a:gd name="T117" fmla="*/ 143 h 296"/>
                <a:gd name="T118" fmla="*/ 20 w 264"/>
                <a:gd name="T119" fmla="*/ 154 h 296"/>
                <a:gd name="T120" fmla="*/ 22 w 264"/>
                <a:gd name="T121" fmla="*/ 18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4" h="296">
                  <a:moveTo>
                    <a:pt x="22" y="182"/>
                  </a:moveTo>
                  <a:cubicBezTo>
                    <a:pt x="22" y="182"/>
                    <a:pt x="19" y="187"/>
                    <a:pt x="19" y="187"/>
                  </a:cubicBezTo>
                  <a:cubicBezTo>
                    <a:pt x="19" y="187"/>
                    <a:pt x="15" y="190"/>
                    <a:pt x="15" y="190"/>
                  </a:cubicBezTo>
                  <a:cubicBezTo>
                    <a:pt x="14" y="191"/>
                    <a:pt x="13" y="191"/>
                    <a:pt x="13" y="191"/>
                  </a:cubicBezTo>
                  <a:cubicBezTo>
                    <a:pt x="13" y="191"/>
                    <a:pt x="13" y="193"/>
                    <a:pt x="13" y="193"/>
                  </a:cubicBezTo>
                  <a:cubicBezTo>
                    <a:pt x="13" y="193"/>
                    <a:pt x="14" y="197"/>
                    <a:pt x="15" y="197"/>
                  </a:cubicBezTo>
                  <a:cubicBezTo>
                    <a:pt x="15" y="198"/>
                    <a:pt x="18" y="203"/>
                    <a:pt x="18" y="203"/>
                  </a:cubicBezTo>
                  <a:cubicBezTo>
                    <a:pt x="18" y="203"/>
                    <a:pt x="22" y="204"/>
                    <a:pt x="22" y="204"/>
                  </a:cubicBezTo>
                  <a:cubicBezTo>
                    <a:pt x="22" y="204"/>
                    <a:pt x="25" y="205"/>
                    <a:pt x="25" y="206"/>
                  </a:cubicBezTo>
                  <a:cubicBezTo>
                    <a:pt x="26" y="206"/>
                    <a:pt x="26" y="208"/>
                    <a:pt x="26" y="208"/>
                  </a:cubicBezTo>
                  <a:cubicBezTo>
                    <a:pt x="26" y="296"/>
                    <a:pt x="26" y="296"/>
                    <a:pt x="26" y="296"/>
                  </a:cubicBezTo>
                  <a:cubicBezTo>
                    <a:pt x="207" y="295"/>
                    <a:pt x="207" y="295"/>
                    <a:pt x="207" y="295"/>
                  </a:cubicBezTo>
                  <a:cubicBezTo>
                    <a:pt x="207" y="295"/>
                    <a:pt x="206" y="292"/>
                    <a:pt x="206" y="291"/>
                  </a:cubicBezTo>
                  <a:cubicBezTo>
                    <a:pt x="206" y="291"/>
                    <a:pt x="205" y="289"/>
                    <a:pt x="205" y="288"/>
                  </a:cubicBezTo>
                  <a:cubicBezTo>
                    <a:pt x="205" y="287"/>
                    <a:pt x="206" y="285"/>
                    <a:pt x="206" y="284"/>
                  </a:cubicBezTo>
                  <a:cubicBezTo>
                    <a:pt x="206" y="283"/>
                    <a:pt x="205" y="280"/>
                    <a:pt x="205" y="279"/>
                  </a:cubicBezTo>
                  <a:cubicBezTo>
                    <a:pt x="204" y="279"/>
                    <a:pt x="202" y="275"/>
                    <a:pt x="201" y="275"/>
                  </a:cubicBezTo>
                  <a:cubicBezTo>
                    <a:pt x="201" y="274"/>
                    <a:pt x="201" y="273"/>
                    <a:pt x="200" y="272"/>
                  </a:cubicBezTo>
                  <a:cubicBezTo>
                    <a:pt x="199" y="272"/>
                    <a:pt x="196" y="271"/>
                    <a:pt x="195" y="271"/>
                  </a:cubicBezTo>
                  <a:cubicBezTo>
                    <a:pt x="194" y="270"/>
                    <a:pt x="194" y="269"/>
                    <a:pt x="193" y="268"/>
                  </a:cubicBezTo>
                  <a:cubicBezTo>
                    <a:pt x="192" y="268"/>
                    <a:pt x="189" y="265"/>
                    <a:pt x="188" y="264"/>
                  </a:cubicBezTo>
                  <a:cubicBezTo>
                    <a:pt x="187" y="264"/>
                    <a:pt x="186" y="263"/>
                    <a:pt x="185" y="262"/>
                  </a:cubicBezTo>
                  <a:cubicBezTo>
                    <a:pt x="184" y="262"/>
                    <a:pt x="184" y="262"/>
                    <a:pt x="184" y="260"/>
                  </a:cubicBezTo>
                  <a:cubicBezTo>
                    <a:pt x="184" y="259"/>
                    <a:pt x="182" y="254"/>
                    <a:pt x="181" y="253"/>
                  </a:cubicBezTo>
                  <a:cubicBezTo>
                    <a:pt x="179" y="252"/>
                    <a:pt x="178" y="253"/>
                    <a:pt x="177" y="252"/>
                  </a:cubicBezTo>
                  <a:cubicBezTo>
                    <a:pt x="176" y="251"/>
                    <a:pt x="173" y="250"/>
                    <a:pt x="172" y="250"/>
                  </a:cubicBezTo>
                  <a:cubicBezTo>
                    <a:pt x="171" y="249"/>
                    <a:pt x="170" y="247"/>
                    <a:pt x="169" y="246"/>
                  </a:cubicBezTo>
                  <a:cubicBezTo>
                    <a:pt x="169" y="246"/>
                    <a:pt x="169" y="245"/>
                    <a:pt x="167" y="244"/>
                  </a:cubicBezTo>
                  <a:cubicBezTo>
                    <a:pt x="166" y="244"/>
                    <a:pt x="164" y="244"/>
                    <a:pt x="162" y="244"/>
                  </a:cubicBezTo>
                  <a:cubicBezTo>
                    <a:pt x="161" y="244"/>
                    <a:pt x="160" y="244"/>
                    <a:pt x="160" y="243"/>
                  </a:cubicBezTo>
                  <a:cubicBezTo>
                    <a:pt x="160" y="242"/>
                    <a:pt x="158" y="240"/>
                    <a:pt x="157" y="239"/>
                  </a:cubicBezTo>
                  <a:cubicBezTo>
                    <a:pt x="156" y="238"/>
                    <a:pt x="153" y="236"/>
                    <a:pt x="153" y="236"/>
                  </a:cubicBezTo>
                  <a:cubicBezTo>
                    <a:pt x="152" y="235"/>
                    <a:pt x="153" y="232"/>
                    <a:pt x="153" y="231"/>
                  </a:cubicBezTo>
                  <a:cubicBezTo>
                    <a:pt x="153" y="231"/>
                    <a:pt x="154" y="227"/>
                    <a:pt x="154" y="226"/>
                  </a:cubicBezTo>
                  <a:cubicBezTo>
                    <a:pt x="154" y="225"/>
                    <a:pt x="154" y="223"/>
                    <a:pt x="154" y="222"/>
                  </a:cubicBezTo>
                  <a:cubicBezTo>
                    <a:pt x="153" y="221"/>
                    <a:pt x="153" y="221"/>
                    <a:pt x="153" y="220"/>
                  </a:cubicBezTo>
                  <a:cubicBezTo>
                    <a:pt x="153" y="220"/>
                    <a:pt x="153" y="219"/>
                    <a:pt x="153" y="218"/>
                  </a:cubicBezTo>
                  <a:cubicBezTo>
                    <a:pt x="154" y="218"/>
                    <a:pt x="154" y="217"/>
                    <a:pt x="154" y="216"/>
                  </a:cubicBezTo>
                  <a:cubicBezTo>
                    <a:pt x="154" y="215"/>
                    <a:pt x="154" y="214"/>
                    <a:pt x="154" y="213"/>
                  </a:cubicBezTo>
                  <a:cubicBezTo>
                    <a:pt x="154" y="212"/>
                    <a:pt x="153" y="210"/>
                    <a:pt x="154" y="209"/>
                  </a:cubicBezTo>
                  <a:cubicBezTo>
                    <a:pt x="154" y="208"/>
                    <a:pt x="156" y="206"/>
                    <a:pt x="156" y="205"/>
                  </a:cubicBezTo>
                  <a:cubicBezTo>
                    <a:pt x="157" y="204"/>
                    <a:pt x="158" y="204"/>
                    <a:pt x="158" y="203"/>
                  </a:cubicBezTo>
                  <a:cubicBezTo>
                    <a:pt x="158" y="202"/>
                    <a:pt x="156" y="199"/>
                    <a:pt x="155" y="198"/>
                  </a:cubicBezTo>
                  <a:cubicBezTo>
                    <a:pt x="155" y="197"/>
                    <a:pt x="155" y="196"/>
                    <a:pt x="154" y="195"/>
                  </a:cubicBezTo>
                  <a:cubicBezTo>
                    <a:pt x="153" y="195"/>
                    <a:pt x="150" y="195"/>
                    <a:pt x="150" y="195"/>
                  </a:cubicBezTo>
                  <a:cubicBezTo>
                    <a:pt x="149" y="194"/>
                    <a:pt x="149" y="193"/>
                    <a:pt x="149" y="192"/>
                  </a:cubicBezTo>
                  <a:cubicBezTo>
                    <a:pt x="150" y="191"/>
                    <a:pt x="149" y="189"/>
                    <a:pt x="150" y="188"/>
                  </a:cubicBezTo>
                  <a:cubicBezTo>
                    <a:pt x="150" y="188"/>
                    <a:pt x="152" y="187"/>
                    <a:pt x="153" y="186"/>
                  </a:cubicBezTo>
                  <a:cubicBezTo>
                    <a:pt x="153" y="185"/>
                    <a:pt x="154" y="183"/>
                    <a:pt x="154" y="182"/>
                  </a:cubicBezTo>
                  <a:cubicBezTo>
                    <a:pt x="155" y="181"/>
                    <a:pt x="155" y="180"/>
                    <a:pt x="156" y="179"/>
                  </a:cubicBezTo>
                  <a:cubicBezTo>
                    <a:pt x="157" y="178"/>
                    <a:pt x="159" y="177"/>
                    <a:pt x="160" y="177"/>
                  </a:cubicBezTo>
                  <a:cubicBezTo>
                    <a:pt x="161" y="176"/>
                    <a:pt x="161" y="175"/>
                    <a:pt x="162" y="175"/>
                  </a:cubicBezTo>
                  <a:cubicBezTo>
                    <a:pt x="162" y="174"/>
                    <a:pt x="163" y="175"/>
                    <a:pt x="164" y="175"/>
                  </a:cubicBezTo>
                  <a:cubicBezTo>
                    <a:pt x="164" y="175"/>
                    <a:pt x="165" y="173"/>
                    <a:pt x="166" y="173"/>
                  </a:cubicBezTo>
                  <a:cubicBezTo>
                    <a:pt x="166" y="172"/>
                    <a:pt x="168" y="173"/>
                    <a:pt x="168" y="173"/>
                  </a:cubicBezTo>
                  <a:cubicBezTo>
                    <a:pt x="168" y="172"/>
                    <a:pt x="169" y="171"/>
                    <a:pt x="169" y="171"/>
                  </a:cubicBezTo>
                  <a:cubicBezTo>
                    <a:pt x="169" y="170"/>
                    <a:pt x="170" y="169"/>
                    <a:pt x="170" y="169"/>
                  </a:cubicBezTo>
                  <a:cubicBezTo>
                    <a:pt x="170" y="169"/>
                    <a:pt x="170" y="140"/>
                    <a:pt x="170" y="140"/>
                  </a:cubicBezTo>
                  <a:cubicBezTo>
                    <a:pt x="170" y="140"/>
                    <a:pt x="173" y="141"/>
                    <a:pt x="173" y="141"/>
                  </a:cubicBezTo>
                  <a:cubicBezTo>
                    <a:pt x="174" y="139"/>
                    <a:pt x="174" y="139"/>
                    <a:pt x="174" y="139"/>
                  </a:cubicBezTo>
                  <a:cubicBezTo>
                    <a:pt x="174" y="139"/>
                    <a:pt x="174" y="139"/>
                    <a:pt x="174" y="139"/>
                  </a:cubicBezTo>
                  <a:cubicBezTo>
                    <a:pt x="174" y="138"/>
                    <a:pt x="176" y="136"/>
                    <a:pt x="176" y="136"/>
                  </a:cubicBezTo>
                  <a:cubicBezTo>
                    <a:pt x="177" y="136"/>
                    <a:pt x="180" y="132"/>
                    <a:pt x="181" y="132"/>
                  </a:cubicBezTo>
                  <a:cubicBezTo>
                    <a:pt x="181" y="131"/>
                    <a:pt x="185" y="129"/>
                    <a:pt x="185" y="128"/>
                  </a:cubicBezTo>
                  <a:cubicBezTo>
                    <a:pt x="186" y="128"/>
                    <a:pt x="187" y="127"/>
                    <a:pt x="187" y="127"/>
                  </a:cubicBezTo>
                  <a:cubicBezTo>
                    <a:pt x="188" y="126"/>
                    <a:pt x="195" y="120"/>
                    <a:pt x="196" y="120"/>
                  </a:cubicBezTo>
                  <a:cubicBezTo>
                    <a:pt x="196" y="120"/>
                    <a:pt x="214" y="100"/>
                    <a:pt x="215" y="100"/>
                  </a:cubicBezTo>
                  <a:cubicBezTo>
                    <a:pt x="216" y="99"/>
                    <a:pt x="220" y="95"/>
                    <a:pt x="222" y="94"/>
                  </a:cubicBezTo>
                  <a:cubicBezTo>
                    <a:pt x="223" y="92"/>
                    <a:pt x="232" y="87"/>
                    <a:pt x="235" y="86"/>
                  </a:cubicBezTo>
                  <a:cubicBezTo>
                    <a:pt x="239" y="85"/>
                    <a:pt x="247" y="82"/>
                    <a:pt x="251" y="81"/>
                  </a:cubicBezTo>
                  <a:cubicBezTo>
                    <a:pt x="254" y="81"/>
                    <a:pt x="257" y="78"/>
                    <a:pt x="258" y="77"/>
                  </a:cubicBezTo>
                  <a:cubicBezTo>
                    <a:pt x="260" y="76"/>
                    <a:pt x="264" y="72"/>
                    <a:pt x="264" y="72"/>
                  </a:cubicBezTo>
                  <a:cubicBezTo>
                    <a:pt x="262" y="72"/>
                    <a:pt x="262" y="72"/>
                    <a:pt x="262" y="72"/>
                  </a:cubicBezTo>
                  <a:cubicBezTo>
                    <a:pt x="260" y="72"/>
                    <a:pt x="260" y="72"/>
                    <a:pt x="260" y="72"/>
                  </a:cubicBezTo>
                  <a:cubicBezTo>
                    <a:pt x="258" y="72"/>
                    <a:pt x="258" y="72"/>
                    <a:pt x="258" y="72"/>
                  </a:cubicBezTo>
                  <a:cubicBezTo>
                    <a:pt x="258" y="72"/>
                    <a:pt x="255" y="72"/>
                    <a:pt x="255" y="73"/>
                  </a:cubicBezTo>
                  <a:cubicBezTo>
                    <a:pt x="255" y="73"/>
                    <a:pt x="253" y="73"/>
                    <a:pt x="253" y="73"/>
                  </a:cubicBezTo>
                  <a:cubicBezTo>
                    <a:pt x="253" y="73"/>
                    <a:pt x="249" y="71"/>
                    <a:pt x="249" y="71"/>
                  </a:cubicBezTo>
                  <a:cubicBezTo>
                    <a:pt x="249" y="71"/>
                    <a:pt x="249" y="69"/>
                    <a:pt x="249" y="69"/>
                  </a:cubicBezTo>
                  <a:cubicBezTo>
                    <a:pt x="249" y="69"/>
                    <a:pt x="248" y="68"/>
                    <a:pt x="248" y="68"/>
                  </a:cubicBezTo>
                  <a:cubicBezTo>
                    <a:pt x="248" y="68"/>
                    <a:pt x="247" y="68"/>
                    <a:pt x="247" y="68"/>
                  </a:cubicBezTo>
                  <a:cubicBezTo>
                    <a:pt x="247" y="68"/>
                    <a:pt x="246" y="67"/>
                    <a:pt x="246" y="67"/>
                  </a:cubicBezTo>
                  <a:cubicBezTo>
                    <a:pt x="245" y="67"/>
                    <a:pt x="245" y="67"/>
                    <a:pt x="245" y="67"/>
                  </a:cubicBezTo>
                  <a:cubicBezTo>
                    <a:pt x="230" y="67"/>
                    <a:pt x="230" y="67"/>
                    <a:pt x="230" y="67"/>
                  </a:cubicBezTo>
                  <a:cubicBezTo>
                    <a:pt x="229" y="66"/>
                    <a:pt x="229" y="66"/>
                    <a:pt x="229" y="66"/>
                  </a:cubicBezTo>
                  <a:cubicBezTo>
                    <a:pt x="225" y="68"/>
                    <a:pt x="225" y="68"/>
                    <a:pt x="225" y="68"/>
                  </a:cubicBezTo>
                  <a:cubicBezTo>
                    <a:pt x="223" y="68"/>
                    <a:pt x="223" y="68"/>
                    <a:pt x="223" y="68"/>
                  </a:cubicBezTo>
                  <a:cubicBezTo>
                    <a:pt x="223" y="68"/>
                    <a:pt x="223" y="67"/>
                    <a:pt x="223" y="67"/>
                  </a:cubicBezTo>
                  <a:cubicBezTo>
                    <a:pt x="223" y="67"/>
                    <a:pt x="222" y="66"/>
                    <a:pt x="222" y="66"/>
                  </a:cubicBezTo>
                  <a:cubicBezTo>
                    <a:pt x="222" y="65"/>
                    <a:pt x="222" y="65"/>
                    <a:pt x="222" y="65"/>
                  </a:cubicBezTo>
                  <a:cubicBezTo>
                    <a:pt x="222" y="64"/>
                    <a:pt x="222" y="64"/>
                    <a:pt x="222" y="64"/>
                  </a:cubicBezTo>
                  <a:cubicBezTo>
                    <a:pt x="222" y="64"/>
                    <a:pt x="222" y="64"/>
                    <a:pt x="222" y="64"/>
                  </a:cubicBezTo>
                  <a:cubicBezTo>
                    <a:pt x="220" y="64"/>
                    <a:pt x="220" y="64"/>
                    <a:pt x="220" y="64"/>
                  </a:cubicBezTo>
                  <a:cubicBezTo>
                    <a:pt x="220" y="60"/>
                    <a:pt x="220" y="60"/>
                    <a:pt x="220" y="60"/>
                  </a:cubicBezTo>
                  <a:cubicBezTo>
                    <a:pt x="218" y="60"/>
                    <a:pt x="218" y="60"/>
                    <a:pt x="218" y="60"/>
                  </a:cubicBezTo>
                  <a:cubicBezTo>
                    <a:pt x="209" y="65"/>
                    <a:pt x="209" y="65"/>
                    <a:pt x="209" y="65"/>
                  </a:cubicBezTo>
                  <a:cubicBezTo>
                    <a:pt x="206" y="68"/>
                    <a:pt x="206" y="68"/>
                    <a:pt x="206" y="68"/>
                  </a:cubicBezTo>
                  <a:cubicBezTo>
                    <a:pt x="198" y="70"/>
                    <a:pt x="198" y="70"/>
                    <a:pt x="198" y="70"/>
                  </a:cubicBezTo>
                  <a:cubicBezTo>
                    <a:pt x="195" y="70"/>
                    <a:pt x="195" y="70"/>
                    <a:pt x="195" y="70"/>
                  </a:cubicBezTo>
                  <a:cubicBezTo>
                    <a:pt x="195" y="67"/>
                    <a:pt x="195" y="67"/>
                    <a:pt x="195" y="67"/>
                  </a:cubicBezTo>
                  <a:cubicBezTo>
                    <a:pt x="194" y="67"/>
                    <a:pt x="194" y="67"/>
                    <a:pt x="194" y="67"/>
                  </a:cubicBezTo>
                  <a:cubicBezTo>
                    <a:pt x="192" y="67"/>
                    <a:pt x="192" y="67"/>
                    <a:pt x="192" y="67"/>
                  </a:cubicBezTo>
                  <a:cubicBezTo>
                    <a:pt x="191" y="66"/>
                    <a:pt x="191" y="66"/>
                    <a:pt x="191" y="66"/>
                  </a:cubicBezTo>
                  <a:cubicBezTo>
                    <a:pt x="190" y="66"/>
                    <a:pt x="190" y="66"/>
                    <a:pt x="190" y="66"/>
                  </a:cubicBezTo>
                  <a:cubicBezTo>
                    <a:pt x="190" y="62"/>
                    <a:pt x="190" y="62"/>
                    <a:pt x="190" y="62"/>
                  </a:cubicBezTo>
                  <a:cubicBezTo>
                    <a:pt x="185" y="62"/>
                    <a:pt x="185" y="62"/>
                    <a:pt x="185" y="62"/>
                  </a:cubicBezTo>
                  <a:cubicBezTo>
                    <a:pt x="184" y="60"/>
                    <a:pt x="184" y="60"/>
                    <a:pt x="184" y="60"/>
                  </a:cubicBezTo>
                  <a:cubicBezTo>
                    <a:pt x="181" y="61"/>
                    <a:pt x="181" y="61"/>
                    <a:pt x="181" y="61"/>
                  </a:cubicBezTo>
                  <a:cubicBezTo>
                    <a:pt x="181" y="59"/>
                    <a:pt x="181" y="59"/>
                    <a:pt x="181" y="59"/>
                  </a:cubicBezTo>
                  <a:cubicBezTo>
                    <a:pt x="180" y="59"/>
                    <a:pt x="180" y="59"/>
                    <a:pt x="180" y="59"/>
                  </a:cubicBezTo>
                  <a:cubicBezTo>
                    <a:pt x="180" y="56"/>
                    <a:pt x="180" y="56"/>
                    <a:pt x="180" y="56"/>
                  </a:cubicBezTo>
                  <a:cubicBezTo>
                    <a:pt x="178" y="54"/>
                    <a:pt x="178" y="54"/>
                    <a:pt x="178" y="54"/>
                  </a:cubicBezTo>
                  <a:cubicBezTo>
                    <a:pt x="171" y="54"/>
                    <a:pt x="171" y="54"/>
                    <a:pt x="171" y="54"/>
                  </a:cubicBezTo>
                  <a:cubicBezTo>
                    <a:pt x="169" y="56"/>
                    <a:pt x="169" y="56"/>
                    <a:pt x="169" y="56"/>
                  </a:cubicBezTo>
                  <a:cubicBezTo>
                    <a:pt x="169" y="56"/>
                    <a:pt x="170" y="57"/>
                    <a:pt x="170" y="58"/>
                  </a:cubicBezTo>
                  <a:cubicBezTo>
                    <a:pt x="170" y="58"/>
                    <a:pt x="171" y="60"/>
                    <a:pt x="171" y="60"/>
                  </a:cubicBezTo>
                  <a:cubicBezTo>
                    <a:pt x="167" y="61"/>
                    <a:pt x="167" y="61"/>
                    <a:pt x="167" y="61"/>
                  </a:cubicBezTo>
                  <a:cubicBezTo>
                    <a:pt x="164" y="55"/>
                    <a:pt x="164" y="55"/>
                    <a:pt x="164" y="55"/>
                  </a:cubicBezTo>
                  <a:cubicBezTo>
                    <a:pt x="164" y="55"/>
                    <a:pt x="164" y="53"/>
                    <a:pt x="164" y="52"/>
                  </a:cubicBezTo>
                  <a:cubicBezTo>
                    <a:pt x="164" y="52"/>
                    <a:pt x="164" y="51"/>
                    <a:pt x="164" y="51"/>
                  </a:cubicBezTo>
                  <a:cubicBezTo>
                    <a:pt x="164" y="51"/>
                    <a:pt x="163" y="50"/>
                    <a:pt x="163" y="50"/>
                  </a:cubicBezTo>
                  <a:cubicBezTo>
                    <a:pt x="163" y="49"/>
                    <a:pt x="157" y="50"/>
                    <a:pt x="157" y="50"/>
                  </a:cubicBezTo>
                  <a:cubicBezTo>
                    <a:pt x="157" y="50"/>
                    <a:pt x="155" y="49"/>
                    <a:pt x="155" y="48"/>
                  </a:cubicBezTo>
                  <a:cubicBezTo>
                    <a:pt x="155" y="48"/>
                    <a:pt x="156" y="47"/>
                    <a:pt x="156" y="47"/>
                  </a:cubicBezTo>
                  <a:cubicBezTo>
                    <a:pt x="159" y="47"/>
                    <a:pt x="159" y="47"/>
                    <a:pt x="159" y="47"/>
                  </a:cubicBezTo>
                  <a:cubicBezTo>
                    <a:pt x="158" y="45"/>
                    <a:pt x="158" y="45"/>
                    <a:pt x="158" y="45"/>
                  </a:cubicBezTo>
                  <a:cubicBezTo>
                    <a:pt x="155" y="45"/>
                    <a:pt x="155" y="45"/>
                    <a:pt x="155" y="45"/>
                  </a:cubicBezTo>
                  <a:cubicBezTo>
                    <a:pt x="147" y="41"/>
                    <a:pt x="147" y="41"/>
                    <a:pt x="147" y="41"/>
                  </a:cubicBezTo>
                  <a:cubicBezTo>
                    <a:pt x="147" y="40"/>
                    <a:pt x="147" y="40"/>
                    <a:pt x="147" y="40"/>
                  </a:cubicBezTo>
                  <a:cubicBezTo>
                    <a:pt x="139" y="40"/>
                    <a:pt x="139" y="40"/>
                    <a:pt x="139" y="40"/>
                  </a:cubicBezTo>
                  <a:cubicBezTo>
                    <a:pt x="138" y="39"/>
                    <a:pt x="138" y="39"/>
                    <a:pt x="138" y="39"/>
                  </a:cubicBezTo>
                  <a:cubicBezTo>
                    <a:pt x="137" y="40"/>
                    <a:pt x="137" y="40"/>
                    <a:pt x="137" y="40"/>
                  </a:cubicBezTo>
                  <a:cubicBezTo>
                    <a:pt x="130" y="42"/>
                    <a:pt x="130" y="42"/>
                    <a:pt x="130" y="42"/>
                  </a:cubicBezTo>
                  <a:cubicBezTo>
                    <a:pt x="130" y="44"/>
                    <a:pt x="130" y="44"/>
                    <a:pt x="130" y="44"/>
                  </a:cubicBezTo>
                  <a:cubicBezTo>
                    <a:pt x="118" y="46"/>
                    <a:pt x="118" y="46"/>
                    <a:pt x="118" y="46"/>
                  </a:cubicBezTo>
                  <a:cubicBezTo>
                    <a:pt x="117" y="40"/>
                    <a:pt x="117" y="40"/>
                    <a:pt x="117" y="40"/>
                  </a:cubicBezTo>
                  <a:cubicBezTo>
                    <a:pt x="103" y="39"/>
                    <a:pt x="103" y="39"/>
                    <a:pt x="103" y="39"/>
                  </a:cubicBezTo>
                  <a:cubicBezTo>
                    <a:pt x="102" y="37"/>
                    <a:pt x="102" y="37"/>
                    <a:pt x="102" y="37"/>
                  </a:cubicBezTo>
                  <a:cubicBezTo>
                    <a:pt x="100" y="36"/>
                    <a:pt x="100" y="36"/>
                    <a:pt x="100" y="36"/>
                  </a:cubicBezTo>
                  <a:cubicBezTo>
                    <a:pt x="100" y="36"/>
                    <a:pt x="98" y="36"/>
                    <a:pt x="98" y="36"/>
                  </a:cubicBezTo>
                  <a:cubicBezTo>
                    <a:pt x="98" y="36"/>
                    <a:pt x="96" y="37"/>
                    <a:pt x="96" y="37"/>
                  </a:cubicBezTo>
                  <a:cubicBezTo>
                    <a:pt x="91" y="36"/>
                    <a:pt x="91" y="36"/>
                    <a:pt x="91" y="36"/>
                  </a:cubicBezTo>
                  <a:cubicBezTo>
                    <a:pt x="87" y="32"/>
                    <a:pt x="87" y="32"/>
                    <a:pt x="87" y="32"/>
                  </a:cubicBezTo>
                  <a:cubicBezTo>
                    <a:pt x="87" y="24"/>
                    <a:pt x="87" y="24"/>
                    <a:pt x="87" y="24"/>
                  </a:cubicBezTo>
                  <a:cubicBezTo>
                    <a:pt x="83" y="4"/>
                    <a:pt x="83" y="4"/>
                    <a:pt x="83" y="4"/>
                  </a:cubicBezTo>
                  <a:cubicBezTo>
                    <a:pt x="78" y="1"/>
                    <a:pt x="78" y="1"/>
                    <a:pt x="78" y="1"/>
                  </a:cubicBezTo>
                  <a:cubicBezTo>
                    <a:pt x="78" y="1"/>
                    <a:pt x="77" y="1"/>
                    <a:pt x="77" y="1"/>
                  </a:cubicBezTo>
                  <a:cubicBezTo>
                    <a:pt x="74" y="2"/>
                    <a:pt x="74" y="2"/>
                    <a:pt x="74" y="2"/>
                  </a:cubicBezTo>
                  <a:cubicBezTo>
                    <a:pt x="71" y="0"/>
                    <a:pt x="71" y="0"/>
                    <a:pt x="71" y="0"/>
                  </a:cubicBezTo>
                  <a:cubicBezTo>
                    <a:pt x="71" y="20"/>
                    <a:pt x="71" y="20"/>
                    <a:pt x="71" y="20"/>
                  </a:cubicBezTo>
                  <a:cubicBezTo>
                    <a:pt x="0" y="20"/>
                    <a:pt x="0" y="20"/>
                    <a:pt x="0" y="20"/>
                  </a:cubicBezTo>
                  <a:cubicBezTo>
                    <a:pt x="0" y="20"/>
                    <a:pt x="0" y="23"/>
                    <a:pt x="0" y="24"/>
                  </a:cubicBezTo>
                  <a:cubicBezTo>
                    <a:pt x="0" y="26"/>
                    <a:pt x="1" y="27"/>
                    <a:pt x="1" y="28"/>
                  </a:cubicBezTo>
                  <a:cubicBezTo>
                    <a:pt x="1" y="29"/>
                    <a:pt x="3" y="34"/>
                    <a:pt x="3" y="34"/>
                  </a:cubicBezTo>
                  <a:cubicBezTo>
                    <a:pt x="3" y="35"/>
                    <a:pt x="4" y="36"/>
                    <a:pt x="3" y="38"/>
                  </a:cubicBezTo>
                  <a:cubicBezTo>
                    <a:pt x="3" y="40"/>
                    <a:pt x="3" y="40"/>
                    <a:pt x="3" y="41"/>
                  </a:cubicBezTo>
                  <a:cubicBezTo>
                    <a:pt x="2" y="41"/>
                    <a:pt x="2" y="43"/>
                    <a:pt x="2" y="44"/>
                  </a:cubicBezTo>
                  <a:cubicBezTo>
                    <a:pt x="2" y="45"/>
                    <a:pt x="2" y="44"/>
                    <a:pt x="3" y="45"/>
                  </a:cubicBezTo>
                  <a:cubicBezTo>
                    <a:pt x="3" y="45"/>
                    <a:pt x="3" y="46"/>
                    <a:pt x="2" y="47"/>
                  </a:cubicBezTo>
                  <a:cubicBezTo>
                    <a:pt x="2" y="47"/>
                    <a:pt x="2" y="48"/>
                    <a:pt x="2" y="48"/>
                  </a:cubicBezTo>
                  <a:cubicBezTo>
                    <a:pt x="2" y="48"/>
                    <a:pt x="3" y="49"/>
                    <a:pt x="3" y="50"/>
                  </a:cubicBezTo>
                  <a:cubicBezTo>
                    <a:pt x="3" y="50"/>
                    <a:pt x="2" y="52"/>
                    <a:pt x="2" y="53"/>
                  </a:cubicBezTo>
                  <a:cubicBezTo>
                    <a:pt x="2" y="54"/>
                    <a:pt x="3" y="55"/>
                    <a:pt x="3" y="56"/>
                  </a:cubicBezTo>
                  <a:cubicBezTo>
                    <a:pt x="3" y="57"/>
                    <a:pt x="3" y="58"/>
                    <a:pt x="3" y="60"/>
                  </a:cubicBezTo>
                  <a:cubicBezTo>
                    <a:pt x="3" y="61"/>
                    <a:pt x="3" y="65"/>
                    <a:pt x="3" y="67"/>
                  </a:cubicBezTo>
                  <a:cubicBezTo>
                    <a:pt x="3" y="69"/>
                    <a:pt x="4" y="70"/>
                    <a:pt x="5" y="72"/>
                  </a:cubicBezTo>
                  <a:cubicBezTo>
                    <a:pt x="5" y="73"/>
                    <a:pt x="7" y="80"/>
                    <a:pt x="8" y="82"/>
                  </a:cubicBezTo>
                  <a:cubicBezTo>
                    <a:pt x="8" y="84"/>
                    <a:pt x="11" y="87"/>
                    <a:pt x="11" y="89"/>
                  </a:cubicBezTo>
                  <a:cubicBezTo>
                    <a:pt x="12" y="91"/>
                    <a:pt x="12" y="94"/>
                    <a:pt x="12" y="95"/>
                  </a:cubicBezTo>
                  <a:cubicBezTo>
                    <a:pt x="13" y="97"/>
                    <a:pt x="13" y="103"/>
                    <a:pt x="13" y="104"/>
                  </a:cubicBezTo>
                  <a:cubicBezTo>
                    <a:pt x="13" y="106"/>
                    <a:pt x="13" y="109"/>
                    <a:pt x="13" y="110"/>
                  </a:cubicBezTo>
                  <a:cubicBezTo>
                    <a:pt x="13" y="112"/>
                    <a:pt x="13" y="120"/>
                    <a:pt x="13" y="122"/>
                  </a:cubicBezTo>
                  <a:cubicBezTo>
                    <a:pt x="14" y="124"/>
                    <a:pt x="14" y="125"/>
                    <a:pt x="15" y="126"/>
                  </a:cubicBezTo>
                  <a:cubicBezTo>
                    <a:pt x="15" y="127"/>
                    <a:pt x="16" y="128"/>
                    <a:pt x="16" y="129"/>
                  </a:cubicBezTo>
                  <a:cubicBezTo>
                    <a:pt x="16" y="130"/>
                    <a:pt x="16" y="131"/>
                    <a:pt x="16" y="131"/>
                  </a:cubicBezTo>
                  <a:cubicBezTo>
                    <a:pt x="16" y="132"/>
                    <a:pt x="15" y="138"/>
                    <a:pt x="15" y="139"/>
                  </a:cubicBezTo>
                  <a:cubicBezTo>
                    <a:pt x="15" y="141"/>
                    <a:pt x="15" y="142"/>
                    <a:pt x="15" y="143"/>
                  </a:cubicBezTo>
                  <a:cubicBezTo>
                    <a:pt x="15" y="144"/>
                    <a:pt x="16" y="146"/>
                    <a:pt x="16" y="147"/>
                  </a:cubicBezTo>
                  <a:cubicBezTo>
                    <a:pt x="16" y="148"/>
                    <a:pt x="17" y="150"/>
                    <a:pt x="17" y="151"/>
                  </a:cubicBezTo>
                  <a:cubicBezTo>
                    <a:pt x="18" y="152"/>
                    <a:pt x="19" y="154"/>
                    <a:pt x="20" y="154"/>
                  </a:cubicBezTo>
                  <a:cubicBezTo>
                    <a:pt x="20" y="155"/>
                    <a:pt x="21" y="159"/>
                    <a:pt x="22" y="159"/>
                  </a:cubicBezTo>
                  <a:cubicBezTo>
                    <a:pt x="22" y="160"/>
                    <a:pt x="22" y="176"/>
                    <a:pt x="22" y="176"/>
                  </a:cubicBezTo>
                  <a:cubicBezTo>
                    <a:pt x="22" y="176"/>
                    <a:pt x="23" y="182"/>
                    <a:pt x="22" y="182"/>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3" name="Freeform 36">
              <a:extLst>
                <a:ext uri="{FF2B5EF4-FFF2-40B4-BE49-F238E27FC236}">
                  <a16:creationId xmlns:a16="http://schemas.microsoft.com/office/drawing/2014/main" id="{00927A0F-F229-74E0-7EFD-C687DA2DA222}"/>
                </a:ext>
              </a:extLst>
            </p:cNvPr>
            <p:cNvSpPr>
              <a:spLocks noEditPoints="1"/>
            </p:cNvSpPr>
            <p:nvPr/>
          </p:nvSpPr>
          <p:spPr bwMode="auto">
            <a:xfrm>
              <a:off x="7213678" y="1134990"/>
              <a:ext cx="1093759" cy="1249067"/>
            </a:xfrm>
            <a:custGeom>
              <a:avLst/>
              <a:gdLst>
                <a:gd name="T0" fmla="*/ 63 w 276"/>
                <a:gd name="T1" fmla="*/ 5 h 315"/>
                <a:gd name="T2" fmla="*/ 45 w 276"/>
                <a:gd name="T3" fmla="*/ 17 h 315"/>
                <a:gd name="T4" fmla="*/ 129 w 276"/>
                <a:gd name="T5" fmla="*/ 83 h 315"/>
                <a:gd name="T6" fmla="*/ 167 w 276"/>
                <a:gd name="T7" fmla="*/ 123 h 315"/>
                <a:gd name="T8" fmla="*/ 154 w 276"/>
                <a:gd name="T9" fmla="*/ 155 h 315"/>
                <a:gd name="T10" fmla="*/ 208 w 276"/>
                <a:gd name="T11" fmla="*/ 121 h 315"/>
                <a:gd name="T12" fmla="*/ 208 w 276"/>
                <a:gd name="T13" fmla="*/ 122 h 315"/>
                <a:gd name="T14" fmla="*/ 239 w 276"/>
                <a:gd name="T15" fmla="*/ 111 h 315"/>
                <a:gd name="T16" fmla="*/ 232 w 276"/>
                <a:gd name="T17" fmla="*/ 107 h 315"/>
                <a:gd name="T18" fmla="*/ 7 w 276"/>
                <a:gd name="T19" fmla="*/ 84 h 315"/>
                <a:gd name="T20" fmla="*/ 72 w 276"/>
                <a:gd name="T21" fmla="*/ 111 h 315"/>
                <a:gd name="T22" fmla="*/ 90 w 276"/>
                <a:gd name="T23" fmla="*/ 126 h 315"/>
                <a:gd name="T24" fmla="*/ 95 w 276"/>
                <a:gd name="T25" fmla="*/ 139 h 315"/>
                <a:gd name="T26" fmla="*/ 110 w 276"/>
                <a:gd name="T27" fmla="*/ 130 h 315"/>
                <a:gd name="T28" fmla="*/ 118 w 276"/>
                <a:gd name="T29" fmla="*/ 116 h 315"/>
                <a:gd name="T30" fmla="*/ 124 w 276"/>
                <a:gd name="T31" fmla="*/ 121 h 315"/>
                <a:gd name="T32" fmla="*/ 128 w 276"/>
                <a:gd name="T33" fmla="*/ 126 h 315"/>
                <a:gd name="T34" fmla="*/ 145 w 276"/>
                <a:gd name="T35" fmla="*/ 112 h 315"/>
                <a:gd name="T36" fmla="*/ 169 w 276"/>
                <a:gd name="T37" fmla="*/ 105 h 315"/>
                <a:gd name="T38" fmla="*/ 192 w 276"/>
                <a:gd name="T39" fmla="*/ 114 h 315"/>
                <a:gd name="T40" fmla="*/ 204 w 276"/>
                <a:gd name="T41" fmla="*/ 109 h 315"/>
                <a:gd name="T42" fmla="*/ 222 w 276"/>
                <a:gd name="T43" fmla="*/ 108 h 315"/>
                <a:gd name="T44" fmla="*/ 214 w 276"/>
                <a:gd name="T45" fmla="*/ 97 h 315"/>
                <a:gd name="T46" fmla="*/ 212 w 276"/>
                <a:gd name="T47" fmla="*/ 88 h 315"/>
                <a:gd name="T48" fmla="*/ 211 w 276"/>
                <a:gd name="T49" fmla="*/ 85 h 315"/>
                <a:gd name="T50" fmla="*/ 194 w 276"/>
                <a:gd name="T51" fmla="*/ 86 h 315"/>
                <a:gd name="T52" fmla="*/ 186 w 276"/>
                <a:gd name="T53" fmla="*/ 71 h 315"/>
                <a:gd name="T54" fmla="*/ 140 w 276"/>
                <a:gd name="T55" fmla="*/ 80 h 315"/>
                <a:gd name="T56" fmla="*/ 119 w 276"/>
                <a:gd name="T57" fmla="*/ 84 h 315"/>
                <a:gd name="T58" fmla="*/ 98 w 276"/>
                <a:gd name="T59" fmla="*/ 72 h 315"/>
                <a:gd name="T60" fmla="*/ 82 w 276"/>
                <a:gd name="T61" fmla="*/ 64 h 315"/>
                <a:gd name="T62" fmla="*/ 67 w 276"/>
                <a:gd name="T63" fmla="*/ 69 h 315"/>
                <a:gd name="T64" fmla="*/ 91 w 276"/>
                <a:gd name="T65" fmla="*/ 39 h 315"/>
                <a:gd name="T66" fmla="*/ 63 w 276"/>
                <a:gd name="T67" fmla="*/ 46 h 315"/>
                <a:gd name="T68" fmla="*/ 45 w 276"/>
                <a:gd name="T69" fmla="*/ 60 h 315"/>
                <a:gd name="T70" fmla="*/ 0 w 276"/>
                <a:gd name="T71" fmla="*/ 80 h 315"/>
                <a:gd name="T72" fmla="*/ 254 w 276"/>
                <a:gd name="T73" fmla="*/ 286 h 315"/>
                <a:gd name="T74" fmla="*/ 267 w 276"/>
                <a:gd name="T75" fmla="*/ 270 h 315"/>
                <a:gd name="T76" fmla="*/ 272 w 276"/>
                <a:gd name="T77" fmla="*/ 238 h 315"/>
                <a:gd name="T78" fmla="*/ 265 w 276"/>
                <a:gd name="T79" fmla="*/ 207 h 315"/>
                <a:gd name="T80" fmla="*/ 245 w 276"/>
                <a:gd name="T81" fmla="*/ 211 h 315"/>
                <a:gd name="T82" fmla="*/ 236 w 276"/>
                <a:gd name="T83" fmla="*/ 223 h 315"/>
                <a:gd name="T84" fmla="*/ 225 w 276"/>
                <a:gd name="T85" fmla="*/ 212 h 315"/>
                <a:gd name="T86" fmla="*/ 239 w 276"/>
                <a:gd name="T87" fmla="*/ 194 h 315"/>
                <a:gd name="T88" fmla="*/ 247 w 276"/>
                <a:gd name="T89" fmla="*/ 171 h 315"/>
                <a:gd name="T90" fmla="*/ 244 w 276"/>
                <a:gd name="T91" fmla="*/ 155 h 315"/>
                <a:gd name="T92" fmla="*/ 242 w 276"/>
                <a:gd name="T93" fmla="*/ 143 h 315"/>
                <a:gd name="T94" fmla="*/ 212 w 276"/>
                <a:gd name="T95" fmla="*/ 127 h 315"/>
                <a:gd name="T96" fmla="*/ 197 w 276"/>
                <a:gd name="T97" fmla="*/ 121 h 315"/>
                <a:gd name="T98" fmla="*/ 185 w 276"/>
                <a:gd name="T99" fmla="*/ 128 h 315"/>
                <a:gd name="T100" fmla="*/ 183 w 276"/>
                <a:gd name="T101" fmla="*/ 141 h 315"/>
                <a:gd name="T102" fmla="*/ 173 w 276"/>
                <a:gd name="T103" fmla="*/ 158 h 315"/>
                <a:gd name="T104" fmla="*/ 169 w 276"/>
                <a:gd name="T105" fmla="*/ 166 h 315"/>
                <a:gd name="T106" fmla="*/ 165 w 276"/>
                <a:gd name="T107" fmla="*/ 167 h 315"/>
                <a:gd name="T108" fmla="*/ 166 w 276"/>
                <a:gd name="T109" fmla="*/ 153 h 315"/>
                <a:gd name="T110" fmla="*/ 157 w 276"/>
                <a:gd name="T111" fmla="*/ 160 h 315"/>
                <a:gd name="T112" fmla="*/ 145 w 276"/>
                <a:gd name="T113" fmla="*/ 173 h 315"/>
                <a:gd name="T114" fmla="*/ 142 w 276"/>
                <a:gd name="T115" fmla="*/ 193 h 315"/>
                <a:gd name="T116" fmla="*/ 137 w 276"/>
                <a:gd name="T117" fmla="*/ 211 h 315"/>
                <a:gd name="T118" fmla="*/ 142 w 276"/>
                <a:gd name="T119" fmla="*/ 245 h 315"/>
                <a:gd name="T120" fmla="*/ 141 w 276"/>
                <a:gd name="T121" fmla="*/ 286 h 315"/>
                <a:gd name="T122" fmla="*/ 125 w 276"/>
                <a:gd name="T123" fmla="*/ 31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6" h="315">
                  <a:moveTo>
                    <a:pt x="41" y="15"/>
                  </a:moveTo>
                  <a:cubicBezTo>
                    <a:pt x="42" y="14"/>
                    <a:pt x="43" y="13"/>
                    <a:pt x="43" y="12"/>
                  </a:cubicBezTo>
                  <a:cubicBezTo>
                    <a:pt x="44" y="10"/>
                    <a:pt x="46" y="9"/>
                    <a:pt x="47" y="9"/>
                  </a:cubicBezTo>
                  <a:cubicBezTo>
                    <a:pt x="49" y="8"/>
                    <a:pt x="50" y="7"/>
                    <a:pt x="52" y="7"/>
                  </a:cubicBezTo>
                  <a:cubicBezTo>
                    <a:pt x="54" y="6"/>
                    <a:pt x="55" y="5"/>
                    <a:pt x="57" y="4"/>
                  </a:cubicBezTo>
                  <a:cubicBezTo>
                    <a:pt x="57" y="4"/>
                    <a:pt x="58" y="3"/>
                    <a:pt x="59" y="3"/>
                  </a:cubicBezTo>
                  <a:cubicBezTo>
                    <a:pt x="59" y="2"/>
                    <a:pt x="60" y="1"/>
                    <a:pt x="61" y="1"/>
                  </a:cubicBezTo>
                  <a:cubicBezTo>
                    <a:pt x="62" y="1"/>
                    <a:pt x="62" y="1"/>
                    <a:pt x="63" y="0"/>
                  </a:cubicBezTo>
                  <a:cubicBezTo>
                    <a:pt x="64" y="0"/>
                    <a:pt x="64" y="0"/>
                    <a:pt x="65" y="0"/>
                  </a:cubicBezTo>
                  <a:cubicBezTo>
                    <a:pt x="65" y="0"/>
                    <a:pt x="66" y="0"/>
                    <a:pt x="66" y="0"/>
                  </a:cubicBezTo>
                  <a:cubicBezTo>
                    <a:pt x="66" y="1"/>
                    <a:pt x="64" y="2"/>
                    <a:pt x="63" y="2"/>
                  </a:cubicBezTo>
                  <a:cubicBezTo>
                    <a:pt x="63" y="2"/>
                    <a:pt x="62" y="3"/>
                    <a:pt x="62" y="3"/>
                  </a:cubicBezTo>
                  <a:cubicBezTo>
                    <a:pt x="62" y="4"/>
                    <a:pt x="63" y="4"/>
                    <a:pt x="63" y="5"/>
                  </a:cubicBezTo>
                  <a:cubicBezTo>
                    <a:pt x="63" y="5"/>
                    <a:pt x="63" y="6"/>
                    <a:pt x="62" y="6"/>
                  </a:cubicBezTo>
                  <a:cubicBezTo>
                    <a:pt x="62" y="6"/>
                    <a:pt x="61" y="7"/>
                    <a:pt x="61" y="7"/>
                  </a:cubicBezTo>
                  <a:cubicBezTo>
                    <a:pt x="60" y="8"/>
                    <a:pt x="59" y="8"/>
                    <a:pt x="59" y="8"/>
                  </a:cubicBezTo>
                  <a:cubicBezTo>
                    <a:pt x="58" y="8"/>
                    <a:pt x="58" y="8"/>
                    <a:pt x="57" y="8"/>
                  </a:cubicBezTo>
                  <a:cubicBezTo>
                    <a:pt x="57" y="8"/>
                    <a:pt x="56" y="9"/>
                    <a:pt x="56" y="9"/>
                  </a:cubicBezTo>
                  <a:cubicBezTo>
                    <a:pt x="55" y="9"/>
                    <a:pt x="54" y="9"/>
                    <a:pt x="53" y="10"/>
                  </a:cubicBezTo>
                  <a:cubicBezTo>
                    <a:pt x="52" y="10"/>
                    <a:pt x="52" y="11"/>
                    <a:pt x="51" y="11"/>
                  </a:cubicBezTo>
                  <a:cubicBezTo>
                    <a:pt x="51" y="12"/>
                    <a:pt x="51" y="12"/>
                    <a:pt x="51" y="12"/>
                  </a:cubicBezTo>
                  <a:cubicBezTo>
                    <a:pt x="51" y="12"/>
                    <a:pt x="51" y="12"/>
                    <a:pt x="51" y="12"/>
                  </a:cubicBezTo>
                  <a:cubicBezTo>
                    <a:pt x="52" y="13"/>
                    <a:pt x="51" y="14"/>
                    <a:pt x="51" y="14"/>
                  </a:cubicBezTo>
                  <a:cubicBezTo>
                    <a:pt x="50" y="14"/>
                    <a:pt x="48" y="15"/>
                    <a:pt x="47" y="15"/>
                  </a:cubicBezTo>
                  <a:cubicBezTo>
                    <a:pt x="47" y="15"/>
                    <a:pt x="46" y="16"/>
                    <a:pt x="46" y="16"/>
                  </a:cubicBezTo>
                  <a:cubicBezTo>
                    <a:pt x="46" y="16"/>
                    <a:pt x="46" y="16"/>
                    <a:pt x="45" y="17"/>
                  </a:cubicBezTo>
                  <a:cubicBezTo>
                    <a:pt x="45" y="17"/>
                    <a:pt x="44" y="17"/>
                    <a:pt x="44" y="17"/>
                  </a:cubicBezTo>
                  <a:cubicBezTo>
                    <a:pt x="44" y="17"/>
                    <a:pt x="44" y="17"/>
                    <a:pt x="43" y="16"/>
                  </a:cubicBezTo>
                  <a:cubicBezTo>
                    <a:pt x="43" y="16"/>
                    <a:pt x="42" y="16"/>
                    <a:pt x="41" y="16"/>
                  </a:cubicBezTo>
                  <a:cubicBezTo>
                    <a:pt x="41" y="16"/>
                    <a:pt x="41" y="16"/>
                    <a:pt x="41" y="15"/>
                  </a:cubicBezTo>
                  <a:close/>
                  <a:moveTo>
                    <a:pt x="129" y="84"/>
                  </a:moveTo>
                  <a:cubicBezTo>
                    <a:pt x="129" y="84"/>
                    <a:pt x="129" y="85"/>
                    <a:pt x="129" y="85"/>
                  </a:cubicBezTo>
                  <a:cubicBezTo>
                    <a:pt x="130" y="85"/>
                    <a:pt x="130" y="85"/>
                    <a:pt x="130" y="84"/>
                  </a:cubicBezTo>
                  <a:cubicBezTo>
                    <a:pt x="130" y="84"/>
                    <a:pt x="130" y="84"/>
                    <a:pt x="130" y="83"/>
                  </a:cubicBezTo>
                  <a:cubicBezTo>
                    <a:pt x="130" y="83"/>
                    <a:pt x="130" y="83"/>
                    <a:pt x="130" y="82"/>
                  </a:cubicBezTo>
                  <a:cubicBezTo>
                    <a:pt x="130" y="81"/>
                    <a:pt x="130" y="81"/>
                    <a:pt x="129" y="81"/>
                  </a:cubicBezTo>
                  <a:cubicBezTo>
                    <a:pt x="129" y="82"/>
                    <a:pt x="128" y="81"/>
                    <a:pt x="128" y="82"/>
                  </a:cubicBezTo>
                  <a:cubicBezTo>
                    <a:pt x="128" y="82"/>
                    <a:pt x="128" y="82"/>
                    <a:pt x="128" y="82"/>
                  </a:cubicBezTo>
                  <a:cubicBezTo>
                    <a:pt x="128" y="82"/>
                    <a:pt x="129" y="83"/>
                    <a:pt x="129" y="83"/>
                  </a:cubicBezTo>
                  <a:cubicBezTo>
                    <a:pt x="129" y="83"/>
                    <a:pt x="129" y="83"/>
                    <a:pt x="129" y="83"/>
                  </a:cubicBezTo>
                  <a:cubicBezTo>
                    <a:pt x="129" y="83"/>
                    <a:pt x="129" y="83"/>
                    <a:pt x="129" y="84"/>
                  </a:cubicBezTo>
                  <a:cubicBezTo>
                    <a:pt x="129" y="84"/>
                    <a:pt x="129" y="84"/>
                    <a:pt x="129" y="84"/>
                  </a:cubicBezTo>
                  <a:close/>
                  <a:moveTo>
                    <a:pt x="166" y="130"/>
                  </a:moveTo>
                  <a:cubicBezTo>
                    <a:pt x="167" y="130"/>
                    <a:pt x="167" y="130"/>
                    <a:pt x="168" y="130"/>
                  </a:cubicBezTo>
                  <a:cubicBezTo>
                    <a:pt x="168" y="129"/>
                    <a:pt x="168" y="129"/>
                    <a:pt x="169" y="129"/>
                  </a:cubicBezTo>
                  <a:cubicBezTo>
                    <a:pt x="169" y="129"/>
                    <a:pt x="170" y="129"/>
                    <a:pt x="170" y="129"/>
                  </a:cubicBezTo>
                  <a:cubicBezTo>
                    <a:pt x="170" y="128"/>
                    <a:pt x="170" y="128"/>
                    <a:pt x="170" y="128"/>
                  </a:cubicBezTo>
                  <a:cubicBezTo>
                    <a:pt x="170" y="127"/>
                    <a:pt x="170" y="126"/>
                    <a:pt x="170" y="126"/>
                  </a:cubicBezTo>
                  <a:cubicBezTo>
                    <a:pt x="170" y="125"/>
                    <a:pt x="170" y="125"/>
                    <a:pt x="170" y="125"/>
                  </a:cubicBezTo>
                  <a:cubicBezTo>
                    <a:pt x="170" y="124"/>
                    <a:pt x="170" y="123"/>
                    <a:pt x="169" y="122"/>
                  </a:cubicBezTo>
                  <a:cubicBezTo>
                    <a:pt x="169" y="122"/>
                    <a:pt x="168" y="121"/>
                    <a:pt x="168" y="121"/>
                  </a:cubicBezTo>
                  <a:cubicBezTo>
                    <a:pt x="167" y="122"/>
                    <a:pt x="167" y="122"/>
                    <a:pt x="167" y="123"/>
                  </a:cubicBezTo>
                  <a:cubicBezTo>
                    <a:pt x="167" y="123"/>
                    <a:pt x="167" y="124"/>
                    <a:pt x="167" y="124"/>
                  </a:cubicBezTo>
                  <a:cubicBezTo>
                    <a:pt x="167" y="125"/>
                    <a:pt x="167" y="125"/>
                    <a:pt x="167" y="126"/>
                  </a:cubicBezTo>
                  <a:cubicBezTo>
                    <a:pt x="166" y="126"/>
                    <a:pt x="166" y="127"/>
                    <a:pt x="166" y="127"/>
                  </a:cubicBezTo>
                  <a:cubicBezTo>
                    <a:pt x="165" y="128"/>
                    <a:pt x="166" y="128"/>
                    <a:pt x="166" y="129"/>
                  </a:cubicBezTo>
                  <a:cubicBezTo>
                    <a:pt x="166" y="129"/>
                    <a:pt x="166" y="129"/>
                    <a:pt x="166" y="130"/>
                  </a:cubicBezTo>
                  <a:close/>
                  <a:moveTo>
                    <a:pt x="151" y="154"/>
                  </a:moveTo>
                  <a:cubicBezTo>
                    <a:pt x="151" y="154"/>
                    <a:pt x="151" y="154"/>
                    <a:pt x="151" y="154"/>
                  </a:cubicBezTo>
                  <a:cubicBezTo>
                    <a:pt x="151" y="154"/>
                    <a:pt x="151" y="154"/>
                    <a:pt x="151" y="154"/>
                  </a:cubicBezTo>
                  <a:cubicBezTo>
                    <a:pt x="152" y="154"/>
                    <a:pt x="151" y="155"/>
                    <a:pt x="152" y="155"/>
                  </a:cubicBezTo>
                  <a:cubicBezTo>
                    <a:pt x="152" y="155"/>
                    <a:pt x="152" y="155"/>
                    <a:pt x="152" y="155"/>
                  </a:cubicBezTo>
                  <a:cubicBezTo>
                    <a:pt x="153" y="155"/>
                    <a:pt x="153" y="155"/>
                    <a:pt x="153" y="155"/>
                  </a:cubicBezTo>
                  <a:cubicBezTo>
                    <a:pt x="153" y="155"/>
                    <a:pt x="153" y="155"/>
                    <a:pt x="153" y="155"/>
                  </a:cubicBezTo>
                  <a:cubicBezTo>
                    <a:pt x="154" y="155"/>
                    <a:pt x="154" y="155"/>
                    <a:pt x="154" y="155"/>
                  </a:cubicBezTo>
                  <a:cubicBezTo>
                    <a:pt x="154" y="154"/>
                    <a:pt x="154" y="154"/>
                    <a:pt x="154" y="154"/>
                  </a:cubicBezTo>
                  <a:cubicBezTo>
                    <a:pt x="154" y="153"/>
                    <a:pt x="154" y="153"/>
                    <a:pt x="154" y="152"/>
                  </a:cubicBezTo>
                  <a:cubicBezTo>
                    <a:pt x="154" y="152"/>
                    <a:pt x="154" y="152"/>
                    <a:pt x="153" y="152"/>
                  </a:cubicBezTo>
                  <a:cubicBezTo>
                    <a:pt x="153" y="151"/>
                    <a:pt x="153" y="151"/>
                    <a:pt x="152" y="151"/>
                  </a:cubicBezTo>
                  <a:cubicBezTo>
                    <a:pt x="152" y="151"/>
                    <a:pt x="152" y="151"/>
                    <a:pt x="152" y="151"/>
                  </a:cubicBezTo>
                  <a:cubicBezTo>
                    <a:pt x="152" y="151"/>
                    <a:pt x="152" y="151"/>
                    <a:pt x="152" y="151"/>
                  </a:cubicBezTo>
                  <a:cubicBezTo>
                    <a:pt x="152" y="151"/>
                    <a:pt x="152" y="151"/>
                    <a:pt x="152" y="151"/>
                  </a:cubicBezTo>
                  <a:cubicBezTo>
                    <a:pt x="152" y="151"/>
                    <a:pt x="152" y="151"/>
                    <a:pt x="151" y="151"/>
                  </a:cubicBezTo>
                  <a:cubicBezTo>
                    <a:pt x="151" y="151"/>
                    <a:pt x="151" y="151"/>
                    <a:pt x="151" y="151"/>
                  </a:cubicBezTo>
                  <a:cubicBezTo>
                    <a:pt x="150" y="151"/>
                    <a:pt x="150" y="152"/>
                    <a:pt x="150" y="152"/>
                  </a:cubicBezTo>
                  <a:cubicBezTo>
                    <a:pt x="150" y="152"/>
                    <a:pt x="150" y="153"/>
                    <a:pt x="151" y="153"/>
                  </a:cubicBezTo>
                  <a:cubicBezTo>
                    <a:pt x="151" y="153"/>
                    <a:pt x="151" y="153"/>
                    <a:pt x="151" y="154"/>
                  </a:cubicBezTo>
                  <a:close/>
                  <a:moveTo>
                    <a:pt x="208" y="121"/>
                  </a:moveTo>
                  <a:cubicBezTo>
                    <a:pt x="208" y="121"/>
                    <a:pt x="208" y="120"/>
                    <a:pt x="208" y="120"/>
                  </a:cubicBezTo>
                  <a:cubicBezTo>
                    <a:pt x="207" y="120"/>
                    <a:pt x="207" y="120"/>
                    <a:pt x="207" y="119"/>
                  </a:cubicBezTo>
                  <a:cubicBezTo>
                    <a:pt x="207" y="119"/>
                    <a:pt x="207" y="119"/>
                    <a:pt x="206" y="119"/>
                  </a:cubicBezTo>
                  <a:cubicBezTo>
                    <a:pt x="206" y="119"/>
                    <a:pt x="206" y="119"/>
                    <a:pt x="205" y="119"/>
                  </a:cubicBezTo>
                  <a:cubicBezTo>
                    <a:pt x="205" y="119"/>
                    <a:pt x="204" y="119"/>
                    <a:pt x="203" y="119"/>
                  </a:cubicBezTo>
                  <a:cubicBezTo>
                    <a:pt x="203" y="119"/>
                    <a:pt x="203" y="118"/>
                    <a:pt x="203" y="118"/>
                  </a:cubicBezTo>
                  <a:cubicBezTo>
                    <a:pt x="202" y="118"/>
                    <a:pt x="202" y="118"/>
                    <a:pt x="202" y="118"/>
                  </a:cubicBezTo>
                  <a:cubicBezTo>
                    <a:pt x="201" y="118"/>
                    <a:pt x="202" y="119"/>
                    <a:pt x="203" y="120"/>
                  </a:cubicBezTo>
                  <a:cubicBezTo>
                    <a:pt x="203" y="120"/>
                    <a:pt x="203" y="120"/>
                    <a:pt x="204" y="121"/>
                  </a:cubicBezTo>
                  <a:cubicBezTo>
                    <a:pt x="204" y="121"/>
                    <a:pt x="204" y="122"/>
                    <a:pt x="204" y="122"/>
                  </a:cubicBezTo>
                  <a:cubicBezTo>
                    <a:pt x="204" y="123"/>
                    <a:pt x="205" y="123"/>
                    <a:pt x="205" y="123"/>
                  </a:cubicBezTo>
                  <a:cubicBezTo>
                    <a:pt x="206" y="122"/>
                    <a:pt x="206" y="122"/>
                    <a:pt x="206" y="122"/>
                  </a:cubicBezTo>
                  <a:cubicBezTo>
                    <a:pt x="207" y="122"/>
                    <a:pt x="207" y="122"/>
                    <a:pt x="208" y="122"/>
                  </a:cubicBezTo>
                  <a:cubicBezTo>
                    <a:pt x="208" y="121"/>
                    <a:pt x="208" y="121"/>
                    <a:pt x="208" y="121"/>
                  </a:cubicBezTo>
                  <a:close/>
                  <a:moveTo>
                    <a:pt x="229" y="112"/>
                  </a:moveTo>
                  <a:cubicBezTo>
                    <a:pt x="229" y="112"/>
                    <a:pt x="229" y="112"/>
                    <a:pt x="230" y="112"/>
                  </a:cubicBezTo>
                  <a:cubicBezTo>
                    <a:pt x="230" y="112"/>
                    <a:pt x="230" y="112"/>
                    <a:pt x="230" y="112"/>
                  </a:cubicBezTo>
                  <a:cubicBezTo>
                    <a:pt x="230" y="113"/>
                    <a:pt x="231" y="113"/>
                    <a:pt x="231" y="113"/>
                  </a:cubicBezTo>
                  <a:cubicBezTo>
                    <a:pt x="232" y="112"/>
                    <a:pt x="232" y="112"/>
                    <a:pt x="232" y="112"/>
                  </a:cubicBezTo>
                  <a:cubicBezTo>
                    <a:pt x="233" y="112"/>
                    <a:pt x="233" y="112"/>
                    <a:pt x="233" y="112"/>
                  </a:cubicBezTo>
                  <a:cubicBezTo>
                    <a:pt x="234" y="112"/>
                    <a:pt x="234" y="112"/>
                    <a:pt x="234" y="112"/>
                  </a:cubicBezTo>
                  <a:cubicBezTo>
                    <a:pt x="235" y="112"/>
                    <a:pt x="235" y="112"/>
                    <a:pt x="235" y="112"/>
                  </a:cubicBezTo>
                  <a:cubicBezTo>
                    <a:pt x="236" y="113"/>
                    <a:pt x="236" y="113"/>
                    <a:pt x="236" y="113"/>
                  </a:cubicBezTo>
                  <a:cubicBezTo>
                    <a:pt x="236" y="113"/>
                    <a:pt x="237" y="113"/>
                    <a:pt x="237" y="112"/>
                  </a:cubicBezTo>
                  <a:cubicBezTo>
                    <a:pt x="238" y="112"/>
                    <a:pt x="238" y="112"/>
                    <a:pt x="238" y="112"/>
                  </a:cubicBezTo>
                  <a:cubicBezTo>
                    <a:pt x="238" y="111"/>
                    <a:pt x="239" y="111"/>
                    <a:pt x="239" y="111"/>
                  </a:cubicBezTo>
                  <a:cubicBezTo>
                    <a:pt x="240" y="110"/>
                    <a:pt x="239" y="110"/>
                    <a:pt x="238" y="109"/>
                  </a:cubicBezTo>
                  <a:cubicBezTo>
                    <a:pt x="238" y="109"/>
                    <a:pt x="238" y="109"/>
                    <a:pt x="238" y="108"/>
                  </a:cubicBezTo>
                  <a:cubicBezTo>
                    <a:pt x="238" y="108"/>
                    <a:pt x="237" y="108"/>
                    <a:pt x="237" y="107"/>
                  </a:cubicBezTo>
                  <a:cubicBezTo>
                    <a:pt x="237" y="107"/>
                    <a:pt x="236" y="107"/>
                    <a:pt x="236" y="106"/>
                  </a:cubicBezTo>
                  <a:cubicBezTo>
                    <a:pt x="236" y="106"/>
                    <a:pt x="236" y="106"/>
                    <a:pt x="236" y="105"/>
                  </a:cubicBezTo>
                  <a:cubicBezTo>
                    <a:pt x="236" y="105"/>
                    <a:pt x="236" y="105"/>
                    <a:pt x="235" y="105"/>
                  </a:cubicBezTo>
                  <a:cubicBezTo>
                    <a:pt x="235" y="105"/>
                    <a:pt x="235" y="105"/>
                    <a:pt x="234" y="105"/>
                  </a:cubicBezTo>
                  <a:cubicBezTo>
                    <a:pt x="233" y="105"/>
                    <a:pt x="233" y="104"/>
                    <a:pt x="232" y="105"/>
                  </a:cubicBezTo>
                  <a:cubicBezTo>
                    <a:pt x="232" y="105"/>
                    <a:pt x="231" y="105"/>
                    <a:pt x="231" y="105"/>
                  </a:cubicBezTo>
                  <a:cubicBezTo>
                    <a:pt x="231" y="105"/>
                    <a:pt x="231" y="105"/>
                    <a:pt x="231" y="105"/>
                  </a:cubicBezTo>
                  <a:cubicBezTo>
                    <a:pt x="232" y="106"/>
                    <a:pt x="232" y="106"/>
                    <a:pt x="233" y="106"/>
                  </a:cubicBezTo>
                  <a:cubicBezTo>
                    <a:pt x="233" y="106"/>
                    <a:pt x="234" y="106"/>
                    <a:pt x="233" y="107"/>
                  </a:cubicBezTo>
                  <a:cubicBezTo>
                    <a:pt x="233" y="107"/>
                    <a:pt x="232" y="107"/>
                    <a:pt x="232" y="107"/>
                  </a:cubicBezTo>
                  <a:cubicBezTo>
                    <a:pt x="231" y="107"/>
                    <a:pt x="231" y="107"/>
                    <a:pt x="231" y="108"/>
                  </a:cubicBezTo>
                  <a:cubicBezTo>
                    <a:pt x="231" y="108"/>
                    <a:pt x="230" y="108"/>
                    <a:pt x="230" y="109"/>
                  </a:cubicBezTo>
                  <a:cubicBezTo>
                    <a:pt x="230" y="109"/>
                    <a:pt x="229" y="109"/>
                    <a:pt x="229" y="109"/>
                  </a:cubicBezTo>
                  <a:cubicBezTo>
                    <a:pt x="229" y="110"/>
                    <a:pt x="228" y="110"/>
                    <a:pt x="228" y="110"/>
                  </a:cubicBezTo>
                  <a:cubicBezTo>
                    <a:pt x="227" y="109"/>
                    <a:pt x="227" y="109"/>
                    <a:pt x="227" y="109"/>
                  </a:cubicBezTo>
                  <a:cubicBezTo>
                    <a:pt x="226" y="109"/>
                    <a:pt x="227" y="110"/>
                    <a:pt x="227" y="110"/>
                  </a:cubicBezTo>
                  <a:cubicBezTo>
                    <a:pt x="227" y="111"/>
                    <a:pt x="227" y="111"/>
                    <a:pt x="227" y="111"/>
                  </a:cubicBezTo>
                  <a:cubicBezTo>
                    <a:pt x="227" y="111"/>
                    <a:pt x="227" y="111"/>
                    <a:pt x="227" y="111"/>
                  </a:cubicBezTo>
                  <a:cubicBezTo>
                    <a:pt x="227" y="111"/>
                    <a:pt x="227" y="112"/>
                    <a:pt x="227" y="112"/>
                  </a:cubicBezTo>
                  <a:cubicBezTo>
                    <a:pt x="228" y="112"/>
                    <a:pt x="228" y="112"/>
                    <a:pt x="229" y="112"/>
                  </a:cubicBezTo>
                  <a:close/>
                  <a:moveTo>
                    <a:pt x="3" y="82"/>
                  </a:moveTo>
                  <a:cubicBezTo>
                    <a:pt x="3" y="82"/>
                    <a:pt x="3" y="83"/>
                    <a:pt x="3" y="83"/>
                  </a:cubicBezTo>
                  <a:cubicBezTo>
                    <a:pt x="3" y="83"/>
                    <a:pt x="7" y="84"/>
                    <a:pt x="7" y="84"/>
                  </a:cubicBezTo>
                  <a:cubicBezTo>
                    <a:pt x="10" y="91"/>
                    <a:pt x="10" y="91"/>
                    <a:pt x="10" y="91"/>
                  </a:cubicBezTo>
                  <a:cubicBezTo>
                    <a:pt x="42" y="101"/>
                    <a:pt x="42" y="101"/>
                    <a:pt x="42" y="101"/>
                  </a:cubicBezTo>
                  <a:cubicBezTo>
                    <a:pt x="46" y="102"/>
                    <a:pt x="46" y="102"/>
                    <a:pt x="46" y="102"/>
                  </a:cubicBezTo>
                  <a:cubicBezTo>
                    <a:pt x="55" y="108"/>
                    <a:pt x="55" y="108"/>
                    <a:pt x="55" y="108"/>
                  </a:cubicBezTo>
                  <a:cubicBezTo>
                    <a:pt x="58" y="108"/>
                    <a:pt x="58" y="108"/>
                    <a:pt x="58" y="108"/>
                  </a:cubicBezTo>
                  <a:cubicBezTo>
                    <a:pt x="61" y="109"/>
                    <a:pt x="61" y="109"/>
                    <a:pt x="61" y="109"/>
                  </a:cubicBezTo>
                  <a:cubicBezTo>
                    <a:pt x="61" y="109"/>
                    <a:pt x="62" y="108"/>
                    <a:pt x="62" y="108"/>
                  </a:cubicBezTo>
                  <a:cubicBezTo>
                    <a:pt x="63" y="108"/>
                    <a:pt x="65" y="108"/>
                    <a:pt x="65" y="108"/>
                  </a:cubicBezTo>
                  <a:cubicBezTo>
                    <a:pt x="65" y="108"/>
                    <a:pt x="67" y="109"/>
                    <a:pt x="67" y="109"/>
                  </a:cubicBezTo>
                  <a:cubicBezTo>
                    <a:pt x="68" y="109"/>
                    <a:pt x="68" y="109"/>
                    <a:pt x="68" y="109"/>
                  </a:cubicBezTo>
                  <a:cubicBezTo>
                    <a:pt x="68" y="109"/>
                    <a:pt x="69" y="110"/>
                    <a:pt x="69" y="110"/>
                  </a:cubicBezTo>
                  <a:cubicBezTo>
                    <a:pt x="69" y="110"/>
                    <a:pt x="70" y="109"/>
                    <a:pt x="70" y="110"/>
                  </a:cubicBezTo>
                  <a:cubicBezTo>
                    <a:pt x="70" y="110"/>
                    <a:pt x="72" y="111"/>
                    <a:pt x="72" y="111"/>
                  </a:cubicBezTo>
                  <a:cubicBezTo>
                    <a:pt x="72" y="111"/>
                    <a:pt x="75" y="111"/>
                    <a:pt x="76" y="111"/>
                  </a:cubicBezTo>
                  <a:cubicBezTo>
                    <a:pt x="77" y="111"/>
                    <a:pt x="78" y="112"/>
                    <a:pt x="79" y="112"/>
                  </a:cubicBezTo>
                  <a:cubicBezTo>
                    <a:pt x="79" y="112"/>
                    <a:pt x="80" y="113"/>
                    <a:pt x="80" y="113"/>
                  </a:cubicBezTo>
                  <a:cubicBezTo>
                    <a:pt x="80" y="114"/>
                    <a:pt x="80" y="115"/>
                    <a:pt x="80" y="116"/>
                  </a:cubicBezTo>
                  <a:cubicBezTo>
                    <a:pt x="80" y="116"/>
                    <a:pt x="79" y="117"/>
                    <a:pt x="79" y="117"/>
                  </a:cubicBezTo>
                  <a:cubicBezTo>
                    <a:pt x="79" y="117"/>
                    <a:pt x="79" y="118"/>
                    <a:pt x="79" y="118"/>
                  </a:cubicBezTo>
                  <a:cubicBezTo>
                    <a:pt x="79" y="119"/>
                    <a:pt x="80" y="119"/>
                    <a:pt x="81" y="119"/>
                  </a:cubicBezTo>
                  <a:cubicBezTo>
                    <a:pt x="81" y="120"/>
                    <a:pt x="83" y="119"/>
                    <a:pt x="83" y="119"/>
                  </a:cubicBezTo>
                  <a:cubicBezTo>
                    <a:pt x="84" y="119"/>
                    <a:pt x="84" y="119"/>
                    <a:pt x="84" y="120"/>
                  </a:cubicBezTo>
                  <a:cubicBezTo>
                    <a:pt x="84" y="120"/>
                    <a:pt x="85" y="121"/>
                    <a:pt x="85" y="121"/>
                  </a:cubicBezTo>
                  <a:cubicBezTo>
                    <a:pt x="85" y="121"/>
                    <a:pt x="88" y="121"/>
                    <a:pt x="88" y="121"/>
                  </a:cubicBezTo>
                  <a:cubicBezTo>
                    <a:pt x="88" y="121"/>
                    <a:pt x="91" y="124"/>
                    <a:pt x="91" y="124"/>
                  </a:cubicBezTo>
                  <a:cubicBezTo>
                    <a:pt x="91" y="125"/>
                    <a:pt x="90" y="125"/>
                    <a:pt x="90" y="126"/>
                  </a:cubicBezTo>
                  <a:cubicBezTo>
                    <a:pt x="90" y="126"/>
                    <a:pt x="89" y="127"/>
                    <a:pt x="90" y="127"/>
                  </a:cubicBezTo>
                  <a:cubicBezTo>
                    <a:pt x="90" y="127"/>
                    <a:pt x="90" y="128"/>
                    <a:pt x="90" y="129"/>
                  </a:cubicBezTo>
                  <a:cubicBezTo>
                    <a:pt x="91" y="129"/>
                    <a:pt x="91" y="130"/>
                    <a:pt x="91" y="130"/>
                  </a:cubicBezTo>
                  <a:cubicBezTo>
                    <a:pt x="90" y="130"/>
                    <a:pt x="89" y="131"/>
                    <a:pt x="89" y="131"/>
                  </a:cubicBezTo>
                  <a:cubicBezTo>
                    <a:pt x="89" y="131"/>
                    <a:pt x="89" y="131"/>
                    <a:pt x="89" y="132"/>
                  </a:cubicBezTo>
                  <a:cubicBezTo>
                    <a:pt x="89" y="132"/>
                    <a:pt x="90" y="133"/>
                    <a:pt x="90" y="133"/>
                  </a:cubicBezTo>
                  <a:cubicBezTo>
                    <a:pt x="90" y="133"/>
                    <a:pt x="89" y="135"/>
                    <a:pt x="89" y="135"/>
                  </a:cubicBezTo>
                  <a:cubicBezTo>
                    <a:pt x="89" y="135"/>
                    <a:pt x="88" y="137"/>
                    <a:pt x="88" y="137"/>
                  </a:cubicBezTo>
                  <a:cubicBezTo>
                    <a:pt x="88" y="138"/>
                    <a:pt x="87" y="139"/>
                    <a:pt x="87" y="140"/>
                  </a:cubicBezTo>
                  <a:cubicBezTo>
                    <a:pt x="87" y="140"/>
                    <a:pt x="87" y="140"/>
                    <a:pt x="88" y="140"/>
                  </a:cubicBezTo>
                  <a:cubicBezTo>
                    <a:pt x="88" y="141"/>
                    <a:pt x="91" y="141"/>
                    <a:pt x="91" y="141"/>
                  </a:cubicBezTo>
                  <a:cubicBezTo>
                    <a:pt x="91" y="141"/>
                    <a:pt x="93" y="139"/>
                    <a:pt x="93" y="139"/>
                  </a:cubicBezTo>
                  <a:cubicBezTo>
                    <a:pt x="93" y="139"/>
                    <a:pt x="95" y="139"/>
                    <a:pt x="95" y="139"/>
                  </a:cubicBezTo>
                  <a:cubicBezTo>
                    <a:pt x="95" y="140"/>
                    <a:pt x="95" y="140"/>
                    <a:pt x="95" y="141"/>
                  </a:cubicBezTo>
                  <a:cubicBezTo>
                    <a:pt x="95" y="141"/>
                    <a:pt x="93" y="146"/>
                    <a:pt x="93" y="147"/>
                  </a:cubicBezTo>
                  <a:cubicBezTo>
                    <a:pt x="93" y="147"/>
                    <a:pt x="92" y="149"/>
                    <a:pt x="92" y="149"/>
                  </a:cubicBezTo>
                  <a:cubicBezTo>
                    <a:pt x="92" y="149"/>
                    <a:pt x="93" y="151"/>
                    <a:pt x="94" y="151"/>
                  </a:cubicBezTo>
                  <a:cubicBezTo>
                    <a:pt x="94" y="151"/>
                    <a:pt x="95" y="152"/>
                    <a:pt x="95" y="152"/>
                  </a:cubicBezTo>
                  <a:cubicBezTo>
                    <a:pt x="95" y="152"/>
                    <a:pt x="96" y="153"/>
                    <a:pt x="97" y="153"/>
                  </a:cubicBezTo>
                  <a:cubicBezTo>
                    <a:pt x="97" y="153"/>
                    <a:pt x="97" y="152"/>
                    <a:pt x="98" y="151"/>
                  </a:cubicBezTo>
                  <a:cubicBezTo>
                    <a:pt x="98" y="150"/>
                    <a:pt x="99" y="149"/>
                    <a:pt x="100" y="148"/>
                  </a:cubicBezTo>
                  <a:cubicBezTo>
                    <a:pt x="102" y="145"/>
                    <a:pt x="103" y="143"/>
                    <a:pt x="105" y="141"/>
                  </a:cubicBezTo>
                  <a:cubicBezTo>
                    <a:pt x="106" y="140"/>
                    <a:pt x="106" y="139"/>
                    <a:pt x="107" y="138"/>
                  </a:cubicBezTo>
                  <a:cubicBezTo>
                    <a:pt x="107" y="137"/>
                    <a:pt x="108" y="136"/>
                    <a:pt x="108" y="135"/>
                  </a:cubicBezTo>
                  <a:cubicBezTo>
                    <a:pt x="108" y="134"/>
                    <a:pt x="109" y="133"/>
                    <a:pt x="109" y="132"/>
                  </a:cubicBezTo>
                  <a:cubicBezTo>
                    <a:pt x="109" y="132"/>
                    <a:pt x="110" y="131"/>
                    <a:pt x="110" y="130"/>
                  </a:cubicBezTo>
                  <a:cubicBezTo>
                    <a:pt x="110" y="130"/>
                    <a:pt x="110" y="129"/>
                    <a:pt x="111" y="128"/>
                  </a:cubicBezTo>
                  <a:cubicBezTo>
                    <a:pt x="111" y="127"/>
                    <a:pt x="111" y="127"/>
                    <a:pt x="112" y="126"/>
                  </a:cubicBezTo>
                  <a:cubicBezTo>
                    <a:pt x="112" y="126"/>
                    <a:pt x="112" y="126"/>
                    <a:pt x="112" y="126"/>
                  </a:cubicBezTo>
                  <a:cubicBezTo>
                    <a:pt x="113" y="126"/>
                    <a:pt x="113" y="126"/>
                    <a:pt x="113" y="126"/>
                  </a:cubicBezTo>
                  <a:cubicBezTo>
                    <a:pt x="114" y="126"/>
                    <a:pt x="114" y="125"/>
                    <a:pt x="114" y="125"/>
                  </a:cubicBezTo>
                  <a:cubicBezTo>
                    <a:pt x="114" y="125"/>
                    <a:pt x="115" y="124"/>
                    <a:pt x="115" y="124"/>
                  </a:cubicBezTo>
                  <a:cubicBezTo>
                    <a:pt x="115" y="124"/>
                    <a:pt x="115" y="123"/>
                    <a:pt x="115" y="123"/>
                  </a:cubicBezTo>
                  <a:cubicBezTo>
                    <a:pt x="115" y="123"/>
                    <a:pt x="115" y="123"/>
                    <a:pt x="116" y="122"/>
                  </a:cubicBezTo>
                  <a:cubicBezTo>
                    <a:pt x="116" y="122"/>
                    <a:pt x="116" y="122"/>
                    <a:pt x="116" y="122"/>
                  </a:cubicBezTo>
                  <a:cubicBezTo>
                    <a:pt x="116" y="121"/>
                    <a:pt x="115" y="120"/>
                    <a:pt x="116" y="120"/>
                  </a:cubicBezTo>
                  <a:cubicBezTo>
                    <a:pt x="116" y="119"/>
                    <a:pt x="116" y="119"/>
                    <a:pt x="117" y="119"/>
                  </a:cubicBezTo>
                  <a:cubicBezTo>
                    <a:pt x="117" y="118"/>
                    <a:pt x="117" y="118"/>
                    <a:pt x="117" y="117"/>
                  </a:cubicBezTo>
                  <a:cubicBezTo>
                    <a:pt x="117" y="117"/>
                    <a:pt x="117" y="116"/>
                    <a:pt x="118" y="116"/>
                  </a:cubicBezTo>
                  <a:cubicBezTo>
                    <a:pt x="118" y="116"/>
                    <a:pt x="118" y="115"/>
                    <a:pt x="118" y="114"/>
                  </a:cubicBezTo>
                  <a:cubicBezTo>
                    <a:pt x="119" y="114"/>
                    <a:pt x="120" y="115"/>
                    <a:pt x="120" y="116"/>
                  </a:cubicBezTo>
                  <a:cubicBezTo>
                    <a:pt x="120" y="116"/>
                    <a:pt x="119" y="116"/>
                    <a:pt x="119" y="116"/>
                  </a:cubicBezTo>
                  <a:cubicBezTo>
                    <a:pt x="119" y="116"/>
                    <a:pt x="119" y="117"/>
                    <a:pt x="119" y="117"/>
                  </a:cubicBezTo>
                  <a:cubicBezTo>
                    <a:pt x="118" y="117"/>
                    <a:pt x="118" y="118"/>
                    <a:pt x="118" y="118"/>
                  </a:cubicBezTo>
                  <a:cubicBezTo>
                    <a:pt x="118" y="119"/>
                    <a:pt x="118" y="120"/>
                    <a:pt x="118" y="120"/>
                  </a:cubicBezTo>
                  <a:cubicBezTo>
                    <a:pt x="118" y="121"/>
                    <a:pt x="118" y="122"/>
                    <a:pt x="118" y="122"/>
                  </a:cubicBezTo>
                  <a:cubicBezTo>
                    <a:pt x="118" y="123"/>
                    <a:pt x="119" y="123"/>
                    <a:pt x="119" y="123"/>
                  </a:cubicBezTo>
                  <a:cubicBezTo>
                    <a:pt x="119" y="123"/>
                    <a:pt x="119" y="123"/>
                    <a:pt x="119" y="123"/>
                  </a:cubicBezTo>
                  <a:cubicBezTo>
                    <a:pt x="119" y="124"/>
                    <a:pt x="119" y="124"/>
                    <a:pt x="120" y="124"/>
                  </a:cubicBezTo>
                  <a:cubicBezTo>
                    <a:pt x="121" y="124"/>
                    <a:pt x="121" y="124"/>
                    <a:pt x="122" y="123"/>
                  </a:cubicBezTo>
                  <a:cubicBezTo>
                    <a:pt x="122" y="123"/>
                    <a:pt x="123" y="123"/>
                    <a:pt x="123" y="123"/>
                  </a:cubicBezTo>
                  <a:cubicBezTo>
                    <a:pt x="124" y="122"/>
                    <a:pt x="124" y="122"/>
                    <a:pt x="124" y="121"/>
                  </a:cubicBezTo>
                  <a:cubicBezTo>
                    <a:pt x="124" y="120"/>
                    <a:pt x="124" y="120"/>
                    <a:pt x="124" y="119"/>
                  </a:cubicBezTo>
                  <a:cubicBezTo>
                    <a:pt x="125" y="119"/>
                    <a:pt x="125" y="118"/>
                    <a:pt x="125" y="117"/>
                  </a:cubicBezTo>
                  <a:cubicBezTo>
                    <a:pt x="125" y="117"/>
                    <a:pt x="125" y="116"/>
                    <a:pt x="126" y="116"/>
                  </a:cubicBezTo>
                  <a:cubicBezTo>
                    <a:pt x="126" y="116"/>
                    <a:pt x="126" y="117"/>
                    <a:pt x="127" y="117"/>
                  </a:cubicBezTo>
                  <a:cubicBezTo>
                    <a:pt x="127" y="117"/>
                    <a:pt x="127" y="117"/>
                    <a:pt x="127" y="117"/>
                  </a:cubicBezTo>
                  <a:cubicBezTo>
                    <a:pt x="128" y="117"/>
                    <a:pt x="129" y="117"/>
                    <a:pt x="130" y="117"/>
                  </a:cubicBezTo>
                  <a:cubicBezTo>
                    <a:pt x="130" y="117"/>
                    <a:pt x="131" y="117"/>
                    <a:pt x="131" y="116"/>
                  </a:cubicBezTo>
                  <a:cubicBezTo>
                    <a:pt x="132" y="116"/>
                    <a:pt x="132" y="115"/>
                    <a:pt x="133" y="115"/>
                  </a:cubicBezTo>
                  <a:cubicBezTo>
                    <a:pt x="134" y="114"/>
                    <a:pt x="134" y="115"/>
                    <a:pt x="134" y="116"/>
                  </a:cubicBezTo>
                  <a:cubicBezTo>
                    <a:pt x="134" y="117"/>
                    <a:pt x="133" y="117"/>
                    <a:pt x="133" y="118"/>
                  </a:cubicBezTo>
                  <a:cubicBezTo>
                    <a:pt x="132" y="119"/>
                    <a:pt x="132" y="120"/>
                    <a:pt x="131" y="121"/>
                  </a:cubicBezTo>
                  <a:cubicBezTo>
                    <a:pt x="130" y="122"/>
                    <a:pt x="129" y="123"/>
                    <a:pt x="129" y="123"/>
                  </a:cubicBezTo>
                  <a:cubicBezTo>
                    <a:pt x="128" y="124"/>
                    <a:pt x="128" y="125"/>
                    <a:pt x="128" y="126"/>
                  </a:cubicBezTo>
                  <a:cubicBezTo>
                    <a:pt x="128" y="126"/>
                    <a:pt x="129" y="126"/>
                    <a:pt x="129" y="127"/>
                  </a:cubicBezTo>
                  <a:cubicBezTo>
                    <a:pt x="129" y="127"/>
                    <a:pt x="130" y="127"/>
                    <a:pt x="130" y="128"/>
                  </a:cubicBezTo>
                  <a:cubicBezTo>
                    <a:pt x="130" y="128"/>
                    <a:pt x="131" y="129"/>
                    <a:pt x="131" y="128"/>
                  </a:cubicBezTo>
                  <a:cubicBezTo>
                    <a:pt x="131" y="128"/>
                    <a:pt x="131" y="127"/>
                    <a:pt x="131" y="127"/>
                  </a:cubicBezTo>
                  <a:cubicBezTo>
                    <a:pt x="131" y="127"/>
                    <a:pt x="131" y="127"/>
                    <a:pt x="131" y="126"/>
                  </a:cubicBezTo>
                  <a:cubicBezTo>
                    <a:pt x="131" y="126"/>
                    <a:pt x="131" y="126"/>
                    <a:pt x="132" y="125"/>
                  </a:cubicBezTo>
                  <a:cubicBezTo>
                    <a:pt x="132" y="125"/>
                    <a:pt x="132" y="124"/>
                    <a:pt x="133" y="123"/>
                  </a:cubicBezTo>
                  <a:cubicBezTo>
                    <a:pt x="133" y="123"/>
                    <a:pt x="134" y="122"/>
                    <a:pt x="135" y="122"/>
                  </a:cubicBezTo>
                  <a:cubicBezTo>
                    <a:pt x="136" y="121"/>
                    <a:pt x="137" y="121"/>
                    <a:pt x="138" y="120"/>
                  </a:cubicBezTo>
                  <a:cubicBezTo>
                    <a:pt x="139" y="120"/>
                    <a:pt x="140" y="120"/>
                    <a:pt x="140" y="119"/>
                  </a:cubicBezTo>
                  <a:cubicBezTo>
                    <a:pt x="140" y="119"/>
                    <a:pt x="140" y="118"/>
                    <a:pt x="140" y="118"/>
                  </a:cubicBezTo>
                  <a:cubicBezTo>
                    <a:pt x="140" y="116"/>
                    <a:pt x="141" y="115"/>
                    <a:pt x="142" y="114"/>
                  </a:cubicBezTo>
                  <a:cubicBezTo>
                    <a:pt x="142" y="113"/>
                    <a:pt x="144" y="112"/>
                    <a:pt x="145" y="112"/>
                  </a:cubicBezTo>
                  <a:cubicBezTo>
                    <a:pt x="146" y="111"/>
                    <a:pt x="146" y="111"/>
                    <a:pt x="147" y="111"/>
                  </a:cubicBezTo>
                  <a:cubicBezTo>
                    <a:pt x="147" y="111"/>
                    <a:pt x="148" y="111"/>
                    <a:pt x="149" y="111"/>
                  </a:cubicBezTo>
                  <a:cubicBezTo>
                    <a:pt x="149" y="111"/>
                    <a:pt x="150" y="111"/>
                    <a:pt x="150" y="111"/>
                  </a:cubicBezTo>
                  <a:cubicBezTo>
                    <a:pt x="151" y="111"/>
                    <a:pt x="151" y="111"/>
                    <a:pt x="152" y="112"/>
                  </a:cubicBezTo>
                  <a:cubicBezTo>
                    <a:pt x="152" y="112"/>
                    <a:pt x="153" y="113"/>
                    <a:pt x="154" y="113"/>
                  </a:cubicBezTo>
                  <a:cubicBezTo>
                    <a:pt x="155" y="112"/>
                    <a:pt x="155" y="112"/>
                    <a:pt x="155" y="111"/>
                  </a:cubicBezTo>
                  <a:cubicBezTo>
                    <a:pt x="156" y="111"/>
                    <a:pt x="157" y="110"/>
                    <a:pt x="157" y="110"/>
                  </a:cubicBezTo>
                  <a:cubicBezTo>
                    <a:pt x="164" y="110"/>
                    <a:pt x="164" y="110"/>
                    <a:pt x="164" y="110"/>
                  </a:cubicBezTo>
                  <a:cubicBezTo>
                    <a:pt x="165" y="110"/>
                    <a:pt x="165" y="110"/>
                    <a:pt x="165" y="110"/>
                  </a:cubicBezTo>
                  <a:cubicBezTo>
                    <a:pt x="166" y="110"/>
                    <a:pt x="166" y="109"/>
                    <a:pt x="166" y="108"/>
                  </a:cubicBezTo>
                  <a:cubicBezTo>
                    <a:pt x="167" y="107"/>
                    <a:pt x="167" y="107"/>
                    <a:pt x="168" y="106"/>
                  </a:cubicBezTo>
                  <a:cubicBezTo>
                    <a:pt x="168" y="106"/>
                    <a:pt x="169" y="105"/>
                    <a:pt x="169" y="105"/>
                  </a:cubicBezTo>
                  <a:cubicBezTo>
                    <a:pt x="169" y="105"/>
                    <a:pt x="169" y="105"/>
                    <a:pt x="169" y="105"/>
                  </a:cubicBezTo>
                  <a:cubicBezTo>
                    <a:pt x="170" y="104"/>
                    <a:pt x="170" y="104"/>
                    <a:pt x="170" y="104"/>
                  </a:cubicBezTo>
                  <a:cubicBezTo>
                    <a:pt x="171" y="104"/>
                    <a:pt x="171" y="104"/>
                    <a:pt x="171" y="104"/>
                  </a:cubicBezTo>
                  <a:cubicBezTo>
                    <a:pt x="173" y="104"/>
                    <a:pt x="174" y="105"/>
                    <a:pt x="175" y="105"/>
                  </a:cubicBezTo>
                  <a:cubicBezTo>
                    <a:pt x="176" y="105"/>
                    <a:pt x="177" y="106"/>
                    <a:pt x="178" y="106"/>
                  </a:cubicBezTo>
                  <a:cubicBezTo>
                    <a:pt x="178" y="106"/>
                    <a:pt x="179" y="106"/>
                    <a:pt x="180" y="106"/>
                  </a:cubicBezTo>
                  <a:cubicBezTo>
                    <a:pt x="180" y="107"/>
                    <a:pt x="181" y="107"/>
                    <a:pt x="181" y="107"/>
                  </a:cubicBezTo>
                  <a:cubicBezTo>
                    <a:pt x="182" y="107"/>
                    <a:pt x="183" y="108"/>
                    <a:pt x="183" y="108"/>
                  </a:cubicBezTo>
                  <a:cubicBezTo>
                    <a:pt x="184" y="108"/>
                    <a:pt x="184" y="108"/>
                    <a:pt x="185" y="108"/>
                  </a:cubicBezTo>
                  <a:cubicBezTo>
                    <a:pt x="186" y="108"/>
                    <a:pt x="186" y="108"/>
                    <a:pt x="187" y="109"/>
                  </a:cubicBezTo>
                  <a:cubicBezTo>
                    <a:pt x="187" y="109"/>
                    <a:pt x="187" y="110"/>
                    <a:pt x="187" y="110"/>
                  </a:cubicBezTo>
                  <a:cubicBezTo>
                    <a:pt x="187" y="110"/>
                    <a:pt x="188" y="111"/>
                    <a:pt x="188" y="111"/>
                  </a:cubicBezTo>
                  <a:cubicBezTo>
                    <a:pt x="189" y="111"/>
                    <a:pt x="189" y="112"/>
                    <a:pt x="190" y="113"/>
                  </a:cubicBezTo>
                  <a:cubicBezTo>
                    <a:pt x="191" y="113"/>
                    <a:pt x="191" y="114"/>
                    <a:pt x="192" y="114"/>
                  </a:cubicBezTo>
                  <a:cubicBezTo>
                    <a:pt x="192" y="115"/>
                    <a:pt x="193" y="116"/>
                    <a:pt x="194" y="116"/>
                  </a:cubicBezTo>
                  <a:cubicBezTo>
                    <a:pt x="194" y="116"/>
                    <a:pt x="194" y="116"/>
                    <a:pt x="194" y="116"/>
                  </a:cubicBezTo>
                  <a:cubicBezTo>
                    <a:pt x="195" y="117"/>
                    <a:pt x="195" y="117"/>
                    <a:pt x="196" y="117"/>
                  </a:cubicBezTo>
                  <a:cubicBezTo>
                    <a:pt x="197" y="116"/>
                    <a:pt x="195" y="115"/>
                    <a:pt x="196" y="114"/>
                  </a:cubicBezTo>
                  <a:cubicBezTo>
                    <a:pt x="196" y="114"/>
                    <a:pt x="196" y="113"/>
                    <a:pt x="197" y="113"/>
                  </a:cubicBezTo>
                  <a:cubicBezTo>
                    <a:pt x="197" y="113"/>
                    <a:pt x="197" y="112"/>
                    <a:pt x="197" y="112"/>
                  </a:cubicBezTo>
                  <a:cubicBezTo>
                    <a:pt x="198" y="111"/>
                    <a:pt x="198" y="110"/>
                    <a:pt x="198" y="109"/>
                  </a:cubicBezTo>
                  <a:cubicBezTo>
                    <a:pt x="199" y="109"/>
                    <a:pt x="198" y="108"/>
                    <a:pt x="199" y="107"/>
                  </a:cubicBezTo>
                  <a:cubicBezTo>
                    <a:pt x="199" y="107"/>
                    <a:pt x="199" y="107"/>
                    <a:pt x="199" y="107"/>
                  </a:cubicBezTo>
                  <a:cubicBezTo>
                    <a:pt x="199" y="107"/>
                    <a:pt x="200" y="107"/>
                    <a:pt x="200" y="107"/>
                  </a:cubicBezTo>
                  <a:cubicBezTo>
                    <a:pt x="200" y="107"/>
                    <a:pt x="201" y="107"/>
                    <a:pt x="201" y="108"/>
                  </a:cubicBezTo>
                  <a:cubicBezTo>
                    <a:pt x="201" y="108"/>
                    <a:pt x="201" y="108"/>
                    <a:pt x="202" y="108"/>
                  </a:cubicBezTo>
                  <a:cubicBezTo>
                    <a:pt x="202" y="108"/>
                    <a:pt x="203" y="109"/>
                    <a:pt x="204" y="109"/>
                  </a:cubicBezTo>
                  <a:cubicBezTo>
                    <a:pt x="204" y="110"/>
                    <a:pt x="204" y="110"/>
                    <a:pt x="204" y="111"/>
                  </a:cubicBezTo>
                  <a:cubicBezTo>
                    <a:pt x="205" y="111"/>
                    <a:pt x="206" y="110"/>
                    <a:pt x="207" y="110"/>
                  </a:cubicBezTo>
                  <a:cubicBezTo>
                    <a:pt x="207" y="110"/>
                    <a:pt x="208" y="111"/>
                    <a:pt x="208" y="110"/>
                  </a:cubicBezTo>
                  <a:cubicBezTo>
                    <a:pt x="208" y="110"/>
                    <a:pt x="208" y="110"/>
                    <a:pt x="208" y="110"/>
                  </a:cubicBezTo>
                  <a:cubicBezTo>
                    <a:pt x="209" y="109"/>
                    <a:pt x="210" y="110"/>
                    <a:pt x="210" y="110"/>
                  </a:cubicBezTo>
                  <a:cubicBezTo>
                    <a:pt x="212" y="109"/>
                    <a:pt x="214" y="109"/>
                    <a:pt x="215" y="110"/>
                  </a:cubicBezTo>
                  <a:cubicBezTo>
                    <a:pt x="216" y="110"/>
                    <a:pt x="217" y="110"/>
                    <a:pt x="217" y="110"/>
                  </a:cubicBezTo>
                  <a:cubicBezTo>
                    <a:pt x="218" y="110"/>
                    <a:pt x="218" y="110"/>
                    <a:pt x="219" y="111"/>
                  </a:cubicBezTo>
                  <a:cubicBezTo>
                    <a:pt x="219" y="111"/>
                    <a:pt x="220" y="111"/>
                    <a:pt x="221" y="112"/>
                  </a:cubicBezTo>
                  <a:cubicBezTo>
                    <a:pt x="222" y="112"/>
                    <a:pt x="222" y="112"/>
                    <a:pt x="222" y="112"/>
                  </a:cubicBezTo>
                  <a:cubicBezTo>
                    <a:pt x="223" y="112"/>
                    <a:pt x="223" y="111"/>
                    <a:pt x="223" y="111"/>
                  </a:cubicBezTo>
                  <a:cubicBezTo>
                    <a:pt x="224" y="111"/>
                    <a:pt x="224" y="110"/>
                    <a:pt x="224" y="110"/>
                  </a:cubicBezTo>
                  <a:cubicBezTo>
                    <a:pt x="223" y="109"/>
                    <a:pt x="223" y="108"/>
                    <a:pt x="222" y="108"/>
                  </a:cubicBezTo>
                  <a:cubicBezTo>
                    <a:pt x="221" y="107"/>
                    <a:pt x="221" y="107"/>
                    <a:pt x="221" y="107"/>
                  </a:cubicBezTo>
                  <a:cubicBezTo>
                    <a:pt x="220" y="106"/>
                    <a:pt x="220" y="106"/>
                    <a:pt x="220" y="106"/>
                  </a:cubicBezTo>
                  <a:cubicBezTo>
                    <a:pt x="220" y="106"/>
                    <a:pt x="220" y="105"/>
                    <a:pt x="220" y="105"/>
                  </a:cubicBezTo>
                  <a:cubicBezTo>
                    <a:pt x="220" y="105"/>
                    <a:pt x="220" y="105"/>
                    <a:pt x="220" y="104"/>
                  </a:cubicBezTo>
                  <a:cubicBezTo>
                    <a:pt x="220" y="104"/>
                    <a:pt x="220" y="104"/>
                    <a:pt x="220" y="104"/>
                  </a:cubicBezTo>
                  <a:cubicBezTo>
                    <a:pt x="221" y="103"/>
                    <a:pt x="220" y="103"/>
                    <a:pt x="220" y="102"/>
                  </a:cubicBezTo>
                  <a:cubicBezTo>
                    <a:pt x="220" y="102"/>
                    <a:pt x="219" y="101"/>
                    <a:pt x="219" y="101"/>
                  </a:cubicBezTo>
                  <a:cubicBezTo>
                    <a:pt x="219" y="101"/>
                    <a:pt x="218" y="101"/>
                    <a:pt x="217" y="101"/>
                  </a:cubicBezTo>
                  <a:cubicBezTo>
                    <a:pt x="217" y="101"/>
                    <a:pt x="216" y="101"/>
                    <a:pt x="216" y="101"/>
                  </a:cubicBezTo>
                  <a:cubicBezTo>
                    <a:pt x="215" y="101"/>
                    <a:pt x="213" y="101"/>
                    <a:pt x="213" y="100"/>
                  </a:cubicBezTo>
                  <a:cubicBezTo>
                    <a:pt x="213" y="100"/>
                    <a:pt x="213" y="99"/>
                    <a:pt x="213" y="99"/>
                  </a:cubicBezTo>
                  <a:cubicBezTo>
                    <a:pt x="213" y="98"/>
                    <a:pt x="213" y="98"/>
                    <a:pt x="214" y="98"/>
                  </a:cubicBezTo>
                  <a:cubicBezTo>
                    <a:pt x="214" y="98"/>
                    <a:pt x="214" y="97"/>
                    <a:pt x="214" y="97"/>
                  </a:cubicBezTo>
                  <a:cubicBezTo>
                    <a:pt x="214" y="97"/>
                    <a:pt x="214" y="96"/>
                    <a:pt x="215" y="96"/>
                  </a:cubicBezTo>
                  <a:cubicBezTo>
                    <a:pt x="215" y="96"/>
                    <a:pt x="215" y="97"/>
                    <a:pt x="215" y="97"/>
                  </a:cubicBezTo>
                  <a:cubicBezTo>
                    <a:pt x="215" y="97"/>
                    <a:pt x="216" y="97"/>
                    <a:pt x="216" y="97"/>
                  </a:cubicBezTo>
                  <a:cubicBezTo>
                    <a:pt x="216" y="98"/>
                    <a:pt x="217" y="98"/>
                    <a:pt x="217" y="98"/>
                  </a:cubicBezTo>
                  <a:cubicBezTo>
                    <a:pt x="217" y="97"/>
                    <a:pt x="217" y="97"/>
                    <a:pt x="217" y="97"/>
                  </a:cubicBezTo>
                  <a:cubicBezTo>
                    <a:pt x="217" y="95"/>
                    <a:pt x="217" y="94"/>
                    <a:pt x="216" y="94"/>
                  </a:cubicBezTo>
                  <a:cubicBezTo>
                    <a:pt x="215" y="93"/>
                    <a:pt x="215" y="93"/>
                    <a:pt x="215" y="94"/>
                  </a:cubicBezTo>
                  <a:cubicBezTo>
                    <a:pt x="215" y="95"/>
                    <a:pt x="214" y="94"/>
                    <a:pt x="214" y="94"/>
                  </a:cubicBezTo>
                  <a:cubicBezTo>
                    <a:pt x="214" y="93"/>
                    <a:pt x="214" y="93"/>
                    <a:pt x="214" y="92"/>
                  </a:cubicBezTo>
                  <a:cubicBezTo>
                    <a:pt x="214" y="92"/>
                    <a:pt x="214" y="92"/>
                    <a:pt x="214" y="91"/>
                  </a:cubicBezTo>
                  <a:cubicBezTo>
                    <a:pt x="214" y="91"/>
                    <a:pt x="213" y="91"/>
                    <a:pt x="213" y="91"/>
                  </a:cubicBezTo>
                  <a:cubicBezTo>
                    <a:pt x="212" y="90"/>
                    <a:pt x="213" y="89"/>
                    <a:pt x="213" y="89"/>
                  </a:cubicBezTo>
                  <a:cubicBezTo>
                    <a:pt x="213" y="88"/>
                    <a:pt x="212" y="88"/>
                    <a:pt x="212" y="88"/>
                  </a:cubicBezTo>
                  <a:cubicBezTo>
                    <a:pt x="211" y="87"/>
                    <a:pt x="212" y="87"/>
                    <a:pt x="213" y="87"/>
                  </a:cubicBezTo>
                  <a:cubicBezTo>
                    <a:pt x="213" y="88"/>
                    <a:pt x="214" y="89"/>
                    <a:pt x="214" y="89"/>
                  </a:cubicBezTo>
                  <a:cubicBezTo>
                    <a:pt x="215" y="89"/>
                    <a:pt x="215" y="89"/>
                    <a:pt x="215" y="88"/>
                  </a:cubicBezTo>
                  <a:cubicBezTo>
                    <a:pt x="216" y="88"/>
                    <a:pt x="216" y="87"/>
                    <a:pt x="216" y="86"/>
                  </a:cubicBezTo>
                  <a:cubicBezTo>
                    <a:pt x="216" y="85"/>
                    <a:pt x="217" y="84"/>
                    <a:pt x="216" y="83"/>
                  </a:cubicBezTo>
                  <a:cubicBezTo>
                    <a:pt x="216" y="83"/>
                    <a:pt x="216" y="83"/>
                    <a:pt x="215" y="83"/>
                  </a:cubicBezTo>
                  <a:cubicBezTo>
                    <a:pt x="215" y="83"/>
                    <a:pt x="215" y="83"/>
                    <a:pt x="214" y="84"/>
                  </a:cubicBezTo>
                  <a:cubicBezTo>
                    <a:pt x="214" y="84"/>
                    <a:pt x="214" y="84"/>
                    <a:pt x="214" y="84"/>
                  </a:cubicBezTo>
                  <a:cubicBezTo>
                    <a:pt x="214" y="84"/>
                    <a:pt x="213" y="84"/>
                    <a:pt x="213" y="84"/>
                  </a:cubicBezTo>
                  <a:cubicBezTo>
                    <a:pt x="213" y="84"/>
                    <a:pt x="213" y="84"/>
                    <a:pt x="213" y="84"/>
                  </a:cubicBezTo>
                  <a:cubicBezTo>
                    <a:pt x="213" y="85"/>
                    <a:pt x="213" y="85"/>
                    <a:pt x="212" y="86"/>
                  </a:cubicBezTo>
                  <a:cubicBezTo>
                    <a:pt x="212" y="86"/>
                    <a:pt x="212" y="86"/>
                    <a:pt x="211" y="85"/>
                  </a:cubicBezTo>
                  <a:cubicBezTo>
                    <a:pt x="211" y="85"/>
                    <a:pt x="211" y="85"/>
                    <a:pt x="211" y="85"/>
                  </a:cubicBezTo>
                  <a:cubicBezTo>
                    <a:pt x="211" y="85"/>
                    <a:pt x="211" y="85"/>
                    <a:pt x="210" y="85"/>
                  </a:cubicBezTo>
                  <a:cubicBezTo>
                    <a:pt x="210" y="85"/>
                    <a:pt x="210" y="84"/>
                    <a:pt x="209" y="84"/>
                  </a:cubicBezTo>
                  <a:cubicBezTo>
                    <a:pt x="209" y="84"/>
                    <a:pt x="208" y="84"/>
                    <a:pt x="208" y="85"/>
                  </a:cubicBezTo>
                  <a:cubicBezTo>
                    <a:pt x="208" y="85"/>
                    <a:pt x="207" y="86"/>
                    <a:pt x="207" y="86"/>
                  </a:cubicBezTo>
                  <a:cubicBezTo>
                    <a:pt x="206" y="86"/>
                    <a:pt x="206" y="86"/>
                    <a:pt x="205" y="87"/>
                  </a:cubicBezTo>
                  <a:cubicBezTo>
                    <a:pt x="204" y="87"/>
                    <a:pt x="204" y="87"/>
                    <a:pt x="203" y="88"/>
                  </a:cubicBezTo>
                  <a:cubicBezTo>
                    <a:pt x="202" y="88"/>
                    <a:pt x="202" y="88"/>
                    <a:pt x="201" y="88"/>
                  </a:cubicBezTo>
                  <a:cubicBezTo>
                    <a:pt x="200" y="87"/>
                    <a:pt x="200" y="87"/>
                    <a:pt x="199" y="86"/>
                  </a:cubicBezTo>
                  <a:cubicBezTo>
                    <a:pt x="199" y="86"/>
                    <a:pt x="198" y="85"/>
                    <a:pt x="198" y="85"/>
                  </a:cubicBezTo>
                  <a:cubicBezTo>
                    <a:pt x="198" y="85"/>
                    <a:pt x="197" y="85"/>
                    <a:pt x="197" y="85"/>
                  </a:cubicBezTo>
                  <a:cubicBezTo>
                    <a:pt x="197" y="85"/>
                    <a:pt x="196" y="86"/>
                    <a:pt x="196" y="86"/>
                  </a:cubicBezTo>
                  <a:cubicBezTo>
                    <a:pt x="195" y="86"/>
                    <a:pt x="195" y="86"/>
                    <a:pt x="195" y="86"/>
                  </a:cubicBezTo>
                  <a:cubicBezTo>
                    <a:pt x="195" y="86"/>
                    <a:pt x="194" y="86"/>
                    <a:pt x="194" y="86"/>
                  </a:cubicBezTo>
                  <a:cubicBezTo>
                    <a:pt x="194" y="87"/>
                    <a:pt x="193" y="87"/>
                    <a:pt x="193" y="87"/>
                  </a:cubicBezTo>
                  <a:cubicBezTo>
                    <a:pt x="193" y="87"/>
                    <a:pt x="193" y="87"/>
                    <a:pt x="192" y="87"/>
                  </a:cubicBezTo>
                  <a:cubicBezTo>
                    <a:pt x="192" y="87"/>
                    <a:pt x="191" y="86"/>
                    <a:pt x="191" y="86"/>
                  </a:cubicBezTo>
                  <a:cubicBezTo>
                    <a:pt x="190" y="86"/>
                    <a:pt x="190" y="85"/>
                    <a:pt x="189" y="85"/>
                  </a:cubicBezTo>
                  <a:cubicBezTo>
                    <a:pt x="189" y="85"/>
                    <a:pt x="189" y="84"/>
                    <a:pt x="188" y="85"/>
                  </a:cubicBezTo>
                  <a:cubicBezTo>
                    <a:pt x="188" y="85"/>
                    <a:pt x="187" y="85"/>
                    <a:pt x="187" y="85"/>
                  </a:cubicBezTo>
                  <a:cubicBezTo>
                    <a:pt x="186" y="85"/>
                    <a:pt x="186" y="85"/>
                    <a:pt x="186" y="85"/>
                  </a:cubicBezTo>
                  <a:cubicBezTo>
                    <a:pt x="186" y="84"/>
                    <a:pt x="186" y="84"/>
                    <a:pt x="186" y="83"/>
                  </a:cubicBezTo>
                  <a:cubicBezTo>
                    <a:pt x="186" y="82"/>
                    <a:pt x="186" y="82"/>
                    <a:pt x="186" y="81"/>
                  </a:cubicBezTo>
                  <a:cubicBezTo>
                    <a:pt x="186" y="80"/>
                    <a:pt x="186" y="79"/>
                    <a:pt x="186" y="78"/>
                  </a:cubicBezTo>
                  <a:cubicBezTo>
                    <a:pt x="186" y="76"/>
                    <a:pt x="186" y="74"/>
                    <a:pt x="187" y="73"/>
                  </a:cubicBezTo>
                  <a:cubicBezTo>
                    <a:pt x="187" y="72"/>
                    <a:pt x="188" y="72"/>
                    <a:pt x="188" y="71"/>
                  </a:cubicBezTo>
                  <a:cubicBezTo>
                    <a:pt x="187" y="71"/>
                    <a:pt x="186" y="71"/>
                    <a:pt x="186" y="71"/>
                  </a:cubicBezTo>
                  <a:cubicBezTo>
                    <a:pt x="182" y="71"/>
                    <a:pt x="182" y="71"/>
                    <a:pt x="182" y="71"/>
                  </a:cubicBezTo>
                  <a:cubicBezTo>
                    <a:pt x="181" y="71"/>
                    <a:pt x="181" y="72"/>
                    <a:pt x="180" y="72"/>
                  </a:cubicBezTo>
                  <a:cubicBezTo>
                    <a:pt x="178" y="72"/>
                    <a:pt x="177" y="72"/>
                    <a:pt x="176" y="73"/>
                  </a:cubicBezTo>
                  <a:cubicBezTo>
                    <a:pt x="175" y="73"/>
                    <a:pt x="174" y="74"/>
                    <a:pt x="173" y="74"/>
                  </a:cubicBezTo>
                  <a:cubicBezTo>
                    <a:pt x="173" y="74"/>
                    <a:pt x="172" y="75"/>
                    <a:pt x="172" y="75"/>
                  </a:cubicBezTo>
                  <a:cubicBezTo>
                    <a:pt x="171" y="75"/>
                    <a:pt x="170" y="75"/>
                    <a:pt x="170" y="75"/>
                  </a:cubicBezTo>
                  <a:cubicBezTo>
                    <a:pt x="170" y="75"/>
                    <a:pt x="170" y="75"/>
                    <a:pt x="170" y="75"/>
                  </a:cubicBezTo>
                  <a:cubicBezTo>
                    <a:pt x="148" y="75"/>
                    <a:pt x="148" y="75"/>
                    <a:pt x="148" y="75"/>
                  </a:cubicBezTo>
                  <a:cubicBezTo>
                    <a:pt x="147" y="76"/>
                    <a:pt x="147" y="76"/>
                    <a:pt x="146" y="76"/>
                  </a:cubicBezTo>
                  <a:cubicBezTo>
                    <a:pt x="146" y="76"/>
                    <a:pt x="145" y="77"/>
                    <a:pt x="144" y="78"/>
                  </a:cubicBezTo>
                  <a:cubicBezTo>
                    <a:pt x="144" y="78"/>
                    <a:pt x="144" y="78"/>
                    <a:pt x="143" y="79"/>
                  </a:cubicBezTo>
                  <a:cubicBezTo>
                    <a:pt x="143" y="79"/>
                    <a:pt x="142" y="79"/>
                    <a:pt x="142" y="80"/>
                  </a:cubicBezTo>
                  <a:cubicBezTo>
                    <a:pt x="141" y="80"/>
                    <a:pt x="141" y="80"/>
                    <a:pt x="140" y="80"/>
                  </a:cubicBezTo>
                  <a:cubicBezTo>
                    <a:pt x="139" y="81"/>
                    <a:pt x="139" y="81"/>
                    <a:pt x="138" y="81"/>
                  </a:cubicBezTo>
                  <a:cubicBezTo>
                    <a:pt x="137" y="82"/>
                    <a:pt x="136" y="83"/>
                    <a:pt x="135" y="84"/>
                  </a:cubicBezTo>
                  <a:cubicBezTo>
                    <a:pt x="134" y="84"/>
                    <a:pt x="133" y="85"/>
                    <a:pt x="133" y="86"/>
                  </a:cubicBezTo>
                  <a:cubicBezTo>
                    <a:pt x="132" y="86"/>
                    <a:pt x="133" y="87"/>
                    <a:pt x="132" y="87"/>
                  </a:cubicBezTo>
                  <a:cubicBezTo>
                    <a:pt x="132" y="87"/>
                    <a:pt x="132" y="87"/>
                    <a:pt x="131" y="88"/>
                  </a:cubicBezTo>
                  <a:cubicBezTo>
                    <a:pt x="131" y="88"/>
                    <a:pt x="131" y="88"/>
                    <a:pt x="130" y="88"/>
                  </a:cubicBezTo>
                  <a:cubicBezTo>
                    <a:pt x="130" y="88"/>
                    <a:pt x="130" y="88"/>
                    <a:pt x="130" y="87"/>
                  </a:cubicBezTo>
                  <a:cubicBezTo>
                    <a:pt x="129" y="87"/>
                    <a:pt x="129" y="86"/>
                    <a:pt x="128" y="86"/>
                  </a:cubicBezTo>
                  <a:cubicBezTo>
                    <a:pt x="127" y="86"/>
                    <a:pt x="127" y="85"/>
                    <a:pt x="126" y="86"/>
                  </a:cubicBezTo>
                  <a:cubicBezTo>
                    <a:pt x="126" y="86"/>
                    <a:pt x="125" y="86"/>
                    <a:pt x="124" y="87"/>
                  </a:cubicBezTo>
                  <a:cubicBezTo>
                    <a:pt x="123" y="87"/>
                    <a:pt x="122" y="88"/>
                    <a:pt x="122" y="87"/>
                  </a:cubicBezTo>
                  <a:cubicBezTo>
                    <a:pt x="121" y="87"/>
                    <a:pt x="121" y="86"/>
                    <a:pt x="121" y="86"/>
                  </a:cubicBezTo>
                  <a:cubicBezTo>
                    <a:pt x="121" y="85"/>
                    <a:pt x="120" y="85"/>
                    <a:pt x="119" y="84"/>
                  </a:cubicBezTo>
                  <a:cubicBezTo>
                    <a:pt x="119" y="83"/>
                    <a:pt x="119" y="83"/>
                    <a:pt x="118" y="83"/>
                  </a:cubicBezTo>
                  <a:cubicBezTo>
                    <a:pt x="117" y="83"/>
                    <a:pt x="116" y="84"/>
                    <a:pt x="115" y="84"/>
                  </a:cubicBezTo>
                  <a:cubicBezTo>
                    <a:pt x="113" y="85"/>
                    <a:pt x="111" y="85"/>
                    <a:pt x="108" y="85"/>
                  </a:cubicBezTo>
                  <a:cubicBezTo>
                    <a:pt x="107" y="84"/>
                    <a:pt x="106" y="84"/>
                    <a:pt x="105" y="83"/>
                  </a:cubicBezTo>
                  <a:cubicBezTo>
                    <a:pt x="105" y="83"/>
                    <a:pt x="105" y="83"/>
                    <a:pt x="104" y="82"/>
                  </a:cubicBezTo>
                  <a:cubicBezTo>
                    <a:pt x="104" y="82"/>
                    <a:pt x="105" y="81"/>
                    <a:pt x="104" y="80"/>
                  </a:cubicBezTo>
                  <a:cubicBezTo>
                    <a:pt x="104" y="80"/>
                    <a:pt x="104" y="80"/>
                    <a:pt x="104" y="80"/>
                  </a:cubicBezTo>
                  <a:cubicBezTo>
                    <a:pt x="104" y="80"/>
                    <a:pt x="104" y="80"/>
                    <a:pt x="104" y="79"/>
                  </a:cubicBezTo>
                  <a:cubicBezTo>
                    <a:pt x="103" y="79"/>
                    <a:pt x="103" y="79"/>
                    <a:pt x="102" y="78"/>
                  </a:cubicBezTo>
                  <a:cubicBezTo>
                    <a:pt x="102" y="78"/>
                    <a:pt x="101" y="77"/>
                    <a:pt x="101" y="76"/>
                  </a:cubicBezTo>
                  <a:cubicBezTo>
                    <a:pt x="100" y="76"/>
                    <a:pt x="99" y="75"/>
                    <a:pt x="99" y="75"/>
                  </a:cubicBezTo>
                  <a:cubicBezTo>
                    <a:pt x="99" y="74"/>
                    <a:pt x="98" y="74"/>
                    <a:pt x="98" y="73"/>
                  </a:cubicBezTo>
                  <a:cubicBezTo>
                    <a:pt x="98" y="72"/>
                    <a:pt x="98" y="72"/>
                    <a:pt x="98" y="72"/>
                  </a:cubicBezTo>
                  <a:cubicBezTo>
                    <a:pt x="98" y="72"/>
                    <a:pt x="97" y="71"/>
                    <a:pt x="97" y="71"/>
                  </a:cubicBezTo>
                  <a:cubicBezTo>
                    <a:pt x="97" y="70"/>
                    <a:pt x="98" y="70"/>
                    <a:pt x="97" y="70"/>
                  </a:cubicBezTo>
                  <a:cubicBezTo>
                    <a:pt x="97" y="70"/>
                    <a:pt x="97" y="70"/>
                    <a:pt x="96" y="70"/>
                  </a:cubicBezTo>
                  <a:cubicBezTo>
                    <a:pt x="96" y="69"/>
                    <a:pt x="96" y="69"/>
                    <a:pt x="96" y="69"/>
                  </a:cubicBezTo>
                  <a:cubicBezTo>
                    <a:pt x="96" y="69"/>
                    <a:pt x="95" y="69"/>
                    <a:pt x="95" y="69"/>
                  </a:cubicBezTo>
                  <a:cubicBezTo>
                    <a:pt x="94" y="68"/>
                    <a:pt x="94" y="68"/>
                    <a:pt x="94" y="68"/>
                  </a:cubicBezTo>
                  <a:cubicBezTo>
                    <a:pt x="93" y="68"/>
                    <a:pt x="93" y="68"/>
                    <a:pt x="93" y="67"/>
                  </a:cubicBezTo>
                  <a:cubicBezTo>
                    <a:pt x="92" y="67"/>
                    <a:pt x="91" y="66"/>
                    <a:pt x="91" y="65"/>
                  </a:cubicBezTo>
                  <a:cubicBezTo>
                    <a:pt x="90" y="65"/>
                    <a:pt x="90" y="65"/>
                    <a:pt x="90" y="65"/>
                  </a:cubicBezTo>
                  <a:cubicBezTo>
                    <a:pt x="89" y="65"/>
                    <a:pt x="89" y="64"/>
                    <a:pt x="88" y="64"/>
                  </a:cubicBezTo>
                  <a:cubicBezTo>
                    <a:pt x="88" y="64"/>
                    <a:pt x="87" y="64"/>
                    <a:pt x="87" y="64"/>
                  </a:cubicBezTo>
                  <a:cubicBezTo>
                    <a:pt x="86" y="64"/>
                    <a:pt x="86" y="64"/>
                    <a:pt x="85" y="64"/>
                  </a:cubicBezTo>
                  <a:cubicBezTo>
                    <a:pt x="84" y="64"/>
                    <a:pt x="83" y="64"/>
                    <a:pt x="82" y="64"/>
                  </a:cubicBezTo>
                  <a:cubicBezTo>
                    <a:pt x="81" y="64"/>
                    <a:pt x="81" y="64"/>
                    <a:pt x="80" y="64"/>
                  </a:cubicBezTo>
                  <a:cubicBezTo>
                    <a:pt x="80" y="63"/>
                    <a:pt x="79" y="63"/>
                    <a:pt x="79" y="64"/>
                  </a:cubicBezTo>
                  <a:cubicBezTo>
                    <a:pt x="78" y="64"/>
                    <a:pt x="78" y="64"/>
                    <a:pt x="78" y="64"/>
                  </a:cubicBezTo>
                  <a:cubicBezTo>
                    <a:pt x="78" y="64"/>
                    <a:pt x="77" y="64"/>
                    <a:pt x="77" y="64"/>
                  </a:cubicBezTo>
                  <a:cubicBezTo>
                    <a:pt x="77" y="64"/>
                    <a:pt x="77" y="63"/>
                    <a:pt x="77" y="62"/>
                  </a:cubicBezTo>
                  <a:cubicBezTo>
                    <a:pt x="77" y="62"/>
                    <a:pt x="76" y="62"/>
                    <a:pt x="75" y="62"/>
                  </a:cubicBezTo>
                  <a:cubicBezTo>
                    <a:pt x="75" y="62"/>
                    <a:pt x="74" y="63"/>
                    <a:pt x="74" y="63"/>
                  </a:cubicBezTo>
                  <a:cubicBezTo>
                    <a:pt x="74" y="64"/>
                    <a:pt x="74" y="64"/>
                    <a:pt x="73" y="64"/>
                  </a:cubicBezTo>
                  <a:cubicBezTo>
                    <a:pt x="73" y="65"/>
                    <a:pt x="73" y="65"/>
                    <a:pt x="72" y="65"/>
                  </a:cubicBezTo>
                  <a:cubicBezTo>
                    <a:pt x="72" y="66"/>
                    <a:pt x="71" y="66"/>
                    <a:pt x="70" y="67"/>
                  </a:cubicBezTo>
                  <a:cubicBezTo>
                    <a:pt x="70" y="68"/>
                    <a:pt x="69" y="69"/>
                    <a:pt x="68" y="70"/>
                  </a:cubicBezTo>
                  <a:cubicBezTo>
                    <a:pt x="68" y="70"/>
                    <a:pt x="68" y="71"/>
                    <a:pt x="67" y="71"/>
                  </a:cubicBezTo>
                  <a:cubicBezTo>
                    <a:pt x="67" y="70"/>
                    <a:pt x="67" y="69"/>
                    <a:pt x="67" y="69"/>
                  </a:cubicBezTo>
                  <a:cubicBezTo>
                    <a:pt x="67" y="67"/>
                    <a:pt x="67" y="66"/>
                    <a:pt x="67" y="64"/>
                  </a:cubicBezTo>
                  <a:cubicBezTo>
                    <a:pt x="68" y="63"/>
                    <a:pt x="68" y="62"/>
                    <a:pt x="68" y="60"/>
                  </a:cubicBezTo>
                  <a:cubicBezTo>
                    <a:pt x="69" y="60"/>
                    <a:pt x="69" y="59"/>
                    <a:pt x="70" y="59"/>
                  </a:cubicBezTo>
                  <a:cubicBezTo>
                    <a:pt x="70" y="58"/>
                    <a:pt x="70" y="57"/>
                    <a:pt x="71" y="56"/>
                  </a:cubicBezTo>
                  <a:cubicBezTo>
                    <a:pt x="71" y="56"/>
                    <a:pt x="72" y="55"/>
                    <a:pt x="72" y="54"/>
                  </a:cubicBezTo>
                  <a:cubicBezTo>
                    <a:pt x="73" y="53"/>
                    <a:pt x="73" y="53"/>
                    <a:pt x="74" y="52"/>
                  </a:cubicBezTo>
                  <a:cubicBezTo>
                    <a:pt x="75" y="50"/>
                    <a:pt x="76" y="49"/>
                    <a:pt x="77" y="48"/>
                  </a:cubicBezTo>
                  <a:cubicBezTo>
                    <a:pt x="78" y="47"/>
                    <a:pt x="79" y="47"/>
                    <a:pt x="79" y="47"/>
                  </a:cubicBezTo>
                  <a:cubicBezTo>
                    <a:pt x="80" y="46"/>
                    <a:pt x="80" y="46"/>
                    <a:pt x="81" y="45"/>
                  </a:cubicBezTo>
                  <a:cubicBezTo>
                    <a:pt x="81" y="45"/>
                    <a:pt x="82" y="45"/>
                    <a:pt x="83" y="44"/>
                  </a:cubicBezTo>
                  <a:cubicBezTo>
                    <a:pt x="83" y="43"/>
                    <a:pt x="84" y="43"/>
                    <a:pt x="84" y="42"/>
                  </a:cubicBezTo>
                  <a:cubicBezTo>
                    <a:pt x="85" y="41"/>
                    <a:pt x="85" y="40"/>
                    <a:pt x="86" y="40"/>
                  </a:cubicBezTo>
                  <a:cubicBezTo>
                    <a:pt x="88" y="39"/>
                    <a:pt x="90" y="40"/>
                    <a:pt x="91" y="39"/>
                  </a:cubicBezTo>
                  <a:cubicBezTo>
                    <a:pt x="92" y="38"/>
                    <a:pt x="92" y="38"/>
                    <a:pt x="92" y="37"/>
                  </a:cubicBezTo>
                  <a:cubicBezTo>
                    <a:pt x="93" y="37"/>
                    <a:pt x="93" y="37"/>
                    <a:pt x="93" y="36"/>
                  </a:cubicBezTo>
                  <a:cubicBezTo>
                    <a:pt x="92" y="36"/>
                    <a:pt x="91" y="35"/>
                    <a:pt x="91" y="35"/>
                  </a:cubicBezTo>
                  <a:cubicBezTo>
                    <a:pt x="89" y="34"/>
                    <a:pt x="88" y="34"/>
                    <a:pt x="87" y="34"/>
                  </a:cubicBezTo>
                  <a:cubicBezTo>
                    <a:pt x="86" y="35"/>
                    <a:pt x="84" y="34"/>
                    <a:pt x="83" y="35"/>
                  </a:cubicBezTo>
                  <a:cubicBezTo>
                    <a:pt x="82" y="35"/>
                    <a:pt x="82" y="35"/>
                    <a:pt x="81" y="35"/>
                  </a:cubicBezTo>
                  <a:cubicBezTo>
                    <a:pt x="80" y="35"/>
                    <a:pt x="79" y="35"/>
                    <a:pt x="78" y="35"/>
                  </a:cubicBezTo>
                  <a:cubicBezTo>
                    <a:pt x="77" y="36"/>
                    <a:pt x="76" y="36"/>
                    <a:pt x="75" y="37"/>
                  </a:cubicBezTo>
                  <a:cubicBezTo>
                    <a:pt x="74" y="37"/>
                    <a:pt x="73" y="38"/>
                    <a:pt x="73" y="38"/>
                  </a:cubicBezTo>
                  <a:cubicBezTo>
                    <a:pt x="72" y="38"/>
                    <a:pt x="71" y="39"/>
                    <a:pt x="70" y="39"/>
                  </a:cubicBezTo>
                  <a:cubicBezTo>
                    <a:pt x="69" y="40"/>
                    <a:pt x="68" y="41"/>
                    <a:pt x="68" y="42"/>
                  </a:cubicBezTo>
                  <a:cubicBezTo>
                    <a:pt x="67" y="43"/>
                    <a:pt x="67" y="44"/>
                    <a:pt x="66" y="44"/>
                  </a:cubicBezTo>
                  <a:cubicBezTo>
                    <a:pt x="65" y="45"/>
                    <a:pt x="64" y="46"/>
                    <a:pt x="63" y="46"/>
                  </a:cubicBezTo>
                  <a:cubicBezTo>
                    <a:pt x="63" y="47"/>
                    <a:pt x="63" y="47"/>
                    <a:pt x="62" y="47"/>
                  </a:cubicBezTo>
                  <a:cubicBezTo>
                    <a:pt x="62" y="48"/>
                    <a:pt x="61" y="48"/>
                    <a:pt x="61" y="48"/>
                  </a:cubicBezTo>
                  <a:cubicBezTo>
                    <a:pt x="60" y="48"/>
                    <a:pt x="60" y="49"/>
                    <a:pt x="60" y="49"/>
                  </a:cubicBezTo>
                  <a:cubicBezTo>
                    <a:pt x="59" y="49"/>
                    <a:pt x="59" y="49"/>
                    <a:pt x="58" y="49"/>
                  </a:cubicBezTo>
                  <a:cubicBezTo>
                    <a:pt x="58" y="50"/>
                    <a:pt x="58" y="50"/>
                    <a:pt x="58" y="50"/>
                  </a:cubicBezTo>
                  <a:cubicBezTo>
                    <a:pt x="57" y="50"/>
                    <a:pt x="57" y="51"/>
                    <a:pt x="57" y="51"/>
                  </a:cubicBezTo>
                  <a:cubicBezTo>
                    <a:pt x="56" y="51"/>
                    <a:pt x="56" y="52"/>
                    <a:pt x="55" y="52"/>
                  </a:cubicBezTo>
                  <a:cubicBezTo>
                    <a:pt x="54" y="53"/>
                    <a:pt x="53" y="53"/>
                    <a:pt x="53" y="54"/>
                  </a:cubicBezTo>
                  <a:cubicBezTo>
                    <a:pt x="52" y="54"/>
                    <a:pt x="52" y="55"/>
                    <a:pt x="52" y="55"/>
                  </a:cubicBezTo>
                  <a:cubicBezTo>
                    <a:pt x="52" y="56"/>
                    <a:pt x="51" y="57"/>
                    <a:pt x="51" y="57"/>
                  </a:cubicBezTo>
                  <a:cubicBezTo>
                    <a:pt x="50" y="58"/>
                    <a:pt x="50" y="58"/>
                    <a:pt x="49" y="59"/>
                  </a:cubicBezTo>
                  <a:cubicBezTo>
                    <a:pt x="49" y="59"/>
                    <a:pt x="48" y="59"/>
                    <a:pt x="47" y="59"/>
                  </a:cubicBezTo>
                  <a:cubicBezTo>
                    <a:pt x="47" y="60"/>
                    <a:pt x="46" y="60"/>
                    <a:pt x="45" y="60"/>
                  </a:cubicBezTo>
                  <a:cubicBezTo>
                    <a:pt x="45" y="60"/>
                    <a:pt x="44" y="60"/>
                    <a:pt x="43" y="61"/>
                  </a:cubicBezTo>
                  <a:cubicBezTo>
                    <a:pt x="42" y="61"/>
                    <a:pt x="41" y="62"/>
                    <a:pt x="40" y="63"/>
                  </a:cubicBezTo>
                  <a:cubicBezTo>
                    <a:pt x="38" y="65"/>
                    <a:pt x="36" y="66"/>
                    <a:pt x="33" y="67"/>
                  </a:cubicBezTo>
                  <a:cubicBezTo>
                    <a:pt x="32" y="67"/>
                    <a:pt x="31" y="67"/>
                    <a:pt x="29" y="68"/>
                  </a:cubicBezTo>
                  <a:cubicBezTo>
                    <a:pt x="28" y="68"/>
                    <a:pt x="27" y="68"/>
                    <a:pt x="26" y="68"/>
                  </a:cubicBezTo>
                  <a:cubicBezTo>
                    <a:pt x="24" y="68"/>
                    <a:pt x="22" y="68"/>
                    <a:pt x="22" y="69"/>
                  </a:cubicBezTo>
                  <a:cubicBezTo>
                    <a:pt x="21" y="69"/>
                    <a:pt x="20" y="69"/>
                    <a:pt x="20" y="70"/>
                  </a:cubicBezTo>
                  <a:cubicBezTo>
                    <a:pt x="20" y="70"/>
                    <a:pt x="19" y="70"/>
                    <a:pt x="19" y="71"/>
                  </a:cubicBezTo>
                  <a:cubicBezTo>
                    <a:pt x="18" y="72"/>
                    <a:pt x="16" y="74"/>
                    <a:pt x="15" y="74"/>
                  </a:cubicBezTo>
                  <a:cubicBezTo>
                    <a:pt x="14" y="75"/>
                    <a:pt x="12" y="76"/>
                    <a:pt x="11" y="77"/>
                  </a:cubicBezTo>
                  <a:cubicBezTo>
                    <a:pt x="11" y="77"/>
                    <a:pt x="7" y="78"/>
                    <a:pt x="5" y="78"/>
                  </a:cubicBezTo>
                  <a:cubicBezTo>
                    <a:pt x="4" y="78"/>
                    <a:pt x="2" y="79"/>
                    <a:pt x="1" y="80"/>
                  </a:cubicBezTo>
                  <a:cubicBezTo>
                    <a:pt x="1" y="80"/>
                    <a:pt x="0" y="80"/>
                    <a:pt x="0" y="80"/>
                  </a:cubicBezTo>
                  <a:cubicBezTo>
                    <a:pt x="0" y="82"/>
                    <a:pt x="0" y="82"/>
                    <a:pt x="0" y="82"/>
                  </a:cubicBezTo>
                  <a:lnTo>
                    <a:pt x="3" y="82"/>
                  </a:lnTo>
                  <a:close/>
                  <a:moveTo>
                    <a:pt x="240" y="313"/>
                  </a:moveTo>
                  <a:cubicBezTo>
                    <a:pt x="240" y="312"/>
                    <a:pt x="241" y="311"/>
                    <a:pt x="241" y="311"/>
                  </a:cubicBezTo>
                  <a:cubicBezTo>
                    <a:pt x="241" y="310"/>
                    <a:pt x="242" y="308"/>
                    <a:pt x="242" y="308"/>
                  </a:cubicBezTo>
                  <a:cubicBezTo>
                    <a:pt x="242" y="307"/>
                    <a:pt x="243" y="306"/>
                    <a:pt x="243" y="306"/>
                  </a:cubicBezTo>
                  <a:cubicBezTo>
                    <a:pt x="243" y="306"/>
                    <a:pt x="249" y="301"/>
                    <a:pt x="249" y="301"/>
                  </a:cubicBezTo>
                  <a:cubicBezTo>
                    <a:pt x="249" y="300"/>
                    <a:pt x="249" y="298"/>
                    <a:pt x="249" y="297"/>
                  </a:cubicBezTo>
                  <a:cubicBezTo>
                    <a:pt x="249" y="297"/>
                    <a:pt x="250" y="295"/>
                    <a:pt x="250" y="295"/>
                  </a:cubicBezTo>
                  <a:cubicBezTo>
                    <a:pt x="250" y="295"/>
                    <a:pt x="251" y="294"/>
                    <a:pt x="251" y="293"/>
                  </a:cubicBezTo>
                  <a:cubicBezTo>
                    <a:pt x="251" y="293"/>
                    <a:pt x="251" y="291"/>
                    <a:pt x="251" y="291"/>
                  </a:cubicBezTo>
                  <a:cubicBezTo>
                    <a:pt x="251" y="290"/>
                    <a:pt x="251" y="289"/>
                    <a:pt x="251" y="289"/>
                  </a:cubicBezTo>
                  <a:cubicBezTo>
                    <a:pt x="254" y="286"/>
                    <a:pt x="254" y="286"/>
                    <a:pt x="254" y="286"/>
                  </a:cubicBezTo>
                  <a:cubicBezTo>
                    <a:pt x="257" y="285"/>
                    <a:pt x="257" y="285"/>
                    <a:pt x="257" y="285"/>
                  </a:cubicBezTo>
                  <a:cubicBezTo>
                    <a:pt x="257" y="285"/>
                    <a:pt x="258" y="285"/>
                    <a:pt x="258" y="284"/>
                  </a:cubicBezTo>
                  <a:cubicBezTo>
                    <a:pt x="258" y="284"/>
                    <a:pt x="259" y="283"/>
                    <a:pt x="259" y="283"/>
                  </a:cubicBezTo>
                  <a:cubicBezTo>
                    <a:pt x="259" y="283"/>
                    <a:pt x="259" y="282"/>
                    <a:pt x="260" y="281"/>
                  </a:cubicBezTo>
                  <a:cubicBezTo>
                    <a:pt x="260" y="281"/>
                    <a:pt x="260" y="280"/>
                    <a:pt x="260" y="280"/>
                  </a:cubicBezTo>
                  <a:cubicBezTo>
                    <a:pt x="261" y="280"/>
                    <a:pt x="260" y="278"/>
                    <a:pt x="260" y="276"/>
                  </a:cubicBezTo>
                  <a:cubicBezTo>
                    <a:pt x="261" y="275"/>
                    <a:pt x="261" y="276"/>
                    <a:pt x="262" y="275"/>
                  </a:cubicBezTo>
                  <a:cubicBezTo>
                    <a:pt x="263" y="275"/>
                    <a:pt x="263" y="275"/>
                    <a:pt x="263" y="275"/>
                  </a:cubicBezTo>
                  <a:cubicBezTo>
                    <a:pt x="263" y="275"/>
                    <a:pt x="263" y="274"/>
                    <a:pt x="263" y="274"/>
                  </a:cubicBezTo>
                  <a:cubicBezTo>
                    <a:pt x="263" y="273"/>
                    <a:pt x="263" y="272"/>
                    <a:pt x="263" y="271"/>
                  </a:cubicBezTo>
                  <a:cubicBezTo>
                    <a:pt x="263" y="271"/>
                    <a:pt x="264" y="271"/>
                    <a:pt x="264" y="271"/>
                  </a:cubicBezTo>
                  <a:cubicBezTo>
                    <a:pt x="265" y="271"/>
                    <a:pt x="265" y="270"/>
                    <a:pt x="265" y="270"/>
                  </a:cubicBezTo>
                  <a:cubicBezTo>
                    <a:pt x="266" y="270"/>
                    <a:pt x="266" y="270"/>
                    <a:pt x="267" y="270"/>
                  </a:cubicBezTo>
                  <a:cubicBezTo>
                    <a:pt x="267" y="270"/>
                    <a:pt x="269" y="270"/>
                    <a:pt x="269" y="270"/>
                  </a:cubicBezTo>
                  <a:cubicBezTo>
                    <a:pt x="269" y="271"/>
                    <a:pt x="269" y="271"/>
                    <a:pt x="268" y="271"/>
                  </a:cubicBezTo>
                  <a:cubicBezTo>
                    <a:pt x="268" y="271"/>
                    <a:pt x="268" y="272"/>
                    <a:pt x="268" y="273"/>
                  </a:cubicBezTo>
                  <a:cubicBezTo>
                    <a:pt x="269" y="273"/>
                    <a:pt x="269" y="274"/>
                    <a:pt x="269" y="274"/>
                  </a:cubicBezTo>
                  <a:cubicBezTo>
                    <a:pt x="269" y="274"/>
                    <a:pt x="269" y="275"/>
                    <a:pt x="270" y="275"/>
                  </a:cubicBezTo>
                  <a:cubicBezTo>
                    <a:pt x="270" y="275"/>
                    <a:pt x="272" y="273"/>
                    <a:pt x="272" y="273"/>
                  </a:cubicBezTo>
                  <a:cubicBezTo>
                    <a:pt x="276" y="253"/>
                    <a:pt x="276" y="253"/>
                    <a:pt x="276" y="253"/>
                  </a:cubicBezTo>
                  <a:cubicBezTo>
                    <a:pt x="276" y="253"/>
                    <a:pt x="275" y="253"/>
                    <a:pt x="275" y="252"/>
                  </a:cubicBezTo>
                  <a:cubicBezTo>
                    <a:pt x="275" y="252"/>
                    <a:pt x="274" y="251"/>
                    <a:pt x="274" y="250"/>
                  </a:cubicBezTo>
                  <a:cubicBezTo>
                    <a:pt x="274" y="249"/>
                    <a:pt x="274" y="249"/>
                    <a:pt x="274" y="248"/>
                  </a:cubicBezTo>
                  <a:cubicBezTo>
                    <a:pt x="273" y="246"/>
                    <a:pt x="273" y="245"/>
                    <a:pt x="273" y="244"/>
                  </a:cubicBezTo>
                  <a:cubicBezTo>
                    <a:pt x="273" y="243"/>
                    <a:pt x="272" y="242"/>
                    <a:pt x="272" y="241"/>
                  </a:cubicBezTo>
                  <a:cubicBezTo>
                    <a:pt x="272" y="240"/>
                    <a:pt x="272" y="239"/>
                    <a:pt x="272" y="238"/>
                  </a:cubicBezTo>
                  <a:cubicBezTo>
                    <a:pt x="272" y="237"/>
                    <a:pt x="271" y="236"/>
                    <a:pt x="271" y="236"/>
                  </a:cubicBezTo>
                  <a:cubicBezTo>
                    <a:pt x="271" y="234"/>
                    <a:pt x="271" y="233"/>
                    <a:pt x="271" y="232"/>
                  </a:cubicBezTo>
                  <a:cubicBezTo>
                    <a:pt x="271" y="231"/>
                    <a:pt x="271" y="231"/>
                    <a:pt x="271" y="230"/>
                  </a:cubicBezTo>
                  <a:cubicBezTo>
                    <a:pt x="271" y="230"/>
                    <a:pt x="271" y="229"/>
                    <a:pt x="271" y="229"/>
                  </a:cubicBezTo>
                  <a:cubicBezTo>
                    <a:pt x="271" y="228"/>
                    <a:pt x="270" y="228"/>
                    <a:pt x="270" y="227"/>
                  </a:cubicBezTo>
                  <a:cubicBezTo>
                    <a:pt x="270" y="227"/>
                    <a:pt x="270" y="226"/>
                    <a:pt x="270" y="225"/>
                  </a:cubicBezTo>
                  <a:cubicBezTo>
                    <a:pt x="270" y="224"/>
                    <a:pt x="270" y="222"/>
                    <a:pt x="270" y="221"/>
                  </a:cubicBezTo>
                  <a:cubicBezTo>
                    <a:pt x="269" y="220"/>
                    <a:pt x="269" y="218"/>
                    <a:pt x="269" y="217"/>
                  </a:cubicBezTo>
                  <a:cubicBezTo>
                    <a:pt x="269" y="216"/>
                    <a:pt x="269" y="215"/>
                    <a:pt x="268" y="214"/>
                  </a:cubicBezTo>
                  <a:cubicBezTo>
                    <a:pt x="268" y="214"/>
                    <a:pt x="268" y="214"/>
                    <a:pt x="268" y="213"/>
                  </a:cubicBezTo>
                  <a:cubicBezTo>
                    <a:pt x="267" y="212"/>
                    <a:pt x="267" y="211"/>
                    <a:pt x="267" y="210"/>
                  </a:cubicBezTo>
                  <a:cubicBezTo>
                    <a:pt x="266" y="209"/>
                    <a:pt x="266" y="209"/>
                    <a:pt x="265" y="208"/>
                  </a:cubicBezTo>
                  <a:cubicBezTo>
                    <a:pt x="265" y="208"/>
                    <a:pt x="265" y="207"/>
                    <a:pt x="265" y="207"/>
                  </a:cubicBezTo>
                  <a:cubicBezTo>
                    <a:pt x="264" y="207"/>
                    <a:pt x="264" y="207"/>
                    <a:pt x="264" y="206"/>
                  </a:cubicBezTo>
                  <a:cubicBezTo>
                    <a:pt x="263" y="206"/>
                    <a:pt x="262" y="206"/>
                    <a:pt x="262" y="205"/>
                  </a:cubicBezTo>
                  <a:cubicBezTo>
                    <a:pt x="260" y="205"/>
                    <a:pt x="258" y="203"/>
                    <a:pt x="257" y="205"/>
                  </a:cubicBezTo>
                  <a:cubicBezTo>
                    <a:pt x="256" y="205"/>
                    <a:pt x="256" y="206"/>
                    <a:pt x="255" y="206"/>
                  </a:cubicBezTo>
                  <a:cubicBezTo>
                    <a:pt x="255" y="207"/>
                    <a:pt x="254" y="207"/>
                    <a:pt x="253" y="207"/>
                  </a:cubicBezTo>
                  <a:cubicBezTo>
                    <a:pt x="253" y="207"/>
                    <a:pt x="252" y="207"/>
                    <a:pt x="252" y="207"/>
                  </a:cubicBezTo>
                  <a:cubicBezTo>
                    <a:pt x="251" y="207"/>
                    <a:pt x="251" y="207"/>
                    <a:pt x="251" y="208"/>
                  </a:cubicBezTo>
                  <a:cubicBezTo>
                    <a:pt x="250" y="208"/>
                    <a:pt x="250" y="207"/>
                    <a:pt x="249" y="207"/>
                  </a:cubicBezTo>
                  <a:cubicBezTo>
                    <a:pt x="249" y="208"/>
                    <a:pt x="248" y="207"/>
                    <a:pt x="247" y="208"/>
                  </a:cubicBezTo>
                  <a:cubicBezTo>
                    <a:pt x="247" y="208"/>
                    <a:pt x="247" y="208"/>
                    <a:pt x="247" y="209"/>
                  </a:cubicBezTo>
                  <a:cubicBezTo>
                    <a:pt x="247" y="209"/>
                    <a:pt x="247" y="209"/>
                    <a:pt x="246" y="209"/>
                  </a:cubicBezTo>
                  <a:cubicBezTo>
                    <a:pt x="246" y="209"/>
                    <a:pt x="246" y="209"/>
                    <a:pt x="246" y="210"/>
                  </a:cubicBezTo>
                  <a:cubicBezTo>
                    <a:pt x="246" y="210"/>
                    <a:pt x="246" y="211"/>
                    <a:pt x="245" y="211"/>
                  </a:cubicBezTo>
                  <a:cubicBezTo>
                    <a:pt x="244" y="211"/>
                    <a:pt x="242" y="210"/>
                    <a:pt x="242" y="211"/>
                  </a:cubicBezTo>
                  <a:cubicBezTo>
                    <a:pt x="242" y="211"/>
                    <a:pt x="242" y="212"/>
                    <a:pt x="243" y="212"/>
                  </a:cubicBezTo>
                  <a:cubicBezTo>
                    <a:pt x="243" y="212"/>
                    <a:pt x="243" y="212"/>
                    <a:pt x="244" y="212"/>
                  </a:cubicBezTo>
                  <a:cubicBezTo>
                    <a:pt x="244" y="212"/>
                    <a:pt x="244" y="212"/>
                    <a:pt x="244" y="213"/>
                  </a:cubicBezTo>
                  <a:cubicBezTo>
                    <a:pt x="244" y="213"/>
                    <a:pt x="244" y="213"/>
                    <a:pt x="244" y="213"/>
                  </a:cubicBezTo>
                  <a:cubicBezTo>
                    <a:pt x="243" y="214"/>
                    <a:pt x="243" y="214"/>
                    <a:pt x="242" y="214"/>
                  </a:cubicBezTo>
                  <a:cubicBezTo>
                    <a:pt x="242" y="215"/>
                    <a:pt x="242" y="215"/>
                    <a:pt x="242" y="215"/>
                  </a:cubicBezTo>
                  <a:cubicBezTo>
                    <a:pt x="242" y="215"/>
                    <a:pt x="242" y="216"/>
                    <a:pt x="242" y="216"/>
                  </a:cubicBezTo>
                  <a:cubicBezTo>
                    <a:pt x="241" y="216"/>
                    <a:pt x="241" y="217"/>
                    <a:pt x="241" y="217"/>
                  </a:cubicBezTo>
                  <a:cubicBezTo>
                    <a:pt x="241" y="218"/>
                    <a:pt x="241" y="219"/>
                    <a:pt x="240" y="220"/>
                  </a:cubicBezTo>
                  <a:cubicBezTo>
                    <a:pt x="239" y="220"/>
                    <a:pt x="238" y="220"/>
                    <a:pt x="237" y="221"/>
                  </a:cubicBezTo>
                  <a:cubicBezTo>
                    <a:pt x="237" y="221"/>
                    <a:pt x="237" y="221"/>
                    <a:pt x="237" y="222"/>
                  </a:cubicBezTo>
                  <a:cubicBezTo>
                    <a:pt x="237" y="222"/>
                    <a:pt x="237" y="222"/>
                    <a:pt x="236" y="223"/>
                  </a:cubicBezTo>
                  <a:cubicBezTo>
                    <a:pt x="235" y="224"/>
                    <a:pt x="234" y="225"/>
                    <a:pt x="233" y="226"/>
                  </a:cubicBezTo>
                  <a:cubicBezTo>
                    <a:pt x="233" y="226"/>
                    <a:pt x="232" y="226"/>
                    <a:pt x="232" y="226"/>
                  </a:cubicBezTo>
                  <a:cubicBezTo>
                    <a:pt x="232" y="226"/>
                    <a:pt x="232" y="226"/>
                    <a:pt x="231" y="226"/>
                  </a:cubicBezTo>
                  <a:cubicBezTo>
                    <a:pt x="231" y="226"/>
                    <a:pt x="230" y="226"/>
                    <a:pt x="229" y="226"/>
                  </a:cubicBezTo>
                  <a:cubicBezTo>
                    <a:pt x="229" y="225"/>
                    <a:pt x="229" y="225"/>
                    <a:pt x="229" y="225"/>
                  </a:cubicBezTo>
                  <a:cubicBezTo>
                    <a:pt x="228" y="225"/>
                    <a:pt x="228" y="225"/>
                    <a:pt x="228" y="225"/>
                  </a:cubicBezTo>
                  <a:cubicBezTo>
                    <a:pt x="227" y="225"/>
                    <a:pt x="227" y="224"/>
                    <a:pt x="226" y="224"/>
                  </a:cubicBezTo>
                  <a:cubicBezTo>
                    <a:pt x="226" y="223"/>
                    <a:pt x="225" y="223"/>
                    <a:pt x="225" y="222"/>
                  </a:cubicBezTo>
                  <a:cubicBezTo>
                    <a:pt x="225" y="222"/>
                    <a:pt x="224" y="222"/>
                    <a:pt x="224" y="221"/>
                  </a:cubicBezTo>
                  <a:cubicBezTo>
                    <a:pt x="224" y="220"/>
                    <a:pt x="224" y="219"/>
                    <a:pt x="224" y="218"/>
                  </a:cubicBezTo>
                  <a:cubicBezTo>
                    <a:pt x="224" y="217"/>
                    <a:pt x="224" y="216"/>
                    <a:pt x="224" y="215"/>
                  </a:cubicBezTo>
                  <a:cubicBezTo>
                    <a:pt x="224" y="214"/>
                    <a:pt x="225" y="213"/>
                    <a:pt x="224" y="213"/>
                  </a:cubicBezTo>
                  <a:cubicBezTo>
                    <a:pt x="224" y="212"/>
                    <a:pt x="224" y="212"/>
                    <a:pt x="225" y="212"/>
                  </a:cubicBezTo>
                  <a:cubicBezTo>
                    <a:pt x="225" y="212"/>
                    <a:pt x="225" y="211"/>
                    <a:pt x="225" y="211"/>
                  </a:cubicBezTo>
                  <a:cubicBezTo>
                    <a:pt x="225" y="210"/>
                    <a:pt x="225" y="210"/>
                    <a:pt x="225" y="210"/>
                  </a:cubicBezTo>
                  <a:cubicBezTo>
                    <a:pt x="226" y="209"/>
                    <a:pt x="226" y="209"/>
                    <a:pt x="226" y="209"/>
                  </a:cubicBezTo>
                  <a:cubicBezTo>
                    <a:pt x="227" y="209"/>
                    <a:pt x="227" y="208"/>
                    <a:pt x="227" y="208"/>
                  </a:cubicBezTo>
                  <a:cubicBezTo>
                    <a:pt x="228" y="208"/>
                    <a:pt x="229" y="208"/>
                    <a:pt x="229" y="208"/>
                  </a:cubicBezTo>
                  <a:cubicBezTo>
                    <a:pt x="230" y="208"/>
                    <a:pt x="232" y="208"/>
                    <a:pt x="232" y="207"/>
                  </a:cubicBezTo>
                  <a:cubicBezTo>
                    <a:pt x="233" y="207"/>
                    <a:pt x="232" y="206"/>
                    <a:pt x="233" y="205"/>
                  </a:cubicBezTo>
                  <a:cubicBezTo>
                    <a:pt x="233" y="205"/>
                    <a:pt x="233" y="205"/>
                    <a:pt x="234" y="205"/>
                  </a:cubicBezTo>
                  <a:cubicBezTo>
                    <a:pt x="235" y="205"/>
                    <a:pt x="235" y="204"/>
                    <a:pt x="236" y="204"/>
                  </a:cubicBezTo>
                  <a:cubicBezTo>
                    <a:pt x="236" y="204"/>
                    <a:pt x="236" y="199"/>
                    <a:pt x="237" y="199"/>
                  </a:cubicBezTo>
                  <a:cubicBezTo>
                    <a:pt x="237" y="199"/>
                    <a:pt x="237" y="199"/>
                    <a:pt x="237" y="199"/>
                  </a:cubicBezTo>
                  <a:cubicBezTo>
                    <a:pt x="237" y="197"/>
                    <a:pt x="237" y="196"/>
                    <a:pt x="238" y="195"/>
                  </a:cubicBezTo>
                  <a:cubicBezTo>
                    <a:pt x="238" y="195"/>
                    <a:pt x="239" y="194"/>
                    <a:pt x="239" y="194"/>
                  </a:cubicBezTo>
                  <a:cubicBezTo>
                    <a:pt x="240" y="194"/>
                    <a:pt x="240" y="194"/>
                    <a:pt x="240" y="195"/>
                  </a:cubicBezTo>
                  <a:cubicBezTo>
                    <a:pt x="241" y="195"/>
                    <a:pt x="242" y="194"/>
                    <a:pt x="242" y="194"/>
                  </a:cubicBezTo>
                  <a:cubicBezTo>
                    <a:pt x="243" y="193"/>
                    <a:pt x="244" y="192"/>
                    <a:pt x="244" y="191"/>
                  </a:cubicBezTo>
                  <a:cubicBezTo>
                    <a:pt x="245" y="190"/>
                    <a:pt x="245" y="189"/>
                    <a:pt x="245" y="188"/>
                  </a:cubicBezTo>
                  <a:cubicBezTo>
                    <a:pt x="245" y="188"/>
                    <a:pt x="245" y="187"/>
                    <a:pt x="245" y="187"/>
                  </a:cubicBezTo>
                  <a:cubicBezTo>
                    <a:pt x="245" y="186"/>
                    <a:pt x="245" y="186"/>
                    <a:pt x="245" y="186"/>
                  </a:cubicBezTo>
                  <a:cubicBezTo>
                    <a:pt x="245" y="185"/>
                    <a:pt x="245" y="184"/>
                    <a:pt x="245" y="183"/>
                  </a:cubicBezTo>
                  <a:cubicBezTo>
                    <a:pt x="245" y="182"/>
                    <a:pt x="245" y="181"/>
                    <a:pt x="246" y="180"/>
                  </a:cubicBezTo>
                  <a:cubicBezTo>
                    <a:pt x="246" y="180"/>
                    <a:pt x="246" y="180"/>
                    <a:pt x="246" y="180"/>
                  </a:cubicBezTo>
                  <a:cubicBezTo>
                    <a:pt x="246" y="179"/>
                    <a:pt x="246" y="179"/>
                    <a:pt x="246" y="179"/>
                  </a:cubicBezTo>
                  <a:cubicBezTo>
                    <a:pt x="246" y="177"/>
                    <a:pt x="246" y="176"/>
                    <a:pt x="246" y="175"/>
                  </a:cubicBezTo>
                  <a:cubicBezTo>
                    <a:pt x="246" y="174"/>
                    <a:pt x="247" y="174"/>
                    <a:pt x="247" y="173"/>
                  </a:cubicBezTo>
                  <a:cubicBezTo>
                    <a:pt x="247" y="173"/>
                    <a:pt x="247" y="172"/>
                    <a:pt x="247" y="171"/>
                  </a:cubicBezTo>
                  <a:cubicBezTo>
                    <a:pt x="247" y="171"/>
                    <a:pt x="247" y="170"/>
                    <a:pt x="247" y="169"/>
                  </a:cubicBezTo>
                  <a:cubicBezTo>
                    <a:pt x="247" y="169"/>
                    <a:pt x="246" y="168"/>
                    <a:pt x="246" y="167"/>
                  </a:cubicBezTo>
                  <a:cubicBezTo>
                    <a:pt x="246" y="167"/>
                    <a:pt x="246" y="166"/>
                    <a:pt x="246" y="166"/>
                  </a:cubicBezTo>
                  <a:cubicBezTo>
                    <a:pt x="245" y="165"/>
                    <a:pt x="245" y="165"/>
                    <a:pt x="245" y="165"/>
                  </a:cubicBezTo>
                  <a:cubicBezTo>
                    <a:pt x="245" y="164"/>
                    <a:pt x="244" y="163"/>
                    <a:pt x="244" y="163"/>
                  </a:cubicBezTo>
                  <a:cubicBezTo>
                    <a:pt x="244" y="163"/>
                    <a:pt x="243" y="163"/>
                    <a:pt x="243" y="163"/>
                  </a:cubicBezTo>
                  <a:cubicBezTo>
                    <a:pt x="243" y="163"/>
                    <a:pt x="243" y="162"/>
                    <a:pt x="242" y="162"/>
                  </a:cubicBezTo>
                  <a:cubicBezTo>
                    <a:pt x="242" y="161"/>
                    <a:pt x="241" y="161"/>
                    <a:pt x="241" y="160"/>
                  </a:cubicBezTo>
                  <a:cubicBezTo>
                    <a:pt x="241" y="159"/>
                    <a:pt x="241" y="158"/>
                    <a:pt x="241" y="157"/>
                  </a:cubicBezTo>
                  <a:cubicBezTo>
                    <a:pt x="240" y="157"/>
                    <a:pt x="240" y="157"/>
                    <a:pt x="240" y="157"/>
                  </a:cubicBezTo>
                  <a:cubicBezTo>
                    <a:pt x="241" y="156"/>
                    <a:pt x="241" y="156"/>
                    <a:pt x="241" y="156"/>
                  </a:cubicBezTo>
                  <a:cubicBezTo>
                    <a:pt x="242" y="156"/>
                    <a:pt x="243" y="155"/>
                    <a:pt x="243" y="155"/>
                  </a:cubicBezTo>
                  <a:cubicBezTo>
                    <a:pt x="244" y="155"/>
                    <a:pt x="244" y="155"/>
                    <a:pt x="244" y="155"/>
                  </a:cubicBezTo>
                  <a:cubicBezTo>
                    <a:pt x="244" y="155"/>
                    <a:pt x="245" y="155"/>
                    <a:pt x="245" y="155"/>
                  </a:cubicBezTo>
                  <a:cubicBezTo>
                    <a:pt x="245" y="155"/>
                    <a:pt x="246" y="155"/>
                    <a:pt x="246" y="155"/>
                  </a:cubicBezTo>
                  <a:cubicBezTo>
                    <a:pt x="246" y="155"/>
                    <a:pt x="246" y="154"/>
                    <a:pt x="246" y="154"/>
                  </a:cubicBezTo>
                  <a:cubicBezTo>
                    <a:pt x="246" y="153"/>
                    <a:pt x="246" y="153"/>
                    <a:pt x="245" y="152"/>
                  </a:cubicBezTo>
                  <a:cubicBezTo>
                    <a:pt x="245" y="151"/>
                    <a:pt x="245" y="151"/>
                    <a:pt x="244" y="151"/>
                  </a:cubicBezTo>
                  <a:cubicBezTo>
                    <a:pt x="244" y="150"/>
                    <a:pt x="244" y="150"/>
                    <a:pt x="244" y="149"/>
                  </a:cubicBezTo>
                  <a:cubicBezTo>
                    <a:pt x="243" y="149"/>
                    <a:pt x="243" y="149"/>
                    <a:pt x="243" y="148"/>
                  </a:cubicBezTo>
                  <a:cubicBezTo>
                    <a:pt x="243" y="148"/>
                    <a:pt x="243" y="147"/>
                    <a:pt x="242" y="147"/>
                  </a:cubicBezTo>
                  <a:cubicBezTo>
                    <a:pt x="242" y="147"/>
                    <a:pt x="242" y="147"/>
                    <a:pt x="242" y="147"/>
                  </a:cubicBezTo>
                  <a:cubicBezTo>
                    <a:pt x="242" y="146"/>
                    <a:pt x="242" y="146"/>
                    <a:pt x="242" y="146"/>
                  </a:cubicBezTo>
                  <a:cubicBezTo>
                    <a:pt x="242" y="146"/>
                    <a:pt x="242" y="146"/>
                    <a:pt x="242" y="146"/>
                  </a:cubicBezTo>
                  <a:cubicBezTo>
                    <a:pt x="242" y="145"/>
                    <a:pt x="242" y="145"/>
                    <a:pt x="242" y="144"/>
                  </a:cubicBezTo>
                  <a:cubicBezTo>
                    <a:pt x="242" y="144"/>
                    <a:pt x="242" y="144"/>
                    <a:pt x="242" y="143"/>
                  </a:cubicBezTo>
                  <a:cubicBezTo>
                    <a:pt x="241" y="143"/>
                    <a:pt x="241" y="143"/>
                    <a:pt x="241" y="143"/>
                  </a:cubicBezTo>
                  <a:cubicBezTo>
                    <a:pt x="240" y="143"/>
                    <a:pt x="240" y="142"/>
                    <a:pt x="240" y="142"/>
                  </a:cubicBezTo>
                  <a:cubicBezTo>
                    <a:pt x="239" y="142"/>
                    <a:pt x="239" y="142"/>
                    <a:pt x="238" y="142"/>
                  </a:cubicBezTo>
                  <a:cubicBezTo>
                    <a:pt x="237" y="142"/>
                    <a:pt x="236" y="141"/>
                    <a:pt x="235" y="140"/>
                  </a:cubicBezTo>
                  <a:cubicBezTo>
                    <a:pt x="234" y="139"/>
                    <a:pt x="233" y="138"/>
                    <a:pt x="232" y="138"/>
                  </a:cubicBezTo>
                  <a:cubicBezTo>
                    <a:pt x="231" y="138"/>
                    <a:pt x="229" y="139"/>
                    <a:pt x="229" y="138"/>
                  </a:cubicBezTo>
                  <a:cubicBezTo>
                    <a:pt x="228" y="138"/>
                    <a:pt x="228" y="137"/>
                    <a:pt x="228" y="137"/>
                  </a:cubicBezTo>
                  <a:cubicBezTo>
                    <a:pt x="227" y="137"/>
                    <a:pt x="227" y="137"/>
                    <a:pt x="226" y="137"/>
                  </a:cubicBezTo>
                  <a:cubicBezTo>
                    <a:pt x="226" y="136"/>
                    <a:pt x="225" y="135"/>
                    <a:pt x="225" y="135"/>
                  </a:cubicBezTo>
                  <a:cubicBezTo>
                    <a:pt x="224" y="134"/>
                    <a:pt x="223" y="134"/>
                    <a:pt x="222" y="134"/>
                  </a:cubicBezTo>
                  <a:cubicBezTo>
                    <a:pt x="221" y="134"/>
                    <a:pt x="218" y="134"/>
                    <a:pt x="218" y="133"/>
                  </a:cubicBezTo>
                  <a:cubicBezTo>
                    <a:pt x="217" y="131"/>
                    <a:pt x="216" y="130"/>
                    <a:pt x="215" y="129"/>
                  </a:cubicBezTo>
                  <a:cubicBezTo>
                    <a:pt x="215" y="128"/>
                    <a:pt x="214" y="127"/>
                    <a:pt x="212" y="127"/>
                  </a:cubicBezTo>
                  <a:cubicBezTo>
                    <a:pt x="212" y="127"/>
                    <a:pt x="212" y="127"/>
                    <a:pt x="211" y="127"/>
                  </a:cubicBezTo>
                  <a:cubicBezTo>
                    <a:pt x="211" y="127"/>
                    <a:pt x="211" y="127"/>
                    <a:pt x="211" y="126"/>
                  </a:cubicBezTo>
                  <a:cubicBezTo>
                    <a:pt x="210" y="126"/>
                    <a:pt x="209" y="126"/>
                    <a:pt x="209" y="126"/>
                  </a:cubicBezTo>
                  <a:cubicBezTo>
                    <a:pt x="209" y="126"/>
                    <a:pt x="208" y="126"/>
                    <a:pt x="208" y="126"/>
                  </a:cubicBezTo>
                  <a:cubicBezTo>
                    <a:pt x="208" y="127"/>
                    <a:pt x="208" y="127"/>
                    <a:pt x="208" y="127"/>
                  </a:cubicBezTo>
                  <a:cubicBezTo>
                    <a:pt x="208" y="127"/>
                    <a:pt x="207" y="127"/>
                    <a:pt x="207" y="127"/>
                  </a:cubicBezTo>
                  <a:cubicBezTo>
                    <a:pt x="206" y="127"/>
                    <a:pt x="206" y="126"/>
                    <a:pt x="205" y="126"/>
                  </a:cubicBezTo>
                  <a:cubicBezTo>
                    <a:pt x="205" y="126"/>
                    <a:pt x="204" y="126"/>
                    <a:pt x="204" y="125"/>
                  </a:cubicBezTo>
                  <a:cubicBezTo>
                    <a:pt x="203" y="125"/>
                    <a:pt x="203" y="124"/>
                    <a:pt x="202" y="124"/>
                  </a:cubicBezTo>
                  <a:cubicBezTo>
                    <a:pt x="202" y="124"/>
                    <a:pt x="202" y="123"/>
                    <a:pt x="201" y="123"/>
                  </a:cubicBezTo>
                  <a:cubicBezTo>
                    <a:pt x="201" y="123"/>
                    <a:pt x="200" y="123"/>
                    <a:pt x="199" y="122"/>
                  </a:cubicBezTo>
                  <a:cubicBezTo>
                    <a:pt x="199" y="122"/>
                    <a:pt x="198" y="122"/>
                    <a:pt x="198" y="121"/>
                  </a:cubicBezTo>
                  <a:cubicBezTo>
                    <a:pt x="198" y="121"/>
                    <a:pt x="197" y="121"/>
                    <a:pt x="197" y="121"/>
                  </a:cubicBezTo>
                  <a:cubicBezTo>
                    <a:pt x="197" y="121"/>
                    <a:pt x="197" y="121"/>
                    <a:pt x="196" y="120"/>
                  </a:cubicBezTo>
                  <a:cubicBezTo>
                    <a:pt x="196" y="120"/>
                    <a:pt x="196" y="120"/>
                    <a:pt x="195" y="120"/>
                  </a:cubicBezTo>
                  <a:cubicBezTo>
                    <a:pt x="195" y="120"/>
                    <a:pt x="195" y="120"/>
                    <a:pt x="195" y="120"/>
                  </a:cubicBezTo>
                  <a:cubicBezTo>
                    <a:pt x="195" y="121"/>
                    <a:pt x="194" y="121"/>
                    <a:pt x="194" y="121"/>
                  </a:cubicBezTo>
                  <a:cubicBezTo>
                    <a:pt x="193" y="121"/>
                    <a:pt x="192" y="121"/>
                    <a:pt x="191" y="121"/>
                  </a:cubicBezTo>
                  <a:cubicBezTo>
                    <a:pt x="190" y="121"/>
                    <a:pt x="189" y="121"/>
                    <a:pt x="188" y="121"/>
                  </a:cubicBezTo>
                  <a:cubicBezTo>
                    <a:pt x="187" y="121"/>
                    <a:pt x="187" y="121"/>
                    <a:pt x="187" y="122"/>
                  </a:cubicBezTo>
                  <a:cubicBezTo>
                    <a:pt x="187" y="122"/>
                    <a:pt x="188" y="122"/>
                    <a:pt x="188" y="122"/>
                  </a:cubicBezTo>
                  <a:cubicBezTo>
                    <a:pt x="188" y="123"/>
                    <a:pt x="189" y="123"/>
                    <a:pt x="189" y="124"/>
                  </a:cubicBezTo>
                  <a:cubicBezTo>
                    <a:pt x="189" y="124"/>
                    <a:pt x="189" y="125"/>
                    <a:pt x="188" y="125"/>
                  </a:cubicBezTo>
                  <a:cubicBezTo>
                    <a:pt x="188" y="126"/>
                    <a:pt x="187" y="126"/>
                    <a:pt x="187" y="127"/>
                  </a:cubicBezTo>
                  <a:cubicBezTo>
                    <a:pt x="186" y="127"/>
                    <a:pt x="186" y="127"/>
                    <a:pt x="186" y="127"/>
                  </a:cubicBezTo>
                  <a:cubicBezTo>
                    <a:pt x="186" y="128"/>
                    <a:pt x="185" y="128"/>
                    <a:pt x="185" y="128"/>
                  </a:cubicBezTo>
                  <a:cubicBezTo>
                    <a:pt x="185" y="129"/>
                    <a:pt x="184" y="129"/>
                    <a:pt x="183" y="130"/>
                  </a:cubicBezTo>
                  <a:cubicBezTo>
                    <a:pt x="183" y="131"/>
                    <a:pt x="183" y="132"/>
                    <a:pt x="183" y="133"/>
                  </a:cubicBezTo>
                  <a:cubicBezTo>
                    <a:pt x="183" y="133"/>
                    <a:pt x="183" y="133"/>
                    <a:pt x="183" y="134"/>
                  </a:cubicBezTo>
                  <a:cubicBezTo>
                    <a:pt x="183" y="134"/>
                    <a:pt x="184" y="134"/>
                    <a:pt x="184" y="134"/>
                  </a:cubicBezTo>
                  <a:cubicBezTo>
                    <a:pt x="184" y="135"/>
                    <a:pt x="184" y="135"/>
                    <a:pt x="184" y="135"/>
                  </a:cubicBezTo>
                  <a:cubicBezTo>
                    <a:pt x="184" y="136"/>
                    <a:pt x="185" y="136"/>
                    <a:pt x="185" y="137"/>
                  </a:cubicBezTo>
                  <a:cubicBezTo>
                    <a:pt x="186" y="137"/>
                    <a:pt x="186" y="137"/>
                    <a:pt x="187" y="138"/>
                  </a:cubicBezTo>
                  <a:cubicBezTo>
                    <a:pt x="187" y="138"/>
                    <a:pt x="188" y="138"/>
                    <a:pt x="188" y="139"/>
                  </a:cubicBezTo>
                  <a:cubicBezTo>
                    <a:pt x="189" y="139"/>
                    <a:pt x="189" y="139"/>
                    <a:pt x="189" y="140"/>
                  </a:cubicBezTo>
                  <a:cubicBezTo>
                    <a:pt x="189" y="140"/>
                    <a:pt x="189" y="140"/>
                    <a:pt x="189" y="140"/>
                  </a:cubicBezTo>
                  <a:cubicBezTo>
                    <a:pt x="188" y="140"/>
                    <a:pt x="186" y="140"/>
                    <a:pt x="185" y="140"/>
                  </a:cubicBezTo>
                  <a:cubicBezTo>
                    <a:pt x="185" y="140"/>
                    <a:pt x="184" y="140"/>
                    <a:pt x="184" y="140"/>
                  </a:cubicBezTo>
                  <a:cubicBezTo>
                    <a:pt x="183" y="140"/>
                    <a:pt x="183" y="140"/>
                    <a:pt x="183" y="141"/>
                  </a:cubicBezTo>
                  <a:cubicBezTo>
                    <a:pt x="182" y="141"/>
                    <a:pt x="182" y="141"/>
                    <a:pt x="181" y="141"/>
                  </a:cubicBezTo>
                  <a:cubicBezTo>
                    <a:pt x="180" y="141"/>
                    <a:pt x="180" y="141"/>
                    <a:pt x="179" y="141"/>
                  </a:cubicBezTo>
                  <a:cubicBezTo>
                    <a:pt x="179" y="141"/>
                    <a:pt x="179" y="142"/>
                    <a:pt x="179" y="142"/>
                  </a:cubicBezTo>
                  <a:cubicBezTo>
                    <a:pt x="178" y="143"/>
                    <a:pt x="177" y="143"/>
                    <a:pt x="177" y="144"/>
                  </a:cubicBezTo>
                  <a:cubicBezTo>
                    <a:pt x="177" y="144"/>
                    <a:pt x="176" y="145"/>
                    <a:pt x="176" y="145"/>
                  </a:cubicBezTo>
                  <a:cubicBezTo>
                    <a:pt x="175" y="146"/>
                    <a:pt x="174" y="147"/>
                    <a:pt x="173" y="148"/>
                  </a:cubicBezTo>
                  <a:cubicBezTo>
                    <a:pt x="173" y="148"/>
                    <a:pt x="173" y="149"/>
                    <a:pt x="173" y="149"/>
                  </a:cubicBezTo>
                  <a:cubicBezTo>
                    <a:pt x="173" y="150"/>
                    <a:pt x="173" y="150"/>
                    <a:pt x="173" y="151"/>
                  </a:cubicBezTo>
                  <a:cubicBezTo>
                    <a:pt x="173" y="151"/>
                    <a:pt x="173" y="151"/>
                    <a:pt x="173" y="151"/>
                  </a:cubicBezTo>
                  <a:cubicBezTo>
                    <a:pt x="174" y="152"/>
                    <a:pt x="174" y="152"/>
                    <a:pt x="174" y="152"/>
                  </a:cubicBezTo>
                  <a:cubicBezTo>
                    <a:pt x="174" y="153"/>
                    <a:pt x="174" y="153"/>
                    <a:pt x="174" y="154"/>
                  </a:cubicBezTo>
                  <a:cubicBezTo>
                    <a:pt x="173" y="154"/>
                    <a:pt x="173" y="154"/>
                    <a:pt x="173" y="155"/>
                  </a:cubicBezTo>
                  <a:cubicBezTo>
                    <a:pt x="173" y="156"/>
                    <a:pt x="173" y="157"/>
                    <a:pt x="173" y="158"/>
                  </a:cubicBezTo>
                  <a:cubicBezTo>
                    <a:pt x="173" y="160"/>
                    <a:pt x="174" y="161"/>
                    <a:pt x="173" y="163"/>
                  </a:cubicBezTo>
                  <a:cubicBezTo>
                    <a:pt x="173" y="163"/>
                    <a:pt x="173" y="163"/>
                    <a:pt x="173" y="164"/>
                  </a:cubicBezTo>
                  <a:cubicBezTo>
                    <a:pt x="172" y="164"/>
                    <a:pt x="172" y="164"/>
                    <a:pt x="172" y="164"/>
                  </a:cubicBezTo>
                  <a:cubicBezTo>
                    <a:pt x="172" y="165"/>
                    <a:pt x="172" y="165"/>
                    <a:pt x="172" y="165"/>
                  </a:cubicBezTo>
                  <a:cubicBezTo>
                    <a:pt x="172" y="166"/>
                    <a:pt x="171" y="166"/>
                    <a:pt x="171" y="166"/>
                  </a:cubicBezTo>
                  <a:cubicBezTo>
                    <a:pt x="171" y="167"/>
                    <a:pt x="171" y="167"/>
                    <a:pt x="171" y="167"/>
                  </a:cubicBezTo>
                  <a:cubicBezTo>
                    <a:pt x="170" y="167"/>
                    <a:pt x="170" y="168"/>
                    <a:pt x="170" y="168"/>
                  </a:cubicBezTo>
                  <a:cubicBezTo>
                    <a:pt x="170" y="169"/>
                    <a:pt x="170" y="169"/>
                    <a:pt x="170" y="169"/>
                  </a:cubicBezTo>
                  <a:cubicBezTo>
                    <a:pt x="169" y="170"/>
                    <a:pt x="169" y="170"/>
                    <a:pt x="169" y="171"/>
                  </a:cubicBezTo>
                  <a:cubicBezTo>
                    <a:pt x="168" y="171"/>
                    <a:pt x="167" y="170"/>
                    <a:pt x="167" y="170"/>
                  </a:cubicBezTo>
                  <a:cubicBezTo>
                    <a:pt x="167" y="169"/>
                    <a:pt x="168" y="169"/>
                    <a:pt x="168" y="169"/>
                  </a:cubicBezTo>
                  <a:cubicBezTo>
                    <a:pt x="168" y="168"/>
                    <a:pt x="168" y="168"/>
                    <a:pt x="168" y="167"/>
                  </a:cubicBezTo>
                  <a:cubicBezTo>
                    <a:pt x="169" y="167"/>
                    <a:pt x="169" y="166"/>
                    <a:pt x="169" y="166"/>
                  </a:cubicBezTo>
                  <a:cubicBezTo>
                    <a:pt x="169" y="165"/>
                    <a:pt x="169" y="165"/>
                    <a:pt x="169" y="164"/>
                  </a:cubicBezTo>
                  <a:cubicBezTo>
                    <a:pt x="169" y="164"/>
                    <a:pt x="169" y="163"/>
                    <a:pt x="169" y="162"/>
                  </a:cubicBezTo>
                  <a:cubicBezTo>
                    <a:pt x="169" y="162"/>
                    <a:pt x="170" y="162"/>
                    <a:pt x="170" y="161"/>
                  </a:cubicBezTo>
                  <a:cubicBezTo>
                    <a:pt x="170" y="161"/>
                    <a:pt x="170" y="160"/>
                    <a:pt x="170" y="160"/>
                  </a:cubicBezTo>
                  <a:cubicBezTo>
                    <a:pt x="170" y="159"/>
                    <a:pt x="170" y="159"/>
                    <a:pt x="170" y="159"/>
                  </a:cubicBezTo>
                  <a:cubicBezTo>
                    <a:pt x="169" y="160"/>
                    <a:pt x="169" y="162"/>
                    <a:pt x="169" y="163"/>
                  </a:cubicBezTo>
                  <a:cubicBezTo>
                    <a:pt x="169" y="164"/>
                    <a:pt x="168" y="164"/>
                    <a:pt x="168" y="165"/>
                  </a:cubicBezTo>
                  <a:cubicBezTo>
                    <a:pt x="168" y="166"/>
                    <a:pt x="168" y="166"/>
                    <a:pt x="168" y="166"/>
                  </a:cubicBezTo>
                  <a:cubicBezTo>
                    <a:pt x="167" y="167"/>
                    <a:pt x="167" y="167"/>
                    <a:pt x="167" y="168"/>
                  </a:cubicBezTo>
                  <a:cubicBezTo>
                    <a:pt x="167" y="168"/>
                    <a:pt x="167" y="168"/>
                    <a:pt x="167" y="168"/>
                  </a:cubicBezTo>
                  <a:cubicBezTo>
                    <a:pt x="166" y="169"/>
                    <a:pt x="166" y="169"/>
                    <a:pt x="166" y="169"/>
                  </a:cubicBezTo>
                  <a:cubicBezTo>
                    <a:pt x="166" y="170"/>
                    <a:pt x="165" y="169"/>
                    <a:pt x="165" y="169"/>
                  </a:cubicBezTo>
                  <a:cubicBezTo>
                    <a:pt x="165" y="168"/>
                    <a:pt x="165" y="168"/>
                    <a:pt x="165" y="167"/>
                  </a:cubicBezTo>
                  <a:cubicBezTo>
                    <a:pt x="165" y="166"/>
                    <a:pt x="165" y="166"/>
                    <a:pt x="165" y="165"/>
                  </a:cubicBezTo>
                  <a:cubicBezTo>
                    <a:pt x="165" y="165"/>
                    <a:pt x="165" y="164"/>
                    <a:pt x="165" y="164"/>
                  </a:cubicBezTo>
                  <a:cubicBezTo>
                    <a:pt x="165" y="164"/>
                    <a:pt x="165" y="164"/>
                    <a:pt x="166" y="164"/>
                  </a:cubicBezTo>
                  <a:cubicBezTo>
                    <a:pt x="166" y="163"/>
                    <a:pt x="166" y="163"/>
                    <a:pt x="166" y="162"/>
                  </a:cubicBezTo>
                  <a:cubicBezTo>
                    <a:pt x="166" y="162"/>
                    <a:pt x="166" y="161"/>
                    <a:pt x="166" y="161"/>
                  </a:cubicBezTo>
                  <a:cubicBezTo>
                    <a:pt x="166" y="160"/>
                    <a:pt x="165" y="160"/>
                    <a:pt x="165" y="160"/>
                  </a:cubicBezTo>
                  <a:cubicBezTo>
                    <a:pt x="165" y="160"/>
                    <a:pt x="165" y="160"/>
                    <a:pt x="165" y="160"/>
                  </a:cubicBezTo>
                  <a:cubicBezTo>
                    <a:pt x="165" y="159"/>
                    <a:pt x="165" y="159"/>
                    <a:pt x="165" y="158"/>
                  </a:cubicBezTo>
                  <a:cubicBezTo>
                    <a:pt x="166" y="158"/>
                    <a:pt x="166" y="158"/>
                    <a:pt x="167" y="157"/>
                  </a:cubicBezTo>
                  <a:cubicBezTo>
                    <a:pt x="167" y="156"/>
                    <a:pt x="167" y="156"/>
                    <a:pt x="167" y="155"/>
                  </a:cubicBezTo>
                  <a:cubicBezTo>
                    <a:pt x="167" y="155"/>
                    <a:pt x="168" y="154"/>
                    <a:pt x="167" y="154"/>
                  </a:cubicBezTo>
                  <a:cubicBezTo>
                    <a:pt x="167" y="154"/>
                    <a:pt x="167" y="154"/>
                    <a:pt x="167" y="154"/>
                  </a:cubicBezTo>
                  <a:cubicBezTo>
                    <a:pt x="166" y="153"/>
                    <a:pt x="166" y="153"/>
                    <a:pt x="166" y="153"/>
                  </a:cubicBezTo>
                  <a:cubicBezTo>
                    <a:pt x="166" y="153"/>
                    <a:pt x="166" y="152"/>
                    <a:pt x="166" y="152"/>
                  </a:cubicBezTo>
                  <a:cubicBezTo>
                    <a:pt x="166" y="152"/>
                    <a:pt x="165" y="152"/>
                    <a:pt x="165" y="151"/>
                  </a:cubicBezTo>
                  <a:cubicBezTo>
                    <a:pt x="165" y="151"/>
                    <a:pt x="165" y="151"/>
                    <a:pt x="165" y="151"/>
                  </a:cubicBezTo>
                  <a:cubicBezTo>
                    <a:pt x="165" y="150"/>
                    <a:pt x="164" y="151"/>
                    <a:pt x="164" y="151"/>
                  </a:cubicBezTo>
                  <a:cubicBezTo>
                    <a:pt x="164" y="152"/>
                    <a:pt x="164" y="152"/>
                    <a:pt x="164" y="152"/>
                  </a:cubicBezTo>
                  <a:cubicBezTo>
                    <a:pt x="163" y="153"/>
                    <a:pt x="163" y="153"/>
                    <a:pt x="163" y="154"/>
                  </a:cubicBezTo>
                  <a:cubicBezTo>
                    <a:pt x="163" y="154"/>
                    <a:pt x="163" y="154"/>
                    <a:pt x="162" y="155"/>
                  </a:cubicBezTo>
                  <a:cubicBezTo>
                    <a:pt x="162" y="155"/>
                    <a:pt x="162" y="156"/>
                    <a:pt x="162" y="156"/>
                  </a:cubicBezTo>
                  <a:cubicBezTo>
                    <a:pt x="162" y="157"/>
                    <a:pt x="161" y="157"/>
                    <a:pt x="161" y="157"/>
                  </a:cubicBezTo>
                  <a:cubicBezTo>
                    <a:pt x="160" y="158"/>
                    <a:pt x="160" y="159"/>
                    <a:pt x="160" y="159"/>
                  </a:cubicBezTo>
                  <a:cubicBezTo>
                    <a:pt x="160" y="160"/>
                    <a:pt x="160" y="160"/>
                    <a:pt x="159" y="160"/>
                  </a:cubicBezTo>
                  <a:cubicBezTo>
                    <a:pt x="159" y="160"/>
                    <a:pt x="158" y="160"/>
                    <a:pt x="157" y="160"/>
                  </a:cubicBezTo>
                  <a:cubicBezTo>
                    <a:pt x="157" y="160"/>
                    <a:pt x="157" y="160"/>
                    <a:pt x="157" y="160"/>
                  </a:cubicBezTo>
                  <a:cubicBezTo>
                    <a:pt x="156" y="160"/>
                    <a:pt x="156" y="160"/>
                    <a:pt x="156" y="160"/>
                  </a:cubicBezTo>
                  <a:cubicBezTo>
                    <a:pt x="156" y="160"/>
                    <a:pt x="155" y="160"/>
                    <a:pt x="155" y="160"/>
                  </a:cubicBezTo>
                  <a:cubicBezTo>
                    <a:pt x="155" y="160"/>
                    <a:pt x="155" y="161"/>
                    <a:pt x="154" y="161"/>
                  </a:cubicBezTo>
                  <a:cubicBezTo>
                    <a:pt x="154" y="161"/>
                    <a:pt x="154" y="161"/>
                    <a:pt x="153" y="162"/>
                  </a:cubicBezTo>
                  <a:cubicBezTo>
                    <a:pt x="153" y="163"/>
                    <a:pt x="153" y="163"/>
                    <a:pt x="153" y="163"/>
                  </a:cubicBezTo>
                  <a:cubicBezTo>
                    <a:pt x="152" y="163"/>
                    <a:pt x="151" y="163"/>
                    <a:pt x="151" y="163"/>
                  </a:cubicBezTo>
                  <a:cubicBezTo>
                    <a:pt x="150" y="163"/>
                    <a:pt x="150" y="165"/>
                    <a:pt x="150" y="166"/>
                  </a:cubicBezTo>
                  <a:cubicBezTo>
                    <a:pt x="150" y="167"/>
                    <a:pt x="150" y="168"/>
                    <a:pt x="150" y="169"/>
                  </a:cubicBezTo>
                  <a:cubicBezTo>
                    <a:pt x="150" y="169"/>
                    <a:pt x="150" y="170"/>
                    <a:pt x="150" y="170"/>
                  </a:cubicBezTo>
                  <a:cubicBezTo>
                    <a:pt x="149" y="170"/>
                    <a:pt x="150" y="171"/>
                    <a:pt x="149" y="171"/>
                  </a:cubicBezTo>
                  <a:cubicBezTo>
                    <a:pt x="149" y="172"/>
                    <a:pt x="148" y="172"/>
                    <a:pt x="148" y="172"/>
                  </a:cubicBezTo>
                  <a:cubicBezTo>
                    <a:pt x="147" y="172"/>
                    <a:pt x="147" y="172"/>
                    <a:pt x="146" y="172"/>
                  </a:cubicBezTo>
                  <a:cubicBezTo>
                    <a:pt x="146" y="172"/>
                    <a:pt x="145" y="172"/>
                    <a:pt x="145" y="173"/>
                  </a:cubicBezTo>
                  <a:cubicBezTo>
                    <a:pt x="145" y="173"/>
                    <a:pt x="144" y="173"/>
                    <a:pt x="144" y="173"/>
                  </a:cubicBezTo>
                  <a:cubicBezTo>
                    <a:pt x="144" y="174"/>
                    <a:pt x="144" y="174"/>
                    <a:pt x="144" y="175"/>
                  </a:cubicBezTo>
                  <a:cubicBezTo>
                    <a:pt x="144" y="175"/>
                    <a:pt x="144" y="175"/>
                    <a:pt x="144" y="176"/>
                  </a:cubicBezTo>
                  <a:cubicBezTo>
                    <a:pt x="144" y="176"/>
                    <a:pt x="144" y="176"/>
                    <a:pt x="144" y="176"/>
                  </a:cubicBezTo>
                  <a:cubicBezTo>
                    <a:pt x="145" y="176"/>
                    <a:pt x="145" y="177"/>
                    <a:pt x="145" y="178"/>
                  </a:cubicBezTo>
                  <a:cubicBezTo>
                    <a:pt x="145" y="179"/>
                    <a:pt x="145" y="180"/>
                    <a:pt x="145" y="181"/>
                  </a:cubicBezTo>
                  <a:cubicBezTo>
                    <a:pt x="145" y="182"/>
                    <a:pt x="145" y="182"/>
                    <a:pt x="144" y="183"/>
                  </a:cubicBezTo>
                  <a:cubicBezTo>
                    <a:pt x="144" y="184"/>
                    <a:pt x="144" y="185"/>
                    <a:pt x="144" y="185"/>
                  </a:cubicBezTo>
                  <a:cubicBezTo>
                    <a:pt x="144" y="188"/>
                    <a:pt x="144" y="188"/>
                    <a:pt x="144" y="188"/>
                  </a:cubicBezTo>
                  <a:cubicBezTo>
                    <a:pt x="144" y="188"/>
                    <a:pt x="144" y="189"/>
                    <a:pt x="143" y="190"/>
                  </a:cubicBezTo>
                  <a:cubicBezTo>
                    <a:pt x="143" y="190"/>
                    <a:pt x="143" y="191"/>
                    <a:pt x="142" y="191"/>
                  </a:cubicBezTo>
                  <a:cubicBezTo>
                    <a:pt x="142" y="191"/>
                    <a:pt x="142" y="192"/>
                    <a:pt x="142" y="192"/>
                  </a:cubicBezTo>
                  <a:cubicBezTo>
                    <a:pt x="142" y="192"/>
                    <a:pt x="142" y="193"/>
                    <a:pt x="142" y="193"/>
                  </a:cubicBezTo>
                  <a:cubicBezTo>
                    <a:pt x="142" y="193"/>
                    <a:pt x="142" y="193"/>
                    <a:pt x="141" y="194"/>
                  </a:cubicBezTo>
                  <a:cubicBezTo>
                    <a:pt x="141" y="194"/>
                    <a:pt x="141" y="195"/>
                    <a:pt x="141" y="196"/>
                  </a:cubicBezTo>
                  <a:cubicBezTo>
                    <a:pt x="140" y="196"/>
                    <a:pt x="140" y="197"/>
                    <a:pt x="139" y="197"/>
                  </a:cubicBezTo>
                  <a:cubicBezTo>
                    <a:pt x="139" y="197"/>
                    <a:pt x="139" y="198"/>
                    <a:pt x="139" y="198"/>
                  </a:cubicBezTo>
                  <a:cubicBezTo>
                    <a:pt x="138" y="199"/>
                    <a:pt x="138" y="199"/>
                    <a:pt x="138" y="199"/>
                  </a:cubicBezTo>
                  <a:cubicBezTo>
                    <a:pt x="137" y="200"/>
                    <a:pt x="137" y="200"/>
                    <a:pt x="137" y="201"/>
                  </a:cubicBezTo>
                  <a:cubicBezTo>
                    <a:pt x="137" y="201"/>
                    <a:pt x="136" y="202"/>
                    <a:pt x="136" y="202"/>
                  </a:cubicBezTo>
                  <a:cubicBezTo>
                    <a:pt x="135" y="202"/>
                    <a:pt x="136" y="203"/>
                    <a:pt x="135" y="203"/>
                  </a:cubicBezTo>
                  <a:cubicBezTo>
                    <a:pt x="135" y="203"/>
                    <a:pt x="135" y="204"/>
                    <a:pt x="135" y="204"/>
                  </a:cubicBezTo>
                  <a:cubicBezTo>
                    <a:pt x="135" y="205"/>
                    <a:pt x="136" y="205"/>
                    <a:pt x="136" y="205"/>
                  </a:cubicBezTo>
                  <a:cubicBezTo>
                    <a:pt x="136" y="206"/>
                    <a:pt x="136" y="206"/>
                    <a:pt x="136" y="207"/>
                  </a:cubicBezTo>
                  <a:cubicBezTo>
                    <a:pt x="137" y="207"/>
                    <a:pt x="137" y="208"/>
                    <a:pt x="137" y="209"/>
                  </a:cubicBezTo>
                  <a:cubicBezTo>
                    <a:pt x="137" y="209"/>
                    <a:pt x="137" y="210"/>
                    <a:pt x="137" y="211"/>
                  </a:cubicBezTo>
                  <a:cubicBezTo>
                    <a:pt x="137" y="211"/>
                    <a:pt x="137" y="212"/>
                    <a:pt x="137" y="213"/>
                  </a:cubicBezTo>
                  <a:cubicBezTo>
                    <a:pt x="137" y="214"/>
                    <a:pt x="137" y="214"/>
                    <a:pt x="137" y="214"/>
                  </a:cubicBezTo>
                  <a:cubicBezTo>
                    <a:pt x="137" y="215"/>
                    <a:pt x="138" y="216"/>
                    <a:pt x="137" y="217"/>
                  </a:cubicBezTo>
                  <a:cubicBezTo>
                    <a:pt x="137" y="217"/>
                    <a:pt x="137" y="218"/>
                    <a:pt x="136" y="218"/>
                  </a:cubicBezTo>
                  <a:cubicBezTo>
                    <a:pt x="136" y="219"/>
                    <a:pt x="136" y="219"/>
                    <a:pt x="135" y="220"/>
                  </a:cubicBezTo>
                  <a:cubicBezTo>
                    <a:pt x="135" y="221"/>
                    <a:pt x="134" y="222"/>
                    <a:pt x="134" y="223"/>
                  </a:cubicBezTo>
                  <a:cubicBezTo>
                    <a:pt x="134" y="225"/>
                    <a:pt x="134" y="226"/>
                    <a:pt x="134" y="227"/>
                  </a:cubicBezTo>
                  <a:cubicBezTo>
                    <a:pt x="135" y="228"/>
                    <a:pt x="135" y="229"/>
                    <a:pt x="136" y="230"/>
                  </a:cubicBezTo>
                  <a:cubicBezTo>
                    <a:pt x="136" y="231"/>
                    <a:pt x="136" y="232"/>
                    <a:pt x="137" y="233"/>
                  </a:cubicBezTo>
                  <a:cubicBezTo>
                    <a:pt x="138" y="235"/>
                    <a:pt x="138" y="237"/>
                    <a:pt x="139" y="239"/>
                  </a:cubicBezTo>
                  <a:cubicBezTo>
                    <a:pt x="140" y="240"/>
                    <a:pt x="140" y="241"/>
                    <a:pt x="140" y="242"/>
                  </a:cubicBezTo>
                  <a:cubicBezTo>
                    <a:pt x="141" y="243"/>
                    <a:pt x="141" y="244"/>
                    <a:pt x="141" y="244"/>
                  </a:cubicBezTo>
                  <a:cubicBezTo>
                    <a:pt x="141" y="245"/>
                    <a:pt x="141" y="245"/>
                    <a:pt x="142" y="245"/>
                  </a:cubicBezTo>
                  <a:cubicBezTo>
                    <a:pt x="142" y="246"/>
                    <a:pt x="142" y="246"/>
                    <a:pt x="142" y="247"/>
                  </a:cubicBezTo>
                  <a:cubicBezTo>
                    <a:pt x="142" y="247"/>
                    <a:pt x="143" y="248"/>
                    <a:pt x="143" y="249"/>
                  </a:cubicBezTo>
                  <a:cubicBezTo>
                    <a:pt x="143" y="250"/>
                    <a:pt x="144" y="251"/>
                    <a:pt x="144" y="251"/>
                  </a:cubicBezTo>
                  <a:cubicBezTo>
                    <a:pt x="144" y="253"/>
                    <a:pt x="145" y="254"/>
                    <a:pt x="145" y="256"/>
                  </a:cubicBezTo>
                  <a:cubicBezTo>
                    <a:pt x="145" y="256"/>
                    <a:pt x="145" y="256"/>
                    <a:pt x="145" y="256"/>
                  </a:cubicBezTo>
                  <a:cubicBezTo>
                    <a:pt x="145" y="268"/>
                    <a:pt x="145" y="268"/>
                    <a:pt x="145" y="268"/>
                  </a:cubicBezTo>
                  <a:cubicBezTo>
                    <a:pt x="145" y="268"/>
                    <a:pt x="145" y="269"/>
                    <a:pt x="145" y="269"/>
                  </a:cubicBezTo>
                  <a:cubicBezTo>
                    <a:pt x="145" y="270"/>
                    <a:pt x="145" y="270"/>
                    <a:pt x="145" y="271"/>
                  </a:cubicBezTo>
                  <a:cubicBezTo>
                    <a:pt x="144" y="272"/>
                    <a:pt x="144" y="273"/>
                    <a:pt x="144" y="275"/>
                  </a:cubicBezTo>
                  <a:cubicBezTo>
                    <a:pt x="144" y="276"/>
                    <a:pt x="144" y="277"/>
                    <a:pt x="144" y="278"/>
                  </a:cubicBezTo>
                  <a:cubicBezTo>
                    <a:pt x="143" y="279"/>
                    <a:pt x="143" y="280"/>
                    <a:pt x="143" y="281"/>
                  </a:cubicBezTo>
                  <a:cubicBezTo>
                    <a:pt x="143" y="282"/>
                    <a:pt x="143" y="282"/>
                    <a:pt x="142" y="283"/>
                  </a:cubicBezTo>
                  <a:cubicBezTo>
                    <a:pt x="142" y="284"/>
                    <a:pt x="142" y="285"/>
                    <a:pt x="141" y="286"/>
                  </a:cubicBezTo>
                  <a:cubicBezTo>
                    <a:pt x="141" y="287"/>
                    <a:pt x="140" y="288"/>
                    <a:pt x="139" y="290"/>
                  </a:cubicBezTo>
                  <a:cubicBezTo>
                    <a:pt x="139" y="290"/>
                    <a:pt x="139" y="291"/>
                    <a:pt x="138" y="291"/>
                  </a:cubicBezTo>
                  <a:cubicBezTo>
                    <a:pt x="138" y="292"/>
                    <a:pt x="138" y="292"/>
                    <a:pt x="138" y="293"/>
                  </a:cubicBezTo>
                  <a:cubicBezTo>
                    <a:pt x="137" y="293"/>
                    <a:pt x="137" y="293"/>
                    <a:pt x="137" y="294"/>
                  </a:cubicBezTo>
                  <a:cubicBezTo>
                    <a:pt x="137" y="294"/>
                    <a:pt x="136" y="294"/>
                    <a:pt x="136" y="295"/>
                  </a:cubicBezTo>
                  <a:cubicBezTo>
                    <a:pt x="135" y="296"/>
                    <a:pt x="136" y="297"/>
                    <a:pt x="135" y="298"/>
                  </a:cubicBezTo>
                  <a:cubicBezTo>
                    <a:pt x="134" y="299"/>
                    <a:pt x="134" y="299"/>
                    <a:pt x="133" y="300"/>
                  </a:cubicBezTo>
                  <a:cubicBezTo>
                    <a:pt x="133" y="300"/>
                    <a:pt x="133" y="301"/>
                    <a:pt x="132" y="302"/>
                  </a:cubicBezTo>
                  <a:cubicBezTo>
                    <a:pt x="132" y="303"/>
                    <a:pt x="132" y="303"/>
                    <a:pt x="132" y="304"/>
                  </a:cubicBezTo>
                  <a:cubicBezTo>
                    <a:pt x="131" y="305"/>
                    <a:pt x="131" y="306"/>
                    <a:pt x="130" y="307"/>
                  </a:cubicBezTo>
                  <a:cubicBezTo>
                    <a:pt x="130" y="308"/>
                    <a:pt x="128" y="308"/>
                    <a:pt x="127" y="310"/>
                  </a:cubicBezTo>
                  <a:cubicBezTo>
                    <a:pt x="127" y="310"/>
                    <a:pt x="126" y="311"/>
                    <a:pt x="126" y="311"/>
                  </a:cubicBezTo>
                  <a:cubicBezTo>
                    <a:pt x="126" y="311"/>
                    <a:pt x="125" y="311"/>
                    <a:pt x="125" y="312"/>
                  </a:cubicBezTo>
                  <a:cubicBezTo>
                    <a:pt x="194" y="312"/>
                    <a:pt x="194" y="312"/>
                    <a:pt x="194" y="312"/>
                  </a:cubicBezTo>
                  <a:cubicBezTo>
                    <a:pt x="194" y="315"/>
                    <a:pt x="194" y="315"/>
                    <a:pt x="194" y="315"/>
                  </a:cubicBezTo>
                  <a:cubicBezTo>
                    <a:pt x="240" y="313"/>
                    <a:pt x="240" y="313"/>
                    <a:pt x="240" y="313"/>
                  </a:cubicBezTo>
                  <a:cubicBezTo>
                    <a:pt x="240" y="313"/>
                    <a:pt x="240" y="313"/>
                    <a:pt x="240" y="313"/>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4" name="Freeform 37">
              <a:extLst>
                <a:ext uri="{FF2B5EF4-FFF2-40B4-BE49-F238E27FC236}">
                  <a16:creationId xmlns:a16="http://schemas.microsoft.com/office/drawing/2014/main" id="{CDF72ADB-D28B-35C5-2755-7D3350CC37DD}"/>
                </a:ext>
              </a:extLst>
            </p:cNvPr>
            <p:cNvSpPr>
              <a:spLocks noEditPoints="1"/>
            </p:cNvSpPr>
            <p:nvPr/>
          </p:nvSpPr>
          <p:spPr bwMode="auto">
            <a:xfrm>
              <a:off x="9523459" y="2165966"/>
              <a:ext cx="490705" cy="305657"/>
            </a:xfrm>
            <a:custGeom>
              <a:avLst/>
              <a:gdLst>
                <a:gd name="T0" fmla="*/ 94 w 124"/>
                <a:gd name="T1" fmla="*/ 71 h 77"/>
                <a:gd name="T2" fmla="*/ 100 w 124"/>
                <a:gd name="T3" fmla="*/ 66 h 77"/>
                <a:gd name="T4" fmla="*/ 103 w 124"/>
                <a:gd name="T5" fmla="*/ 68 h 77"/>
                <a:gd name="T6" fmla="*/ 106 w 124"/>
                <a:gd name="T7" fmla="*/ 70 h 77"/>
                <a:gd name="T8" fmla="*/ 100 w 124"/>
                <a:gd name="T9" fmla="*/ 71 h 77"/>
                <a:gd name="T10" fmla="*/ 95 w 124"/>
                <a:gd name="T11" fmla="*/ 74 h 77"/>
                <a:gd name="T12" fmla="*/ 120 w 124"/>
                <a:gd name="T13" fmla="*/ 76 h 77"/>
                <a:gd name="T14" fmla="*/ 121 w 124"/>
                <a:gd name="T15" fmla="*/ 75 h 77"/>
                <a:gd name="T16" fmla="*/ 118 w 124"/>
                <a:gd name="T17" fmla="*/ 74 h 77"/>
                <a:gd name="T18" fmla="*/ 124 w 124"/>
                <a:gd name="T19" fmla="*/ 47 h 77"/>
                <a:gd name="T20" fmla="*/ 122 w 124"/>
                <a:gd name="T21" fmla="*/ 43 h 77"/>
                <a:gd name="T22" fmla="*/ 120 w 124"/>
                <a:gd name="T23" fmla="*/ 40 h 77"/>
                <a:gd name="T24" fmla="*/ 118 w 124"/>
                <a:gd name="T25" fmla="*/ 38 h 77"/>
                <a:gd name="T26" fmla="*/ 117 w 124"/>
                <a:gd name="T27" fmla="*/ 39 h 77"/>
                <a:gd name="T28" fmla="*/ 119 w 124"/>
                <a:gd name="T29" fmla="*/ 45 h 77"/>
                <a:gd name="T30" fmla="*/ 121 w 124"/>
                <a:gd name="T31" fmla="*/ 46 h 77"/>
                <a:gd name="T32" fmla="*/ 121 w 124"/>
                <a:gd name="T33" fmla="*/ 51 h 77"/>
                <a:gd name="T34" fmla="*/ 117 w 124"/>
                <a:gd name="T35" fmla="*/ 53 h 77"/>
                <a:gd name="T36" fmla="*/ 113 w 124"/>
                <a:gd name="T37" fmla="*/ 54 h 77"/>
                <a:gd name="T38" fmla="*/ 108 w 124"/>
                <a:gd name="T39" fmla="*/ 53 h 77"/>
                <a:gd name="T40" fmla="*/ 103 w 124"/>
                <a:gd name="T41" fmla="*/ 50 h 77"/>
                <a:gd name="T42" fmla="*/ 102 w 124"/>
                <a:gd name="T43" fmla="*/ 44 h 77"/>
                <a:gd name="T44" fmla="*/ 99 w 124"/>
                <a:gd name="T45" fmla="*/ 43 h 77"/>
                <a:gd name="T46" fmla="*/ 100 w 124"/>
                <a:gd name="T47" fmla="*/ 40 h 77"/>
                <a:gd name="T48" fmla="*/ 96 w 124"/>
                <a:gd name="T49" fmla="*/ 31 h 77"/>
                <a:gd name="T50" fmla="*/ 92 w 124"/>
                <a:gd name="T51" fmla="*/ 29 h 77"/>
                <a:gd name="T52" fmla="*/ 86 w 124"/>
                <a:gd name="T53" fmla="*/ 26 h 77"/>
                <a:gd name="T54" fmla="*/ 89 w 124"/>
                <a:gd name="T55" fmla="*/ 22 h 77"/>
                <a:gd name="T56" fmla="*/ 96 w 124"/>
                <a:gd name="T57" fmla="*/ 15 h 77"/>
                <a:gd name="T58" fmla="*/ 99 w 124"/>
                <a:gd name="T59" fmla="*/ 13 h 77"/>
                <a:gd name="T60" fmla="*/ 98 w 124"/>
                <a:gd name="T61" fmla="*/ 10 h 77"/>
                <a:gd name="T62" fmla="*/ 94 w 124"/>
                <a:gd name="T63" fmla="*/ 7 h 77"/>
                <a:gd name="T64" fmla="*/ 86 w 124"/>
                <a:gd name="T65" fmla="*/ 1 h 77"/>
                <a:gd name="T66" fmla="*/ 80 w 124"/>
                <a:gd name="T67" fmla="*/ 6 h 77"/>
                <a:gd name="T68" fmla="*/ 9 w 124"/>
                <a:gd name="T69" fmla="*/ 6 h 77"/>
                <a:gd name="T70" fmla="*/ 24 w 124"/>
                <a:gd name="T71" fmla="*/ 41 h 77"/>
                <a:gd name="T72" fmla="*/ 74 w 124"/>
                <a:gd name="T73" fmla="*/ 40 h 77"/>
                <a:gd name="T74" fmla="*/ 79 w 124"/>
                <a:gd name="T75" fmla="*/ 54 h 77"/>
                <a:gd name="T76" fmla="*/ 81 w 124"/>
                <a:gd name="T77" fmla="*/ 56 h 77"/>
                <a:gd name="T78" fmla="*/ 85 w 124"/>
                <a:gd name="T79" fmla="*/ 64 h 77"/>
                <a:gd name="T80" fmla="*/ 89 w 124"/>
                <a:gd name="T81" fmla="*/ 63 h 77"/>
                <a:gd name="T82" fmla="*/ 90 w 124"/>
                <a:gd name="T83" fmla="*/ 59 h 77"/>
                <a:gd name="T84" fmla="*/ 95 w 124"/>
                <a:gd name="T85" fmla="*/ 58 h 77"/>
                <a:gd name="T86" fmla="*/ 97 w 124"/>
                <a:gd name="T87" fmla="*/ 54 h 77"/>
                <a:gd name="T88" fmla="*/ 101 w 124"/>
                <a:gd name="T89" fmla="*/ 54 h 77"/>
                <a:gd name="T90" fmla="*/ 100 w 124"/>
                <a:gd name="T91" fmla="*/ 60 h 77"/>
                <a:gd name="T92" fmla="*/ 100 w 124"/>
                <a:gd name="T93" fmla="*/ 63 h 77"/>
                <a:gd name="T94" fmla="*/ 104 w 124"/>
                <a:gd name="T95" fmla="*/ 62 h 77"/>
                <a:gd name="T96" fmla="*/ 107 w 124"/>
                <a:gd name="T97" fmla="*/ 60 h 77"/>
                <a:gd name="T98" fmla="*/ 110 w 124"/>
                <a:gd name="T99" fmla="*/ 59 h 77"/>
                <a:gd name="T100" fmla="*/ 113 w 124"/>
                <a:gd name="T101" fmla="*/ 58 h 77"/>
                <a:gd name="T102" fmla="*/ 117 w 124"/>
                <a:gd name="T103" fmla="*/ 58 h 77"/>
                <a:gd name="T104" fmla="*/ 123 w 124"/>
                <a:gd name="T105" fmla="*/ 57 h 77"/>
                <a:gd name="T106" fmla="*/ 124 w 124"/>
                <a:gd name="T107" fmla="*/ 5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4" h="77">
                  <a:moveTo>
                    <a:pt x="95" y="74"/>
                  </a:moveTo>
                  <a:cubicBezTo>
                    <a:pt x="95" y="73"/>
                    <a:pt x="94" y="73"/>
                    <a:pt x="94" y="72"/>
                  </a:cubicBezTo>
                  <a:cubicBezTo>
                    <a:pt x="93" y="72"/>
                    <a:pt x="93" y="72"/>
                    <a:pt x="93" y="71"/>
                  </a:cubicBezTo>
                  <a:cubicBezTo>
                    <a:pt x="94" y="71"/>
                    <a:pt x="94" y="71"/>
                    <a:pt x="94" y="71"/>
                  </a:cubicBezTo>
                  <a:cubicBezTo>
                    <a:pt x="95" y="71"/>
                    <a:pt x="96" y="71"/>
                    <a:pt x="96" y="70"/>
                  </a:cubicBezTo>
                  <a:cubicBezTo>
                    <a:pt x="97" y="70"/>
                    <a:pt x="97" y="70"/>
                    <a:pt x="97" y="69"/>
                  </a:cubicBezTo>
                  <a:cubicBezTo>
                    <a:pt x="97" y="69"/>
                    <a:pt x="97" y="68"/>
                    <a:pt x="98" y="68"/>
                  </a:cubicBezTo>
                  <a:cubicBezTo>
                    <a:pt x="98" y="67"/>
                    <a:pt x="99" y="67"/>
                    <a:pt x="100" y="66"/>
                  </a:cubicBezTo>
                  <a:cubicBezTo>
                    <a:pt x="100" y="66"/>
                    <a:pt x="101" y="66"/>
                    <a:pt x="101" y="66"/>
                  </a:cubicBezTo>
                  <a:cubicBezTo>
                    <a:pt x="101" y="66"/>
                    <a:pt x="101" y="67"/>
                    <a:pt x="102" y="67"/>
                  </a:cubicBezTo>
                  <a:cubicBezTo>
                    <a:pt x="102" y="67"/>
                    <a:pt x="102" y="67"/>
                    <a:pt x="103" y="67"/>
                  </a:cubicBezTo>
                  <a:cubicBezTo>
                    <a:pt x="103" y="67"/>
                    <a:pt x="103" y="68"/>
                    <a:pt x="103" y="68"/>
                  </a:cubicBezTo>
                  <a:cubicBezTo>
                    <a:pt x="104" y="68"/>
                    <a:pt x="104" y="68"/>
                    <a:pt x="104" y="68"/>
                  </a:cubicBezTo>
                  <a:cubicBezTo>
                    <a:pt x="105" y="68"/>
                    <a:pt x="105" y="69"/>
                    <a:pt x="105" y="69"/>
                  </a:cubicBezTo>
                  <a:cubicBezTo>
                    <a:pt x="105" y="69"/>
                    <a:pt x="105" y="69"/>
                    <a:pt x="105" y="69"/>
                  </a:cubicBezTo>
                  <a:cubicBezTo>
                    <a:pt x="105" y="70"/>
                    <a:pt x="106" y="70"/>
                    <a:pt x="106" y="70"/>
                  </a:cubicBezTo>
                  <a:cubicBezTo>
                    <a:pt x="106" y="70"/>
                    <a:pt x="106" y="71"/>
                    <a:pt x="106" y="71"/>
                  </a:cubicBezTo>
                  <a:cubicBezTo>
                    <a:pt x="106" y="72"/>
                    <a:pt x="105" y="72"/>
                    <a:pt x="105" y="71"/>
                  </a:cubicBezTo>
                  <a:cubicBezTo>
                    <a:pt x="104" y="71"/>
                    <a:pt x="103" y="71"/>
                    <a:pt x="103" y="71"/>
                  </a:cubicBezTo>
                  <a:cubicBezTo>
                    <a:pt x="102" y="71"/>
                    <a:pt x="101" y="71"/>
                    <a:pt x="100" y="71"/>
                  </a:cubicBezTo>
                  <a:cubicBezTo>
                    <a:pt x="99" y="72"/>
                    <a:pt x="99" y="72"/>
                    <a:pt x="98" y="72"/>
                  </a:cubicBezTo>
                  <a:cubicBezTo>
                    <a:pt x="98" y="72"/>
                    <a:pt x="97" y="73"/>
                    <a:pt x="97" y="73"/>
                  </a:cubicBezTo>
                  <a:cubicBezTo>
                    <a:pt x="97" y="73"/>
                    <a:pt x="97" y="73"/>
                    <a:pt x="96" y="73"/>
                  </a:cubicBezTo>
                  <a:cubicBezTo>
                    <a:pt x="96" y="73"/>
                    <a:pt x="96" y="74"/>
                    <a:pt x="95" y="74"/>
                  </a:cubicBezTo>
                  <a:close/>
                  <a:moveTo>
                    <a:pt x="118" y="76"/>
                  </a:moveTo>
                  <a:cubicBezTo>
                    <a:pt x="118" y="76"/>
                    <a:pt x="118" y="76"/>
                    <a:pt x="119" y="76"/>
                  </a:cubicBezTo>
                  <a:cubicBezTo>
                    <a:pt x="119" y="76"/>
                    <a:pt x="119" y="76"/>
                    <a:pt x="120" y="76"/>
                  </a:cubicBezTo>
                  <a:cubicBezTo>
                    <a:pt x="120" y="76"/>
                    <a:pt x="120" y="76"/>
                    <a:pt x="120" y="76"/>
                  </a:cubicBezTo>
                  <a:cubicBezTo>
                    <a:pt x="120" y="77"/>
                    <a:pt x="121" y="77"/>
                    <a:pt x="121" y="77"/>
                  </a:cubicBezTo>
                  <a:cubicBezTo>
                    <a:pt x="122" y="77"/>
                    <a:pt x="122" y="77"/>
                    <a:pt x="122" y="77"/>
                  </a:cubicBezTo>
                  <a:cubicBezTo>
                    <a:pt x="122" y="76"/>
                    <a:pt x="122" y="76"/>
                    <a:pt x="122" y="76"/>
                  </a:cubicBezTo>
                  <a:cubicBezTo>
                    <a:pt x="122" y="76"/>
                    <a:pt x="121" y="75"/>
                    <a:pt x="121" y="75"/>
                  </a:cubicBezTo>
                  <a:cubicBezTo>
                    <a:pt x="121" y="75"/>
                    <a:pt x="121" y="74"/>
                    <a:pt x="121" y="74"/>
                  </a:cubicBezTo>
                  <a:cubicBezTo>
                    <a:pt x="120" y="74"/>
                    <a:pt x="120" y="74"/>
                    <a:pt x="120" y="74"/>
                  </a:cubicBezTo>
                  <a:cubicBezTo>
                    <a:pt x="120" y="74"/>
                    <a:pt x="119" y="74"/>
                    <a:pt x="119" y="74"/>
                  </a:cubicBezTo>
                  <a:cubicBezTo>
                    <a:pt x="119" y="74"/>
                    <a:pt x="118" y="74"/>
                    <a:pt x="118" y="74"/>
                  </a:cubicBezTo>
                  <a:cubicBezTo>
                    <a:pt x="117" y="74"/>
                    <a:pt x="117" y="74"/>
                    <a:pt x="116" y="75"/>
                  </a:cubicBezTo>
                  <a:cubicBezTo>
                    <a:pt x="116" y="75"/>
                    <a:pt x="116" y="75"/>
                    <a:pt x="116" y="76"/>
                  </a:cubicBezTo>
                  <a:cubicBezTo>
                    <a:pt x="117" y="76"/>
                    <a:pt x="117" y="76"/>
                    <a:pt x="118" y="76"/>
                  </a:cubicBezTo>
                  <a:close/>
                  <a:moveTo>
                    <a:pt x="124" y="47"/>
                  </a:moveTo>
                  <a:cubicBezTo>
                    <a:pt x="123" y="47"/>
                    <a:pt x="123" y="47"/>
                    <a:pt x="123" y="46"/>
                  </a:cubicBezTo>
                  <a:cubicBezTo>
                    <a:pt x="123" y="46"/>
                    <a:pt x="123" y="45"/>
                    <a:pt x="123" y="45"/>
                  </a:cubicBezTo>
                  <a:cubicBezTo>
                    <a:pt x="123" y="45"/>
                    <a:pt x="123" y="44"/>
                    <a:pt x="123" y="44"/>
                  </a:cubicBezTo>
                  <a:cubicBezTo>
                    <a:pt x="123" y="44"/>
                    <a:pt x="122" y="44"/>
                    <a:pt x="122" y="43"/>
                  </a:cubicBezTo>
                  <a:cubicBezTo>
                    <a:pt x="122" y="43"/>
                    <a:pt x="122" y="42"/>
                    <a:pt x="122" y="42"/>
                  </a:cubicBezTo>
                  <a:cubicBezTo>
                    <a:pt x="121" y="42"/>
                    <a:pt x="121" y="41"/>
                    <a:pt x="121" y="41"/>
                  </a:cubicBezTo>
                  <a:cubicBezTo>
                    <a:pt x="121" y="41"/>
                    <a:pt x="121" y="41"/>
                    <a:pt x="120" y="40"/>
                  </a:cubicBezTo>
                  <a:cubicBezTo>
                    <a:pt x="120" y="40"/>
                    <a:pt x="120" y="40"/>
                    <a:pt x="120" y="40"/>
                  </a:cubicBezTo>
                  <a:cubicBezTo>
                    <a:pt x="120" y="40"/>
                    <a:pt x="120" y="40"/>
                    <a:pt x="119" y="39"/>
                  </a:cubicBezTo>
                  <a:cubicBezTo>
                    <a:pt x="119" y="39"/>
                    <a:pt x="119" y="39"/>
                    <a:pt x="119" y="39"/>
                  </a:cubicBezTo>
                  <a:cubicBezTo>
                    <a:pt x="119" y="39"/>
                    <a:pt x="118" y="39"/>
                    <a:pt x="118" y="38"/>
                  </a:cubicBezTo>
                  <a:cubicBezTo>
                    <a:pt x="118" y="38"/>
                    <a:pt x="118" y="38"/>
                    <a:pt x="118" y="38"/>
                  </a:cubicBezTo>
                  <a:cubicBezTo>
                    <a:pt x="117" y="38"/>
                    <a:pt x="117" y="38"/>
                    <a:pt x="117" y="38"/>
                  </a:cubicBezTo>
                  <a:cubicBezTo>
                    <a:pt x="116" y="38"/>
                    <a:pt x="116" y="38"/>
                    <a:pt x="116" y="38"/>
                  </a:cubicBezTo>
                  <a:cubicBezTo>
                    <a:pt x="116" y="38"/>
                    <a:pt x="116" y="38"/>
                    <a:pt x="116" y="39"/>
                  </a:cubicBezTo>
                  <a:cubicBezTo>
                    <a:pt x="117" y="39"/>
                    <a:pt x="117" y="39"/>
                    <a:pt x="117" y="39"/>
                  </a:cubicBezTo>
                  <a:cubicBezTo>
                    <a:pt x="117" y="40"/>
                    <a:pt x="118" y="39"/>
                    <a:pt x="118" y="40"/>
                  </a:cubicBezTo>
                  <a:cubicBezTo>
                    <a:pt x="119" y="40"/>
                    <a:pt x="119" y="42"/>
                    <a:pt x="119" y="43"/>
                  </a:cubicBezTo>
                  <a:cubicBezTo>
                    <a:pt x="119" y="43"/>
                    <a:pt x="119" y="44"/>
                    <a:pt x="119" y="44"/>
                  </a:cubicBezTo>
                  <a:cubicBezTo>
                    <a:pt x="119" y="44"/>
                    <a:pt x="119" y="44"/>
                    <a:pt x="119" y="45"/>
                  </a:cubicBezTo>
                  <a:cubicBezTo>
                    <a:pt x="119" y="45"/>
                    <a:pt x="120" y="45"/>
                    <a:pt x="120" y="45"/>
                  </a:cubicBezTo>
                  <a:cubicBezTo>
                    <a:pt x="120" y="45"/>
                    <a:pt x="120" y="45"/>
                    <a:pt x="120" y="45"/>
                  </a:cubicBezTo>
                  <a:cubicBezTo>
                    <a:pt x="120" y="45"/>
                    <a:pt x="120" y="46"/>
                    <a:pt x="121" y="46"/>
                  </a:cubicBezTo>
                  <a:cubicBezTo>
                    <a:pt x="121" y="46"/>
                    <a:pt x="121" y="46"/>
                    <a:pt x="121" y="46"/>
                  </a:cubicBezTo>
                  <a:cubicBezTo>
                    <a:pt x="121" y="47"/>
                    <a:pt x="121" y="47"/>
                    <a:pt x="121" y="47"/>
                  </a:cubicBezTo>
                  <a:cubicBezTo>
                    <a:pt x="121" y="47"/>
                    <a:pt x="121" y="48"/>
                    <a:pt x="121" y="49"/>
                  </a:cubicBezTo>
                  <a:cubicBezTo>
                    <a:pt x="121" y="49"/>
                    <a:pt x="121" y="50"/>
                    <a:pt x="121" y="50"/>
                  </a:cubicBezTo>
                  <a:cubicBezTo>
                    <a:pt x="121" y="51"/>
                    <a:pt x="121" y="51"/>
                    <a:pt x="121" y="51"/>
                  </a:cubicBezTo>
                  <a:cubicBezTo>
                    <a:pt x="120" y="52"/>
                    <a:pt x="120" y="52"/>
                    <a:pt x="120" y="52"/>
                  </a:cubicBezTo>
                  <a:cubicBezTo>
                    <a:pt x="119" y="52"/>
                    <a:pt x="119" y="52"/>
                    <a:pt x="119" y="52"/>
                  </a:cubicBezTo>
                  <a:cubicBezTo>
                    <a:pt x="119" y="52"/>
                    <a:pt x="118" y="52"/>
                    <a:pt x="117" y="52"/>
                  </a:cubicBezTo>
                  <a:cubicBezTo>
                    <a:pt x="117" y="53"/>
                    <a:pt x="117" y="53"/>
                    <a:pt x="117" y="53"/>
                  </a:cubicBezTo>
                  <a:cubicBezTo>
                    <a:pt x="116" y="53"/>
                    <a:pt x="116" y="53"/>
                    <a:pt x="116" y="53"/>
                  </a:cubicBezTo>
                  <a:cubicBezTo>
                    <a:pt x="115" y="54"/>
                    <a:pt x="115" y="54"/>
                    <a:pt x="114" y="54"/>
                  </a:cubicBezTo>
                  <a:cubicBezTo>
                    <a:pt x="114" y="54"/>
                    <a:pt x="114" y="54"/>
                    <a:pt x="114" y="54"/>
                  </a:cubicBezTo>
                  <a:cubicBezTo>
                    <a:pt x="113" y="54"/>
                    <a:pt x="113" y="54"/>
                    <a:pt x="113" y="54"/>
                  </a:cubicBezTo>
                  <a:cubicBezTo>
                    <a:pt x="113" y="54"/>
                    <a:pt x="112" y="54"/>
                    <a:pt x="112" y="54"/>
                  </a:cubicBezTo>
                  <a:cubicBezTo>
                    <a:pt x="111" y="54"/>
                    <a:pt x="110" y="54"/>
                    <a:pt x="109" y="53"/>
                  </a:cubicBezTo>
                  <a:cubicBezTo>
                    <a:pt x="109" y="53"/>
                    <a:pt x="109" y="53"/>
                    <a:pt x="108" y="53"/>
                  </a:cubicBezTo>
                  <a:cubicBezTo>
                    <a:pt x="108" y="53"/>
                    <a:pt x="108" y="53"/>
                    <a:pt x="108" y="53"/>
                  </a:cubicBezTo>
                  <a:cubicBezTo>
                    <a:pt x="107" y="53"/>
                    <a:pt x="107" y="53"/>
                    <a:pt x="106" y="53"/>
                  </a:cubicBezTo>
                  <a:cubicBezTo>
                    <a:pt x="106" y="52"/>
                    <a:pt x="106" y="52"/>
                    <a:pt x="105" y="52"/>
                  </a:cubicBezTo>
                  <a:cubicBezTo>
                    <a:pt x="105" y="52"/>
                    <a:pt x="105" y="52"/>
                    <a:pt x="105" y="51"/>
                  </a:cubicBezTo>
                  <a:cubicBezTo>
                    <a:pt x="104" y="51"/>
                    <a:pt x="104" y="51"/>
                    <a:pt x="103" y="50"/>
                  </a:cubicBezTo>
                  <a:cubicBezTo>
                    <a:pt x="103" y="50"/>
                    <a:pt x="103" y="49"/>
                    <a:pt x="103" y="49"/>
                  </a:cubicBezTo>
                  <a:cubicBezTo>
                    <a:pt x="103" y="48"/>
                    <a:pt x="103" y="47"/>
                    <a:pt x="103" y="46"/>
                  </a:cubicBezTo>
                  <a:cubicBezTo>
                    <a:pt x="103" y="45"/>
                    <a:pt x="103" y="45"/>
                    <a:pt x="103" y="45"/>
                  </a:cubicBezTo>
                  <a:cubicBezTo>
                    <a:pt x="103" y="45"/>
                    <a:pt x="103" y="44"/>
                    <a:pt x="102" y="44"/>
                  </a:cubicBezTo>
                  <a:cubicBezTo>
                    <a:pt x="102" y="44"/>
                    <a:pt x="102" y="44"/>
                    <a:pt x="102" y="44"/>
                  </a:cubicBezTo>
                  <a:cubicBezTo>
                    <a:pt x="101" y="44"/>
                    <a:pt x="101" y="44"/>
                    <a:pt x="101" y="44"/>
                  </a:cubicBezTo>
                  <a:cubicBezTo>
                    <a:pt x="100" y="44"/>
                    <a:pt x="100" y="43"/>
                    <a:pt x="99" y="43"/>
                  </a:cubicBezTo>
                  <a:cubicBezTo>
                    <a:pt x="99" y="43"/>
                    <a:pt x="99" y="43"/>
                    <a:pt x="99" y="43"/>
                  </a:cubicBezTo>
                  <a:cubicBezTo>
                    <a:pt x="99" y="43"/>
                    <a:pt x="99" y="43"/>
                    <a:pt x="98" y="43"/>
                  </a:cubicBezTo>
                  <a:cubicBezTo>
                    <a:pt x="98" y="42"/>
                    <a:pt x="99" y="42"/>
                    <a:pt x="99" y="42"/>
                  </a:cubicBezTo>
                  <a:cubicBezTo>
                    <a:pt x="99" y="42"/>
                    <a:pt x="99" y="42"/>
                    <a:pt x="99" y="41"/>
                  </a:cubicBezTo>
                  <a:cubicBezTo>
                    <a:pt x="100" y="41"/>
                    <a:pt x="100" y="40"/>
                    <a:pt x="100" y="40"/>
                  </a:cubicBezTo>
                  <a:cubicBezTo>
                    <a:pt x="100" y="39"/>
                    <a:pt x="100" y="38"/>
                    <a:pt x="99" y="37"/>
                  </a:cubicBezTo>
                  <a:cubicBezTo>
                    <a:pt x="99" y="36"/>
                    <a:pt x="98" y="35"/>
                    <a:pt x="98" y="35"/>
                  </a:cubicBezTo>
                  <a:cubicBezTo>
                    <a:pt x="98" y="34"/>
                    <a:pt x="97" y="33"/>
                    <a:pt x="97" y="32"/>
                  </a:cubicBezTo>
                  <a:cubicBezTo>
                    <a:pt x="96" y="32"/>
                    <a:pt x="96" y="31"/>
                    <a:pt x="96" y="31"/>
                  </a:cubicBezTo>
                  <a:cubicBezTo>
                    <a:pt x="95" y="31"/>
                    <a:pt x="95" y="31"/>
                    <a:pt x="95" y="31"/>
                  </a:cubicBezTo>
                  <a:cubicBezTo>
                    <a:pt x="94" y="30"/>
                    <a:pt x="94" y="30"/>
                    <a:pt x="94" y="30"/>
                  </a:cubicBezTo>
                  <a:cubicBezTo>
                    <a:pt x="94" y="29"/>
                    <a:pt x="93" y="30"/>
                    <a:pt x="93" y="29"/>
                  </a:cubicBezTo>
                  <a:cubicBezTo>
                    <a:pt x="93" y="29"/>
                    <a:pt x="92" y="29"/>
                    <a:pt x="92" y="29"/>
                  </a:cubicBezTo>
                  <a:cubicBezTo>
                    <a:pt x="92" y="29"/>
                    <a:pt x="91" y="29"/>
                    <a:pt x="91" y="29"/>
                  </a:cubicBezTo>
                  <a:cubicBezTo>
                    <a:pt x="90" y="29"/>
                    <a:pt x="90" y="29"/>
                    <a:pt x="89" y="28"/>
                  </a:cubicBezTo>
                  <a:cubicBezTo>
                    <a:pt x="88" y="28"/>
                    <a:pt x="88" y="28"/>
                    <a:pt x="88" y="27"/>
                  </a:cubicBezTo>
                  <a:cubicBezTo>
                    <a:pt x="87" y="26"/>
                    <a:pt x="86" y="26"/>
                    <a:pt x="86" y="26"/>
                  </a:cubicBezTo>
                  <a:cubicBezTo>
                    <a:pt x="86" y="26"/>
                    <a:pt x="87" y="25"/>
                    <a:pt x="87" y="25"/>
                  </a:cubicBezTo>
                  <a:cubicBezTo>
                    <a:pt x="87" y="25"/>
                    <a:pt x="88" y="24"/>
                    <a:pt x="88" y="24"/>
                  </a:cubicBezTo>
                  <a:cubicBezTo>
                    <a:pt x="88" y="24"/>
                    <a:pt x="89" y="23"/>
                    <a:pt x="89" y="23"/>
                  </a:cubicBezTo>
                  <a:cubicBezTo>
                    <a:pt x="89" y="23"/>
                    <a:pt x="89" y="22"/>
                    <a:pt x="89" y="22"/>
                  </a:cubicBezTo>
                  <a:cubicBezTo>
                    <a:pt x="90" y="21"/>
                    <a:pt x="90" y="21"/>
                    <a:pt x="91" y="20"/>
                  </a:cubicBezTo>
                  <a:cubicBezTo>
                    <a:pt x="92" y="19"/>
                    <a:pt x="92" y="17"/>
                    <a:pt x="94" y="16"/>
                  </a:cubicBezTo>
                  <a:cubicBezTo>
                    <a:pt x="94" y="15"/>
                    <a:pt x="95" y="15"/>
                    <a:pt x="95" y="15"/>
                  </a:cubicBezTo>
                  <a:cubicBezTo>
                    <a:pt x="95" y="15"/>
                    <a:pt x="95" y="15"/>
                    <a:pt x="96" y="15"/>
                  </a:cubicBezTo>
                  <a:cubicBezTo>
                    <a:pt x="96" y="15"/>
                    <a:pt x="96" y="15"/>
                    <a:pt x="96" y="15"/>
                  </a:cubicBezTo>
                  <a:cubicBezTo>
                    <a:pt x="96" y="14"/>
                    <a:pt x="97" y="15"/>
                    <a:pt x="97" y="14"/>
                  </a:cubicBezTo>
                  <a:cubicBezTo>
                    <a:pt x="97" y="14"/>
                    <a:pt x="98" y="14"/>
                    <a:pt x="98" y="14"/>
                  </a:cubicBezTo>
                  <a:cubicBezTo>
                    <a:pt x="98" y="14"/>
                    <a:pt x="98" y="13"/>
                    <a:pt x="99" y="13"/>
                  </a:cubicBezTo>
                  <a:cubicBezTo>
                    <a:pt x="99" y="13"/>
                    <a:pt x="100" y="13"/>
                    <a:pt x="100" y="12"/>
                  </a:cubicBezTo>
                  <a:cubicBezTo>
                    <a:pt x="100" y="12"/>
                    <a:pt x="100" y="11"/>
                    <a:pt x="100" y="11"/>
                  </a:cubicBezTo>
                  <a:cubicBezTo>
                    <a:pt x="100" y="10"/>
                    <a:pt x="100" y="9"/>
                    <a:pt x="100" y="9"/>
                  </a:cubicBezTo>
                  <a:cubicBezTo>
                    <a:pt x="100" y="9"/>
                    <a:pt x="99" y="10"/>
                    <a:pt x="98" y="10"/>
                  </a:cubicBezTo>
                  <a:cubicBezTo>
                    <a:pt x="98" y="10"/>
                    <a:pt x="98" y="11"/>
                    <a:pt x="97" y="11"/>
                  </a:cubicBezTo>
                  <a:cubicBezTo>
                    <a:pt x="97" y="11"/>
                    <a:pt x="96" y="11"/>
                    <a:pt x="96" y="10"/>
                  </a:cubicBezTo>
                  <a:cubicBezTo>
                    <a:pt x="96" y="10"/>
                    <a:pt x="95" y="10"/>
                    <a:pt x="95" y="9"/>
                  </a:cubicBezTo>
                  <a:cubicBezTo>
                    <a:pt x="94" y="9"/>
                    <a:pt x="94" y="8"/>
                    <a:pt x="94" y="7"/>
                  </a:cubicBezTo>
                  <a:cubicBezTo>
                    <a:pt x="94" y="5"/>
                    <a:pt x="94" y="3"/>
                    <a:pt x="94" y="1"/>
                  </a:cubicBezTo>
                  <a:cubicBezTo>
                    <a:pt x="94" y="1"/>
                    <a:pt x="94" y="0"/>
                    <a:pt x="94" y="0"/>
                  </a:cubicBezTo>
                  <a:cubicBezTo>
                    <a:pt x="92" y="0"/>
                    <a:pt x="90" y="0"/>
                    <a:pt x="90" y="0"/>
                  </a:cubicBezTo>
                  <a:cubicBezTo>
                    <a:pt x="89" y="0"/>
                    <a:pt x="86" y="1"/>
                    <a:pt x="86" y="1"/>
                  </a:cubicBezTo>
                  <a:cubicBezTo>
                    <a:pt x="86" y="1"/>
                    <a:pt x="85" y="2"/>
                    <a:pt x="85" y="2"/>
                  </a:cubicBezTo>
                  <a:cubicBezTo>
                    <a:pt x="85" y="2"/>
                    <a:pt x="82" y="3"/>
                    <a:pt x="82" y="3"/>
                  </a:cubicBezTo>
                  <a:cubicBezTo>
                    <a:pt x="82" y="3"/>
                    <a:pt x="80" y="4"/>
                    <a:pt x="80" y="5"/>
                  </a:cubicBezTo>
                  <a:cubicBezTo>
                    <a:pt x="80" y="5"/>
                    <a:pt x="80" y="6"/>
                    <a:pt x="80" y="6"/>
                  </a:cubicBezTo>
                  <a:cubicBezTo>
                    <a:pt x="80" y="6"/>
                    <a:pt x="78" y="6"/>
                    <a:pt x="78" y="6"/>
                  </a:cubicBezTo>
                  <a:cubicBezTo>
                    <a:pt x="78" y="7"/>
                    <a:pt x="76" y="9"/>
                    <a:pt x="76" y="9"/>
                  </a:cubicBezTo>
                  <a:cubicBezTo>
                    <a:pt x="36" y="7"/>
                    <a:pt x="36" y="7"/>
                    <a:pt x="36" y="7"/>
                  </a:cubicBezTo>
                  <a:cubicBezTo>
                    <a:pt x="9" y="6"/>
                    <a:pt x="9" y="6"/>
                    <a:pt x="9" y="6"/>
                  </a:cubicBezTo>
                  <a:cubicBezTo>
                    <a:pt x="0" y="37"/>
                    <a:pt x="0" y="37"/>
                    <a:pt x="0" y="37"/>
                  </a:cubicBezTo>
                  <a:cubicBezTo>
                    <a:pt x="1" y="39"/>
                    <a:pt x="1" y="39"/>
                    <a:pt x="1" y="39"/>
                  </a:cubicBezTo>
                  <a:cubicBezTo>
                    <a:pt x="24" y="39"/>
                    <a:pt x="24" y="39"/>
                    <a:pt x="24" y="39"/>
                  </a:cubicBezTo>
                  <a:cubicBezTo>
                    <a:pt x="24" y="41"/>
                    <a:pt x="24" y="41"/>
                    <a:pt x="24" y="41"/>
                  </a:cubicBezTo>
                  <a:cubicBezTo>
                    <a:pt x="26" y="41"/>
                    <a:pt x="26" y="41"/>
                    <a:pt x="26" y="41"/>
                  </a:cubicBezTo>
                  <a:cubicBezTo>
                    <a:pt x="26" y="39"/>
                    <a:pt x="26" y="39"/>
                    <a:pt x="26" y="39"/>
                  </a:cubicBezTo>
                  <a:cubicBezTo>
                    <a:pt x="59" y="40"/>
                    <a:pt x="59" y="40"/>
                    <a:pt x="59" y="40"/>
                  </a:cubicBezTo>
                  <a:cubicBezTo>
                    <a:pt x="74" y="40"/>
                    <a:pt x="74" y="40"/>
                    <a:pt x="74" y="40"/>
                  </a:cubicBezTo>
                  <a:cubicBezTo>
                    <a:pt x="74" y="40"/>
                    <a:pt x="74" y="44"/>
                    <a:pt x="74" y="44"/>
                  </a:cubicBezTo>
                  <a:cubicBezTo>
                    <a:pt x="74" y="45"/>
                    <a:pt x="75" y="46"/>
                    <a:pt x="75" y="46"/>
                  </a:cubicBezTo>
                  <a:cubicBezTo>
                    <a:pt x="75" y="46"/>
                    <a:pt x="75" y="49"/>
                    <a:pt x="75" y="49"/>
                  </a:cubicBezTo>
                  <a:cubicBezTo>
                    <a:pt x="79" y="54"/>
                    <a:pt x="79" y="54"/>
                    <a:pt x="79" y="54"/>
                  </a:cubicBezTo>
                  <a:cubicBezTo>
                    <a:pt x="79" y="54"/>
                    <a:pt x="80" y="54"/>
                    <a:pt x="80" y="54"/>
                  </a:cubicBezTo>
                  <a:cubicBezTo>
                    <a:pt x="80" y="54"/>
                    <a:pt x="81" y="55"/>
                    <a:pt x="81" y="55"/>
                  </a:cubicBezTo>
                  <a:cubicBezTo>
                    <a:pt x="81" y="55"/>
                    <a:pt x="81" y="55"/>
                    <a:pt x="81" y="56"/>
                  </a:cubicBezTo>
                  <a:cubicBezTo>
                    <a:pt x="81" y="56"/>
                    <a:pt x="81" y="56"/>
                    <a:pt x="81" y="56"/>
                  </a:cubicBezTo>
                  <a:cubicBezTo>
                    <a:pt x="82" y="57"/>
                    <a:pt x="82" y="57"/>
                    <a:pt x="82" y="57"/>
                  </a:cubicBezTo>
                  <a:cubicBezTo>
                    <a:pt x="82" y="57"/>
                    <a:pt x="83" y="59"/>
                    <a:pt x="83" y="59"/>
                  </a:cubicBezTo>
                  <a:cubicBezTo>
                    <a:pt x="83" y="59"/>
                    <a:pt x="84" y="63"/>
                    <a:pt x="84" y="65"/>
                  </a:cubicBezTo>
                  <a:cubicBezTo>
                    <a:pt x="84" y="65"/>
                    <a:pt x="84" y="65"/>
                    <a:pt x="85" y="64"/>
                  </a:cubicBezTo>
                  <a:cubicBezTo>
                    <a:pt x="85" y="64"/>
                    <a:pt x="86" y="64"/>
                    <a:pt x="86" y="64"/>
                  </a:cubicBezTo>
                  <a:cubicBezTo>
                    <a:pt x="86" y="64"/>
                    <a:pt x="87" y="64"/>
                    <a:pt x="87" y="64"/>
                  </a:cubicBezTo>
                  <a:cubicBezTo>
                    <a:pt x="87" y="64"/>
                    <a:pt x="87" y="63"/>
                    <a:pt x="87" y="63"/>
                  </a:cubicBezTo>
                  <a:cubicBezTo>
                    <a:pt x="88" y="63"/>
                    <a:pt x="88" y="63"/>
                    <a:pt x="89" y="63"/>
                  </a:cubicBezTo>
                  <a:cubicBezTo>
                    <a:pt x="89" y="63"/>
                    <a:pt x="89" y="63"/>
                    <a:pt x="90" y="62"/>
                  </a:cubicBezTo>
                  <a:cubicBezTo>
                    <a:pt x="90" y="62"/>
                    <a:pt x="90" y="62"/>
                    <a:pt x="90" y="61"/>
                  </a:cubicBezTo>
                  <a:cubicBezTo>
                    <a:pt x="90" y="61"/>
                    <a:pt x="90" y="60"/>
                    <a:pt x="90" y="60"/>
                  </a:cubicBezTo>
                  <a:cubicBezTo>
                    <a:pt x="90" y="59"/>
                    <a:pt x="90" y="59"/>
                    <a:pt x="90" y="59"/>
                  </a:cubicBezTo>
                  <a:cubicBezTo>
                    <a:pt x="91" y="59"/>
                    <a:pt x="91" y="59"/>
                    <a:pt x="92" y="59"/>
                  </a:cubicBezTo>
                  <a:cubicBezTo>
                    <a:pt x="92" y="59"/>
                    <a:pt x="93" y="59"/>
                    <a:pt x="93" y="58"/>
                  </a:cubicBezTo>
                  <a:cubicBezTo>
                    <a:pt x="93" y="58"/>
                    <a:pt x="93" y="58"/>
                    <a:pt x="93" y="58"/>
                  </a:cubicBezTo>
                  <a:cubicBezTo>
                    <a:pt x="94" y="58"/>
                    <a:pt x="94" y="58"/>
                    <a:pt x="95" y="58"/>
                  </a:cubicBezTo>
                  <a:cubicBezTo>
                    <a:pt x="95" y="57"/>
                    <a:pt x="95" y="57"/>
                    <a:pt x="95" y="57"/>
                  </a:cubicBezTo>
                  <a:cubicBezTo>
                    <a:pt x="96" y="56"/>
                    <a:pt x="96" y="56"/>
                    <a:pt x="96" y="56"/>
                  </a:cubicBezTo>
                  <a:cubicBezTo>
                    <a:pt x="96" y="56"/>
                    <a:pt x="96" y="55"/>
                    <a:pt x="96" y="55"/>
                  </a:cubicBezTo>
                  <a:cubicBezTo>
                    <a:pt x="96" y="55"/>
                    <a:pt x="97" y="55"/>
                    <a:pt x="97" y="54"/>
                  </a:cubicBezTo>
                  <a:cubicBezTo>
                    <a:pt x="97" y="54"/>
                    <a:pt x="97" y="54"/>
                    <a:pt x="97" y="54"/>
                  </a:cubicBezTo>
                  <a:cubicBezTo>
                    <a:pt x="98" y="54"/>
                    <a:pt x="98" y="54"/>
                    <a:pt x="98" y="54"/>
                  </a:cubicBezTo>
                  <a:cubicBezTo>
                    <a:pt x="99" y="54"/>
                    <a:pt x="100" y="54"/>
                    <a:pt x="100" y="53"/>
                  </a:cubicBezTo>
                  <a:cubicBezTo>
                    <a:pt x="101" y="53"/>
                    <a:pt x="101" y="53"/>
                    <a:pt x="101" y="54"/>
                  </a:cubicBezTo>
                  <a:cubicBezTo>
                    <a:pt x="101" y="55"/>
                    <a:pt x="101" y="56"/>
                    <a:pt x="101" y="56"/>
                  </a:cubicBezTo>
                  <a:cubicBezTo>
                    <a:pt x="101" y="57"/>
                    <a:pt x="101" y="58"/>
                    <a:pt x="101" y="58"/>
                  </a:cubicBezTo>
                  <a:cubicBezTo>
                    <a:pt x="100" y="58"/>
                    <a:pt x="100" y="59"/>
                    <a:pt x="100" y="59"/>
                  </a:cubicBezTo>
                  <a:cubicBezTo>
                    <a:pt x="100" y="59"/>
                    <a:pt x="100" y="60"/>
                    <a:pt x="100" y="60"/>
                  </a:cubicBezTo>
                  <a:cubicBezTo>
                    <a:pt x="100" y="61"/>
                    <a:pt x="100" y="61"/>
                    <a:pt x="100" y="61"/>
                  </a:cubicBezTo>
                  <a:cubicBezTo>
                    <a:pt x="99" y="62"/>
                    <a:pt x="99" y="62"/>
                    <a:pt x="99" y="62"/>
                  </a:cubicBezTo>
                  <a:cubicBezTo>
                    <a:pt x="99" y="63"/>
                    <a:pt x="99" y="63"/>
                    <a:pt x="99" y="63"/>
                  </a:cubicBezTo>
                  <a:cubicBezTo>
                    <a:pt x="100" y="64"/>
                    <a:pt x="100" y="63"/>
                    <a:pt x="100" y="63"/>
                  </a:cubicBezTo>
                  <a:cubicBezTo>
                    <a:pt x="101" y="63"/>
                    <a:pt x="101" y="63"/>
                    <a:pt x="101" y="63"/>
                  </a:cubicBezTo>
                  <a:cubicBezTo>
                    <a:pt x="102" y="63"/>
                    <a:pt x="102" y="63"/>
                    <a:pt x="102" y="63"/>
                  </a:cubicBezTo>
                  <a:cubicBezTo>
                    <a:pt x="102" y="62"/>
                    <a:pt x="103" y="62"/>
                    <a:pt x="103" y="62"/>
                  </a:cubicBezTo>
                  <a:cubicBezTo>
                    <a:pt x="103" y="62"/>
                    <a:pt x="103" y="62"/>
                    <a:pt x="104" y="62"/>
                  </a:cubicBezTo>
                  <a:cubicBezTo>
                    <a:pt x="104" y="62"/>
                    <a:pt x="104" y="62"/>
                    <a:pt x="105" y="61"/>
                  </a:cubicBezTo>
                  <a:cubicBezTo>
                    <a:pt x="105" y="61"/>
                    <a:pt x="105" y="61"/>
                    <a:pt x="105" y="61"/>
                  </a:cubicBezTo>
                  <a:cubicBezTo>
                    <a:pt x="106" y="61"/>
                    <a:pt x="106" y="61"/>
                    <a:pt x="106" y="61"/>
                  </a:cubicBezTo>
                  <a:cubicBezTo>
                    <a:pt x="106" y="61"/>
                    <a:pt x="107" y="61"/>
                    <a:pt x="107" y="60"/>
                  </a:cubicBezTo>
                  <a:cubicBezTo>
                    <a:pt x="107" y="60"/>
                    <a:pt x="107" y="60"/>
                    <a:pt x="108" y="60"/>
                  </a:cubicBezTo>
                  <a:cubicBezTo>
                    <a:pt x="108" y="60"/>
                    <a:pt x="108" y="59"/>
                    <a:pt x="108" y="59"/>
                  </a:cubicBezTo>
                  <a:cubicBezTo>
                    <a:pt x="108" y="59"/>
                    <a:pt x="109" y="59"/>
                    <a:pt x="109" y="59"/>
                  </a:cubicBezTo>
                  <a:cubicBezTo>
                    <a:pt x="109" y="59"/>
                    <a:pt x="110" y="59"/>
                    <a:pt x="110" y="59"/>
                  </a:cubicBezTo>
                  <a:cubicBezTo>
                    <a:pt x="110" y="59"/>
                    <a:pt x="110" y="59"/>
                    <a:pt x="111" y="59"/>
                  </a:cubicBezTo>
                  <a:cubicBezTo>
                    <a:pt x="111" y="59"/>
                    <a:pt x="111" y="59"/>
                    <a:pt x="111" y="59"/>
                  </a:cubicBezTo>
                  <a:cubicBezTo>
                    <a:pt x="111" y="58"/>
                    <a:pt x="112" y="59"/>
                    <a:pt x="112" y="58"/>
                  </a:cubicBezTo>
                  <a:cubicBezTo>
                    <a:pt x="112" y="58"/>
                    <a:pt x="112" y="58"/>
                    <a:pt x="113" y="58"/>
                  </a:cubicBezTo>
                  <a:cubicBezTo>
                    <a:pt x="113" y="58"/>
                    <a:pt x="113" y="58"/>
                    <a:pt x="114" y="58"/>
                  </a:cubicBezTo>
                  <a:cubicBezTo>
                    <a:pt x="114" y="58"/>
                    <a:pt x="114" y="58"/>
                    <a:pt x="114" y="58"/>
                  </a:cubicBezTo>
                  <a:cubicBezTo>
                    <a:pt x="114" y="58"/>
                    <a:pt x="115" y="58"/>
                    <a:pt x="115" y="58"/>
                  </a:cubicBezTo>
                  <a:cubicBezTo>
                    <a:pt x="116" y="58"/>
                    <a:pt x="116" y="58"/>
                    <a:pt x="117" y="58"/>
                  </a:cubicBezTo>
                  <a:cubicBezTo>
                    <a:pt x="117" y="58"/>
                    <a:pt x="117" y="58"/>
                    <a:pt x="117" y="58"/>
                  </a:cubicBezTo>
                  <a:cubicBezTo>
                    <a:pt x="117" y="57"/>
                    <a:pt x="117" y="57"/>
                    <a:pt x="118" y="57"/>
                  </a:cubicBezTo>
                  <a:cubicBezTo>
                    <a:pt x="118" y="57"/>
                    <a:pt x="118" y="57"/>
                    <a:pt x="118" y="57"/>
                  </a:cubicBezTo>
                  <a:cubicBezTo>
                    <a:pt x="120" y="57"/>
                    <a:pt x="121" y="57"/>
                    <a:pt x="123" y="57"/>
                  </a:cubicBezTo>
                  <a:cubicBezTo>
                    <a:pt x="123" y="57"/>
                    <a:pt x="123" y="57"/>
                    <a:pt x="123" y="56"/>
                  </a:cubicBezTo>
                  <a:cubicBezTo>
                    <a:pt x="124" y="56"/>
                    <a:pt x="124" y="56"/>
                    <a:pt x="124" y="55"/>
                  </a:cubicBezTo>
                  <a:cubicBezTo>
                    <a:pt x="124" y="55"/>
                    <a:pt x="124" y="55"/>
                    <a:pt x="124" y="55"/>
                  </a:cubicBezTo>
                  <a:cubicBezTo>
                    <a:pt x="124" y="50"/>
                    <a:pt x="124" y="50"/>
                    <a:pt x="124" y="50"/>
                  </a:cubicBezTo>
                  <a:cubicBezTo>
                    <a:pt x="124" y="49"/>
                    <a:pt x="124" y="48"/>
                    <a:pt x="124" y="47"/>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5" name="Freeform 38">
              <a:extLst>
                <a:ext uri="{FF2B5EF4-FFF2-40B4-BE49-F238E27FC236}">
                  <a16:creationId xmlns:a16="http://schemas.microsoft.com/office/drawing/2014/main" id="{DB6BB0D9-FB93-E423-A39B-C3A7DF898A62}"/>
                </a:ext>
              </a:extLst>
            </p:cNvPr>
            <p:cNvSpPr>
              <a:spLocks noEditPoints="1"/>
            </p:cNvSpPr>
            <p:nvPr/>
          </p:nvSpPr>
          <p:spPr bwMode="auto">
            <a:xfrm>
              <a:off x="8707270" y="2740934"/>
              <a:ext cx="609664" cy="313919"/>
            </a:xfrm>
            <a:custGeom>
              <a:avLst/>
              <a:gdLst>
                <a:gd name="T0" fmla="*/ 151 w 154"/>
                <a:gd name="T1" fmla="*/ 62 h 79"/>
                <a:gd name="T2" fmla="*/ 148 w 154"/>
                <a:gd name="T3" fmla="*/ 67 h 79"/>
                <a:gd name="T4" fmla="*/ 145 w 154"/>
                <a:gd name="T5" fmla="*/ 71 h 79"/>
                <a:gd name="T6" fmla="*/ 141 w 154"/>
                <a:gd name="T7" fmla="*/ 76 h 79"/>
                <a:gd name="T8" fmla="*/ 127 w 154"/>
                <a:gd name="T9" fmla="*/ 75 h 79"/>
                <a:gd name="T10" fmla="*/ 123 w 154"/>
                <a:gd name="T11" fmla="*/ 69 h 79"/>
                <a:gd name="T12" fmla="*/ 127 w 154"/>
                <a:gd name="T13" fmla="*/ 57 h 79"/>
                <a:gd name="T14" fmla="*/ 123 w 154"/>
                <a:gd name="T15" fmla="*/ 66 h 79"/>
                <a:gd name="T16" fmla="*/ 118 w 154"/>
                <a:gd name="T17" fmla="*/ 66 h 79"/>
                <a:gd name="T18" fmla="*/ 111 w 154"/>
                <a:gd name="T19" fmla="*/ 59 h 79"/>
                <a:gd name="T20" fmla="*/ 113 w 154"/>
                <a:gd name="T21" fmla="*/ 52 h 79"/>
                <a:gd name="T22" fmla="*/ 116 w 154"/>
                <a:gd name="T23" fmla="*/ 50 h 79"/>
                <a:gd name="T24" fmla="*/ 121 w 154"/>
                <a:gd name="T25" fmla="*/ 49 h 79"/>
                <a:gd name="T26" fmla="*/ 114 w 154"/>
                <a:gd name="T27" fmla="*/ 46 h 79"/>
                <a:gd name="T28" fmla="*/ 111 w 154"/>
                <a:gd name="T29" fmla="*/ 41 h 79"/>
                <a:gd name="T30" fmla="*/ 116 w 154"/>
                <a:gd name="T31" fmla="*/ 38 h 79"/>
                <a:gd name="T32" fmla="*/ 115 w 154"/>
                <a:gd name="T33" fmla="*/ 32 h 79"/>
                <a:gd name="T34" fmla="*/ 113 w 154"/>
                <a:gd name="T35" fmla="*/ 30 h 79"/>
                <a:gd name="T36" fmla="*/ 113 w 154"/>
                <a:gd name="T37" fmla="*/ 22 h 79"/>
                <a:gd name="T38" fmla="*/ 117 w 154"/>
                <a:gd name="T39" fmla="*/ 17 h 79"/>
                <a:gd name="T40" fmla="*/ 123 w 154"/>
                <a:gd name="T41" fmla="*/ 16 h 79"/>
                <a:gd name="T42" fmla="*/ 123 w 154"/>
                <a:gd name="T43" fmla="*/ 10 h 79"/>
                <a:gd name="T44" fmla="*/ 122 w 154"/>
                <a:gd name="T45" fmla="*/ 7 h 79"/>
                <a:gd name="T46" fmla="*/ 117 w 154"/>
                <a:gd name="T47" fmla="*/ 11 h 79"/>
                <a:gd name="T48" fmla="*/ 112 w 154"/>
                <a:gd name="T49" fmla="*/ 18 h 79"/>
                <a:gd name="T50" fmla="*/ 108 w 154"/>
                <a:gd name="T51" fmla="*/ 16 h 79"/>
                <a:gd name="T52" fmla="*/ 106 w 154"/>
                <a:gd name="T53" fmla="*/ 23 h 79"/>
                <a:gd name="T54" fmla="*/ 102 w 154"/>
                <a:gd name="T55" fmla="*/ 23 h 79"/>
                <a:gd name="T56" fmla="*/ 106 w 154"/>
                <a:gd name="T57" fmla="*/ 31 h 79"/>
                <a:gd name="T58" fmla="*/ 102 w 154"/>
                <a:gd name="T59" fmla="*/ 35 h 79"/>
                <a:gd name="T60" fmla="*/ 102 w 154"/>
                <a:gd name="T61" fmla="*/ 43 h 79"/>
                <a:gd name="T62" fmla="*/ 103 w 154"/>
                <a:gd name="T63" fmla="*/ 52 h 79"/>
                <a:gd name="T64" fmla="*/ 107 w 154"/>
                <a:gd name="T65" fmla="*/ 62 h 79"/>
                <a:gd name="T66" fmla="*/ 99 w 154"/>
                <a:gd name="T67" fmla="*/ 55 h 79"/>
                <a:gd name="T68" fmla="*/ 109 w 154"/>
                <a:gd name="T69" fmla="*/ 69 h 79"/>
                <a:gd name="T70" fmla="*/ 105 w 154"/>
                <a:gd name="T71" fmla="*/ 70 h 79"/>
                <a:gd name="T72" fmla="*/ 98 w 154"/>
                <a:gd name="T73" fmla="*/ 65 h 79"/>
                <a:gd name="T74" fmla="*/ 92 w 154"/>
                <a:gd name="T75" fmla="*/ 63 h 79"/>
                <a:gd name="T76" fmla="*/ 86 w 154"/>
                <a:gd name="T77" fmla="*/ 60 h 79"/>
                <a:gd name="T78" fmla="*/ 82 w 154"/>
                <a:gd name="T79" fmla="*/ 50 h 79"/>
                <a:gd name="T80" fmla="*/ 86 w 154"/>
                <a:gd name="T81" fmla="*/ 39 h 79"/>
                <a:gd name="T82" fmla="*/ 78 w 154"/>
                <a:gd name="T83" fmla="*/ 33 h 79"/>
                <a:gd name="T84" fmla="*/ 70 w 154"/>
                <a:gd name="T85" fmla="*/ 22 h 79"/>
                <a:gd name="T86" fmla="*/ 59 w 154"/>
                <a:gd name="T87" fmla="*/ 11 h 79"/>
                <a:gd name="T88" fmla="*/ 57 w 154"/>
                <a:gd name="T89" fmla="*/ 5 h 79"/>
                <a:gd name="T90" fmla="*/ 44 w 154"/>
                <a:gd name="T91" fmla="*/ 1 h 79"/>
                <a:gd name="T92" fmla="*/ 36 w 154"/>
                <a:gd name="T93" fmla="*/ 6 h 79"/>
                <a:gd name="T94" fmla="*/ 28 w 154"/>
                <a:gd name="T95" fmla="*/ 7 h 79"/>
                <a:gd name="T96" fmla="*/ 23 w 154"/>
                <a:gd name="T97" fmla="*/ 7 h 79"/>
                <a:gd name="T98" fmla="*/ 14 w 154"/>
                <a:gd name="T99" fmla="*/ 11 h 79"/>
                <a:gd name="T100" fmla="*/ 5 w 154"/>
                <a:gd name="T101" fmla="*/ 19 h 79"/>
                <a:gd name="T102" fmla="*/ 109 w 154"/>
                <a:gd name="T103" fmla="*/ 39 h 79"/>
                <a:gd name="T104" fmla="*/ 110 w 154"/>
                <a:gd name="T105" fmla="*/ 3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79">
                  <a:moveTo>
                    <a:pt x="154" y="56"/>
                  </a:moveTo>
                  <a:cubicBezTo>
                    <a:pt x="154" y="57"/>
                    <a:pt x="153" y="57"/>
                    <a:pt x="152" y="57"/>
                  </a:cubicBezTo>
                  <a:cubicBezTo>
                    <a:pt x="152" y="58"/>
                    <a:pt x="152" y="58"/>
                    <a:pt x="151" y="58"/>
                  </a:cubicBezTo>
                  <a:cubicBezTo>
                    <a:pt x="151" y="58"/>
                    <a:pt x="150" y="58"/>
                    <a:pt x="150" y="59"/>
                  </a:cubicBezTo>
                  <a:cubicBezTo>
                    <a:pt x="150" y="60"/>
                    <a:pt x="150" y="60"/>
                    <a:pt x="151" y="61"/>
                  </a:cubicBezTo>
                  <a:cubicBezTo>
                    <a:pt x="151" y="61"/>
                    <a:pt x="151" y="61"/>
                    <a:pt x="151" y="62"/>
                  </a:cubicBezTo>
                  <a:cubicBezTo>
                    <a:pt x="151" y="62"/>
                    <a:pt x="151" y="62"/>
                    <a:pt x="151" y="62"/>
                  </a:cubicBezTo>
                  <a:cubicBezTo>
                    <a:pt x="151" y="63"/>
                    <a:pt x="151" y="63"/>
                    <a:pt x="151" y="63"/>
                  </a:cubicBezTo>
                  <a:cubicBezTo>
                    <a:pt x="151" y="64"/>
                    <a:pt x="151" y="65"/>
                    <a:pt x="150" y="66"/>
                  </a:cubicBezTo>
                  <a:cubicBezTo>
                    <a:pt x="150" y="66"/>
                    <a:pt x="149" y="66"/>
                    <a:pt x="149" y="67"/>
                  </a:cubicBezTo>
                  <a:cubicBezTo>
                    <a:pt x="149" y="67"/>
                    <a:pt x="149" y="68"/>
                    <a:pt x="148" y="68"/>
                  </a:cubicBezTo>
                  <a:cubicBezTo>
                    <a:pt x="148" y="68"/>
                    <a:pt x="148" y="67"/>
                    <a:pt x="148" y="67"/>
                  </a:cubicBezTo>
                  <a:cubicBezTo>
                    <a:pt x="147" y="67"/>
                    <a:pt x="147" y="67"/>
                    <a:pt x="147" y="67"/>
                  </a:cubicBezTo>
                  <a:cubicBezTo>
                    <a:pt x="147" y="67"/>
                    <a:pt x="147" y="67"/>
                    <a:pt x="147" y="67"/>
                  </a:cubicBezTo>
                  <a:cubicBezTo>
                    <a:pt x="147" y="67"/>
                    <a:pt x="146" y="67"/>
                    <a:pt x="146" y="67"/>
                  </a:cubicBezTo>
                  <a:cubicBezTo>
                    <a:pt x="146" y="68"/>
                    <a:pt x="146" y="68"/>
                    <a:pt x="146" y="69"/>
                  </a:cubicBezTo>
                  <a:cubicBezTo>
                    <a:pt x="146" y="69"/>
                    <a:pt x="146" y="70"/>
                    <a:pt x="146" y="70"/>
                  </a:cubicBezTo>
                  <a:cubicBezTo>
                    <a:pt x="146" y="70"/>
                    <a:pt x="145" y="71"/>
                    <a:pt x="145" y="71"/>
                  </a:cubicBezTo>
                  <a:cubicBezTo>
                    <a:pt x="145" y="71"/>
                    <a:pt x="145" y="71"/>
                    <a:pt x="145" y="72"/>
                  </a:cubicBezTo>
                  <a:cubicBezTo>
                    <a:pt x="145" y="72"/>
                    <a:pt x="145" y="72"/>
                    <a:pt x="144" y="72"/>
                  </a:cubicBezTo>
                  <a:cubicBezTo>
                    <a:pt x="144" y="72"/>
                    <a:pt x="144" y="72"/>
                    <a:pt x="144" y="73"/>
                  </a:cubicBezTo>
                  <a:cubicBezTo>
                    <a:pt x="143" y="73"/>
                    <a:pt x="143" y="73"/>
                    <a:pt x="143" y="74"/>
                  </a:cubicBezTo>
                  <a:cubicBezTo>
                    <a:pt x="143" y="74"/>
                    <a:pt x="143" y="74"/>
                    <a:pt x="142" y="74"/>
                  </a:cubicBezTo>
                  <a:cubicBezTo>
                    <a:pt x="142" y="75"/>
                    <a:pt x="142" y="75"/>
                    <a:pt x="141" y="76"/>
                  </a:cubicBezTo>
                  <a:cubicBezTo>
                    <a:pt x="134" y="76"/>
                    <a:pt x="134" y="76"/>
                    <a:pt x="134" y="76"/>
                  </a:cubicBezTo>
                  <a:cubicBezTo>
                    <a:pt x="132" y="79"/>
                    <a:pt x="132" y="79"/>
                    <a:pt x="132" y="79"/>
                  </a:cubicBezTo>
                  <a:cubicBezTo>
                    <a:pt x="131" y="78"/>
                    <a:pt x="130" y="78"/>
                    <a:pt x="129" y="78"/>
                  </a:cubicBezTo>
                  <a:cubicBezTo>
                    <a:pt x="129" y="78"/>
                    <a:pt x="128" y="78"/>
                    <a:pt x="128" y="79"/>
                  </a:cubicBezTo>
                  <a:cubicBezTo>
                    <a:pt x="127" y="79"/>
                    <a:pt x="126" y="79"/>
                    <a:pt x="126" y="79"/>
                  </a:cubicBezTo>
                  <a:cubicBezTo>
                    <a:pt x="125" y="77"/>
                    <a:pt x="127" y="76"/>
                    <a:pt x="127" y="75"/>
                  </a:cubicBezTo>
                  <a:cubicBezTo>
                    <a:pt x="128" y="75"/>
                    <a:pt x="128" y="74"/>
                    <a:pt x="128" y="74"/>
                  </a:cubicBezTo>
                  <a:cubicBezTo>
                    <a:pt x="127" y="74"/>
                    <a:pt x="126" y="74"/>
                    <a:pt x="126" y="73"/>
                  </a:cubicBezTo>
                  <a:cubicBezTo>
                    <a:pt x="126" y="72"/>
                    <a:pt x="128" y="72"/>
                    <a:pt x="127" y="71"/>
                  </a:cubicBezTo>
                  <a:cubicBezTo>
                    <a:pt x="126" y="70"/>
                    <a:pt x="126" y="71"/>
                    <a:pt x="125" y="71"/>
                  </a:cubicBezTo>
                  <a:cubicBezTo>
                    <a:pt x="125" y="72"/>
                    <a:pt x="124" y="72"/>
                    <a:pt x="123" y="71"/>
                  </a:cubicBezTo>
                  <a:cubicBezTo>
                    <a:pt x="122" y="71"/>
                    <a:pt x="123" y="70"/>
                    <a:pt x="123" y="69"/>
                  </a:cubicBezTo>
                  <a:cubicBezTo>
                    <a:pt x="123" y="69"/>
                    <a:pt x="123" y="69"/>
                    <a:pt x="124" y="68"/>
                  </a:cubicBezTo>
                  <a:cubicBezTo>
                    <a:pt x="124" y="68"/>
                    <a:pt x="124" y="68"/>
                    <a:pt x="124" y="67"/>
                  </a:cubicBezTo>
                  <a:cubicBezTo>
                    <a:pt x="124" y="66"/>
                    <a:pt x="124" y="65"/>
                    <a:pt x="124" y="64"/>
                  </a:cubicBezTo>
                  <a:cubicBezTo>
                    <a:pt x="124" y="63"/>
                    <a:pt x="125" y="63"/>
                    <a:pt x="125" y="62"/>
                  </a:cubicBezTo>
                  <a:cubicBezTo>
                    <a:pt x="126" y="61"/>
                    <a:pt x="126" y="60"/>
                    <a:pt x="126" y="59"/>
                  </a:cubicBezTo>
                  <a:cubicBezTo>
                    <a:pt x="126" y="59"/>
                    <a:pt x="126" y="58"/>
                    <a:pt x="127" y="57"/>
                  </a:cubicBezTo>
                  <a:cubicBezTo>
                    <a:pt x="127" y="57"/>
                    <a:pt x="127" y="57"/>
                    <a:pt x="127" y="57"/>
                  </a:cubicBezTo>
                  <a:cubicBezTo>
                    <a:pt x="127" y="56"/>
                    <a:pt x="126" y="58"/>
                    <a:pt x="126" y="58"/>
                  </a:cubicBezTo>
                  <a:cubicBezTo>
                    <a:pt x="126" y="59"/>
                    <a:pt x="125" y="59"/>
                    <a:pt x="125" y="60"/>
                  </a:cubicBezTo>
                  <a:cubicBezTo>
                    <a:pt x="125" y="61"/>
                    <a:pt x="125" y="62"/>
                    <a:pt x="124" y="62"/>
                  </a:cubicBezTo>
                  <a:cubicBezTo>
                    <a:pt x="124" y="63"/>
                    <a:pt x="123" y="64"/>
                    <a:pt x="123" y="65"/>
                  </a:cubicBezTo>
                  <a:cubicBezTo>
                    <a:pt x="123" y="65"/>
                    <a:pt x="123" y="66"/>
                    <a:pt x="123" y="66"/>
                  </a:cubicBezTo>
                  <a:cubicBezTo>
                    <a:pt x="122" y="66"/>
                    <a:pt x="122" y="66"/>
                    <a:pt x="122" y="65"/>
                  </a:cubicBezTo>
                  <a:cubicBezTo>
                    <a:pt x="122" y="65"/>
                    <a:pt x="122" y="65"/>
                    <a:pt x="121" y="65"/>
                  </a:cubicBezTo>
                  <a:cubicBezTo>
                    <a:pt x="121" y="64"/>
                    <a:pt x="120" y="64"/>
                    <a:pt x="120" y="65"/>
                  </a:cubicBezTo>
                  <a:cubicBezTo>
                    <a:pt x="120" y="65"/>
                    <a:pt x="120" y="66"/>
                    <a:pt x="119" y="67"/>
                  </a:cubicBezTo>
                  <a:cubicBezTo>
                    <a:pt x="119" y="67"/>
                    <a:pt x="118" y="67"/>
                    <a:pt x="118" y="66"/>
                  </a:cubicBezTo>
                  <a:cubicBezTo>
                    <a:pt x="118" y="66"/>
                    <a:pt x="118" y="66"/>
                    <a:pt x="118" y="66"/>
                  </a:cubicBezTo>
                  <a:cubicBezTo>
                    <a:pt x="118" y="66"/>
                    <a:pt x="117" y="65"/>
                    <a:pt x="117" y="65"/>
                  </a:cubicBezTo>
                  <a:cubicBezTo>
                    <a:pt x="116" y="64"/>
                    <a:pt x="115" y="63"/>
                    <a:pt x="115" y="62"/>
                  </a:cubicBezTo>
                  <a:cubicBezTo>
                    <a:pt x="115" y="62"/>
                    <a:pt x="115" y="61"/>
                    <a:pt x="114" y="61"/>
                  </a:cubicBezTo>
                  <a:cubicBezTo>
                    <a:pt x="114" y="60"/>
                    <a:pt x="114" y="60"/>
                    <a:pt x="114" y="61"/>
                  </a:cubicBezTo>
                  <a:cubicBezTo>
                    <a:pt x="113" y="61"/>
                    <a:pt x="112" y="61"/>
                    <a:pt x="112" y="60"/>
                  </a:cubicBezTo>
                  <a:cubicBezTo>
                    <a:pt x="111" y="60"/>
                    <a:pt x="111" y="60"/>
                    <a:pt x="111" y="59"/>
                  </a:cubicBezTo>
                  <a:cubicBezTo>
                    <a:pt x="111" y="58"/>
                    <a:pt x="110" y="58"/>
                    <a:pt x="110" y="57"/>
                  </a:cubicBezTo>
                  <a:cubicBezTo>
                    <a:pt x="110" y="57"/>
                    <a:pt x="110" y="56"/>
                    <a:pt x="110" y="55"/>
                  </a:cubicBezTo>
                  <a:cubicBezTo>
                    <a:pt x="110" y="55"/>
                    <a:pt x="111" y="55"/>
                    <a:pt x="111" y="55"/>
                  </a:cubicBezTo>
                  <a:cubicBezTo>
                    <a:pt x="111" y="55"/>
                    <a:pt x="112" y="55"/>
                    <a:pt x="112" y="55"/>
                  </a:cubicBezTo>
                  <a:cubicBezTo>
                    <a:pt x="112" y="54"/>
                    <a:pt x="113" y="54"/>
                    <a:pt x="114" y="54"/>
                  </a:cubicBezTo>
                  <a:cubicBezTo>
                    <a:pt x="114" y="53"/>
                    <a:pt x="113" y="53"/>
                    <a:pt x="113" y="52"/>
                  </a:cubicBezTo>
                  <a:cubicBezTo>
                    <a:pt x="113" y="52"/>
                    <a:pt x="113" y="52"/>
                    <a:pt x="113" y="52"/>
                  </a:cubicBezTo>
                  <a:cubicBezTo>
                    <a:pt x="113" y="51"/>
                    <a:pt x="113" y="51"/>
                    <a:pt x="113" y="51"/>
                  </a:cubicBezTo>
                  <a:cubicBezTo>
                    <a:pt x="112" y="51"/>
                    <a:pt x="112" y="50"/>
                    <a:pt x="112" y="50"/>
                  </a:cubicBezTo>
                  <a:cubicBezTo>
                    <a:pt x="113" y="50"/>
                    <a:pt x="113" y="49"/>
                    <a:pt x="114" y="49"/>
                  </a:cubicBezTo>
                  <a:cubicBezTo>
                    <a:pt x="115" y="49"/>
                    <a:pt x="115" y="49"/>
                    <a:pt x="116" y="49"/>
                  </a:cubicBezTo>
                  <a:cubicBezTo>
                    <a:pt x="116" y="50"/>
                    <a:pt x="116" y="50"/>
                    <a:pt x="116" y="50"/>
                  </a:cubicBezTo>
                  <a:cubicBezTo>
                    <a:pt x="116" y="50"/>
                    <a:pt x="116" y="50"/>
                    <a:pt x="117" y="51"/>
                  </a:cubicBezTo>
                  <a:cubicBezTo>
                    <a:pt x="118" y="51"/>
                    <a:pt x="119" y="52"/>
                    <a:pt x="120" y="51"/>
                  </a:cubicBezTo>
                  <a:cubicBezTo>
                    <a:pt x="121" y="51"/>
                    <a:pt x="122" y="51"/>
                    <a:pt x="122" y="50"/>
                  </a:cubicBezTo>
                  <a:cubicBezTo>
                    <a:pt x="122" y="50"/>
                    <a:pt x="123" y="49"/>
                    <a:pt x="123" y="49"/>
                  </a:cubicBezTo>
                  <a:cubicBezTo>
                    <a:pt x="123" y="49"/>
                    <a:pt x="123" y="48"/>
                    <a:pt x="122" y="48"/>
                  </a:cubicBezTo>
                  <a:cubicBezTo>
                    <a:pt x="122" y="48"/>
                    <a:pt x="121" y="49"/>
                    <a:pt x="121" y="49"/>
                  </a:cubicBezTo>
                  <a:cubicBezTo>
                    <a:pt x="121" y="50"/>
                    <a:pt x="121" y="50"/>
                    <a:pt x="120" y="51"/>
                  </a:cubicBezTo>
                  <a:cubicBezTo>
                    <a:pt x="120" y="51"/>
                    <a:pt x="119" y="51"/>
                    <a:pt x="118" y="50"/>
                  </a:cubicBezTo>
                  <a:cubicBezTo>
                    <a:pt x="118" y="50"/>
                    <a:pt x="117" y="49"/>
                    <a:pt x="116" y="49"/>
                  </a:cubicBezTo>
                  <a:cubicBezTo>
                    <a:pt x="116" y="49"/>
                    <a:pt x="116" y="48"/>
                    <a:pt x="116" y="48"/>
                  </a:cubicBezTo>
                  <a:cubicBezTo>
                    <a:pt x="115" y="48"/>
                    <a:pt x="115" y="48"/>
                    <a:pt x="114" y="47"/>
                  </a:cubicBezTo>
                  <a:cubicBezTo>
                    <a:pt x="114" y="47"/>
                    <a:pt x="114" y="47"/>
                    <a:pt x="114" y="46"/>
                  </a:cubicBezTo>
                  <a:cubicBezTo>
                    <a:pt x="114" y="46"/>
                    <a:pt x="114" y="46"/>
                    <a:pt x="113" y="45"/>
                  </a:cubicBezTo>
                  <a:cubicBezTo>
                    <a:pt x="113" y="45"/>
                    <a:pt x="113" y="44"/>
                    <a:pt x="113" y="44"/>
                  </a:cubicBezTo>
                  <a:cubicBezTo>
                    <a:pt x="112" y="43"/>
                    <a:pt x="112" y="45"/>
                    <a:pt x="111" y="45"/>
                  </a:cubicBezTo>
                  <a:cubicBezTo>
                    <a:pt x="110" y="45"/>
                    <a:pt x="110" y="45"/>
                    <a:pt x="110" y="44"/>
                  </a:cubicBezTo>
                  <a:cubicBezTo>
                    <a:pt x="110" y="44"/>
                    <a:pt x="110" y="43"/>
                    <a:pt x="110" y="43"/>
                  </a:cubicBezTo>
                  <a:cubicBezTo>
                    <a:pt x="110" y="42"/>
                    <a:pt x="110" y="42"/>
                    <a:pt x="111" y="41"/>
                  </a:cubicBezTo>
                  <a:cubicBezTo>
                    <a:pt x="111" y="41"/>
                    <a:pt x="112" y="41"/>
                    <a:pt x="113" y="41"/>
                  </a:cubicBezTo>
                  <a:cubicBezTo>
                    <a:pt x="113" y="41"/>
                    <a:pt x="114" y="42"/>
                    <a:pt x="114" y="42"/>
                  </a:cubicBezTo>
                  <a:cubicBezTo>
                    <a:pt x="114" y="41"/>
                    <a:pt x="115" y="41"/>
                    <a:pt x="115" y="41"/>
                  </a:cubicBezTo>
                  <a:cubicBezTo>
                    <a:pt x="115" y="40"/>
                    <a:pt x="115" y="40"/>
                    <a:pt x="115" y="39"/>
                  </a:cubicBezTo>
                  <a:cubicBezTo>
                    <a:pt x="115" y="39"/>
                    <a:pt x="115" y="39"/>
                    <a:pt x="115" y="38"/>
                  </a:cubicBezTo>
                  <a:cubicBezTo>
                    <a:pt x="115" y="38"/>
                    <a:pt x="116" y="38"/>
                    <a:pt x="116" y="38"/>
                  </a:cubicBezTo>
                  <a:cubicBezTo>
                    <a:pt x="116" y="37"/>
                    <a:pt x="115" y="37"/>
                    <a:pt x="115" y="37"/>
                  </a:cubicBezTo>
                  <a:cubicBezTo>
                    <a:pt x="114" y="36"/>
                    <a:pt x="114" y="36"/>
                    <a:pt x="114" y="36"/>
                  </a:cubicBezTo>
                  <a:cubicBezTo>
                    <a:pt x="114" y="36"/>
                    <a:pt x="113" y="35"/>
                    <a:pt x="113" y="35"/>
                  </a:cubicBezTo>
                  <a:cubicBezTo>
                    <a:pt x="113" y="35"/>
                    <a:pt x="113" y="34"/>
                    <a:pt x="113" y="34"/>
                  </a:cubicBezTo>
                  <a:cubicBezTo>
                    <a:pt x="114" y="33"/>
                    <a:pt x="114" y="34"/>
                    <a:pt x="114" y="34"/>
                  </a:cubicBezTo>
                  <a:cubicBezTo>
                    <a:pt x="115" y="33"/>
                    <a:pt x="114" y="33"/>
                    <a:pt x="115" y="32"/>
                  </a:cubicBezTo>
                  <a:cubicBezTo>
                    <a:pt x="115" y="32"/>
                    <a:pt x="115" y="32"/>
                    <a:pt x="115" y="31"/>
                  </a:cubicBezTo>
                  <a:cubicBezTo>
                    <a:pt x="115" y="31"/>
                    <a:pt x="115" y="31"/>
                    <a:pt x="115" y="30"/>
                  </a:cubicBezTo>
                  <a:cubicBezTo>
                    <a:pt x="115" y="30"/>
                    <a:pt x="115" y="30"/>
                    <a:pt x="116" y="30"/>
                  </a:cubicBezTo>
                  <a:cubicBezTo>
                    <a:pt x="116" y="30"/>
                    <a:pt x="116" y="29"/>
                    <a:pt x="116" y="29"/>
                  </a:cubicBezTo>
                  <a:cubicBezTo>
                    <a:pt x="115" y="29"/>
                    <a:pt x="115" y="29"/>
                    <a:pt x="115" y="29"/>
                  </a:cubicBezTo>
                  <a:cubicBezTo>
                    <a:pt x="115" y="30"/>
                    <a:pt x="114" y="30"/>
                    <a:pt x="113" y="30"/>
                  </a:cubicBezTo>
                  <a:cubicBezTo>
                    <a:pt x="113" y="29"/>
                    <a:pt x="113" y="29"/>
                    <a:pt x="113" y="29"/>
                  </a:cubicBezTo>
                  <a:cubicBezTo>
                    <a:pt x="113" y="28"/>
                    <a:pt x="113" y="28"/>
                    <a:pt x="113" y="28"/>
                  </a:cubicBezTo>
                  <a:cubicBezTo>
                    <a:pt x="112" y="28"/>
                    <a:pt x="112" y="28"/>
                    <a:pt x="112" y="27"/>
                  </a:cubicBezTo>
                  <a:cubicBezTo>
                    <a:pt x="112" y="27"/>
                    <a:pt x="112" y="25"/>
                    <a:pt x="112" y="25"/>
                  </a:cubicBezTo>
                  <a:cubicBezTo>
                    <a:pt x="112" y="24"/>
                    <a:pt x="113" y="24"/>
                    <a:pt x="113" y="24"/>
                  </a:cubicBezTo>
                  <a:cubicBezTo>
                    <a:pt x="113" y="23"/>
                    <a:pt x="113" y="22"/>
                    <a:pt x="113" y="22"/>
                  </a:cubicBezTo>
                  <a:cubicBezTo>
                    <a:pt x="113" y="21"/>
                    <a:pt x="114" y="21"/>
                    <a:pt x="114" y="20"/>
                  </a:cubicBezTo>
                  <a:cubicBezTo>
                    <a:pt x="115" y="20"/>
                    <a:pt x="115" y="19"/>
                    <a:pt x="115" y="19"/>
                  </a:cubicBezTo>
                  <a:cubicBezTo>
                    <a:pt x="115" y="18"/>
                    <a:pt x="116" y="18"/>
                    <a:pt x="116" y="18"/>
                  </a:cubicBezTo>
                  <a:cubicBezTo>
                    <a:pt x="116" y="18"/>
                    <a:pt x="116" y="17"/>
                    <a:pt x="117" y="17"/>
                  </a:cubicBezTo>
                  <a:cubicBezTo>
                    <a:pt x="117" y="17"/>
                    <a:pt x="117" y="16"/>
                    <a:pt x="117" y="16"/>
                  </a:cubicBezTo>
                  <a:cubicBezTo>
                    <a:pt x="117" y="16"/>
                    <a:pt x="117" y="16"/>
                    <a:pt x="117" y="17"/>
                  </a:cubicBezTo>
                  <a:cubicBezTo>
                    <a:pt x="118" y="17"/>
                    <a:pt x="119" y="17"/>
                    <a:pt x="120" y="17"/>
                  </a:cubicBezTo>
                  <a:cubicBezTo>
                    <a:pt x="120" y="17"/>
                    <a:pt x="120" y="17"/>
                    <a:pt x="121" y="17"/>
                  </a:cubicBezTo>
                  <a:cubicBezTo>
                    <a:pt x="121" y="18"/>
                    <a:pt x="122" y="18"/>
                    <a:pt x="123" y="17"/>
                  </a:cubicBezTo>
                  <a:cubicBezTo>
                    <a:pt x="123" y="17"/>
                    <a:pt x="124" y="17"/>
                    <a:pt x="124" y="17"/>
                  </a:cubicBezTo>
                  <a:cubicBezTo>
                    <a:pt x="125" y="17"/>
                    <a:pt x="126" y="17"/>
                    <a:pt x="126" y="16"/>
                  </a:cubicBezTo>
                  <a:cubicBezTo>
                    <a:pt x="125" y="16"/>
                    <a:pt x="123" y="16"/>
                    <a:pt x="123" y="16"/>
                  </a:cubicBezTo>
                  <a:cubicBezTo>
                    <a:pt x="123" y="16"/>
                    <a:pt x="121" y="16"/>
                    <a:pt x="121" y="16"/>
                  </a:cubicBezTo>
                  <a:cubicBezTo>
                    <a:pt x="120" y="16"/>
                    <a:pt x="121" y="15"/>
                    <a:pt x="121" y="14"/>
                  </a:cubicBezTo>
                  <a:cubicBezTo>
                    <a:pt x="122" y="13"/>
                    <a:pt x="123" y="12"/>
                    <a:pt x="124" y="11"/>
                  </a:cubicBezTo>
                  <a:cubicBezTo>
                    <a:pt x="125" y="10"/>
                    <a:pt x="125" y="9"/>
                    <a:pt x="125" y="8"/>
                  </a:cubicBezTo>
                  <a:cubicBezTo>
                    <a:pt x="126" y="7"/>
                    <a:pt x="124" y="9"/>
                    <a:pt x="124" y="9"/>
                  </a:cubicBezTo>
                  <a:cubicBezTo>
                    <a:pt x="124" y="9"/>
                    <a:pt x="123" y="10"/>
                    <a:pt x="123" y="10"/>
                  </a:cubicBezTo>
                  <a:cubicBezTo>
                    <a:pt x="123" y="10"/>
                    <a:pt x="122" y="11"/>
                    <a:pt x="122" y="11"/>
                  </a:cubicBezTo>
                  <a:cubicBezTo>
                    <a:pt x="122" y="11"/>
                    <a:pt x="121" y="11"/>
                    <a:pt x="121" y="11"/>
                  </a:cubicBezTo>
                  <a:cubicBezTo>
                    <a:pt x="121" y="10"/>
                    <a:pt x="122" y="10"/>
                    <a:pt x="122" y="10"/>
                  </a:cubicBezTo>
                  <a:cubicBezTo>
                    <a:pt x="122" y="9"/>
                    <a:pt x="122" y="9"/>
                    <a:pt x="122" y="8"/>
                  </a:cubicBezTo>
                  <a:cubicBezTo>
                    <a:pt x="122" y="8"/>
                    <a:pt x="122" y="8"/>
                    <a:pt x="122" y="8"/>
                  </a:cubicBezTo>
                  <a:cubicBezTo>
                    <a:pt x="123" y="7"/>
                    <a:pt x="123" y="7"/>
                    <a:pt x="122" y="7"/>
                  </a:cubicBezTo>
                  <a:cubicBezTo>
                    <a:pt x="122" y="7"/>
                    <a:pt x="122" y="7"/>
                    <a:pt x="121" y="7"/>
                  </a:cubicBezTo>
                  <a:cubicBezTo>
                    <a:pt x="121" y="7"/>
                    <a:pt x="121" y="7"/>
                    <a:pt x="121" y="8"/>
                  </a:cubicBezTo>
                  <a:cubicBezTo>
                    <a:pt x="121" y="8"/>
                    <a:pt x="120" y="8"/>
                    <a:pt x="120" y="8"/>
                  </a:cubicBezTo>
                  <a:cubicBezTo>
                    <a:pt x="119" y="8"/>
                    <a:pt x="119" y="8"/>
                    <a:pt x="119" y="8"/>
                  </a:cubicBezTo>
                  <a:cubicBezTo>
                    <a:pt x="119" y="9"/>
                    <a:pt x="118" y="9"/>
                    <a:pt x="118" y="9"/>
                  </a:cubicBezTo>
                  <a:cubicBezTo>
                    <a:pt x="117" y="10"/>
                    <a:pt x="117" y="10"/>
                    <a:pt x="117" y="11"/>
                  </a:cubicBezTo>
                  <a:cubicBezTo>
                    <a:pt x="117" y="12"/>
                    <a:pt x="118" y="13"/>
                    <a:pt x="117" y="14"/>
                  </a:cubicBezTo>
                  <a:cubicBezTo>
                    <a:pt x="117" y="14"/>
                    <a:pt x="116" y="14"/>
                    <a:pt x="116" y="15"/>
                  </a:cubicBezTo>
                  <a:cubicBezTo>
                    <a:pt x="116" y="15"/>
                    <a:pt x="116" y="15"/>
                    <a:pt x="115" y="15"/>
                  </a:cubicBezTo>
                  <a:cubicBezTo>
                    <a:pt x="115" y="15"/>
                    <a:pt x="115" y="15"/>
                    <a:pt x="115" y="15"/>
                  </a:cubicBezTo>
                  <a:cubicBezTo>
                    <a:pt x="114" y="16"/>
                    <a:pt x="114" y="16"/>
                    <a:pt x="113" y="16"/>
                  </a:cubicBezTo>
                  <a:cubicBezTo>
                    <a:pt x="113" y="17"/>
                    <a:pt x="112" y="17"/>
                    <a:pt x="112" y="18"/>
                  </a:cubicBezTo>
                  <a:cubicBezTo>
                    <a:pt x="112" y="18"/>
                    <a:pt x="112" y="18"/>
                    <a:pt x="112" y="18"/>
                  </a:cubicBezTo>
                  <a:cubicBezTo>
                    <a:pt x="111" y="18"/>
                    <a:pt x="112" y="18"/>
                    <a:pt x="111" y="18"/>
                  </a:cubicBezTo>
                  <a:cubicBezTo>
                    <a:pt x="111" y="18"/>
                    <a:pt x="111" y="18"/>
                    <a:pt x="111" y="18"/>
                  </a:cubicBezTo>
                  <a:cubicBezTo>
                    <a:pt x="110" y="17"/>
                    <a:pt x="110" y="17"/>
                    <a:pt x="110" y="17"/>
                  </a:cubicBezTo>
                  <a:cubicBezTo>
                    <a:pt x="110" y="16"/>
                    <a:pt x="110" y="16"/>
                    <a:pt x="109" y="15"/>
                  </a:cubicBezTo>
                  <a:cubicBezTo>
                    <a:pt x="109" y="15"/>
                    <a:pt x="108" y="15"/>
                    <a:pt x="108" y="16"/>
                  </a:cubicBezTo>
                  <a:cubicBezTo>
                    <a:pt x="108" y="16"/>
                    <a:pt x="109" y="16"/>
                    <a:pt x="109" y="17"/>
                  </a:cubicBezTo>
                  <a:cubicBezTo>
                    <a:pt x="109" y="17"/>
                    <a:pt x="109" y="18"/>
                    <a:pt x="109" y="18"/>
                  </a:cubicBezTo>
                  <a:cubicBezTo>
                    <a:pt x="109" y="19"/>
                    <a:pt x="109" y="20"/>
                    <a:pt x="108" y="20"/>
                  </a:cubicBezTo>
                  <a:cubicBezTo>
                    <a:pt x="108" y="21"/>
                    <a:pt x="107" y="21"/>
                    <a:pt x="107" y="22"/>
                  </a:cubicBezTo>
                  <a:cubicBezTo>
                    <a:pt x="107" y="22"/>
                    <a:pt x="107" y="22"/>
                    <a:pt x="107" y="22"/>
                  </a:cubicBezTo>
                  <a:cubicBezTo>
                    <a:pt x="106" y="23"/>
                    <a:pt x="106" y="23"/>
                    <a:pt x="106" y="23"/>
                  </a:cubicBezTo>
                  <a:cubicBezTo>
                    <a:pt x="106" y="23"/>
                    <a:pt x="106" y="24"/>
                    <a:pt x="105" y="24"/>
                  </a:cubicBezTo>
                  <a:cubicBezTo>
                    <a:pt x="105" y="24"/>
                    <a:pt x="105" y="23"/>
                    <a:pt x="104" y="23"/>
                  </a:cubicBezTo>
                  <a:cubicBezTo>
                    <a:pt x="104" y="23"/>
                    <a:pt x="104" y="23"/>
                    <a:pt x="103" y="23"/>
                  </a:cubicBezTo>
                  <a:cubicBezTo>
                    <a:pt x="103" y="23"/>
                    <a:pt x="103" y="22"/>
                    <a:pt x="102" y="22"/>
                  </a:cubicBezTo>
                  <a:cubicBezTo>
                    <a:pt x="102" y="22"/>
                    <a:pt x="101" y="22"/>
                    <a:pt x="101" y="23"/>
                  </a:cubicBezTo>
                  <a:cubicBezTo>
                    <a:pt x="101" y="23"/>
                    <a:pt x="101" y="23"/>
                    <a:pt x="102" y="23"/>
                  </a:cubicBezTo>
                  <a:cubicBezTo>
                    <a:pt x="102" y="23"/>
                    <a:pt x="102" y="24"/>
                    <a:pt x="102" y="24"/>
                  </a:cubicBezTo>
                  <a:cubicBezTo>
                    <a:pt x="103" y="24"/>
                    <a:pt x="103" y="25"/>
                    <a:pt x="103" y="25"/>
                  </a:cubicBezTo>
                  <a:cubicBezTo>
                    <a:pt x="104" y="26"/>
                    <a:pt x="104" y="26"/>
                    <a:pt x="104" y="26"/>
                  </a:cubicBezTo>
                  <a:cubicBezTo>
                    <a:pt x="105" y="27"/>
                    <a:pt x="105" y="27"/>
                    <a:pt x="105" y="27"/>
                  </a:cubicBezTo>
                  <a:cubicBezTo>
                    <a:pt x="106" y="28"/>
                    <a:pt x="106" y="29"/>
                    <a:pt x="106" y="30"/>
                  </a:cubicBezTo>
                  <a:cubicBezTo>
                    <a:pt x="106" y="30"/>
                    <a:pt x="106" y="31"/>
                    <a:pt x="106" y="31"/>
                  </a:cubicBezTo>
                  <a:cubicBezTo>
                    <a:pt x="107" y="31"/>
                    <a:pt x="107" y="32"/>
                    <a:pt x="107" y="32"/>
                  </a:cubicBezTo>
                  <a:cubicBezTo>
                    <a:pt x="107" y="33"/>
                    <a:pt x="107" y="33"/>
                    <a:pt x="106" y="34"/>
                  </a:cubicBezTo>
                  <a:cubicBezTo>
                    <a:pt x="106" y="34"/>
                    <a:pt x="105" y="35"/>
                    <a:pt x="104" y="36"/>
                  </a:cubicBezTo>
                  <a:cubicBezTo>
                    <a:pt x="104" y="36"/>
                    <a:pt x="103" y="35"/>
                    <a:pt x="103" y="35"/>
                  </a:cubicBezTo>
                  <a:cubicBezTo>
                    <a:pt x="103" y="35"/>
                    <a:pt x="102" y="35"/>
                    <a:pt x="102" y="35"/>
                  </a:cubicBezTo>
                  <a:cubicBezTo>
                    <a:pt x="101" y="35"/>
                    <a:pt x="102" y="35"/>
                    <a:pt x="102" y="35"/>
                  </a:cubicBezTo>
                  <a:cubicBezTo>
                    <a:pt x="102" y="36"/>
                    <a:pt x="103" y="36"/>
                    <a:pt x="103" y="36"/>
                  </a:cubicBezTo>
                  <a:cubicBezTo>
                    <a:pt x="103" y="37"/>
                    <a:pt x="103" y="37"/>
                    <a:pt x="104" y="37"/>
                  </a:cubicBezTo>
                  <a:cubicBezTo>
                    <a:pt x="104" y="38"/>
                    <a:pt x="104" y="38"/>
                    <a:pt x="104" y="39"/>
                  </a:cubicBezTo>
                  <a:cubicBezTo>
                    <a:pt x="104" y="40"/>
                    <a:pt x="103" y="40"/>
                    <a:pt x="103" y="41"/>
                  </a:cubicBezTo>
                  <a:cubicBezTo>
                    <a:pt x="103" y="42"/>
                    <a:pt x="103" y="42"/>
                    <a:pt x="102" y="42"/>
                  </a:cubicBezTo>
                  <a:cubicBezTo>
                    <a:pt x="102" y="43"/>
                    <a:pt x="102" y="43"/>
                    <a:pt x="102" y="43"/>
                  </a:cubicBezTo>
                  <a:cubicBezTo>
                    <a:pt x="102" y="44"/>
                    <a:pt x="102" y="44"/>
                    <a:pt x="102" y="45"/>
                  </a:cubicBezTo>
                  <a:cubicBezTo>
                    <a:pt x="102" y="45"/>
                    <a:pt x="102" y="45"/>
                    <a:pt x="102" y="45"/>
                  </a:cubicBezTo>
                  <a:cubicBezTo>
                    <a:pt x="102" y="45"/>
                    <a:pt x="102" y="45"/>
                    <a:pt x="102" y="46"/>
                  </a:cubicBezTo>
                  <a:cubicBezTo>
                    <a:pt x="103" y="46"/>
                    <a:pt x="103" y="48"/>
                    <a:pt x="103" y="49"/>
                  </a:cubicBezTo>
                  <a:cubicBezTo>
                    <a:pt x="103" y="49"/>
                    <a:pt x="103" y="49"/>
                    <a:pt x="103" y="50"/>
                  </a:cubicBezTo>
                  <a:cubicBezTo>
                    <a:pt x="103" y="50"/>
                    <a:pt x="103" y="51"/>
                    <a:pt x="103" y="52"/>
                  </a:cubicBezTo>
                  <a:cubicBezTo>
                    <a:pt x="103" y="52"/>
                    <a:pt x="104" y="52"/>
                    <a:pt x="104" y="52"/>
                  </a:cubicBezTo>
                  <a:cubicBezTo>
                    <a:pt x="104" y="53"/>
                    <a:pt x="104" y="53"/>
                    <a:pt x="104" y="53"/>
                  </a:cubicBezTo>
                  <a:cubicBezTo>
                    <a:pt x="104" y="54"/>
                    <a:pt x="104" y="55"/>
                    <a:pt x="104" y="56"/>
                  </a:cubicBezTo>
                  <a:cubicBezTo>
                    <a:pt x="104" y="57"/>
                    <a:pt x="105" y="57"/>
                    <a:pt x="105" y="58"/>
                  </a:cubicBezTo>
                  <a:cubicBezTo>
                    <a:pt x="106" y="59"/>
                    <a:pt x="106" y="60"/>
                    <a:pt x="107" y="60"/>
                  </a:cubicBezTo>
                  <a:cubicBezTo>
                    <a:pt x="107" y="61"/>
                    <a:pt x="108" y="61"/>
                    <a:pt x="107" y="62"/>
                  </a:cubicBezTo>
                  <a:cubicBezTo>
                    <a:pt x="106" y="62"/>
                    <a:pt x="106" y="62"/>
                    <a:pt x="105" y="61"/>
                  </a:cubicBezTo>
                  <a:cubicBezTo>
                    <a:pt x="104" y="61"/>
                    <a:pt x="104" y="61"/>
                    <a:pt x="103" y="60"/>
                  </a:cubicBezTo>
                  <a:cubicBezTo>
                    <a:pt x="103" y="60"/>
                    <a:pt x="102" y="59"/>
                    <a:pt x="102" y="59"/>
                  </a:cubicBezTo>
                  <a:cubicBezTo>
                    <a:pt x="102" y="58"/>
                    <a:pt x="101" y="58"/>
                    <a:pt x="101" y="57"/>
                  </a:cubicBezTo>
                  <a:cubicBezTo>
                    <a:pt x="100" y="57"/>
                    <a:pt x="100" y="57"/>
                    <a:pt x="100" y="56"/>
                  </a:cubicBezTo>
                  <a:cubicBezTo>
                    <a:pt x="99" y="56"/>
                    <a:pt x="99" y="56"/>
                    <a:pt x="99" y="55"/>
                  </a:cubicBezTo>
                  <a:cubicBezTo>
                    <a:pt x="99" y="55"/>
                    <a:pt x="98" y="54"/>
                    <a:pt x="98" y="54"/>
                  </a:cubicBezTo>
                  <a:cubicBezTo>
                    <a:pt x="97" y="54"/>
                    <a:pt x="98" y="55"/>
                    <a:pt x="98" y="56"/>
                  </a:cubicBezTo>
                  <a:cubicBezTo>
                    <a:pt x="98" y="56"/>
                    <a:pt x="99" y="57"/>
                    <a:pt x="99" y="57"/>
                  </a:cubicBezTo>
                  <a:cubicBezTo>
                    <a:pt x="100" y="58"/>
                    <a:pt x="100" y="59"/>
                    <a:pt x="101" y="59"/>
                  </a:cubicBezTo>
                  <a:cubicBezTo>
                    <a:pt x="102" y="60"/>
                    <a:pt x="103" y="61"/>
                    <a:pt x="103" y="62"/>
                  </a:cubicBezTo>
                  <a:cubicBezTo>
                    <a:pt x="105" y="65"/>
                    <a:pt x="108" y="66"/>
                    <a:pt x="109" y="69"/>
                  </a:cubicBezTo>
                  <a:cubicBezTo>
                    <a:pt x="109" y="70"/>
                    <a:pt x="110" y="70"/>
                    <a:pt x="110" y="70"/>
                  </a:cubicBezTo>
                  <a:cubicBezTo>
                    <a:pt x="110" y="71"/>
                    <a:pt x="110" y="73"/>
                    <a:pt x="109" y="74"/>
                  </a:cubicBezTo>
                  <a:cubicBezTo>
                    <a:pt x="108" y="74"/>
                    <a:pt x="108" y="73"/>
                    <a:pt x="108" y="72"/>
                  </a:cubicBezTo>
                  <a:cubicBezTo>
                    <a:pt x="107" y="72"/>
                    <a:pt x="107" y="71"/>
                    <a:pt x="107" y="70"/>
                  </a:cubicBezTo>
                  <a:cubicBezTo>
                    <a:pt x="106" y="70"/>
                    <a:pt x="106" y="69"/>
                    <a:pt x="105" y="69"/>
                  </a:cubicBezTo>
                  <a:cubicBezTo>
                    <a:pt x="105" y="69"/>
                    <a:pt x="105" y="70"/>
                    <a:pt x="105" y="70"/>
                  </a:cubicBezTo>
                  <a:cubicBezTo>
                    <a:pt x="105" y="71"/>
                    <a:pt x="104" y="71"/>
                    <a:pt x="104" y="71"/>
                  </a:cubicBezTo>
                  <a:cubicBezTo>
                    <a:pt x="103" y="71"/>
                    <a:pt x="103" y="71"/>
                    <a:pt x="102" y="70"/>
                  </a:cubicBezTo>
                  <a:cubicBezTo>
                    <a:pt x="102" y="69"/>
                    <a:pt x="102" y="69"/>
                    <a:pt x="101" y="68"/>
                  </a:cubicBezTo>
                  <a:cubicBezTo>
                    <a:pt x="100" y="68"/>
                    <a:pt x="100" y="67"/>
                    <a:pt x="99" y="67"/>
                  </a:cubicBezTo>
                  <a:cubicBezTo>
                    <a:pt x="98" y="67"/>
                    <a:pt x="97" y="66"/>
                    <a:pt x="98" y="66"/>
                  </a:cubicBezTo>
                  <a:cubicBezTo>
                    <a:pt x="98" y="66"/>
                    <a:pt x="98" y="66"/>
                    <a:pt x="98" y="65"/>
                  </a:cubicBezTo>
                  <a:cubicBezTo>
                    <a:pt x="98" y="65"/>
                    <a:pt x="98" y="65"/>
                    <a:pt x="98" y="65"/>
                  </a:cubicBezTo>
                  <a:cubicBezTo>
                    <a:pt x="98" y="65"/>
                    <a:pt x="98" y="65"/>
                    <a:pt x="97" y="65"/>
                  </a:cubicBezTo>
                  <a:cubicBezTo>
                    <a:pt x="97" y="65"/>
                    <a:pt x="96" y="65"/>
                    <a:pt x="96" y="65"/>
                  </a:cubicBezTo>
                  <a:cubicBezTo>
                    <a:pt x="95" y="66"/>
                    <a:pt x="95" y="66"/>
                    <a:pt x="95" y="66"/>
                  </a:cubicBezTo>
                  <a:cubicBezTo>
                    <a:pt x="94" y="66"/>
                    <a:pt x="94" y="66"/>
                    <a:pt x="93" y="65"/>
                  </a:cubicBezTo>
                  <a:cubicBezTo>
                    <a:pt x="93" y="64"/>
                    <a:pt x="93" y="63"/>
                    <a:pt x="92" y="63"/>
                  </a:cubicBezTo>
                  <a:cubicBezTo>
                    <a:pt x="91" y="63"/>
                    <a:pt x="92" y="64"/>
                    <a:pt x="91" y="64"/>
                  </a:cubicBezTo>
                  <a:cubicBezTo>
                    <a:pt x="91" y="64"/>
                    <a:pt x="90" y="64"/>
                    <a:pt x="90" y="64"/>
                  </a:cubicBezTo>
                  <a:cubicBezTo>
                    <a:pt x="90" y="64"/>
                    <a:pt x="89" y="63"/>
                    <a:pt x="89" y="63"/>
                  </a:cubicBezTo>
                  <a:cubicBezTo>
                    <a:pt x="89" y="63"/>
                    <a:pt x="88" y="63"/>
                    <a:pt x="88" y="62"/>
                  </a:cubicBezTo>
                  <a:cubicBezTo>
                    <a:pt x="88" y="62"/>
                    <a:pt x="88" y="62"/>
                    <a:pt x="87" y="61"/>
                  </a:cubicBezTo>
                  <a:cubicBezTo>
                    <a:pt x="87" y="61"/>
                    <a:pt x="87" y="60"/>
                    <a:pt x="86" y="60"/>
                  </a:cubicBezTo>
                  <a:cubicBezTo>
                    <a:pt x="86" y="59"/>
                    <a:pt x="85" y="55"/>
                    <a:pt x="83" y="57"/>
                  </a:cubicBezTo>
                  <a:cubicBezTo>
                    <a:pt x="81" y="57"/>
                    <a:pt x="82" y="59"/>
                    <a:pt x="81" y="60"/>
                  </a:cubicBezTo>
                  <a:cubicBezTo>
                    <a:pt x="80" y="62"/>
                    <a:pt x="78" y="61"/>
                    <a:pt x="78" y="59"/>
                  </a:cubicBezTo>
                  <a:cubicBezTo>
                    <a:pt x="77" y="58"/>
                    <a:pt x="77" y="56"/>
                    <a:pt x="78" y="54"/>
                  </a:cubicBezTo>
                  <a:cubicBezTo>
                    <a:pt x="78" y="53"/>
                    <a:pt x="79" y="53"/>
                    <a:pt x="79" y="52"/>
                  </a:cubicBezTo>
                  <a:cubicBezTo>
                    <a:pt x="80" y="51"/>
                    <a:pt x="81" y="51"/>
                    <a:pt x="82" y="50"/>
                  </a:cubicBezTo>
                  <a:cubicBezTo>
                    <a:pt x="83" y="49"/>
                    <a:pt x="85" y="48"/>
                    <a:pt x="86" y="46"/>
                  </a:cubicBezTo>
                  <a:cubicBezTo>
                    <a:pt x="86" y="45"/>
                    <a:pt x="86" y="45"/>
                    <a:pt x="86" y="44"/>
                  </a:cubicBezTo>
                  <a:cubicBezTo>
                    <a:pt x="86" y="44"/>
                    <a:pt x="85" y="43"/>
                    <a:pt x="85" y="44"/>
                  </a:cubicBezTo>
                  <a:cubicBezTo>
                    <a:pt x="85" y="44"/>
                    <a:pt x="85" y="44"/>
                    <a:pt x="85" y="44"/>
                  </a:cubicBezTo>
                  <a:cubicBezTo>
                    <a:pt x="85" y="39"/>
                    <a:pt x="85" y="39"/>
                    <a:pt x="85" y="39"/>
                  </a:cubicBezTo>
                  <a:cubicBezTo>
                    <a:pt x="86" y="39"/>
                    <a:pt x="86" y="39"/>
                    <a:pt x="86" y="39"/>
                  </a:cubicBezTo>
                  <a:cubicBezTo>
                    <a:pt x="88" y="38"/>
                    <a:pt x="88" y="38"/>
                    <a:pt x="88" y="38"/>
                  </a:cubicBezTo>
                  <a:cubicBezTo>
                    <a:pt x="88" y="36"/>
                    <a:pt x="88" y="36"/>
                    <a:pt x="88" y="36"/>
                  </a:cubicBezTo>
                  <a:cubicBezTo>
                    <a:pt x="85" y="32"/>
                    <a:pt x="85" y="32"/>
                    <a:pt x="85" y="32"/>
                  </a:cubicBezTo>
                  <a:cubicBezTo>
                    <a:pt x="85" y="32"/>
                    <a:pt x="82" y="36"/>
                    <a:pt x="82" y="35"/>
                  </a:cubicBezTo>
                  <a:cubicBezTo>
                    <a:pt x="82" y="35"/>
                    <a:pt x="80" y="33"/>
                    <a:pt x="80" y="33"/>
                  </a:cubicBezTo>
                  <a:cubicBezTo>
                    <a:pt x="80" y="33"/>
                    <a:pt x="78" y="33"/>
                    <a:pt x="78" y="33"/>
                  </a:cubicBezTo>
                  <a:cubicBezTo>
                    <a:pt x="78" y="33"/>
                    <a:pt x="77" y="31"/>
                    <a:pt x="77" y="31"/>
                  </a:cubicBezTo>
                  <a:cubicBezTo>
                    <a:pt x="77" y="31"/>
                    <a:pt x="76" y="30"/>
                    <a:pt x="75" y="30"/>
                  </a:cubicBezTo>
                  <a:cubicBezTo>
                    <a:pt x="75" y="30"/>
                    <a:pt x="72" y="29"/>
                    <a:pt x="71" y="29"/>
                  </a:cubicBezTo>
                  <a:cubicBezTo>
                    <a:pt x="71" y="29"/>
                    <a:pt x="68" y="28"/>
                    <a:pt x="68" y="27"/>
                  </a:cubicBezTo>
                  <a:cubicBezTo>
                    <a:pt x="68" y="27"/>
                    <a:pt x="68" y="25"/>
                    <a:pt x="68" y="25"/>
                  </a:cubicBezTo>
                  <a:cubicBezTo>
                    <a:pt x="68" y="25"/>
                    <a:pt x="70" y="22"/>
                    <a:pt x="70" y="22"/>
                  </a:cubicBezTo>
                  <a:cubicBezTo>
                    <a:pt x="70" y="22"/>
                    <a:pt x="67" y="19"/>
                    <a:pt x="67" y="19"/>
                  </a:cubicBezTo>
                  <a:cubicBezTo>
                    <a:pt x="66" y="18"/>
                    <a:pt x="61" y="18"/>
                    <a:pt x="61" y="18"/>
                  </a:cubicBezTo>
                  <a:cubicBezTo>
                    <a:pt x="60" y="17"/>
                    <a:pt x="60" y="17"/>
                    <a:pt x="60" y="17"/>
                  </a:cubicBezTo>
                  <a:cubicBezTo>
                    <a:pt x="60" y="13"/>
                    <a:pt x="60" y="13"/>
                    <a:pt x="60" y="13"/>
                  </a:cubicBezTo>
                  <a:cubicBezTo>
                    <a:pt x="58" y="13"/>
                    <a:pt x="58" y="13"/>
                    <a:pt x="58" y="13"/>
                  </a:cubicBezTo>
                  <a:cubicBezTo>
                    <a:pt x="58" y="13"/>
                    <a:pt x="59" y="11"/>
                    <a:pt x="59" y="11"/>
                  </a:cubicBezTo>
                  <a:cubicBezTo>
                    <a:pt x="59" y="11"/>
                    <a:pt x="59" y="10"/>
                    <a:pt x="59" y="10"/>
                  </a:cubicBezTo>
                  <a:cubicBezTo>
                    <a:pt x="57" y="10"/>
                    <a:pt x="57" y="10"/>
                    <a:pt x="57" y="10"/>
                  </a:cubicBezTo>
                  <a:cubicBezTo>
                    <a:pt x="57" y="9"/>
                    <a:pt x="57" y="9"/>
                    <a:pt x="57" y="9"/>
                  </a:cubicBezTo>
                  <a:cubicBezTo>
                    <a:pt x="56" y="9"/>
                    <a:pt x="56" y="9"/>
                    <a:pt x="56" y="9"/>
                  </a:cubicBezTo>
                  <a:cubicBezTo>
                    <a:pt x="56" y="9"/>
                    <a:pt x="56" y="7"/>
                    <a:pt x="56" y="6"/>
                  </a:cubicBezTo>
                  <a:cubicBezTo>
                    <a:pt x="56" y="6"/>
                    <a:pt x="57" y="5"/>
                    <a:pt x="57" y="5"/>
                  </a:cubicBezTo>
                  <a:cubicBezTo>
                    <a:pt x="57" y="5"/>
                    <a:pt x="55" y="5"/>
                    <a:pt x="55" y="5"/>
                  </a:cubicBezTo>
                  <a:cubicBezTo>
                    <a:pt x="55" y="5"/>
                    <a:pt x="53" y="6"/>
                    <a:pt x="53" y="6"/>
                  </a:cubicBezTo>
                  <a:cubicBezTo>
                    <a:pt x="53" y="6"/>
                    <a:pt x="54" y="5"/>
                    <a:pt x="53" y="5"/>
                  </a:cubicBezTo>
                  <a:cubicBezTo>
                    <a:pt x="53" y="4"/>
                    <a:pt x="52" y="5"/>
                    <a:pt x="52" y="5"/>
                  </a:cubicBezTo>
                  <a:cubicBezTo>
                    <a:pt x="52" y="5"/>
                    <a:pt x="46" y="1"/>
                    <a:pt x="46" y="1"/>
                  </a:cubicBezTo>
                  <a:cubicBezTo>
                    <a:pt x="44" y="1"/>
                    <a:pt x="44" y="1"/>
                    <a:pt x="44" y="1"/>
                  </a:cubicBezTo>
                  <a:cubicBezTo>
                    <a:pt x="42" y="4"/>
                    <a:pt x="42" y="4"/>
                    <a:pt x="42" y="4"/>
                  </a:cubicBezTo>
                  <a:cubicBezTo>
                    <a:pt x="42" y="4"/>
                    <a:pt x="39" y="4"/>
                    <a:pt x="39" y="4"/>
                  </a:cubicBezTo>
                  <a:cubicBezTo>
                    <a:pt x="39" y="3"/>
                    <a:pt x="38" y="5"/>
                    <a:pt x="38" y="5"/>
                  </a:cubicBezTo>
                  <a:cubicBezTo>
                    <a:pt x="36" y="4"/>
                    <a:pt x="36" y="4"/>
                    <a:pt x="36" y="4"/>
                  </a:cubicBezTo>
                  <a:cubicBezTo>
                    <a:pt x="36" y="4"/>
                    <a:pt x="37" y="6"/>
                    <a:pt x="37" y="6"/>
                  </a:cubicBezTo>
                  <a:cubicBezTo>
                    <a:pt x="37" y="6"/>
                    <a:pt x="36" y="6"/>
                    <a:pt x="36" y="6"/>
                  </a:cubicBezTo>
                  <a:cubicBezTo>
                    <a:pt x="35" y="7"/>
                    <a:pt x="35" y="8"/>
                    <a:pt x="35" y="8"/>
                  </a:cubicBezTo>
                  <a:cubicBezTo>
                    <a:pt x="37" y="8"/>
                    <a:pt x="37" y="8"/>
                    <a:pt x="37" y="8"/>
                  </a:cubicBezTo>
                  <a:cubicBezTo>
                    <a:pt x="35" y="9"/>
                    <a:pt x="35" y="9"/>
                    <a:pt x="35" y="9"/>
                  </a:cubicBezTo>
                  <a:cubicBezTo>
                    <a:pt x="35" y="9"/>
                    <a:pt x="33" y="9"/>
                    <a:pt x="33" y="9"/>
                  </a:cubicBezTo>
                  <a:cubicBezTo>
                    <a:pt x="33" y="9"/>
                    <a:pt x="31" y="9"/>
                    <a:pt x="30" y="8"/>
                  </a:cubicBezTo>
                  <a:cubicBezTo>
                    <a:pt x="30" y="8"/>
                    <a:pt x="28" y="7"/>
                    <a:pt x="28" y="7"/>
                  </a:cubicBezTo>
                  <a:cubicBezTo>
                    <a:pt x="28" y="7"/>
                    <a:pt x="26" y="7"/>
                    <a:pt x="26" y="7"/>
                  </a:cubicBezTo>
                  <a:cubicBezTo>
                    <a:pt x="26" y="6"/>
                    <a:pt x="25" y="5"/>
                    <a:pt x="25" y="5"/>
                  </a:cubicBezTo>
                  <a:cubicBezTo>
                    <a:pt x="25" y="4"/>
                    <a:pt x="24" y="5"/>
                    <a:pt x="24" y="5"/>
                  </a:cubicBezTo>
                  <a:cubicBezTo>
                    <a:pt x="24" y="5"/>
                    <a:pt x="24" y="5"/>
                    <a:pt x="24" y="5"/>
                  </a:cubicBezTo>
                  <a:cubicBezTo>
                    <a:pt x="23" y="5"/>
                    <a:pt x="23" y="6"/>
                    <a:pt x="23" y="7"/>
                  </a:cubicBezTo>
                  <a:cubicBezTo>
                    <a:pt x="23" y="7"/>
                    <a:pt x="23" y="7"/>
                    <a:pt x="23" y="7"/>
                  </a:cubicBezTo>
                  <a:cubicBezTo>
                    <a:pt x="22" y="7"/>
                    <a:pt x="22" y="7"/>
                    <a:pt x="22" y="7"/>
                  </a:cubicBezTo>
                  <a:cubicBezTo>
                    <a:pt x="22" y="7"/>
                    <a:pt x="19" y="10"/>
                    <a:pt x="19" y="10"/>
                  </a:cubicBezTo>
                  <a:cubicBezTo>
                    <a:pt x="19" y="11"/>
                    <a:pt x="18" y="12"/>
                    <a:pt x="18" y="12"/>
                  </a:cubicBezTo>
                  <a:cubicBezTo>
                    <a:pt x="18" y="12"/>
                    <a:pt x="17" y="12"/>
                    <a:pt x="17" y="12"/>
                  </a:cubicBezTo>
                  <a:cubicBezTo>
                    <a:pt x="17" y="11"/>
                    <a:pt x="16" y="11"/>
                    <a:pt x="15" y="11"/>
                  </a:cubicBezTo>
                  <a:cubicBezTo>
                    <a:pt x="15" y="10"/>
                    <a:pt x="14" y="11"/>
                    <a:pt x="14" y="11"/>
                  </a:cubicBezTo>
                  <a:cubicBezTo>
                    <a:pt x="13" y="12"/>
                    <a:pt x="13" y="12"/>
                    <a:pt x="13" y="12"/>
                  </a:cubicBezTo>
                  <a:cubicBezTo>
                    <a:pt x="12" y="13"/>
                    <a:pt x="12" y="13"/>
                    <a:pt x="12" y="13"/>
                  </a:cubicBezTo>
                  <a:cubicBezTo>
                    <a:pt x="11" y="15"/>
                    <a:pt x="11" y="15"/>
                    <a:pt x="11" y="15"/>
                  </a:cubicBezTo>
                  <a:cubicBezTo>
                    <a:pt x="10" y="15"/>
                    <a:pt x="10" y="15"/>
                    <a:pt x="10" y="15"/>
                  </a:cubicBezTo>
                  <a:cubicBezTo>
                    <a:pt x="7" y="18"/>
                    <a:pt x="7" y="18"/>
                    <a:pt x="7" y="18"/>
                  </a:cubicBezTo>
                  <a:cubicBezTo>
                    <a:pt x="7" y="18"/>
                    <a:pt x="5" y="19"/>
                    <a:pt x="5" y="19"/>
                  </a:cubicBezTo>
                  <a:cubicBezTo>
                    <a:pt x="5" y="19"/>
                    <a:pt x="0" y="22"/>
                    <a:pt x="0" y="22"/>
                  </a:cubicBezTo>
                  <a:cubicBezTo>
                    <a:pt x="0" y="0"/>
                    <a:pt x="0" y="0"/>
                    <a:pt x="0" y="0"/>
                  </a:cubicBezTo>
                  <a:cubicBezTo>
                    <a:pt x="128" y="0"/>
                    <a:pt x="128" y="0"/>
                    <a:pt x="128" y="0"/>
                  </a:cubicBezTo>
                  <a:cubicBezTo>
                    <a:pt x="131" y="56"/>
                    <a:pt x="131" y="56"/>
                    <a:pt x="131" y="56"/>
                  </a:cubicBezTo>
                  <a:lnTo>
                    <a:pt x="154" y="56"/>
                  </a:lnTo>
                  <a:close/>
                  <a:moveTo>
                    <a:pt x="109" y="39"/>
                  </a:moveTo>
                  <a:cubicBezTo>
                    <a:pt x="110" y="38"/>
                    <a:pt x="110" y="37"/>
                    <a:pt x="110" y="37"/>
                  </a:cubicBezTo>
                  <a:cubicBezTo>
                    <a:pt x="110" y="36"/>
                    <a:pt x="111" y="36"/>
                    <a:pt x="111" y="36"/>
                  </a:cubicBezTo>
                  <a:cubicBezTo>
                    <a:pt x="112" y="35"/>
                    <a:pt x="112" y="35"/>
                    <a:pt x="112" y="34"/>
                  </a:cubicBezTo>
                  <a:cubicBezTo>
                    <a:pt x="112" y="34"/>
                    <a:pt x="112" y="34"/>
                    <a:pt x="111" y="33"/>
                  </a:cubicBezTo>
                  <a:cubicBezTo>
                    <a:pt x="111" y="33"/>
                    <a:pt x="111" y="33"/>
                    <a:pt x="111" y="33"/>
                  </a:cubicBezTo>
                  <a:cubicBezTo>
                    <a:pt x="110" y="33"/>
                    <a:pt x="110" y="33"/>
                    <a:pt x="110" y="34"/>
                  </a:cubicBezTo>
                  <a:cubicBezTo>
                    <a:pt x="110" y="34"/>
                    <a:pt x="110" y="35"/>
                    <a:pt x="109" y="35"/>
                  </a:cubicBezTo>
                  <a:cubicBezTo>
                    <a:pt x="109" y="35"/>
                    <a:pt x="109" y="36"/>
                    <a:pt x="109" y="36"/>
                  </a:cubicBezTo>
                  <a:cubicBezTo>
                    <a:pt x="108" y="37"/>
                    <a:pt x="109" y="37"/>
                    <a:pt x="108" y="37"/>
                  </a:cubicBezTo>
                  <a:cubicBezTo>
                    <a:pt x="109" y="38"/>
                    <a:pt x="109" y="39"/>
                    <a:pt x="109" y="39"/>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6" name="Freeform 39">
              <a:extLst>
                <a:ext uri="{FF2B5EF4-FFF2-40B4-BE49-F238E27FC236}">
                  <a16:creationId xmlns:a16="http://schemas.microsoft.com/office/drawing/2014/main" id="{7681BF1D-EB82-ED1A-3AE2-9EED898E75AB}"/>
                </a:ext>
              </a:extLst>
            </p:cNvPr>
            <p:cNvSpPr>
              <a:spLocks noEditPoints="1"/>
            </p:cNvSpPr>
            <p:nvPr/>
          </p:nvSpPr>
          <p:spPr bwMode="auto">
            <a:xfrm>
              <a:off x="9855551" y="1273775"/>
              <a:ext cx="558445" cy="860798"/>
            </a:xfrm>
            <a:custGeom>
              <a:avLst/>
              <a:gdLst>
                <a:gd name="T0" fmla="*/ 76 w 141"/>
                <a:gd name="T1" fmla="*/ 158 h 217"/>
                <a:gd name="T2" fmla="*/ 78 w 141"/>
                <a:gd name="T3" fmla="*/ 165 h 217"/>
                <a:gd name="T4" fmla="*/ 76 w 141"/>
                <a:gd name="T5" fmla="*/ 164 h 217"/>
                <a:gd name="T6" fmla="*/ 78 w 141"/>
                <a:gd name="T7" fmla="*/ 170 h 217"/>
                <a:gd name="T8" fmla="*/ 76 w 141"/>
                <a:gd name="T9" fmla="*/ 168 h 217"/>
                <a:gd name="T10" fmla="*/ 85 w 141"/>
                <a:gd name="T11" fmla="*/ 162 h 217"/>
                <a:gd name="T12" fmla="*/ 83 w 141"/>
                <a:gd name="T13" fmla="*/ 161 h 217"/>
                <a:gd name="T14" fmla="*/ 77 w 141"/>
                <a:gd name="T15" fmla="*/ 154 h 217"/>
                <a:gd name="T16" fmla="*/ 138 w 141"/>
                <a:gd name="T17" fmla="*/ 130 h 217"/>
                <a:gd name="T18" fmla="*/ 137 w 141"/>
                <a:gd name="T19" fmla="*/ 127 h 217"/>
                <a:gd name="T20" fmla="*/ 138 w 141"/>
                <a:gd name="T21" fmla="*/ 121 h 217"/>
                <a:gd name="T22" fmla="*/ 132 w 141"/>
                <a:gd name="T23" fmla="*/ 114 h 217"/>
                <a:gd name="T24" fmla="*/ 124 w 141"/>
                <a:gd name="T25" fmla="*/ 100 h 217"/>
                <a:gd name="T26" fmla="*/ 121 w 141"/>
                <a:gd name="T27" fmla="*/ 93 h 217"/>
                <a:gd name="T28" fmla="*/ 113 w 141"/>
                <a:gd name="T29" fmla="*/ 84 h 217"/>
                <a:gd name="T30" fmla="*/ 114 w 141"/>
                <a:gd name="T31" fmla="*/ 77 h 217"/>
                <a:gd name="T32" fmla="*/ 86 w 141"/>
                <a:gd name="T33" fmla="*/ 11 h 217"/>
                <a:gd name="T34" fmla="*/ 36 w 141"/>
                <a:gd name="T35" fmla="*/ 53 h 217"/>
                <a:gd name="T36" fmla="*/ 28 w 141"/>
                <a:gd name="T37" fmla="*/ 74 h 217"/>
                <a:gd name="T38" fmla="*/ 16 w 141"/>
                <a:gd name="T39" fmla="*/ 93 h 217"/>
                <a:gd name="T40" fmla="*/ 9 w 141"/>
                <a:gd name="T41" fmla="*/ 109 h 217"/>
                <a:gd name="T42" fmla="*/ 4 w 141"/>
                <a:gd name="T43" fmla="*/ 186 h 217"/>
                <a:gd name="T44" fmla="*/ 13 w 141"/>
                <a:gd name="T45" fmla="*/ 216 h 217"/>
                <a:gd name="T46" fmla="*/ 20 w 141"/>
                <a:gd name="T47" fmla="*/ 204 h 217"/>
                <a:gd name="T48" fmla="*/ 29 w 141"/>
                <a:gd name="T49" fmla="*/ 193 h 217"/>
                <a:gd name="T50" fmla="*/ 36 w 141"/>
                <a:gd name="T51" fmla="*/ 180 h 217"/>
                <a:gd name="T52" fmla="*/ 40 w 141"/>
                <a:gd name="T53" fmla="*/ 179 h 217"/>
                <a:gd name="T54" fmla="*/ 45 w 141"/>
                <a:gd name="T55" fmla="*/ 184 h 217"/>
                <a:gd name="T56" fmla="*/ 45 w 141"/>
                <a:gd name="T57" fmla="*/ 175 h 217"/>
                <a:gd name="T58" fmla="*/ 47 w 141"/>
                <a:gd name="T59" fmla="*/ 181 h 217"/>
                <a:gd name="T60" fmla="*/ 47 w 141"/>
                <a:gd name="T61" fmla="*/ 177 h 217"/>
                <a:gd name="T62" fmla="*/ 51 w 141"/>
                <a:gd name="T63" fmla="*/ 178 h 217"/>
                <a:gd name="T64" fmla="*/ 53 w 141"/>
                <a:gd name="T65" fmla="*/ 172 h 217"/>
                <a:gd name="T66" fmla="*/ 55 w 141"/>
                <a:gd name="T67" fmla="*/ 178 h 217"/>
                <a:gd name="T68" fmla="*/ 59 w 141"/>
                <a:gd name="T69" fmla="*/ 169 h 217"/>
                <a:gd name="T70" fmla="*/ 61 w 141"/>
                <a:gd name="T71" fmla="*/ 173 h 217"/>
                <a:gd name="T72" fmla="*/ 66 w 141"/>
                <a:gd name="T73" fmla="*/ 173 h 217"/>
                <a:gd name="T74" fmla="*/ 70 w 141"/>
                <a:gd name="T75" fmla="*/ 168 h 217"/>
                <a:gd name="T76" fmla="*/ 70 w 141"/>
                <a:gd name="T77" fmla="*/ 163 h 217"/>
                <a:gd name="T78" fmla="*/ 74 w 141"/>
                <a:gd name="T79" fmla="*/ 157 h 217"/>
                <a:gd name="T80" fmla="*/ 74 w 141"/>
                <a:gd name="T81" fmla="*/ 151 h 217"/>
                <a:gd name="T82" fmla="*/ 79 w 141"/>
                <a:gd name="T83" fmla="*/ 147 h 217"/>
                <a:gd name="T84" fmla="*/ 79 w 141"/>
                <a:gd name="T85" fmla="*/ 151 h 217"/>
                <a:gd name="T86" fmla="*/ 81 w 141"/>
                <a:gd name="T87" fmla="*/ 156 h 217"/>
                <a:gd name="T88" fmla="*/ 88 w 141"/>
                <a:gd name="T89" fmla="*/ 160 h 217"/>
                <a:gd name="T90" fmla="*/ 88 w 141"/>
                <a:gd name="T91" fmla="*/ 156 h 217"/>
                <a:gd name="T92" fmla="*/ 90 w 141"/>
                <a:gd name="T93" fmla="*/ 149 h 217"/>
                <a:gd name="T94" fmla="*/ 93 w 141"/>
                <a:gd name="T95" fmla="*/ 152 h 217"/>
                <a:gd name="T96" fmla="*/ 94 w 141"/>
                <a:gd name="T97" fmla="*/ 156 h 217"/>
                <a:gd name="T98" fmla="*/ 98 w 141"/>
                <a:gd name="T99" fmla="*/ 159 h 217"/>
                <a:gd name="T100" fmla="*/ 98 w 141"/>
                <a:gd name="T101" fmla="*/ 153 h 217"/>
                <a:gd name="T102" fmla="*/ 99 w 141"/>
                <a:gd name="T103" fmla="*/ 149 h 217"/>
                <a:gd name="T104" fmla="*/ 103 w 141"/>
                <a:gd name="T105" fmla="*/ 153 h 217"/>
                <a:gd name="T106" fmla="*/ 107 w 141"/>
                <a:gd name="T107" fmla="*/ 149 h 217"/>
                <a:gd name="T108" fmla="*/ 111 w 141"/>
                <a:gd name="T109" fmla="*/ 152 h 217"/>
                <a:gd name="T110" fmla="*/ 113 w 141"/>
                <a:gd name="T111" fmla="*/ 145 h 217"/>
                <a:gd name="T112" fmla="*/ 123 w 141"/>
                <a:gd name="T113" fmla="*/ 142 h 217"/>
                <a:gd name="T114" fmla="*/ 126 w 141"/>
                <a:gd name="T115" fmla="*/ 143 h 217"/>
                <a:gd name="T116" fmla="*/ 129 w 141"/>
                <a:gd name="T117" fmla="*/ 138 h 217"/>
                <a:gd name="T118" fmla="*/ 135 w 141"/>
                <a:gd name="T119" fmla="*/ 14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1" h="217">
                  <a:moveTo>
                    <a:pt x="74" y="159"/>
                  </a:moveTo>
                  <a:cubicBezTo>
                    <a:pt x="74" y="158"/>
                    <a:pt x="74" y="158"/>
                    <a:pt x="74" y="158"/>
                  </a:cubicBezTo>
                  <a:cubicBezTo>
                    <a:pt x="75" y="158"/>
                    <a:pt x="75" y="158"/>
                    <a:pt x="75" y="157"/>
                  </a:cubicBezTo>
                  <a:cubicBezTo>
                    <a:pt x="75" y="157"/>
                    <a:pt x="75" y="157"/>
                    <a:pt x="75" y="157"/>
                  </a:cubicBezTo>
                  <a:cubicBezTo>
                    <a:pt x="75" y="157"/>
                    <a:pt x="75" y="156"/>
                    <a:pt x="75" y="156"/>
                  </a:cubicBezTo>
                  <a:cubicBezTo>
                    <a:pt x="76" y="156"/>
                    <a:pt x="76" y="156"/>
                    <a:pt x="76" y="156"/>
                  </a:cubicBezTo>
                  <a:cubicBezTo>
                    <a:pt x="76" y="156"/>
                    <a:pt x="76" y="157"/>
                    <a:pt x="76" y="157"/>
                  </a:cubicBezTo>
                  <a:cubicBezTo>
                    <a:pt x="76" y="157"/>
                    <a:pt x="76" y="157"/>
                    <a:pt x="76" y="158"/>
                  </a:cubicBezTo>
                  <a:cubicBezTo>
                    <a:pt x="76" y="158"/>
                    <a:pt x="76" y="158"/>
                    <a:pt x="76" y="158"/>
                  </a:cubicBezTo>
                  <a:cubicBezTo>
                    <a:pt x="76" y="158"/>
                    <a:pt x="76" y="158"/>
                    <a:pt x="75" y="159"/>
                  </a:cubicBezTo>
                  <a:cubicBezTo>
                    <a:pt x="75" y="159"/>
                    <a:pt x="75" y="159"/>
                    <a:pt x="75" y="159"/>
                  </a:cubicBezTo>
                  <a:cubicBezTo>
                    <a:pt x="75" y="159"/>
                    <a:pt x="75" y="159"/>
                    <a:pt x="74" y="159"/>
                  </a:cubicBezTo>
                  <a:close/>
                  <a:moveTo>
                    <a:pt x="76" y="165"/>
                  </a:moveTo>
                  <a:cubicBezTo>
                    <a:pt x="76" y="165"/>
                    <a:pt x="76" y="165"/>
                    <a:pt x="77" y="165"/>
                  </a:cubicBezTo>
                  <a:cubicBezTo>
                    <a:pt x="77" y="165"/>
                    <a:pt x="77" y="165"/>
                    <a:pt x="77" y="165"/>
                  </a:cubicBezTo>
                  <a:cubicBezTo>
                    <a:pt x="78" y="165"/>
                    <a:pt x="78" y="165"/>
                    <a:pt x="78" y="165"/>
                  </a:cubicBezTo>
                  <a:cubicBezTo>
                    <a:pt x="79" y="165"/>
                    <a:pt x="79" y="165"/>
                    <a:pt x="79" y="165"/>
                  </a:cubicBezTo>
                  <a:cubicBezTo>
                    <a:pt x="79" y="164"/>
                    <a:pt x="79" y="164"/>
                    <a:pt x="79" y="164"/>
                  </a:cubicBezTo>
                  <a:cubicBezTo>
                    <a:pt x="79" y="164"/>
                    <a:pt x="79" y="164"/>
                    <a:pt x="79" y="164"/>
                  </a:cubicBezTo>
                  <a:cubicBezTo>
                    <a:pt x="79" y="164"/>
                    <a:pt x="78" y="164"/>
                    <a:pt x="78" y="164"/>
                  </a:cubicBezTo>
                  <a:cubicBezTo>
                    <a:pt x="78" y="164"/>
                    <a:pt x="78" y="164"/>
                    <a:pt x="78" y="163"/>
                  </a:cubicBezTo>
                  <a:cubicBezTo>
                    <a:pt x="78" y="163"/>
                    <a:pt x="77" y="163"/>
                    <a:pt x="77" y="164"/>
                  </a:cubicBezTo>
                  <a:cubicBezTo>
                    <a:pt x="77" y="164"/>
                    <a:pt x="77" y="164"/>
                    <a:pt x="77" y="164"/>
                  </a:cubicBezTo>
                  <a:cubicBezTo>
                    <a:pt x="77" y="164"/>
                    <a:pt x="76" y="164"/>
                    <a:pt x="76" y="164"/>
                  </a:cubicBezTo>
                  <a:cubicBezTo>
                    <a:pt x="76" y="164"/>
                    <a:pt x="75" y="164"/>
                    <a:pt x="75" y="164"/>
                  </a:cubicBezTo>
                  <a:cubicBezTo>
                    <a:pt x="75" y="165"/>
                    <a:pt x="76" y="165"/>
                    <a:pt x="76" y="165"/>
                  </a:cubicBezTo>
                  <a:close/>
                  <a:moveTo>
                    <a:pt x="76" y="168"/>
                  </a:moveTo>
                  <a:cubicBezTo>
                    <a:pt x="76" y="168"/>
                    <a:pt x="76" y="168"/>
                    <a:pt x="77" y="168"/>
                  </a:cubicBezTo>
                  <a:cubicBezTo>
                    <a:pt x="77" y="168"/>
                    <a:pt x="77" y="168"/>
                    <a:pt x="77" y="169"/>
                  </a:cubicBezTo>
                  <a:cubicBezTo>
                    <a:pt x="77" y="169"/>
                    <a:pt x="77" y="169"/>
                    <a:pt x="77" y="169"/>
                  </a:cubicBezTo>
                  <a:cubicBezTo>
                    <a:pt x="77" y="169"/>
                    <a:pt x="77" y="170"/>
                    <a:pt x="77" y="170"/>
                  </a:cubicBezTo>
                  <a:cubicBezTo>
                    <a:pt x="77" y="170"/>
                    <a:pt x="78" y="170"/>
                    <a:pt x="78" y="170"/>
                  </a:cubicBezTo>
                  <a:cubicBezTo>
                    <a:pt x="78" y="170"/>
                    <a:pt x="79" y="170"/>
                    <a:pt x="79" y="170"/>
                  </a:cubicBezTo>
                  <a:cubicBezTo>
                    <a:pt x="79" y="170"/>
                    <a:pt x="79" y="169"/>
                    <a:pt x="79" y="169"/>
                  </a:cubicBezTo>
                  <a:cubicBezTo>
                    <a:pt x="79" y="168"/>
                    <a:pt x="79" y="168"/>
                    <a:pt x="79" y="168"/>
                  </a:cubicBezTo>
                  <a:cubicBezTo>
                    <a:pt x="79" y="167"/>
                    <a:pt x="79" y="167"/>
                    <a:pt x="79" y="167"/>
                  </a:cubicBezTo>
                  <a:cubicBezTo>
                    <a:pt x="79" y="166"/>
                    <a:pt x="78" y="167"/>
                    <a:pt x="78" y="167"/>
                  </a:cubicBezTo>
                  <a:cubicBezTo>
                    <a:pt x="78" y="167"/>
                    <a:pt x="77" y="167"/>
                    <a:pt x="77" y="167"/>
                  </a:cubicBezTo>
                  <a:cubicBezTo>
                    <a:pt x="77" y="167"/>
                    <a:pt x="76" y="166"/>
                    <a:pt x="76" y="167"/>
                  </a:cubicBezTo>
                  <a:cubicBezTo>
                    <a:pt x="76" y="167"/>
                    <a:pt x="76" y="167"/>
                    <a:pt x="76" y="168"/>
                  </a:cubicBezTo>
                  <a:cubicBezTo>
                    <a:pt x="76" y="168"/>
                    <a:pt x="76" y="168"/>
                    <a:pt x="76" y="168"/>
                  </a:cubicBezTo>
                  <a:close/>
                  <a:moveTo>
                    <a:pt x="82" y="163"/>
                  </a:moveTo>
                  <a:cubicBezTo>
                    <a:pt x="83" y="163"/>
                    <a:pt x="83" y="163"/>
                    <a:pt x="83" y="163"/>
                  </a:cubicBezTo>
                  <a:cubicBezTo>
                    <a:pt x="83" y="163"/>
                    <a:pt x="83" y="163"/>
                    <a:pt x="83" y="163"/>
                  </a:cubicBezTo>
                  <a:cubicBezTo>
                    <a:pt x="83" y="163"/>
                    <a:pt x="84" y="163"/>
                    <a:pt x="84" y="163"/>
                  </a:cubicBezTo>
                  <a:cubicBezTo>
                    <a:pt x="84" y="163"/>
                    <a:pt x="84" y="163"/>
                    <a:pt x="84" y="163"/>
                  </a:cubicBezTo>
                  <a:cubicBezTo>
                    <a:pt x="84" y="163"/>
                    <a:pt x="84" y="162"/>
                    <a:pt x="84" y="162"/>
                  </a:cubicBezTo>
                  <a:cubicBezTo>
                    <a:pt x="84" y="162"/>
                    <a:pt x="85" y="162"/>
                    <a:pt x="85" y="162"/>
                  </a:cubicBezTo>
                  <a:cubicBezTo>
                    <a:pt x="85" y="162"/>
                    <a:pt x="85" y="161"/>
                    <a:pt x="85" y="161"/>
                  </a:cubicBezTo>
                  <a:cubicBezTo>
                    <a:pt x="85" y="161"/>
                    <a:pt x="86" y="161"/>
                    <a:pt x="86" y="161"/>
                  </a:cubicBezTo>
                  <a:cubicBezTo>
                    <a:pt x="86" y="160"/>
                    <a:pt x="86" y="160"/>
                    <a:pt x="86" y="160"/>
                  </a:cubicBezTo>
                  <a:cubicBezTo>
                    <a:pt x="86" y="160"/>
                    <a:pt x="85" y="160"/>
                    <a:pt x="85" y="160"/>
                  </a:cubicBezTo>
                  <a:cubicBezTo>
                    <a:pt x="85" y="160"/>
                    <a:pt x="85" y="160"/>
                    <a:pt x="84" y="159"/>
                  </a:cubicBezTo>
                  <a:cubicBezTo>
                    <a:pt x="84" y="159"/>
                    <a:pt x="84" y="159"/>
                    <a:pt x="84" y="159"/>
                  </a:cubicBezTo>
                  <a:cubicBezTo>
                    <a:pt x="84" y="159"/>
                    <a:pt x="83" y="159"/>
                    <a:pt x="83" y="160"/>
                  </a:cubicBezTo>
                  <a:cubicBezTo>
                    <a:pt x="83" y="160"/>
                    <a:pt x="83" y="160"/>
                    <a:pt x="83" y="161"/>
                  </a:cubicBezTo>
                  <a:cubicBezTo>
                    <a:pt x="83" y="161"/>
                    <a:pt x="83" y="161"/>
                    <a:pt x="83" y="162"/>
                  </a:cubicBezTo>
                  <a:cubicBezTo>
                    <a:pt x="83" y="162"/>
                    <a:pt x="82" y="162"/>
                    <a:pt x="82" y="162"/>
                  </a:cubicBezTo>
                  <a:cubicBezTo>
                    <a:pt x="82" y="163"/>
                    <a:pt x="82" y="163"/>
                    <a:pt x="82" y="163"/>
                  </a:cubicBezTo>
                  <a:cubicBezTo>
                    <a:pt x="82" y="163"/>
                    <a:pt x="82" y="163"/>
                    <a:pt x="82" y="163"/>
                  </a:cubicBezTo>
                  <a:close/>
                  <a:moveTo>
                    <a:pt x="77" y="154"/>
                  </a:moveTo>
                  <a:cubicBezTo>
                    <a:pt x="77" y="154"/>
                    <a:pt x="77" y="154"/>
                    <a:pt x="77" y="154"/>
                  </a:cubicBezTo>
                  <a:cubicBezTo>
                    <a:pt x="76" y="153"/>
                    <a:pt x="76" y="154"/>
                    <a:pt x="76" y="154"/>
                  </a:cubicBezTo>
                  <a:cubicBezTo>
                    <a:pt x="76" y="154"/>
                    <a:pt x="76" y="154"/>
                    <a:pt x="77" y="154"/>
                  </a:cubicBezTo>
                  <a:close/>
                  <a:moveTo>
                    <a:pt x="141" y="131"/>
                  </a:moveTo>
                  <a:cubicBezTo>
                    <a:pt x="141" y="131"/>
                    <a:pt x="140" y="131"/>
                    <a:pt x="140" y="131"/>
                  </a:cubicBezTo>
                  <a:cubicBezTo>
                    <a:pt x="140" y="131"/>
                    <a:pt x="140" y="130"/>
                    <a:pt x="140" y="130"/>
                  </a:cubicBezTo>
                  <a:cubicBezTo>
                    <a:pt x="140" y="130"/>
                    <a:pt x="140" y="130"/>
                    <a:pt x="140" y="130"/>
                  </a:cubicBezTo>
                  <a:cubicBezTo>
                    <a:pt x="140" y="129"/>
                    <a:pt x="140" y="129"/>
                    <a:pt x="140" y="129"/>
                  </a:cubicBezTo>
                  <a:cubicBezTo>
                    <a:pt x="139" y="129"/>
                    <a:pt x="139" y="129"/>
                    <a:pt x="139" y="129"/>
                  </a:cubicBezTo>
                  <a:cubicBezTo>
                    <a:pt x="139" y="129"/>
                    <a:pt x="139" y="129"/>
                    <a:pt x="139" y="129"/>
                  </a:cubicBezTo>
                  <a:cubicBezTo>
                    <a:pt x="139" y="130"/>
                    <a:pt x="139" y="130"/>
                    <a:pt x="138" y="130"/>
                  </a:cubicBezTo>
                  <a:cubicBezTo>
                    <a:pt x="138" y="130"/>
                    <a:pt x="138" y="130"/>
                    <a:pt x="138" y="131"/>
                  </a:cubicBezTo>
                  <a:cubicBezTo>
                    <a:pt x="138" y="131"/>
                    <a:pt x="138" y="131"/>
                    <a:pt x="137" y="131"/>
                  </a:cubicBezTo>
                  <a:cubicBezTo>
                    <a:pt x="137" y="132"/>
                    <a:pt x="137" y="132"/>
                    <a:pt x="137" y="132"/>
                  </a:cubicBezTo>
                  <a:cubicBezTo>
                    <a:pt x="136" y="132"/>
                    <a:pt x="136" y="132"/>
                    <a:pt x="136" y="131"/>
                  </a:cubicBezTo>
                  <a:cubicBezTo>
                    <a:pt x="136" y="131"/>
                    <a:pt x="136" y="131"/>
                    <a:pt x="137" y="131"/>
                  </a:cubicBezTo>
                  <a:cubicBezTo>
                    <a:pt x="137" y="130"/>
                    <a:pt x="137" y="130"/>
                    <a:pt x="137" y="130"/>
                  </a:cubicBezTo>
                  <a:cubicBezTo>
                    <a:pt x="137" y="129"/>
                    <a:pt x="137" y="129"/>
                    <a:pt x="137" y="128"/>
                  </a:cubicBezTo>
                  <a:cubicBezTo>
                    <a:pt x="137" y="128"/>
                    <a:pt x="137" y="127"/>
                    <a:pt x="137" y="127"/>
                  </a:cubicBezTo>
                  <a:cubicBezTo>
                    <a:pt x="137" y="126"/>
                    <a:pt x="137" y="126"/>
                    <a:pt x="138" y="126"/>
                  </a:cubicBezTo>
                  <a:cubicBezTo>
                    <a:pt x="138" y="126"/>
                    <a:pt x="138" y="126"/>
                    <a:pt x="139" y="126"/>
                  </a:cubicBezTo>
                  <a:cubicBezTo>
                    <a:pt x="139" y="126"/>
                    <a:pt x="139" y="126"/>
                    <a:pt x="139" y="126"/>
                  </a:cubicBezTo>
                  <a:cubicBezTo>
                    <a:pt x="139" y="126"/>
                    <a:pt x="140" y="126"/>
                    <a:pt x="140" y="126"/>
                  </a:cubicBezTo>
                  <a:cubicBezTo>
                    <a:pt x="139" y="126"/>
                    <a:pt x="139" y="125"/>
                    <a:pt x="139" y="125"/>
                  </a:cubicBezTo>
                  <a:cubicBezTo>
                    <a:pt x="139" y="124"/>
                    <a:pt x="139" y="124"/>
                    <a:pt x="139" y="123"/>
                  </a:cubicBezTo>
                  <a:cubicBezTo>
                    <a:pt x="138" y="123"/>
                    <a:pt x="138" y="123"/>
                    <a:pt x="138" y="122"/>
                  </a:cubicBezTo>
                  <a:cubicBezTo>
                    <a:pt x="138" y="122"/>
                    <a:pt x="138" y="121"/>
                    <a:pt x="138" y="121"/>
                  </a:cubicBezTo>
                  <a:cubicBezTo>
                    <a:pt x="138" y="120"/>
                    <a:pt x="137" y="120"/>
                    <a:pt x="137" y="119"/>
                  </a:cubicBezTo>
                  <a:cubicBezTo>
                    <a:pt x="137" y="119"/>
                    <a:pt x="137" y="119"/>
                    <a:pt x="137" y="118"/>
                  </a:cubicBezTo>
                  <a:cubicBezTo>
                    <a:pt x="137" y="118"/>
                    <a:pt x="136" y="118"/>
                    <a:pt x="136" y="118"/>
                  </a:cubicBezTo>
                  <a:cubicBezTo>
                    <a:pt x="136" y="118"/>
                    <a:pt x="136" y="118"/>
                    <a:pt x="136" y="118"/>
                  </a:cubicBezTo>
                  <a:cubicBezTo>
                    <a:pt x="136" y="118"/>
                    <a:pt x="135" y="116"/>
                    <a:pt x="135" y="116"/>
                  </a:cubicBezTo>
                  <a:cubicBezTo>
                    <a:pt x="135" y="116"/>
                    <a:pt x="134" y="116"/>
                    <a:pt x="134" y="116"/>
                  </a:cubicBezTo>
                  <a:cubicBezTo>
                    <a:pt x="134" y="115"/>
                    <a:pt x="133" y="115"/>
                    <a:pt x="133" y="114"/>
                  </a:cubicBezTo>
                  <a:cubicBezTo>
                    <a:pt x="133" y="114"/>
                    <a:pt x="132" y="114"/>
                    <a:pt x="132" y="114"/>
                  </a:cubicBezTo>
                  <a:cubicBezTo>
                    <a:pt x="129" y="117"/>
                    <a:pt x="129" y="117"/>
                    <a:pt x="129" y="117"/>
                  </a:cubicBezTo>
                  <a:cubicBezTo>
                    <a:pt x="127" y="115"/>
                    <a:pt x="127" y="115"/>
                    <a:pt x="127" y="115"/>
                  </a:cubicBezTo>
                  <a:cubicBezTo>
                    <a:pt x="127" y="115"/>
                    <a:pt x="126" y="113"/>
                    <a:pt x="126" y="113"/>
                  </a:cubicBezTo>
                  <a:cubicBezTo>
                    <a:pt x="126" y="113"/>
                    <a:pt x="125" y="111"/>
                    <a:pt x="125" y="111"/>
                  </a:cubicBezTo>
                  <a:cubicBezTo>
                    <a:pt x="124" y="110"/>
                    <a:pt x="124" y="109"/>
                    <a:pt x="124" y="109"/>
                  </a:cubicBezTo>
                  <a:cubicBezTo>
                    <a:pt x="124" y="109"/>
                    <a:pt x="127" y="105"/>
                    <a:pt x="127" y="105"/>
                  </a:cubicBezTo>
                  <a:cubicBezTo>
                    <a:pt x="126" y="105"/>
                    <a:pt x="126" y="104"/>
                    <a:pt x="126" y="104"/>
                  </a:cubicBezTo>
                  <a:cubicBezTo>
                    <a:pt x="126" y="104"/>
                    <a:pt x="124" y="100"/>
                    <a:pt x="124" y="100"/>
                  </a:cubicBezTo>
                  <a:cubicBezTo>
                    <a:pt x="124" y="100"/>
                    <a:pt x="124" y="99"/>
                    <a:pt x="124" y="99"/>
                  </a:cubicBezTo>
                  <a:cubicBezTo>
                    <a:pt x="124" y="99"/>
                    <a:pt x="124" y="99"/>
                    <a:pt x="124" y="99"/>
                  </a:cubicBezTo>
                  <a:cubicBezTo>
                    <a:pt x="127" y="99"/>
                    <a:pt x="127" y="99"/>
                    <a:pt x="127" y="99"/>
                  </a:cubicBezTo>
                  <a:cubicBezTo>
                    <a:pt x="127" y="99"/>
                    <a:pt x="127" y="94"/>
                    <a:pt x="127" y="94"/>
                  </a:cubicBezTo>
                  <a:cubicBezTo>
                    <a:pt x="126" y="94"/>
                    <a:pt x="125" y="93"/>
                    <a:pt x="125" y="93"/>
                  </a:cubicBezTo>
                  <a:cubicBezTo>
                    <a:pt x="124" y="94"/>
                    <a:pt x="124" y="94"/>
                    <a:pt x="124" y="94"/>
                  </a:cubicBezTo>
                  <a:cubicBezTo>
                    <a:pt x="124" y="94"/>
                    <a:pt x="123" y="94"/>
                    <a:pt x="123" y="94"/>
                  </a:cubicBezTo>
                  <a:cubicBezTo>
                    <a:pt x="123" y="94"/>
                    <a:pt x="121" y="93"/>
                    <a:pt x="121" y="93"/>
                  </a:cubicBezTo>
                  <a:cubicBezTo>
                    <a:pt x="121" y="93"/>
                    <a:pt x="119" y="93"/>
                    <a:pt x="119" y="93"/>
                  </a:cubicBezTo>
                  <a:cubicBezTo>
                    <a:pt x="119" y="93"/>
                    <a:pt x="118" y="91"/>
                    <a:pt x="118" y="91"/>
                  </a:cubicBezTo>
                  <a:cubicBezTo>
                    <a:pt x="118" y="91"/>
                    <a:pt x="116" y="90"/>
                    <a:pt x="116" y="90"/>
                  </a:cubicBezTo>
                  <a:cubicBezTo>
                    <a:pt x="116" y="89"/>
                    <a:pt x="115" y="90"/>
                    <a:pt x="114" y="90"/>
                  </a:cubicBezTo>
                  <a:cubicBezTo>
                    <a:pt x="114" y="90"/>
                    <a:pt x="113" y="89"/>
                    <a:pt x="113" y="89"/>
                  </a:cubicBezTo>
                  <a:cubicBezTo>
                    <a:pt x="113" y="89"/>
                    <a:pt x="114" y="87"/>
                    <a:pt x="114" y="87"/>
                  </a:cubicBezTo>
                  <a:cubicBezTo>
                    <a:pt x="114" y="87"/>
                    <a:pt x="114" y="86"/>
                    <a:pt x="114" y="86"/>
                  </a:cubicBezTo>
                  <a:cubicBezTo>
                    <a:pt x="114" y="86"/>
                    <a:pt x="113" y="85"/>
                    <a:pt x="113" y="84"/>
                  </a:cubicBezTo>
                  <a:cubicBezTo>
                    <a:pt x="113" y="84"/>
                    <a:pt x="113" y="84"/>
                    <a:pt x="114" y="84"/>
                  </a:cubicBezTo>
                  <a:cubicBezTo>
                    <a:pt x="114" y="84"/>
                    <a:pt x="115" y="82"/>
                    <a:pt x="115" y="82"/>
                  </a:cubicBezTo>
                  <a:cubicBezTo>
                    <a:pt x="115" y="82"/>
                    <a:pt x="114" y="81"/>
                    <a:pt x="114" y="81"/>
                  </a:cubicBezTo>
                  <a:cubicBezTo>
                    <a:pt x="114" y="81"/>
                    <a:pt x="113" y="80"/>
                    <a:pt x="113" y="80"/>
                  </a:cubicBezTo>
                  <a:cubicBezTo>
                    <a:pt x="113" y="80"/>
                    <a:pt x="114" y="80"/>
                    <a:pt x="114" y="80"/>
                  </a:cubicBezTo>
                  <a:cubicBezTo>
                    <a:pt x="114" y="80"/>
                    <a:pt x="115" y="78"/>
                    <a:pt x="115" y="78"/>
                  </a:cubicBezTo>
                  <a:cubicBezTo>
                    <a:pt x="115" y="78"/>
                    <a:pt x="115" y="77"/>
                    <a:pt x="115" y="77"/>
                  </a:cubicBezTo>
                  <a:cubicBezTo>
                    <a:pt x="115" y="77"/>
                    <a:pt x="114" y="77"/>
                    <a:pt x="114" y="77"/>
                  </a:cubicBezTo>
                  <a:cubicBezTo>
                    <a:pt x="114" y="20"/>
                    <a:pt x="114" y="20"/>
                    <a:pt x="114" y="20"/>
                  </a:cubicBezTo>
                  <a:cubicBezTo>
                    <a:pt x="110" y="18"/>
                    <a:pt x="110" y="18"/>
                    <a:pt x="110" y="18"/>
                  </a:cubicBezTo>
                  <a:cubicBezTo>
                    <a:pt x="108" y="14"/>
                    <a:pt x="108" y="14"/>
                    <a:pt x="108" y="14"/>
                  </a:cubicBezTo>
                  <a:cubicBezTo>
                    <a:pt x="99" y="6"/>
                    <a:pt x="99" y="6"/>
                    <a:pt x="99" y="6"/>
                  </a:cubicBezTo>
                  <a:cubicBezTo>
                    <a:pt x="94" y="6"/>
                    <a:pt x="94" y="6"/>
                    <a:pt x="94" y="6"/>
                  </a:cubicBezTo>
                  <a:cubicBezTo>
                    <a:pt x="94" y="9"/>
                    <a:pt x="94" y="9"/>
                    <a:pt x="94" y="9"/>
                  </a:cubicBezTo>
                  <a:cubicBezTo>
                    <a:pt x="87" y="9"/>
                    <a:pt x="87" y="9"/>
                    <a:pt x="87" y="9"/>
                  </a:cubicBezTo>
                  <a:cubicBezTo>
                    <a:pt x="86" y="11"/>
                    <a:pt x="86" y="11"/>
                    <a:pt x="86" y="11"/>
                  </a:cubicBezTo>
                  <a:cubicBezTo>
                    <a:pt x="82" y="11"/>
                    <a:pt x="82" y="11"/>
                    <a:pt x="82" y="11"/>
                  </a:cubicBezTo>
                  <a:cubicBezTo>
                    <a:pt x="75" y="15"/>
                    <a:pt x="75" y="15"/>
                    <a:pt x="75" y="15"/>
                  </a:cubicBezTo>
                  <a:cubicBezTo>
                    <a:pt x="71" y="11"/>
                    <a:pt x="71" y="11"/>
                    <a:pt x="71" y="11"/>
                  </a:cubicBezTo>
                  <a:cubicBezTo>
                    <a:pt x="70" y="1"/>
                    <a:pt x="70" y="1"/>
                    <a:pt x="70" y="1"/>
                  </a:cubicBezTo>
                  <a:cubicBezTo>
                    <a:pt x="70" y="1"/>
                    <a:pt x="69" y="2"/>
                    <a:pt x="68" y="2"/>
                  </a:cubicBezTo>
                  <a:cubicBezTo>
                    <a:pt x="68" y="2"/>
                    <a:pt x="64" y="0"/>
                    <a:pt x="64" y="0"/>
                  </a:cubicBezTo>
                  <a:cubicBezTo>
                    <a:pt x="38" y="39"/>
                    <a:pt x="38" y="39"/>
                    <a:pt x="38" y="39"/>
                  </a:cubicBezTo>
                  <a:cubicBezTo>
                    <a:pt x="36" y="53"/>
                    <a:pt x="36" y="53"/>
                    <a:pt x="36" y="53"/>
                  </a:cubicBezTo>
                  <a:cubicBezTo>
                    <a:pt x="31" y="56"/>
                    <a:pt x="31" y="56"/>
                    <a:pt x="31" y="56"/>
                  </a:cubicBezTo>
                  <a:cubicBezTo>
                    <a:pt x="27" y="64"/>
                    <a:pt x="27" y="64"/>
                    <a:pt x="27" y="64"/>
                  </a:cubicBezTo>
                  <a:cubicBezTo>
                    <a:pt x="29" y="67"/>
                    <a:pt x="29" y="67"/>
                    <a:pt x="29" y="67"/>
                  </a:cubicBezTo>
                  <a:cubicBezTo>
                    <a:pt x="29" y="69"/>
                    <a:pt x="29" y="69"/>
                    <a:pt x="29" y="69"/>
                  </a:cubicBezTo>
                  <a:cubicBezTo>
                    <a:pt x="29" y="69"/>
                    <a:pt x="27" y="70"/>
                    <a:pt x="27" y="70"/>
                  </a:cubicBezTo>
                  <a:cubicBezTo>
                    <a:pt x="27" y="71"/>
                    <a:pt x="28" y="71"/>
                    <a:pt x="28" y="71"/>
                  </a:cubicBezTo>
                  <a:cubicBezTo>
                    <a:pt x="28" y="71"/>
                    <a:pt x="27" y="73"/>
                    <a:pt x="26" y="73"/>
                  </a:cubicBezTo>
                  <a:cubicBezTo>
                    <a:pt x="26" y="73"/>
                    <a:pt x="28" y="74"/>
                    <a:pt x="28" y="74"/>
                  </a:cubicBezTo>
                  <a:cubicBezTo>
                    <a:pt x="28" y="74"/>
                    <a:pt x="27" y="75"/>
                    <a:pt x="26" y="75"/>
                  </a:cubicBezTo>
                  <a:cubicBezTo>
                    <a:pt x="26" y="76"/>
                    <a:pt x="27" y="76"/>
                    <a:pt x="27" y="76"/>
                  </a:cubicBezTo>
                  <a:cubicBezTo>
                    <a:pt x="29" y="76"/>
                    <a:pt x="29" y="76"/>
                    <a:pt x="29" y="76"/>
                  </a:cubicBezTo>
                  <a:cubicBezTo>
                    <a:pt x="29" y="79"/>
                    <a:pt x="29" y="79"/>
                    <a:pt x="29" y="79"/>
                  </a:cubicBezTo>
                  <a:cubicBezTo>
                    <a:pt x="23" y="84"/>
                    <a:pt x="23" y="84"/>
                    <a:pt x="23" y="84"/>
                  </a:cubicBezTo>
                  <a:cubicBezTo>
                    <a:pt x="23" y="84"/>
                    <a:pt x="24" y="85"/>
                    <a:pt x="24" y="86"/>
                  </a:cubicBezTo>
                  <a:cubicBezTo>
                    <a:pt x="24" y="86"/>
                    <a:pt x="24" y="87"/>
                    <a:pt x="24" y="87"/>
                  </a:cubicBezTo>
                  <a:cubicBezTo>
                    <a:pt x="16" y="93"/>
                    <a:pt x="16" y="93"/>
                    <a:pt x="16" y="93"/>
                  </a:cubicBezTo>
                  <a:cubicBezTo>
                    <a:pt x="16" y="93"/>
                    <a:pt x="12" y="98"/>
                    <a:pt x="12" y="98"/>
                  </a:cubicBezTo>
                  <a:cubicBezTo>
                    <a:pt x="12" y="98"/>
                    <a:pt x="16" y="102"/>
                    <a:pt x="16" y="102"/>
                  </a:cubicBezTo>
                  <a:cubicBezTo>
                    <a:pt x="16" y="104"/>
                    <a:pt x="16" y="104"/>
                    <a:pt x="16" y="104"/>
                  </a:cubicBezTo>
                  <a:cubicBezTo>
                    <a:pt x="10" y="102"/>
                    <a:pt x="10" y="102"/>
                    <a:pt x="10" y="102"/>
                  </a:cubicBezTo>
                  <a:cubicBezTo>
                    <a:pt x="10" y="103"/>
                    <a:pt x="10" y="103"/>
                    <a:pt x="10" y="103"/>
                  </a:cubicBezTo>
                  <a:cubicBezTo>
                    <a:pt x="10" y="103"/>
                    <a:pt x="9" y="105"/>
                    <a:pt x="9" y="105"/>
                  </a:cubicBezTo>
                  <a:cubicBezTo>
                    <a:pt x="9" y="106"/>
                    <a:pt x="10" y="107"/>
                    <a:pt x="10" y="107"/>
                  </a:cubicBezTo>
                  <a:cubicBezTo>
                    <a:pt x="10" y="107"/>
                    <a:pt x="9" y="109"/>
                    <a:pt x="9" y="109"/>
                  </a:cubicBezTo>
                  <a:cubicBezTo>
                    <a:pt x="9" y="109"/>
                    <a:pt x="8" y="112"/>
                    <a:pt x="8" y="112"/>
                  </a:cubicBezTo>
                  <a:cubicBezTo>
                    <a:pt x="8" y="112"/>
                    <a:pt x="6" y="109"/>
                    <a:pt x="6" y="109"/>
                  </a:cubicBezTo>
                  <a:cubicBezTo>
                    <a:pt x="6" y="109"/>
                    <a:pt x="5" y="106"/>
                    <a:pt x="5" y="106"/>
                  </a:cubicBezTo>
                  <a:cubicBezTo>
                    <a:pt x="3" y="106"/>
                    <a:pt x="3" y="106"/>
                    <a:pt x="3" y="106"/>
                  </a:cubicBezTo>
                  <a:cubicBezTo>
                    <a:pt x="3" y="108"/>
                    <a:pt x="3" y="108"/>
                    <a:pt x="3" y="108"/>
                  </a:cubicBezTo>
                  <a:cubicBezTo>
                    <a:pt x="0" y="108"/>
                    <a:pt x="0" y="108"/>
                    <a:pt x="0" y="108"/>
                  </a:cubicBezTo>
                  <a:cubicBezTo>
                    <a:pt x="3" y="166"/>
                    <a:pt x="3" y="166"/>
                    <a:pt x="3" y="166"/>
                  </a:cubicBezTo>
                  <a:cubicBezTo>
                    <a:pt x="4" y="186"/>
                    <a:pt x="4" y="186"/>
                    <a:pt x="4" y="186"/>
                  </a:cubicBezTo>
                  <a:cubicBezTo>
                    <a:pt x="4" y="186"/>
                    <a:pt x="4" y="195"/>
                    <a:pt x="4" y="195"/>
                  </a:cubicBezTo>
                  <a:cubicBezTo>
                    <a:pt x="4" y="195"/>
                    <a:pt x="4" y="202"/>
                    <a:pt x="4" y="202"/>
                  </a:cubicBezTo>
                  <a:cubicBezTo>
                    <a:pt x="9" y="208"/>
                    <a:pt x="9" y="208"/>
                    <a:pt x="9" y="208"/>
                  </a:cubicBezTo>
                  <a:cubicBezTo>
                    <a:pt x="9" y="208"/>
                    <a:pt x="9" y="211"/>
                    <a:pt x="9" y="211"/>
                  </a:cubicBezTo>
                  <a:cubicBezTo>
                    <a:pt x="9" y="211"/>
                    <a:pt x="9" y="213"/>
                    <a:pt x="9" y="214"/>
                  </a:cubicBezTo>
                  <a:cubicBezTo>
                    <a:pt x="9" y="214"/>
                    <a:pt x="10" y="214"/>
                    <a:pt x="10" y="214"/>
                  </a:cubicBezTo>
                  <a:cubicBezTo>
                    <a:pt x="10" y="214"/>
                    <a:pt x="11" y="214"/>
                    <a:pt x="12" y="215"/>
                  </a:cubicBezTo>
                  <a:cubicBezTo>
                    <a:pt x="12" y="215"/>
                    <a:pt x="13" y="215"/>
                    <a:pt x="13" y="216"/>
                  </a:cubicBezTo>
                  <a:cubicBezTo>
                    <a:pt x="13" y="216"/>
                    <a:pt x="13" y="216"/>
                    <a:pt x="14" y="217"/>
                  </a:cubicBezTo>
                  <a:cubicBezTo>
                    <a:pt x="14" y="217"/>
                    <a:pt x="14" y="216"/>
                    <a:pt x="15" y="216"/>
                  </a:cubicBezTo>
                  <a:cubicBezTo>
                    <a:pt x="15" y="215"/>
                    <a:pt x="15" y="215"/>
                    <a:pt x="15" y="214"/>
                  </a:cubicBezTo>
                  <a:cubicBezTo>
                    <a:pt x="16" y="213"/>
                    <a:pt x="17" y="213"/>
                    <a:pt x="17" y="212"/>
                  </a:cubicBezTo>
                  <a:cubicBezTo>
                    <a:pt x="17" y="211"/>
                    <a:pt x="17" y="210"/>
                    <a:pt x="18" y="209"/>
                  </a:cubicBezTo>
                  <a:cubicBezTo>
                    <a:pt x="18" y="209"/>
                    <a:pt x="18" y="209"/>
                    <a:pt x="18" y="208"/>
                  </a:cubicBezTo>
                  <a:cubicBezTo>
                    <a:pt x="18" y="207"/>
                    <a:pt x="18" y="207"/>
                    <a:pt x="19" y="206"/>
                  </a:cubicBezTo>
                  <a:cubicBezTo>
                    <a:pt x="19" y="205"/>
                    <a:pt x="19" y="204"/>
                    <a:pt x="20" y="204"/>
                  </a:cubicBezTo>
                  <a:cubicBezTo>
                    <a:pt x="21" y="204"/>
                    <a:pt x="22" y="203"/>
                    <a:pt x="22" y="203"/>
                  </a:cubicBezTo>
                  <a:cubicBezTo>
                    <a:pt x="23" y="202"/>
                    <a:pt x="24" y="201"/>
                    <a:pt x="24" y="200"/>
                  </a:cubicBezTo>
                  <a:cubicBezTo>
                    <a:pt x="24" y="199"/>
                    <a:pt x="24" y="198"/>
                    <a:pt x="25" y="198"/>
                  </a:cubicBezTo>
                  <a:cubicBezTo>
                    <a:pt x="25" y="197"/>
                    <a:pt x="25" y="197"/>
                    <a:pt x="25" y="196"/>
                  </a:cubicBezTo>
                  <a:cubicBezTo>
                    <a:pt x="25" y="195"/>
                    <a:pt x="25" y="194"/>
                    <a:pt x="26" y="194"/>
                  </a:cubicBezTo>
                  <a:cubicBezTo>
                    <a:pt x="27" y="194"/>
                    <a:pt x="27" y="194"/>
                    <a:pt x="28" y="194"/>
                  </a:cubicBezTo>
                  <a:cubicBezTo>
                    <a:pt x="28" y="194"/>
                    <a:pt x="29" y="194"/>
                    <a:pt x="29" y="194"/>
                  </a:cubicBezTo>
                  <a:cubicBezTo>
                    <a:pt x="29" y="194"/>
                    <a:pt x="29" y="194"/>
                    <a:pt x="29" y="193"/>
                  </a:cubicBezTo>
                  <a:cubicBezTo>
                    <a:pt x="30" y="193"/>
                    <a:pt x="31" y="193"/>
                    <a:pt x="31" y="192"/>
                  </a:cubicBezTo>
                  <a:cubicBezTo>
                    <a:pt x="31" y="191"/>
                    <a:pt x="31" y="190"/>
                    <a:pt x="30" y="189"/>
                  </a:cubicBezTo>
                  <a:cubicBezTo>
                    <a:pt x="30" y="188"/>
                    <a:pt x="29" y="188"/>
                    <a:pt x="29" y="187"/>
                  </a:cubicBezTo>
                  <a:cubicBezTo>
                    <a:pt x="29" y="187"/>
                    <a:pt x="30" y="186"/>
                    <a:pt x="30" y="186"/>
                  </a:cubicBezTo>
                  <a:cubicBezTo>
                    <a:pt x="30" y="185"/>
                    <a:pt x="31" y="185"/>
                    <a:pt x="31" y="185"/>
                  </a:cubicBezTo>
                  <a:cubicBezTo>
                    <a:pt x="32" y="184"/>
                    <a:pt x="32" y="183"/>
                    <a:pt x="33" y="183"/>
                  </a:cubicBezTo>
                  <a:cubicBezTo>
                    <a:pt x="34" y="182"/>
                    <a:pt x="34" y="182"/>
                    <a:pt x="35" y="181"/>
                  </a:cubicBezTo>
                  <a:cubicBezTo>
                    <a:pt x="35" y="181"/>
                    <a:pt x="36" y="180"/>
                    <a:pt x="36" y="180"/>
                  </a:cubicBezTo>
                  <a:cubicBezTo>
                    <a:pt x="36" y="180"/>
                    <a:pt x="36" y="179"/>
                    <a:pt x="37" y="179"/>
                  </a:cubicBezTo>
                  <a:cubicBezTo>
                    <a:pt x="37" y="179"/>
                    <a:pt x="37" y="179"/>
                    <a:pt x="37" y="179"/>
                  </a:cubicBezTo>
                  <a:cubicBezTo>
                    <a:pt x="37" y="179"/>
                    <a:pt x="37" y="179"/>
                    <a:pt x="37" y="179"/>
                  </a:cubicBezTo>
                  <a:cubicBezTo>
                    <a:pt x="37" y="179"/>
                    <a:pt x="38" y="179"/>
                    <a:pt x="38" y="179"/>
                  </a:cubicBezTo>
                  <a:cubicBezTo>
                    <a:pt x="38" y="179"/>
                    <a:pt x="38" y="179"/>
                    <a:pt x="38" y="180"/>
                  </a:cubicBezTo>
                  <a:cubicBezTo>
                    <a:pt x="39" y="180"/>
                    <a:pt x="39" y="180"/>
                    <a:pt x="40" y="180"/>
                  </a:cubicBezTo>
                  <a:cubicBezTo>
                    <a:pt x="40" y="180"/>
                    <a:pt x="40" y="180"/>
                    <a:pt x="40" y="179"/>
                  </a:cubicBezTo>
                  <a:cubicBezTo>
                    <a:pt x="40" y="179"/>
                    <a:pt x="40" y="179"/>
                    <a:pt x="40" y="179"/>
                  </a:cubicBezTo>
                  <a:cubicBezTo>
                    <a:pt x="40" y="179"/>
                    <a:pt x="40" y="178"/>
                    <a:pt x="41" y="178"/>
                  </a:cubicBezTo>
                  <a:cubicBezTo>
                    <a:pt x="41" y="178"/>
                    <a:pt x="42" y="179"/>
                    <a:pt x="42" y="179"/>
                  </a:cubicBezTo>
                  <a:cubicBezTo>
                    <a:pt x="43" y="179"/>
                    <a:pt x="43" y="180"/>
                    <a:pt x="43" y="181"/>
                  </a:cubicBezTo>
                  <a:cubicBezTo>
                    <a:pt x="44" y="181"/>
                    <a:pt x="44" y="182"/>
                    <a:pt x="44" y="182"/>
                  </a:cubicBezTo>
                  <a:cubicBezTo>
                    <a:pt x="43" y="183"/>
                    <a:pt x="43" y="184"/>
                    <a:pt x="43" y="184"/>
                  </a:cubicBezTo>
                  <a:cubicBezTo>
                    <a:pt x="43" y="185"/>
                    <a:pt x="44" y="185"/>
                    <a:pt x="44" y="185"/>
                  </a:cubicBezTo>
                  <a:cubicBezTo>
                    <a:pt x="44" y="185"/>
                    <a:pt x="45" y="185"/>
                    <a:pt x="45" y="184"/>
                  </a:cubicBezTo>
                  <a:cubicBezTo>
                    <a:pt x="45" y="184"/>
                    <a:pt x="45" y="184"/>
                    <a:pt x="45" y="184"/>
                  </a:cubicBezTo>
                  <a:cubicBezTo>
                    <a:pt x="45" y="184"/>
                    <a:pt x="45" y="184"/>
                    <a:pt x="45" y="183"/>
                  </a:cubicBezTo>
                  <a:cubicBezTo>
                    <a:pt x="45" y="183"/>
                    <a:pt x="45" y="183"/>
                    <a:pt x="45" y="183"/>
                  </a:cubicBezTo>
                  <a:cubicBezTo>
                    <a:pt x="45" y="183"/>
                    <a:pt x="45" y="182"/>
                    <a:pt x="45" y="182"/>
                  </a:cubicBezTo>
                  <a:cubicBezTo>
                    <a:pt x="45" y="181"/>
                    <a:pt x="45" y="181"/>
                    <a:pt x="45" y="180"/>
                  </a:cubicBezTo>
                  <a:cubicBezTo>
                    <a:pt x="45" y="180"/>
                    <a:pt x="45" y="179"/>
                    <a:pt x="45" y="179"/>
                  </a:cubicBezTo>
                  <a:cubicBezTo>
                    <a:pt x="45" y="179"/>
                    <a:pt x="44" y="178"/>
                    <a:pt x="44" y="178"/>
                  </a:cubicBezTo>
                  <a:cubicBezTo>
                    <a:pt x="44" y="177"/>
                    <a:pt x="44" y="177"/>
                    <a:pt x="44" y="176"/>
                  </a:cubicBezTo>
                  <a:cubicBezTo>
                    <a:pt x="44" y="176"/>
                    <a:pt x="44" y="175"/>
                    <a:pt x="45" y="175"/>
                  </a:cubicBezTo>
                  <a:cubicBezTo>
                    <a:pt x="45" y="175"/>
                    <a:pt x="45" y="176"/>
                    <a:pt x="45" y="176"/>
                  </a:cubicBezTo>
                  <a:cubicBezTo>
                    <a:pt x="45" y="176"/>
                    <a:pt x="45" y="177"/>
                    <a:pt x="45" y="178"/>
                  </a:cubicBezTo>
                  <a:cubicBezTo>
                    <a:pt x="46" y="179"/>
                    <a:pt x="46" y="180"/>
                    <a:pt x="46" y="181"/>
                  </a:cubicBezTo>
                  <a:cubicBezTo>
                    <a:pt x="46" y="181"/>
                    <a:pt x="46" y="182"/>
                    <a:pt x="46" y="182"/>
                  </a:cubicBezTo>
                  <a:cubicBezTo>
                    <a:pt x="46" y="182"/>
                    <a:pt x="46" y="183"/>
                    <a:pt x="46" y="183"/>
                  </a:cubicBezTo>
                  <a:cubicBezTo>
                    <a:pt x="47" y="183"/>
                    <a:pt x="46" y="182"/>
                    <a:pt x="47" y="182"/>
                  </a:cubicBezTo>
                  <a:cubicBezTo>
                    <a:pt x="47" y="182"/>
                    <a:pt x="47" y="182"/>
                    <a:pt x="47" y="181"/>
                  </a:cubicBezTo>
                  <a:cubicBezTo>
                    <a:pt x="47" y="181"/>
                    <a:pt x="47" y="181"/>
                    <a:pt x="47" y="181"/>
                  </a:cubicBezTo>
                  <a:cubicBezTo>
                    <a:pt x="47" y="180"/>
                    <a:pt x="47" y="180"/>
                    <a:pt x="48" y="180"/>
                  </a:cubicBezTo>
                  <a:cubicBezTo>
                    <a:pt x="48" y="180"/>
                    <a:pt x="48" y="179"/>
                    <a:pt x="48" y="179"/>
                  </a:cubicBezTo>
                  <a:cubicBezTo>
                    <a:pt x="47" y="180"/>
                    <a:pt x="47" y="180"/>
                    <a:pt x="47" y="180"/>
                  </a:cubicBezTo>
                  <a:cubicBezTo>
                    <a:pt x="47" y="180"/>
                    <a:pt x="47" y="180"/>
                    <a:pt x="47" y="180"/>
                  </a:cubicBezTo>
                  <a:cubicBezTo>
                    <a:pt x="47" y="180"/>
                    <a:pt x="47" y="180"/>
                    <a:pt x="47" y="180"/>
                  </a:cubicBezTo>
                  <a:cubicBezTo>
                    <a:pt x="46" y="179"/>
                    <a:pt x="46" y="179"/>
                    <a:pt x="46" y="179"/>
                  </a:cubicBezTo>
                  <a:cubicBezTo>
                    <a:pt x="46" y="178"/>
                    <a:pt x="46" y="177"/>
                    <a:pt x="47" y="177"/>
                  </a:cubicBezTo>
                  <a:cubicBezTo>
                    <a:pt x="47" y="177"/>
                    <a:pt x="47" y="176"/>
                    <a:pt x="47" y="177"/>
                  </a:cubicBezTo>
                  <a:cubicBezTo>
                    <a:pt x="47" y="177"/>
                    <a:pt x="47" y="177"/>
                    <a:pt x="47" y="177"/>
                  </a:cubicBezTo>
                  <a:cubicBezTo>
                    <a:pt x="48" y="178"/>
                    <a:pt x="47" y="178"/>
                    <a:pt x="47" y="178"/>
                  </a:cubicBezTo>
                  <a:cubicBezTo>
                    <a:pt x="47" y="179"/>
                    <a:pt x="47" y="179"/>
                    <a:pt x="48" y="179"/>
                  </a:cubicBezTo>
                  <a:cubicBezTo>
                    <a:pt x="48" y="179"/>
                    <a:pt x="48" y="179"/>
                    <a:pt x="48" y="178"/>
                  </a:cubicBezTo>
                  <a:cubicBezTo>
                    <a:pt x="48" y="178"/>
                    <a:pt x="48" y="178"/>
                    <a:pt x="48" y="178"/>
                  </a:cubicBezTo>
                  <a:cubicBezTo>
                    <a:pt x="49" y="178"/>
                    <a:pt x="49" y="178"/>
                    <a:pt x="49" y="178"/>
                  </a:cubicBezTo>
                  <a:cubicBezTo>
                    <a:pt x="49" y="178"/>
                    <a:pt x="50" y="178"/>
                    <a:pt x="50" y="178"/>
                  </a:cubicBezTo>
                  <a:cubicBezTo>
                    <a:pt x="50" y="178"/>
                    <a:pt x="51" y="178"/>
                    <a:pt x="51" y="178"/>
                  </a:cubicBezTo>
                  <a:cubicBezTo>
                    <a:pt x="51" y="178"/>
                    <a:pt x="51" y="178"/>
                    <a:pt x="51" y="179"/>
                  </a:cubicBezTo>
                  <a:cubicBezTo>
                    <a:pt x="51" y="179"/>
                    <a:pt x="51" y="178"/>
                    <a:pt x="51" y="178"/>
                  </a:cubicBezTo>
                  <a:cubicBezTo>
                    <a:pt x="51" y="178"/>
                    <a:pt x="52" y="177"/>
                    <a:pt x="52" y="177"/>
                  </a:cubicBezTo>
                  <a:cubicBezTo>
                    <a:pt x="52" y="176"/>
                    <a:pt x="52" y="176"/>
                    <a:pt x="52" y="175"/>
                  </a:cubicBezTo>
                  <a:cubicBezTo>
                    <a:pt x="52" y="175"/>
                    <a:pt x="52" y="175"/>
                    <a:pt x="52" y="174"/>
                  </a:cubicBezTo>
                  <a:cubicBezTo>
                    <a:pt x="52" y="174"/>
                    <a:pt x="52" y="174"/>
                    <a:pt x="52" y="173"/>
                  </a:cubicBezTo>
                  <a:cubicBezTo>
                    <a:pt x="52" y="173"/>
                    <a:pt x="52" y="173"/>
                    <a:pt x="52" y="173"/>
                  </a:cubicBezTo>
                  <a:cubicBezTo>
                    <a:pt x="53" y="173"/>
                    <a:pt x="53" y="172"/>
                    <a:pt x="53" y="172"/>
                  </a:cubicBezTo>
                  <a:cubicBezTo>
                    <a:pt x="53" y="172"/>
                    <a:pt x="53" y="173"/>
                    <a:pt x="53" y="174"/>
                  </a:cubicBezTo>
                  <a:cubicBezTo>
                    <a:pt x="53" y="174"/>
                    <a:pt x="53" y="175"/>
                    <a:pt x="53" y="175"/>
                  </a:cubicBezTo>
                  <a:cubicBezTo>
                    <a:pt x="53" y="176"/>
                    <a:pt x="53" y="176"/>
                    <a:pt x="53" y="177"/>
                  </a:cubicBezTo>
                  <a:cubicBezTo>
                    <a:pt x="54" y="177"/>
                    <a:pt x="54" y="177"/>
                    <a:pt x="54" y="177"/>
                  </a:cubicBezTo>
                  <a:cubicBezTo>
                    <a:pt x="54" y="177"/>
                    <a:pt x="54" y="178"/>
                    <a:pt x="54" y="178"/>
                  </a:cubicBezTo>
                  <a:cubicBezTo>
                    <a:pt x="54" y="178"/>
                    <a:pt x="54" y="178"/>
                    <a:pt x="54" y="178"/>
                  </a:cubicBezTo>
                  <a:cubicBezTo>
                    <a:pt x="54" y="178"/>
                    <a:pt x="54" y="179"/>
                    <a:pt x="54" y="179"/>
                  </a:cubicBezTo>
                  <a:cubicBezTo>
                    <a:pt x="55" y="179"/>
                    <a:pt x="55" y="178"/>
                    <a:pt x="55" y="178"/>
                  </a:cubicBezTo>
                  <a:cubicBezTo>
                    <a:pt x="56" y="178"/>
                    <a:pt x="56" y="177"/>
                    <a:pt x="56" y="177"/>
                  </a:cubicBezTo>
                  <a:cubicBezTo>
                    <a:pt x="56" y="177"/>
                    <a:pt x="56" y="176"/>
                    <a:pt x="57" y="176"/>
                  </a:cubicBezTo>
                  <a:cubicBezTo>
                    <a:pt x="57" y="175"/>
                    <a:pt x="57" y="175"/>
                    <a:pt x="57" y="175"/>
                  </a:cubicBezTo>
                  <a:cubicBezTo>
                    <a:pt x="57" y="174"/>
                    <a:pt x="58" y="174"/>
                    <a:pt x="58" y="173"/>
                  </a:cubicBezTo>
                  <a:cubicBezTo>
                    <a:pt x="58" y="173"/>
                    <a:pt x="58" y="173"/>
                    <a:pt x="59" y="173"/>
                  </a:cubicBezTo>
                  <a:cubicBezTo>
                    <a:pt x="59" y="172"/>
                    <a:pt x="59" y="172"/>
                    <a:pt x="59" y="171"/>
                  </a:cubicBezTo>
                  <a:cubicBezTo>
                    <a:pt x="59" y="171"/>
                    <a:pt x="59" y="170"/>
                    <a:pt x="59" y="170"/>
                  </a:cubicBezTo>
                  <a:cubicBezTo>
                    <a:pt x="59" y="170"/>
                    <a:pt x="59" y="169"/>
                    <a:pt x="59" y="169"/>
                  </a:cubicBezTo>
                  <a:cubicBezTo>
                    <a:pt x="59" y="169"/>
                    <a:pt x="59" y="169"/>
                    <a:pt x="59" y="169"/>
                  </a:cubicBezTo>
                  <a:cubicBezTo>
                    <a:pt x="60" y="169"/>
                    <a:pt x="60" y="169"/>
                    <a:pt x="60" y="169"/>
                  </a:cubicBezTo>
                  <a:cubicBezTo>
                    <a:pt x="60" y="169"/>
                    <a:pt x="61" y="170"/>
                    <a:pt x="61" y="170"/>
                  </a:cubicBezTo>
                  <a:cubicBezTo>
                    <a:pt x="61" y="170"/>
                    <a:pt x="61" y="170"/>
                    <a:pt x="60" y="170"/>
                  </a:cubicBezTo>
                  <a:cubicBezTo>
                    <a:pt x="60" y="170"/>
                    <a:pt x="60" y="170"/>
                    <a:pt x="60" y="170"/>
                  </a:cubicBezTo>
                  <a:cubicBezTo>
                    <a:pt x="60" y="171"/>
                    <a:pt x="60" y="171"/>
                    <a:pt x="60" y="171"/>
                  </a:cubicBezTo>
                  <a:cubicBezTo>
                    <a:pt x="60" y="172"/>
                    <a:pt x="60" y="172"/>
                    <a:pt x="60" y="172"/>
                  </a:cubicBezTo>
                  <a:cubicBezTo>
                    <a:pt x="60" y="173"/>
                    <a:pt x="60" y="173"/>
                    <a:pt x="61" y="173"/>
                  </a:cubicBezTo>
                  <a:cubicBezTo>
                    <a:pt x="61" y="174"/>
                    <a:pt x="61" y="174"/>
                    <a:pt x="61" y="174"/>
                  </a:cubicBezTo>
                  <a:cubicBezTo>
                    <a:pt x="62" y="174"/>
                    <a:pt x="62" y="174"/>
                    <a:pt x="63" y="174"/>
                  </a:cubicBezTo>
                  <a:cubicBezTo>
                    <a:pt x="63" y="174"/>
                    <a:pt x="63" y="175"/>
                    <a:pt x="63" y="175"/>
                  </a:cubicBezTo>
                  <a:cubicBezTo>
                    <a:pt x="64" y="175"/>
                    <a:pt x="64" y="175"/>
                    <a:pt x="64" y="175"/>
                  </a:cubicBezTo>
                  <a:cubicBezTo>
                    <a:pt x="65" y="175"/>
                    <a:pt x="65" y="175"/>
                    <a:pt x="65" y="174"/>
                  </a:cubicBezTo>
                  <a:cubicBezTo>
                    <a:pt x="65" y="174"/>
                    <a:pt x="65" y="174"/>
                    <a:pt x="66" y="173"/>
                  </a:cubicBezTo>
                  <a:cubicBezTo>
                    <a:pt x="66" y="173"/>
                    <a:pt x="66" y="173"/>
                    <a:pt x="66" y="173"/>
                  </a:cubicBezTo>
                  <a:cubicBezTo>
                    <a:pt x="66" y="173"/>
                    <a:pt x="66" y="173"/>
                    <a:pt x="66" y="173"/>
                  </a:cubicBezTo>
                  <a:cubicBezTo>
                    <a:pt x="67" y="173"/>
                    <a:pt x="67" y="173"/>
                    <a:pt x="67" y="173"/>
                  </a:cubicBezTo>
                  <a:cubicBezTo>
                    <a:pt x="68" y="173"/>
                    <a:pt x="68" y="172"/>
                    <a:pt x="68" y="172"/>
                  </a:cubicBezTo>
                  <a:cubicBezTo>
                    <a:pt x="68" y="172"/>
                    <a:pt x="69" y="172"/>
                    <a:pt x="69" y="171"/>
                  </a:cubicBezTo>
                  <a:cubicBezTo>
                    <a:pt x="69" y="171"/>
                    <a:pt x="69" y="171"/>
                    <a:pt x="69" y="171"/>
                  </a:cubicBezTo>
                  <a:cubicBezTo>
                    <a:pt x="70" y="170"/>
                    <a:pt x="70" y="170"/>
                    <a:pt x="70" y="169"/>
                  </a:cubicBezTo>
                  <a:cubicBezTo>
                    <a:pt x="70" y="169"/>
                    <a:pt x="71" y="169"/>
                    <a:pt x="71" y="168"/>
                  </a:cubicBezTo>
                  <a:cubicBezTo>
                    <a:pt x="71" y="168"/>
                    <a:pt x="71" y="168"/>
                    <a:pt x="70" y="168"/>
                  </a:cubicBezTo>
                  <a:cubicBezTo>
                    <a:pt x="70" y="168"/>
                    <a:pt x="70" y="168"/>
                    <a:pt x="70" y="168"/>
                  </a:cubicBezTo>
                  <a:cubicBezTo>
                    <a:pt x="70" y="168"/>
                    <a:pt x="70" y="167"/>
                    <a:pt x="70" y="167"/>
                  </a:cubicBezTo>
                  <a:cubicBezTo>
                    <a:pt x="70" y="167"/>
                    <a:pt x="70" y="167"/>
                    <a:pt x="70" y="167"/>
                  </a:cubicBezTo>
                  <a:cubicBezTo>
                    <a:pt x="69" y="166"/>
                    <a:pt x="69" y="166"/>
                    <a:pt x="69" y="166"/>
                  </a:cubicBezTo>
                  <a:cubicBezTo>
                    <a:pt x="70" y="166"/>
                    <a:pt x="70" y="166"/>
                    <a:pt x="70" y="166"/>
                  </a:cubicBezTo>
                  <a:cubicBezTo>
                    <a:pt x="70" y="166"/>
                    <a:pt x="70" y="165"/>
                    <a:pt x="70" y="165"/>
                  </a:cubicBezTo>
                  <a:cubicBezTo>
                    <a:pt x="70" y="165"/>
                    <a:pt x="70" y="165"/>
                    <a:pt x="70" y="165"/>
                  </a:cubicBezTo>
                  <a:cubicBezTo>
                    <a:pt x="70" y="164"/>
                    <a:pt x="70" y="164"/>
                    <a:pt x="70" y="163"/>
                  </a:cubicBezTo>
                  <a:cubicBezTo>
                    <a:pt x="70" y="163"/>
                    <a:pt x="70" y="163"/>
                    <a:pt x="70" y="163"/>
                  </a:cubicBezTo>
                  <a:cubicBezTo>
                    <a:pt x="71" y="163"/>
                    <a:pt x="71" y="162"/>
                    <a:pt x="71" y="162"/>
                  </a:cubicBezTo>
                  <a:cubicBezTo>
                    <a:pt x="71" y="162"/>
                    <a:pt x="71" y="162"/>
                    <a:pt x="71" y="161"/>
                  </a:cubicBezTo>
                  <a:cubicBezTo>
                    <a:pt x="71" y="161"/>
                    <a:pt x="71" y="161"/>
                    <a:pt x="71" y="161"/>
                  </a:cubicBezTo>
                  <a:cubicBezTo>
                    <a:pt x="71" y="160"/>
                    <a:pt x="71" y="160"/>
                    <a:pt x="72" y="160"/>
                  </a:cubicBezTo>
                  <a:cubicBezTo>
                    <a:pt x="72" y="160"/>
                    <a:pt x="72" y="160"/>
                    <a:pt x="72" y="160"/>
                  </a:cubicBezTo>
                  <a:cubicBezTo>
                    <a:pt x="72" y="159"/>
                    <a:pt x="72" y="159"/>
                    <a:pt x="72" y="159"/>
                  </a:cubicBezTo>
                  <a:cubicBezTo>
                    <a:pt x="72" y="159"/>
                    <a:pt x="72" y="159"/>
                    <a:pt x="73" y="158"/>
                  </a:cubicBezTo>
                  <a:cubicBezTo>
                    <a:pt x="73" y="158"/>
                    <a:pt x="73" y="158"/>
                    <a:pt x="74" y="157"/>
                  </a:cubicBezTo>
                  <a:cubicBezTo>
                    <a:pt x="74" y="157"/>
                    <a:pt x="74" y="156"/>
                    <a:pt x="74" y="156"/>
                  </a:cubicBezTo>
                  <a:cubicBezTo>
                    <a:pt x="74" y="156"/>
                    <a:pt x="74" y="155"/>
                    <a:pt x="74" y="154"/>
                  </a:cubicBezTo>
                  <a:cubicBezTo>
                    <a:pt x="74" y="154"/>
                    <a:pt x="73" y="154"/>
                    <a:pt x="73" y="154"/>
                  </a:cubicBezTo>
                  <a:cubicBezTo>
                    <a:pt x="73" y="154"/>
                    <a:pt x="73" y="153"/>
                    <a:pt x="73" y="153"/>
                  </a:cubicBezTo>
                  <a:cubicBezTo>
                    <a:pt x="73" y="153"/>
                    <a:pt x="73" y="153"/>
                    <a:pt x="73" y="152"/>
                  </a:cubicBezTo>
                  <a:cubicBezTo>
                    <a:pt x="73" y="152"/>
                    <a:pt x="74" y="152"/>
                    <a:pt x="74" y="152"/>
                  </a:cubicBezTo>
                  <a:cubicBezTo>
                    <a:pt x="74" y="152"/>
                    <a:pt x="74" y="152"/>
                    <a:pt x="74" y="152"/>
                  </a:cubicBezTo>
                  <a:cubicBezTo>
                    <a:pt x="74" y="151"/>
                    <a:pt x="74" y="151"/>
                    <a:pt x="74" y="151"/>
                  </a:cubicBezTo>
                  <a:cubicBezTo>
                    <a:pt x="75" y="151"/>
                    <a:pt x="75" y="151"/>
                    <a:pt x="75" y="151"/>
                  </a:cubicBezTo>
                  <a:cubicBezTo>
                    <a:pt x="75" y="151"/>
                    <a:pt x="76" y="151"/>
                    <a:pt x="76" y="150"/>
                  </a:cubicBezTo>
                  <a:cubicBezTo>
                    <a:pt x="76" y="150"/>
                    <a:pt x="76" y="150"/>
                    <a:pt x="77" y="150"/>
                  </a:cubicBezTo>
                  <a:cubicBezTo>
                    <a:pt x="77" y="150"/>
                    <a:pt x="77" y="150"/>
                    <a:pt x="78" y="150"/>
                  </a:cubicBezTo>
                  <a:cubicBezTo>
                    <a:pt x="78" y="150"/>
                    <a:pt x="78" y="150"/>
                    <a:pt x="78" y="149"/>
                  </a:cubicBezTo>
                  <a:cubicBezTo>
                    <a:pt x="78" y="149"/>
                    <a:pt x="78" y="149"/>
                    <a:pt x="78" y="149"/>
                  </a:cubicBezTo>
                  <a:cubicBezTo>
                    <a:pt x="78" y="148"/>
                    <a:pt x="78" y="148"/>
                    <a:pt x="79" y="148"/>
                  </a:cubicBezTo>
                  <a:cubicBezTo>
                    <a:pt x="79" y="148"/>
                    <a:pt x="79" y="147"/>
                    <a:pt x="79" y="147"/>
                  </a:cubicBezTo>
                  <a:cubicBezTo>
                    <a:pt x="79" y="147"/>
                    <a:pt x="79" y="147"/>
                    <a:pt x="79" y="146"/>
                  </a:cubicBezTo>
                  <a:cubicBezTo>
                    <a:pt x="79" y="146"/>
                    <a:pt x="79" y="146"/>
                    <a:pt x="79" y="145"/>
                  </a:cubicBezTo>
                  <a:cubicBezTo>
                    <a:pt x="79" y="145"/>
                    <a:pt x="80" y="145"/>
                    <a:pt x="80" y="145"/>
                  </a:cubicBezTo>
                  <a:cubicBezTo>
                    <a:pt x="80" y="146"/>
                    <a:pt x="80" y="146"/>
                    <a:pt x="80" y="147"/>
                  </a:cubicBezTo>
                  <a:cubicBezTo>
                    <a:pt x="80" y="147"/>
                    <a:pt x="80" y="147"/>
                    <a:pt x="80" y="148"/>
                  </a:cubicBezTo>
                  <a:cubicBezTo>
                    <a:pt x="80" y="148"/>
                    <a:pt x="81" y="148"/>
                    <a:pt x="81" y="148"/>
                  </a:cubicBezTo>
                  <a:cubicBezTo>
                    <a:pt x="81" y="148"/>
                    <a:pt x="80" y="148"/>
                    <a:pt x="80" y="149"/>
                  </a:cubicBezTo>
                  <a:cubicBezTo>
                    <a:pt x="80" y="149"/>
                    <a:pt x="79" y="150"/>
                    <a:pt x="79" y="151"/>
                  </a:cubicBezTo>
                  <a:cubicBezTo>
                    <a:pt x="79" y="151"/>
                    <a:pt x="79" y="151"/>
                    <a:pt x="79" y="151"/>
                  </a:cubicBezTo>
                  <a:cubicBezTo>
                    <a:pt x="79" y="151"/>
                    <a:pt x="79" y="152"/>
                    <a:pt x="78" y="152"/>
                  </a:cubicBezTo>
                  <a:cubicBezTo>
                    <a:pt x="78" y="152"/>
                    <a:pt x="78" y="153"/>
                    <a:pt x="78" y="153"/>
                  </a:cubicBezTo>
                  <a:cubicBezTo>
                    <a:pt x="78" y="154"/>
                    <a:pt x="78" y="154"/>
                    <a:pt x="78" y="155"/>
                  </a:cubicBezTo>
                  <a:cubicBezTo>
                    <a:pt x="78" y="155"/>
                    <a:pt x="78" y="156"/>
                    <a:pt x="79" y="156"/>
                  </a:cubicBezTo>
                  <a:cubicBezTo>
                    <a:pt x="79" y="156"/>
                    <a:pt x="79" y="156"/>
                    <a:pt x="80" y="156"/>
                  </a:cubicBezTo>
                  <a:cubicBezTo>
                    <a:pt x="80" y="157"/>
                    <a:pt x="80" y="157"/>
                    <a:pt x="81" y="157"/>
                  </a:cubicBezTo>
                  <a:cubicBezTo>
                    <a:pt x="81" y="157"/>
                    <a:pt x="81" y="157"/>
                    <a:pt x="81" y="156"/>
                  </a:cubicBezTo>
                  <a:cubicBezTo>
                    <a:pt x="81" y="156"/>
                    <a:pt x="81" y="156"/>
                    <a:pt x="81" y="156"/>
                  </a:cubicBezTo>
                  <a:cubicBezTo>
                    <a:pt x="82" y="156"/>
                    <a:pt x="82" y="156"/>
                    <a:pt x="82" y="156"/>
                  </a:cubicBezTo>
                  <a:cubicBezTo>
                    <a:pt x="83" y="157"/>
                    <a:pt x="83" y="157"/>
                    <a:pt x="84" y="158"/>
                  </a:cubicBezTo>
                  <a:cubicBezTo>
                    <a:pt x="84" y="158"/>
                    <a:pt x="84" y="158"/>
                    <a:pt x="85" y="158"/>
                  </a:cubicBezTo>
                  <a:cubicBezTo>
                    <a:pt x="85" y="158"/>
                    <a:pt x="85" y="158"/>
                    <a:pt x="85" y="158"/>
                  </a:cubicBezTo>
                  <a:cubicBezTo>
                    <a:pt x="85" y="159"/>
                    <a:pt x="86" y="159"/>
                    <a:pt x="86" y="159"/>
                  </a:cubicBezTo>
                  <a:cubicBezTo>
                    <a:pt x="87" y="159"/>
                    <a:pt x="87" y="160"/>
                    <a:pt x="88" y="160"/>
                  </a:cubicBezTo>
                  <a:cubicBezTo>
                    <a:pt x="88" y="160"/>
                    <a:pt x="88" y="160"/>
                    <a:pt x="88" y="160"/>
                  </a:cubicBezTo>
                  <a:cubicBezTo>
                    <a:pt x="88" y="160"/>
                    <a:pt x="88" y="160"/>
                    <a:pt x="88" y="160"/>
                  </a:cubicBezTo>
                  <a:cubicBezTo>
                    <a:pt x="88" y="161"/>
                    <a:pt x="89" y="161"/>
                    <a:pt x="89" y="161"/>
                  </a:cubicBezTo>
                  <a:cubicBezTo>
                    <a:pt x="89" y="160"/>
                    <a:pt x="89" y="160"/>
                    <a:pt x="89" y="160"/>
                  </a:cubicBezTo>
                  <a:cubicBezTo>
                    <a:pt x="89" y="160"/>
                    <a:pt x="89" y="160"/>
                    <a:pt x="89" y="160"/>
                  </a:cubicBezTo>
                  <a:cubicBezTo>
                    <a:pt x="89" y="159"/>
                    <a:pt x="89" y="159"/>
                    <a:pt x="89" y="159"/>
                  </a:cubicBezTo>
                  <a:cubicBezTo>
                    <a:pt x="89" y="158"/>
                    <a:pt x="89" y="158"/>
                    <a:pt x="89" y="158"/>
                  </a:cubicBezTo>
                  <a:cubicBezTo>
                    <a:pt x="89" y="158"/>
                    <a:pt x="89" y="157"/>
                    <a:pt x="88" y="157"/>
                  </a:cubicBezTo>
                  <a:cubicBezTo>
                    <a:pt x="88" y="157"/>
                    <a:pt x="88" y="156"/>
                    <a:pt x="88" y="156"/>
                  </a:cubicBezTo>
                  <a:cubicBezTo>
                    <a:pt x="88" y="155"/>
                    <a:pt x="88" y="155"/>
                    <a:pt x="88" y="154"/>
                  </a:cubicBezTo>
                  <a:cubicBezTo>
                    <a:pt x="88" y="154"/>
                    <a:pt x="89" y="154"/>
                    <a:pt x="89" y="153"/>
                  </a:cubicBezTo>
                  <a:cubicBezTo>
                    <a:pt x="89" y="153"/>
                    <a:pt x="89" y="153"/>
                    <a:pt x="89" y="153"/>
                  </a:cubicBezTo>
                  <a:cubicBezTo>
                    <a:pt x="89" y="152"/>
                    <a:pt x="89" y="152"/>
                    <a:pt x="89" y="152"/>
                  </a:cubicBezTo>
                  <a:cubicBezTo>
                    <a:pt x="90" y="152"/>
                    <a:pt x="89" y="151"/>
                    <a:pt x="89" y="151"/>
                  </a:cubicBezTo>
                  <a:cubicBezTo>
                    <a:pt x="89" y="151"/>
                    <a:pt x="90" y="150"/>
                    <a:pt x="90" y="150"/>
                  </a:cubicBezTo>
                  <a:cubicBezTo>
                    <a:pt x="90" y="150"/>
                    <a:pt x="90" y="150"/>
                    <a:pt x="90" y="150"/>
                  </a:cubicBezTo>
                  <a:cubicBezTo>
                    <a:pt x="90" y="150"/>
                    <a:pt x="90" y="149"/>
                    <a:pt x="90" y="149"/>
                  </a:cubicBezTo>
                  <a:cubicBezTo>
                    <a:pt x="91" y="149"/>
                    <a:pt x="91" y="149"/>
                    <a:pt x="91" y="149"/>
                  </a:cubicBezTo>
                  <a:cubicBezTo>
                    <a:pt x="91" y="149"/>
                    <a:pt x="91" y="148"/>
                    <a:pt x="91" y="148"/>
                  </a:cubicBezTo>
                  <a:cubicBezTo>
                    <a:pt x="91" y="148"/>
                    <a:pt x="91" y="149"/>
                    <a:pt x="91" y="150"/>
                  </a:cubicBezTo>
                  <a:cubicBezTo>
                    <a:pt x="91" y="150"/>
                    <a:pt x="91" y="150"/>
                    <a:pt x="91" y="150"/>
                  </a:cubicBezTo>
                  <a:cubicBezTo>
                    <a:pt x="91" y="151"/>
                    <a:pt x="92" y="151"/>
                    <a:pt x="92" y="151"/>
                  </a:cubicBezTo>
                  <a:cubicBezTo>
                    <a:pt x="92" y="151"/>
                    <a:pt x="92" y="151"/>
                    <a:pt x="92" y="151"/>
                  </a:cubicBezTo>
                  <a:cubicBezTo>
                    <a:pt x="92" y="151"/>
                    <a:pt x="92" y="152"/>
                    <a:pt x="92" y="152"/>
                  </a:cubicBezTo>
                  <a:cubicBezTo>
                    <a:pt x="92" y="152"/>
                    <a:pt x="92" y="152"/>
                    <a:pt x="93" y="152"/>
                  </a:cubicBezTo>
                  <a:cubicBezTo>
                    <a:pt x="93" y="152"/>
                    <a:pt x="93" y="152"/>
                    <a:pt x="93" y="152"/>
                  </a:cubicBezTo>
                  <a:cubicBezTo>
                    <a:pt x="94" y="151"/>
                    <a:pt x="94" y="151"/>
                    <a:pt x="94" y="151"/>
                  </a:cubicBezTo>
                  <a:cubicBezTo>
                    <a:pt x="95" y="151"/>
                    <a:pt x="95" y="150"/>
                    <a:pt x="95" y="151"/>
                  </a:cubicBezTo>
                  <a:cubicBezTo>
                    <a:pt x="96" y="151"/>
                    <a:pt x="95" y="151"/>
                    <a:pt x="95" y="152"/>
                  </a:cubicBezTo>
                  <a:cubicBezTo>
                    <a:pt x="95" y="152"/>
                    <a:pt x="94" y="152"/>
                    <a:pt x="94" y="153"/>
                  </a:cubicBezTo>
                  <a:cubicBezTo>
                    <a:pt x="94" y="153"/>
                    <a:pt x="94" y="153"/>
                    <a:pt x="94" y="154"/>
                  </a:cubicBezTo>
                  <a:cubicBezTo>
                    <a:pt x="94" y="154"/>
                    <a:pt x="94" y="155"/>
                    <a:pt x="94" y="155"/>
                  </a:cubicBezTo>
                  <a:cubicBezTo>
                    <a:pt x="94" y="155"/>
                    <a:pt x="94" y="156"/>
                    <a:pt x="94" y="156"/>
                  </a:cubicBezTo>
                  <a:cubicBezTo>
                    <a:pt x="94" y="156"/>
                    <a:pt x="94" y="157"/>
                    <a:pt x="94" y="157"/>
                  </a:cubicBezTo>
                  <a:cubicBezTo>
                    <a:pt x="93" y="157"/>
                    <a:pt x="93" y="157"/>
                    <a:pt x="93" y="157"/>
                  </a:cubicBezTo>
                  <a:cubicBezTo>
                    <a:pt x="93" y="158"/>
                    <a:pt x="93" y="158"/>
                    <a:pt x="92" y="158"/>
                  </a:cubicBezTo>
                  <a:cubicBezTo>
                    <a:pt x="92" y="158"/>
                    <a:pt x="92" y="158"/>
                    <a:pt x="92" y="159"/>
                  </a:cubicBezTo>
                  <a:cubicBezTo>
                    <a:pt x="92" y="159"/>
                    <a:pt x="93" y="160"/>
                    <a:pt x="94" y="160"/>
                  </a:cubicBezTo>
                  <a:cubicBezTo>
                    <a:pt x="94" y="160"/>
                    <a:pt x="94" y="160"/>
                    <a:pt x="95" y="160"/>
                  </a:cubicBezTo>
                  <a:cubicBezTo>
                    <a:pt x="95" y="160"/>
                    <a:pt x="96" y="160"/>
                    <a:pt x="96" y="159"/>
                  </a:cubicBezTo>
                  <a:cubicBezTo>
                    <a:pt x="97" y="159"/>
                    <a:pt x="97" y="159"/>
                    <a:pt x="98" y="159"/>
                  </a:cubicBezTo>
                  <a:cubicBezTo>
                    <a:pt x="98" y="159"/>
                    <a:pt x="98" y="158"/>
                    <a:pt x="98" y="158"/>
                  </a:cubicBezTo>
                  <a:cubicBezTo>
                    <a:pt x="98" y="158"/>
                    <a:pt x="98" y="158"/>
                    <a:pt x="98" y="158"/>
                  </a:cubicBezTo>
                  <a:cubicBezTo>
                    <a:pt x="98" y="158"/>
                    <a:pt x="99" y="157"/>
                    <a:pt x="99" y="157"/>
                  </a:cubicBezTo>
                  <a:cubicBezTo>
                    <a:pt x="99" y="157"/>
                    <a:pt x="100" y="156"/>
                    <a:pt x="100" y="156"/>
                  </a:cubicBezTo>
                  <a:cubicBezTo>
                    <a:pt x="100" y="156"/>
                    <a:pt x="100" y="155"/>
                    <a:pt x="100" y="155"/>
                  </a:cubicBezTo>
                  <a:cubicBezTo>
                    <a:pt x="100" y="155"/>
                    <a:pt x="100" y="154"/>
                    <a:pt x="100" y="154"/>
                  </a:cubicBezTo>
                  <a:cubicBezTo>
                    <a:pt x="100" y="153"/>
                    <a:pt x="99" y="154"/>
                    <a:pt x="99" y="153"/>
                  </a:cubicBezTo>
                  <a:cubicBezTo>
                    <a:pt x="99" y="153"/>
                    <a:pt x="98" y="153"/>
                    <a:pt x="98" y="153"/>
                  </a:cubicBezTo>
                  <a:cubicBezTo>
                    <a:pt x="98" y="152"/>
                    <a:pt x="98" y="152"/>
                    <a:pt x="97" y="152"/>
                  </a:cubicBezTo>
                  <a:cubicBezTo>
                    <a:pt x="97" y="152"/>
                    <a:pt x="96" y="151"/>
                    <a:pt x="96" y="151"/>
                  </a:cubicBezTo>
                  <a:cubicBezTo>
                    <a:pt x="96" y="150"/>
                    <a:pt x="97" y="150"/>
                    <a:pt x="97" y="150"/>
                  </a:cubicBezTo>
                  <a:cubicBezTo>
                    <a:pt x="97" y="149"/>
                    <a:pt x="97" y="149"/>
                    <a:pt x="97" y="148"/>
                  </a:cubicBezTo>
                  <a:cubicBezTo>
                    <a:pt x="96" y="148"/>
                    <a:pt x="96" y="147"/>
                    <a:pt x="97" y="147"/>
                  </a:cubicBezTo>
                  <a:cubicBezTo>
                    <a:pt x="97" y="147"/>
                    <a:pt x="97" y="147"/>
                    <a:pt x="97" y="147"/>
                  </a:cubicBezTo>
                  <a:cubicBezTo>
                    <a:pt x="97" y="147"/>
                    <a:pt x="97" y="148"/>
                    <a:pt x="97" y="148"/>
                  </a:cubicBezTo>
                  <a:cubicBezTo>
                    <a:pt x="98" y="148"/>
                    <a:pt x="98" y="149"/>
                    <a:pt x="99" y="149"/>
                  </a:cubicBezTo>
                  <a:cubicBezTo>
                    <a:pt x="99" y="149"/>
                    <a:pt x="99" y="149"/>
                    <a:pt x="99" y="148"/>
                  </a:cubicBezTo>
                  <a:cubicBezTo>
                    <a:pt x="99" y="148"/>
                    <a:pt x="99" y="148"/>
                    <a:pt x="99" y="148"/>
                  </a:cubicBezTo>
                  <a:cubicBezTo>
                    <a:pt x="100" y="148"/>
                    <a:pt x="100" y="148"/>
                    <a:pt x="100" y="148"/>
                  </a:cubicBezTo>
                  <a:cubicBezTo>
                    <a:pt x="101" y="147"/>
                    <a:pt x="101" y="148"/>
                    <a:pt x="101" y="148"/>
                  </a:cubicBezTo>
                  <a:cubicBezTo>
                    <a:pt x="101" y="148"/>
                    <a:pt x="102" y="148"/>
                    <a:pt x="102" y="149"/>
                  </a:cubicBezTo>
                  <a:cubicBezTo>
                    <a:pt x="103" y="149"/>
                    <a:pt x="103" y="149"/>
                    <a:pt x="103" y="150"/>
                  </a:cubicBezTo>
                  <a:cubicBezTo>
                    <a:pt x="103" y="151"/>
                    <a:pt x="103" y="152"/>
                    <a:pt x="103" y="152"/>
                  </a:cubicBezTo>
                  <a:cubicBezTo>
                    <a:pt x="103" y="153"/>
                    <a:pt x="103" y="153"/>
                    <a:pt x="103" y="153"/>
                  </a:cubicBezTo>
                  <a:cubicBezTo>
                    <a:pt x="103" y="154"/>
                    <a:pt x="104" y="154"/>
                    <a:pt x="104" y="154"/>
                  </a:cubicBezTo>
                  <a:cubicBezTo>
                    <a:pt x="104" y="154"/>
                    <a:pt x="104" y="154"/>
                    <a:pt x="105" y="154"/>
                  </a:cubicBezTo>
                  <a:cubicBezTo>
                    <a:pt x="105" y="155"/>
                    <a:pt x="105" y="155"/>
                    <a:pt x="105" y="155"/>
                  </a:cubicBezTo>
                  <a:cubicBezTo>
                    <a:pt x="106" y="155"/>
                    <a:pt x="105" y="154"/>
                    <a:pt x="105" y="154"/>
                  </a:cubicBezTo>
                  <a:cubicBezTo>
                    <a:pt x="105" y="153"/>
                    <a:pt x="105" y="153"/>
                    <a:pt x="106" y="152"/>
                  </a:cubicBezTo>
                  <a:cubicBezTo>
                    <a:pt x="106" y="151"/>
                    <a:pt x="106" y="151"/>
                    <a:pt x="106" y="150"/>
                  </a:cubicBezTo>
                  <a:cubicBezTo>
                    <a:pt x="106" y="150"/>
                    <a:pt x="106" y="149"/>
                    <a:pt x="106" y="149"/>
                  </a:cubicBezTo>
                  <a:cubicBezTo>
                    <a:pt x="106" y="149"/>
                    <a:pt x="107" y="149"/>
                    <a:pt x="107" y="149"/>
                  </a:cubicBezTo>
                  <a:cubicBezTo>
                    <a:pt x="107" y="149"/>
                    <a:pt x="107" y="149"/>
                    <a:pt x="107" y="149"/>
                  </a:cubicBezTo>
                  <a:cubicBezTo>
                    <a:pt x="108" y="148"/>
                    <a:pt x="108" y="149"/>
                    <a:pt x="108" y="149"/>
                  </a:cubicBezTo>
                  <a:cubicBezTo>
                    <a:pt x="108" y="149"/>
                    <a:pt x="108" y="149"/>
                    <a:pt x="108" y="150"/>
                  </a:cubicBezTo>
                  <a:cubicBezTo>
                    <a:pt x="108" y="150"/>
                    <a:pt x="108" y="150"/>
                    <a:pt x="108" y="150"/>
                  </a:cubicBezTo>
                  <a:cubicBezTo>
                    <a:pt x="109" y="151"/>
                    <a:pt x="109" y="151"/>
                    <a:pt x="109" y="152"/>
                  </a:cubicBezTo>
                  <a:cubicBezTo>
                    <a:pt x="109" y="152"/>
                    <a:pt x="110" y="152"/>
                    <a:pt x="110" y="152"/>
                  </a:cubicBezTo>
                  <a:cubicBezTo>
                    <a:pt x="110" y="153"/>
                    <a:pt x="111" y="153"/>
                    <a:pt x="111" y="153"/>
                  </a:cubicBezTo>
                  <a:cubicBezTo>
                    <a:pt x="111" y="152"/>
                    <a:pt x="111" y="152"/>
                    <a:pt x="111" y="152"/>
                  </a:cubicBezTo>
                  <a:cubicBezTo>
                    <a:pt x="111" y="151"/>
                    <a:pt x="111" y="151"/>
                    <a:pt x="111" y="151"/>
                  </a:cubicBezTo>
                  <a:cubicBezTo>
                    <a:pt x="111" y="150"/>
                    <a:pt x="111" y="150"/>
                    <a:pt x="112" y="150"/>
                  </a:cubicBezTo>
                  <a:cubicBezTo>
                    <a:pt x="112" y="149"/>
                    <a:pt x="112" y="149"/>
                    <a:pt x="112" y="148"/>
                  </a:cubicBezTo>
                  <a:cubicBezTo>
                    <a:pt x="112" y="147"/>
                    <a:pt x="112" y="147"/>
                    <a:pt x="112" y="146"/>
                  </a:cubicBezTo>
                  <a:cubicBezTo>
                    <a:pt x="112" y="146"/>
                    <a:pt x="112" y="145"/>
                    <a:pt x="112" y="145"/>
                  </a:cubicBezTo>
                  <a:cubicBezTo>
                    <a:pt x="112" y="145"/>
                    <a:pt x="112" y="145"/>
                    <a:pt x="113" y="145"/>
                  </a:cubicBezTo>
                  <a:cubicBezTo>
                    <a:pt x="113" y="145"/>
                    <a:pt x="113" y="145"/>
                    <a:pt x="113" y="145"/>
                  </a:cubicBezTo>
                  <a:cubicBezTo>
                    <a:pt x="113" y="145"/>
                    <a:pt x="113" y="145"/>
                    <a:pt x="113" y="145"/>
                  </a:cubicBezTo>
                  <a:cubicBezTo>
                    <a:pt x="113" y="145"/>
                    <a:pt x="114" y="145"/>
                    <a:pt x="114" y="145"/>
                  </a:cubicBezTo>
                  <a:cubicBezTo>
                    <a:pt x="115" y="145"/>
                    <a:pt x="116" y="145"/>
                    <a:pt x="116" y="145"/>
                  </a:cubicBezTo>
                  <a:cubicBezTo>
                    <a:pt x="117" y="145"/>
                    <a:pt x="118" y="145"/>
                    <a:pt x="118" y="145"/>
                  </a:cubicBezTo>
                  <a:cubicBezTo>
                    <a:pt x="118" y="146"/>
                    <a:pt x="118" y="146"/>
                    <a:pt x="119" y="146"/>
                  </a:cubicBezTo>
                  <a:cubicBezTo>
                    <a:pt x="119" y="146"/>
                    <a:pt x="119" y="146"/>
                    <a:pt x="119" y="146"/>
                  </a:cubicBezTo>
                  <a:cubicBezTo>
                    <a:pt x="120" y="146"/>
                    <a:pt x="121" y="146"/>
                    <a:pt x="122" y="146"/>
                  </a:cubicBezTo>
                  <a:cubicBezTo>
                    <a:pt x="122" y="146"/>
                    <a:pt x="122" y="145"/>
                    <a:pt x="122" y="145"/>
                  </a:cubicBezTo>
                  <a:cubicBezTo>
                    <a:pt x="122" y="144"/>
                    <a:pt x="122" y="143"/>
                    <a:pt x="123" y="142"/>
                  </a:cubicBezTo>
                  <a:cubicBezTo>
                    <a:pt x="123" y="141"/>
                    <a:pt x="123" y="141"/>
                    <a:pt x="123" y="141"/>
                  </a:cubicBezTo>
                  <a:cubicBezTo>
                    <a:pt x="123" y="141"/>
                    <a:pt x="123" y="141"/>
                    <a:pt x="123" y="141"/>
                  </a:cubicBezTo>
                  <a:cubicBezTo>
                    <a:pt x="123" y="141"/>
                    <a:pt x="124" y="141"/>
                    <a:pt x="124" y="141"/>
                  </a:cubicBezTo>
                  <a:cubicBezTo>
                    <a:pt x="124" y="141"/>
                    <a:pt x="124" y="141"/>
                    <a:pt x="124" y="141"/>
                  </a:cubicBezTo>
                  <a:cubicBezTo>
                    <a:pt x="124" y="141"/>
                    <a:pt x="124" y="142"/>
                    <a:pt x="124" y="142"/>
                  </a:cubicBezTo>
                  <a:cubicBezTo>
                    <a:pt x="124" y="142"/>
                    <a:pt x="124" y="142"/>
                    <a:pt x="125" y="142"/>
                  </a:cubicBezTo>
                  <a:cubicBezTo>
                    <a:pt x="125" y="142"/>
                    <a:pt x="125" y="142"/>
                    <a:pt x="126" y="142"/>
                  </a:cubicBezTo>
                  <a:cubicBezTo>
                    <a:pt x="126" y="143"/>
                    <a:pt x="126" y="143"/>
                    <a:pt x="126" y="143"/>
                  </a:cubicBezTo>
                  <a:cubicBezTo>
                    <a:pt x="126" y="143"/>
                    <a:pt x="126" y="143"/>
                    <a:pt x="126" y="143"/>
                  </a:cubicBezTo>
                  <a:cubicBezTo>
                    <a:pt x="127" y="143"/>
                    <a:pt x="127" y="143"/>
                    <a:pt x="127" y="143"/>
                  </a:cubicBezTo>
                  <a:cubicBezTo>
                    <a:pt x="128" y="143"/>
                    <a:pt x="128" y="142"/>
                    <a:pt x="128" y="142"/>
                  </a:cubicBezTo>
                  <a:cubicBezTo>
                    <a:pt x="128" y="142"/>
                    <a:pt x="128" y="142"/>
                    <a:pt x="128" y="141"/>
                  </a:cubicBezTo>
                  <a:cubicBezTo>
                    <a:pt x="128" y="141"/>
                    <a:pt x="128" y="140"/>
                    <a:pt x="128" y="140"/>
                  </a:cubicBezTo>
                  <a:cubicBezTo>
                    <a:pt x="128" y="140"/>
                    <a:pt x="128" y="139"/>
                    <a:pt x="129" y="139"/>
                  </a:cubicBezTo>
                  <a:cubicBezTo>
                    <a:pt x="129" y="139"/>
                    <a:pt x="129" y="139"/>
                    <a:pt x="129" y="139"/>
                  </a:cubicBezTo>
                  <a:cubicBezTo>
                    <a:pt x="129" y="138"/>
                    <a:pt x="129" y="138"/>
                    <a:pt x="129" y="138"/>
                  </a:cubicBezTo>
                  <a:cubicBezTo>
                    <a:pt x="129" y="138"/>
                    <a:pt x="130" y="138"/>
                    <a:pt x="130" y="138"/>
                  </a:cubicBezTo>
                  <a:cubicBezTo>
                    <a:pt x="130" y="138"/>
                    <a:pt x="130" y="138"/>
                    <a:pt x="131" y="138"/>
                  </a:cubicBezTo>
                  <a:cubicBezTo>
                    <a:pt x="131" y="138"/>
                    <a:pt x="131" y="138"/>
                    <a:pt x="131" y="139"/>
                  </a:cubicBezTo>
                  <a:cubicBezTo>
                    <a:pt x="132" y="139"/>
                    <a:pt x="132" y="139"/>
                    <a:pt x="132" y="140"/>
                  </a:cubicBezTo>
                  <a:cubicBezTo>
                    <a:pt x="132" y="140"/>
                    <a:pt x="132" y="140"/>
                    <a:pt x="132" y="141"/>
                  </a:cubicBezTo>
                  <a:cubicBezTo>
                    <a:pt x="132" y="142"/>
                    <a:pt x="133" y="141"/>
                    <a:pt x="133" y="141"/>
                  </a:cubicBezTo>
                  <a:cubicBezTo>
                    <a:pt x="133" y="141"/>
                    <a:pt x="134" y="141"/>
                    <a:pt x="134" y="141"/>
                  </a:cubicBezTo>
                  <a:cubicBezTo>
                    <a:pt x="134" y="141"/>
                    <a:pt x="134" y="140"/>
                    <a:pt x="135" y="140"/>
                  </a:cubicBezTo>
                  <a:cubicBezTo>
                    <a:pt x="135" y="140"/>
                    <a:pt x="135" y="140"/>
                    <a:pt x="135" y="140"/>
                  </a:cubicBezTo>
                  <a:cubicBezTo>
                    <a:pt x="136" y="140"/>
                    <a:pt x="137" y="139"/>
                    <a:pt x="137" y="138"/>
                  </a:cubicBezTo>
                  <a:cubicBezTo>
                    <a:pt x="138" y="138"/>
                    <a:pt x="139" y="137"/>
                    <a:pt x="139" y="136"/>
                  </a:cubicBezTo>
                  <a:cubicBezTo>
                    <a:pt x="140" y="136"/>
                    <a:pt x="140" y="135"/>
                    <a:pt x="141" y="135"/>
                  </a:cubicBezTo>
                  <a:cubicBezTo>
                    <a:pt x="141" y="135"/>
                    <a:pt x="141" y="134"/>
                    <a:pt x="141" y="134"/>
                  </a:cubicBezTo>
                  <a:cubicBezTo>
                    <a:pt x="141" y="133"/>
                    <a:pt x="141" y="132"/>
                    <a:pt x="141" y="131"/>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7" name="Freeform 40">
              <a:extLst>
                <a:ext uri="{FF2B5EF4-FFF2-40B4-BE49-F238E27FC236}">
                  <a16:creationId xmlns:a16="http://schemas.microsoft.com/office/drawing/2014/main" id="{6019517C-44CE-E30A-7DCE-F1B83D4D222A}"/>
                </a:ext>
              </a:extLst>
            </p:cNvPr>
            <p:cNvSpPr>
              <a:spLocks noEditPoints="1"/>
            </p:cNvSpPr>
            <p:nvPr/>
          </p:nvSpPr>
          <p:spPr bwMode="auto">
            <a:xfrm>
              <a:off x="6718017" y="3882607"/>
              <a:ext cx="677403" cy="634447"/>
            </a:xfrm>
            <a:custGeom>
              <a:avLst/>
              <a:gdLst>
                <a:gd name="T0" fmla="*/ 150 w 171"/>
                <a:gd name="T1" fmla="*/ 151 h 160"/>
                <a:gd name="T2" fmla="*/ 159 w 171"/>
                <a:gd name="T3" fmla="*/ 153 h 160"/>
                <a:gd name="T4" fmla="*/ 159 w 171"/>
                <a:gd name="T5" fmla="*/ 155 h 160"/>
                <a:gd name="T6" fmla="*/ 166 w 171"/>
                <a:gd name="T7" fmla="*/ 150 h 160"/>
                <a:gd name="T8" fmla="*/ 171 w 171"/>
                <a:gd name="T9" fmla="*/ 156 h 160"/>
                <a:gd name="T10" fmla="*/ 150 w 171"/>
                <a:gd name="T11" fmla="*/ 104 h 160"/>
                <a:gd name="T12" fmla="*/ 83 w 171"/>
                <a:gd name="T13" fmla="*/ 77 h 160"/>
                <a:gd name="T14" fmla="*/ 86 w 171"/>
                <a:gd name="T15" fmla="*/ 65 h 160"/>
                <a:gd name="T16" fmla="*/ 90 w 171"/>
                <a:gd name="T17" fmla="*/ 59 h 160"/>
                <a:gd name="T18" fmla="*/ 94 w 171"/>
                <a:gd name="T19" fmla="*/ 52 h 160"/>
                <a:gd name="T20" fmla="*/ 97 w 171"/>
                <a:gd name="T21" fmla="*/ 46 h 160"/>
                <a:gd name="T22" fmla="*/ 103 w 171"/>
                <a:gd name="T23" fmla="*/ 38 h 160"/>
                <a:gd name="T24" fmla="*/ 99 w 171"/>
                <a:gd name="T25" fmla="*/ 34 h 160"/>
                <a:gd name="T26" fmla="*/ 109 w 171"/>
                <a:gd name="T27" fmla="*/ 27 h 160"/>
                <a:gd name="T28" fmla="*/ 102 w 171"/>
                <a:gd name="T29" fmla="*/ 20 h 160"/>
                <a:gd name="T30" fmla="*/ 100 w 171"/>
                <a:gd name="T31" fmla="*/ 18 h 160"/>
                <a:gd name="T32" fmla="*/ 100 w 171"/>
                <a:gd name="T33" fmla="*/ 7 h 160"/>
                <a:gd name="T34" fmla="*/ 99 w 171"/>
                <a:gd name="T35" fmla="*/ 0 h 160"/>
                <a:gd name="T36" fmla="*/ 10 w 171"/>
                <a:gd name="T37" fmla="*/ 63 h 160"/>
                <a:gd name="T38" fmla="*/ 17 w 171"/>
                <a:gd name="T39" fmla="*/ 75 h 160"/>
                <a:gd name="T40" fmla="*/ 15 w 171"/>
                <a:gd name="T41" fmla="*/ 94 h 160"/>
                <a:gd name="T42" fmla="*/ 11 w 171"/>
                <a:gd name="T43" fmla="*/ 120 h 160"/>
                <a:gd name="T44" fmla="*/ 7 w 171"/>
                <a:gd name="T45" fmla="*/ 134 h 160"/>
                <a:gd name="T46" fmla="*/ 37 w 171"/>
                <a:gd name="T47" fmla="*/ 134 h 160"/>
                <a:gd name="T48" fmla="*/ 65 w 171"/>
                <a:gd name="T49" fmla="*/ 140 h 160"/>
                <a:gd name="T50" fmla="*/ 64 w 171"/>
                <a:gd name="T51" fmla="*/ 134 h 160"/>
                <a:gd name="T52" fmla="*/ 71 w 171"/>
                <a:gd name="T53" fmla="*/ 128 h 160"/>
                <a:gd name="T54" fmla="*/ 77 w 171"/>
                <a:gd name="T55" fmla="*/ 129 h 160"/>
                <a:gd name="T56" fmla="*/ 84 w 171"/>
                <a:gd name="T57" fmla="*/ 137 h 160"/>
                <a:gd name="T58" fmla="*/ 94 w 171"/>
                <a:gd name="T59" fmla="*/ 142 h 160"/>
                <a:gd name="T60" fmla="*/ 97 w 171"/>
                <a:gd name="T61" fmla="*/ 143 h 160"/>
                <a:gd name="T62" fmla="*/ 94 w 171"/>
                <a:gd name="T63" fmla="*/ 151 h 160"/>
                <a:gd name="T64" fmla="*/ 104 w 171"/>
                <a:gd name="T65" fmla="*/ 154 h 160"/>
                <a:gd name="T66" fmla="*/ 111 w 171"/>
                <a:gd name="T67" fmla="*/ 154 h 160"/>
                <a:gd name="T68" fmla="*/ 117 w 171"/>
                <a:gd name="T69" fmla="*/ 152 h 160"/>
                <a:gd name="T70" fmla="*/ 123 w 171"/>
                <a:gd name="T71" fmla="*/ 149 h 160"/>
                <a:gd name="T72" fmla="*/ 136 w 171"/>
                <a:gd name="T73" fmla="*/ 156 h 160"/>
                <a:gd name="T74" fmla="*/ 134 w 171"/>
                <a:gd name="T75" fmla="*/ 139 h 160"/>
                <a:gd name="T76" fmla="*/ 128 w 171"/>
                <a:gd name="T77" fmla="*/ 133 h 160"/>
                <a:gd name="T78" fmla="*/ 135 w 171"/>
                <a:gd name="T79" fmla="*/ 137 h 160"/>
                <a:gd name="T80" fmla="*/ 150 w 171"/>
                <a:gd name="T81" fmla="*/ 147 h 160"/>
                <a:gd name="T82" fmla="*/ 162 w 171"/>
                <a:gd name="T83" fmla="*/ 151 h 160"/>
                <a:gd name="T84" fmla="*/ 158 w 171"/>
                <a:gd name="T85" fmla="*/ 147 h 160"/>
                <a:gd name="T86" fmla="*/ 149 w 171"/>
                <a:gd name="T87" fmla="*/ 139 h 160"/>
                <a:gd name="T88" fmla="*/ 149 w 171"/>
                <a:gd name="T89" fmla="*/ 137 h 160"/>
                <a:gd name="T90" fmla="*/ 153 w 171"/>
                <a:gd name="T91" fmla="*/ 134 h 160"/>
                <a:gd name="T92" fmla="*/ 159 w 171"/>
                <a:gd name="T93" fmla="*/ 133 h 160"/>
                <a:gd name="T94" fmla="*/ 159 w 171"/>
                <a:gd name="T95" fmla="*/ 120 h 160"/>
                <a:gd name="T96" fmla="*/ 146 w 171"/>
                <a:gd name="T97" fmla="*/ 126 h 160"/>
                <a:gd name="T98" fmla="*/ 148 w 171"/>
                <a:gd name="T99" fmla="*/ 116 h 160"/>
                <a:gd name="T100" fmla="*/ 132 w 171"/>
                <a:gd name="T101" fmla="*/ 121 h 160"/>
                <a:gd name="T102" fmla="*/ 128 w 171"/>
                <a:gd name="T103" fmla="*/ 112 h 160"/>
                <a:gd name="T104" fmla="*/ 124 w 171"/>
                <a:gd name="T105" fmla="*/ 109 h 160"/>
                <a:gd name="T106" fmla="*/ 139 w 171"/>
                <a:gd name="T107" fmla="*/ 110 h 160"/>
                <a:gd name="T108" fmla="*/ 152 w 171"/>
                <a:gd name="T109" fmla="*/ 114 h 160"/>
                <a:gd name="T110" fmla="*/ 73 w 171"/>
                <a:gd name="T111" fmla="*/ 142 h 160"/>
                <a:gd name="T112" fmla="*/ 77 w 171"/>
                <a:gd name="T113" fmla="*/ 139 h 160"/>
                <a:gd name="T114" fmla="*/ 70 w 171"/>
                <a:gd name="T115" fmla="*/ 14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 h="160">
                  <a:moveTo>
                    <a:pt x="148" y="150"/>
                  </a:moveTo>
                  <a:cubicBezTo>
                    <a:pt x="148" y="150"/>
                    <a:pt x="148" y="150"/>
                    <a:pt x="149" y="149"/>
                  </a:cubicBezTo>
                  <a:cubicBezTo>
                    <a:pt x="149" y="149"/>
                    <a:pt x="149" y="149"/>
                    <a:pt x="149" y="149"/>
                  </a:cubicBezTo>
                  <a:cubicBezTo>
                    <a:pt x="149" y="148"/>
                    <a:pt x="149" y="148"/>
                    <a:pt x="149" y="148"/>
                  </a:cubicBezTo>
                  <a:cubicBezTo>
                    <a:pt x="149" y="148"/>
                    <a:pt x="150" y="148"/>
                    <a:pt x="150" y="148"/>
                  </a:cubicBezTo>
                  <a:cubicBezTo>
                    <a:pt x="150" y="147"/>
                    <a:pt x="151" y="148"/>
                    <a:pt x="151" y="148"/>
                  </a:cubicBezTo>
                  <a:cubicBezTo>
                    <a:pt x="151" y="149"/>
                    <a:pt x="151" y="149"/>
                    <a:pt x="151" y="149"/>
                  </a:cubicBezTo>
                  <a:cubicBezTo>
                    <a:pt x="151" y="150"/>
                    <a:pt x="150" y="150"/>
                    <a:pt x="150" y="150"/>
                  </a:cubicBezTo>
                  <a:cubicBezTo>
                    <a:pt x="150" y="151"/>
                    <a:pt x="150" y="151"/>
                    <a:pt x="150" y="151"/>
                  </a:cubicBezTo>
                  <a:cubicBezTo>
                    <a:pt x="149" y="151"/>
                    <a:pt x="149" y="151"/>
                    <a:pt x="148" y="150"/>
                  </a:cubicBezTo>
                  <a:close/>
                  <a:moveTo>
                    <a:pt x="160" y="155"/>
                  </a:moveTo>
                  <a:cubicBezTo>
                    <a:pt x="160" y="155"/>
                    <a:pt x="160" y="155"/>
                    <a:pt x="160" y="154"/>
                  </a:cubicBezTo>
                  <a:cubicBezTo>
                    <a:pt x="161" y="154"/>
                    <a:pt x="161" y="154"/>
                    <a:pt x="161" y="153"/>
                  </a:cubicBezTo>
                  <a:cubicBezTo>
                    <a:pt x="161" y="153"/>
                    <a:pt x="161" y="153"/>
                    <a:pt x="162" y="152"/>
                  </a:cubicBezTo>
                  <a:cubicBezTo>
                    <a:pt x="162" y="152"/>
                    <a:pt x="162" y="152"/>
                    <a:pt x="162" y="152"/>
                  </a:cubicBezTo>
                  <a:cubicBezTo>
                    <a:pt x="161" y="152"/>
                    <a:pt x="161" y="152"/>
                    <a:pt x="161" y="152"/>
                  </a:cubicBezTo>
                  <a:cubicBezTo>
                    <a:pt x="161" y="152"/>
                    <a:pt x="161" y="152"/>
                    <a:pt x="161" y="152"/>
                  </a:cubicBezTo>
                  <a:cubicBezTo>
                    <a:pt x="160" y="153"/>
                    <a:pt x="160" y="153"/>
                    <a:pt x="159" y="153"/>
                  </a:cubicBezTo>
                  <a:cubicBezTo>
                    <a:pt x="159" y="153"/>
                    <a:pt x="159" y="152"/>
                    <a:pt x="159" y="152"/>
                  </a:cubicBezTo>
                  <a:cubicBezTo>
                    <a:pt x="158" y="152"/>
                    <a:pt x="158" y="151"/>
                    <a:pt x="158" y="151"/>
                  </a:cubicBezTo>
                  <a:cubicBezTo>
                    <a:pt x="158" y="151"/>
                    <a:pt x="158" y="151"/>
                    <a:pt x="158" y="151"/>
                  </a:cubicBezTo>
                  <a:cubicBezTo>
                    <a:pt x="157" y="151"/>
                    <a:pt x="157" y="151"/>
                    <a:pt x="157" y="151"/>
                  </a:cubicBezTo>
                  <a:cubicBezTo>
                    <a:pt x="157" y="151"/>
                    <a:pt x="157" y="151"/>
                    <a:pt x="157" y="151"/>
                  </a:cubicBezTo>
                  <a:cubicBezTo>
                    <a:pt x="157" y="152"/>
                    <a:pt x="157" y="152"/>
                    <a:pt x="157" y="152"/>
                  </a:cubicBezTo>
                  <a:cubicBezTo>
                    <a:pt x="157" y="153"/>
                    <a:pt x="157" y="153"/>
                    <a:pt x="157" y="153"/>
                  </a:cubicBezTo>
                  <a:cubicBezTo>
                    <a:pt x="158" y="154"/>
                    <a:pt x="158" y="154"/>
                    <a:pt x="158" y="154"/>
                  </a:cubicBezTo>
                  <a:cubicBezTo>
                    <a:pt x="158" y="155"/>
                    <a:pt x="158" y="155"/>
                    <a:pt x="159" y="155"/>
                  </a:cubicBezTo>
                  <a:cubicBezTo>
                    <a:pt x="159" y="156"/>
                    <a:pt x="159" y="156"/>
                    <a:pt x="159" y="156"/>
                  </a:cubicBezTo>
                  <a:cubicBezTo>
                    <a:pt x="160" y="156"/>
                    <a:pt x="160" y="156"/>
                    <a:pt x="160" y="155"/>
                  </a:cubicBezTo>
                  <a:close/>
                  <a:moveTo>
                    <a:pt x="168" y="152"/>
                  </a:moveTo>
                  <a:cubicBezTo>
                    <a:pt x="168" y="152"/>
                    <a:pt x="168" y="152"/>
                    <a:pt x="169" y="152"/>
                  </a:cubicBezTo>
                  <a:cubicBezTo>
                    <a:pt x="169" y="153"/>
                    <a:pt x="169" y="153"/>
                    <a:pt x="169" y="153"/>
                  </a:cubicBezTo>
                  <a:cubicBezTo>
                    <a:pt x="170" y="152"/>
                    <a:pt x="169" y="152"/>
                    <a:pt x="169" y="152"/>
                  </a:cubicBezTo>
                  <a:cubicBezTo>
                    <a:pt x="169" y="152"/>
                    <a:pt x="169" y="151"/>
                    <a:pt x="168" y="150"/>
                  </a:cubicBezTo>
                  <a:cubicBezTo>
                    <a:pt x="168" y="150"/>
                    <a:pt x="167" y="150"/>
                    <a:pt x="167" y="150"/>
                  </a:cubicBezTo>
                  <a:cubicBezTo>
                    <a:pt x="166" y="150"/>
                    <a:pt x="166" y="150"/>
                    <a:pt x="166" y="150"/>
                  </a:cubicBezTo>
                  <a:cubicBezTo>
                    <a:pt x="166" y="151"/>
                    <a:pt x="166" y="151"/>
                    <a:pt x="166" y="151"/>
                  </a:cubicBezTo>
                  <a:cubicBezTo>
                    <a:pt x="167" y="151"/>
                    <a:pt x="167" y="152"/>
                    <a:pt x="168" y="152"/>
                  </a:cubicBezTo>
                  <a:close/>
                  <a:moveTo>
                    <a:pt x="168" y="160"/>
                  </a:moveTo>
                  <a:cubicBezTo>
                    <a:pt x="168" y="160"/>
                    <a:pt x="168" y="160"/>
                    <a:pt x="169" y="160"/>
                  </a:cubicBezTo>
                  <a:cubicBezTo>
                    <a:pt x="169" y="160"/>
                    <a:pt x="169" y="160"/>
                    <a:pt x="169" y="160"/>
                  </a:cubicBezTo>
                  <a:cubicBezTo>
                    <a:pt x="170" y="159"/>
                    <a:pt x="170" y="159"/>
                    <a:pt x="170" y="158"/>
                  </a:cubicBezTo>
                  <a:cubicBezTo>
                    <a:pt x="170" y="158"/>
                    <a:pt x="170" y="158"/>
                    <a:pt x="170" y="158"/>
                  </a:cubicBezTo>
                  <a:cubicBezTo>
                    <a:pt x="170" y="158"/>
                    <a:pt x="170" y="157"/>
                    <a:pt x="170" y="157"/>
                  </a:cubicBezTo>
                  <a:cubicBezTo>
                    <a:pt x="170" y="157"/>
                    <a:pt x="170" y="156"/>
                    <a:pt x="171" y="156"/>
                  </a:cubicBezTo>
                  <a:cubicBezTo>
                    <a:pt x="171" y="156"/>
                    <a:pt x="171" y="156"/>
                    <a:pt x="171" y="156"/>
                  </a:cubicBezTo>
                  <a:cubicBezTo>
                    <a:pt x="171" y="155"/>
                    <a:pt x="170" y="156"/>
                    <a:pt x="170" y="156"/>
                  </a:cubicBezTo>
                  <a:cubicBezTo>
                    <a:pt x="170" y="156"/>
                    <a:pt x="169" y="156"/>
                    <a:pt x="169" y="156"/>
                  </a:cubicBezTo>
                  <a:cubicBezTo>
                    <a:pt x="169" y="156"/>
                    <a:pt x="169" y="157"/>
                    <a:pt x="168" y="157"/>
                  </a:cubicBezTo>
                  <a:cubicBezTo>
                    <a:pt x="168" y="157"/>
                    <a:pt x="168" y="157"/>
                    <a:pt x="167" y="158"/>
                  </a:cubicBezTo>
                  <a:cubicBezTo>
                    <a:pt x="167" y="158"/>
                    <a:pt x="167" y="158"/>
                    <a:pt x="167" y="159"/>
                  </a:cubicBezTo>
                  <a:cubicBezTo>
                    <a:pt x="167" y="159"/>
                    <a:pt x="168" y="160"/>
                    <a:pt x="168" y="160"/>
                  </a:cubicBezTo>
                  <a:close/>
                  <a:moveTo>
                    <a:pt x="152" y="113"/>
                  </a:moveTo>
                  <a:cubicBezTo>
                    <a:pt x="152" y="113"/>
                    <a:pt x="150" y="104"/>
                    <a:pt x="150" y="104"/>
                  </a:cubicBezTo>
                  <a:cubicBezTo>
                    <a:pt x="145" y="96"/>
                    <a:pt x="145" y="96"/>
                    <a:pt x="145" y="96"/>
                  </a:cubicBezTo>
                  <a:cubicBezTo>
                    <a:pt x="145" y="95"/>
                    <a:pt x="145" y="95"/>
                    <a:pt x="145" y="95"/>
                  </a:cubicBezTo>
                  <a:cubicBezTo>
                    <a:pt x="145" y="95"/>
                    <a:pt x="148" y="85"/>
                    <a:pt x="148" y="85"/>
                  </a:cubicBezTo>
                  <a:cubicBezTo>
                    <a:pt x="148" y="85"/>
                    <a:pt x="148" y="82"/>
                    <a:pt x="148" y="82"/>
                  </a:cubicBezTo>
                  <a:cubicBezTo>
                    <a:pt x="83" y="82"/>
                    <a:pt x="83" y="82"/>
                    <a:pt x="83" y="82"/>
                  </a:cubicBezTo>
                  <a:cubicBezTo>
                    <a:pt x="83" y="82"/>
                    <a:pt x="84" y="81"/>
                    <a:pt x="84" y="81"/>
                  </a:cubicBezTo>
                  <a:cubicBezTo>
                    <a:pt x="84" y="81"/>
                    <a:pt x="85" y="80"/>
                    <a:pt x="85" y="80"/>
                  </a:cubicBezTo>
                  <a:cubicBezTo>
                    <a:pt x="85" y="79"/>
                    <a:pt x="83" y="78"/>
                    <a:pt x="83" y="78"/>
                  </a:cubicBezTo>
                  <a:cubicBezTo>
                    <a:pt x="83" y="78"/>
                    <a:pt x="83" y="77"/>
                    <a:pt x="83" y="77"/>
                  </a:cubicBezTo>
                  <a:cubicBezTo>
                    <a:pt x="83" y="76"/>
                    <a:pt x="84" y="75"/>
                    <a:pt x="84" y="75"/>
                  </a:cubicBezTo>
                  <a:cubicBezTo>
                    <a:pt x="84" y="75"/>
                    <a:pt x="84" y="74"/>
                    <a:pt x="84" y="74"/>
                  </a:cubicBezTo>
                  <a:cubicBezTo>
                    <a:pt x="83" y="73"/>
                    <a:pt x="83" y="73"/>
                    <a:pt x="83" y="72"/>
                  </a:cubicBezTo>
                  <a:cubicBezTo>
                    <a:pt x="83" y="72"/>
                    <a:pt x="83" y="72"/>
                    <a:pt x="83" y="72"/>
                  </a:cubicBezTo>
                  <a:cubicBezTo>
                    <a:pt x="83" y="72"/>
                    <a:pt x="84" y="72"/>
                    <a:pt x="85" y="71"/>
                  </a:cubicBezTo>
                  <a:cubicBezTo>
                    <a:pt x="86" y="71"/>
                    <a:pt x="87" y="71"/>
                    <a:pt x="87" y="71"/>
                  </a:cubicBezTo>
                  <a:cubicBezTo>
                    <a:pt x="87" y="71"/>
                    <a:pt x="86" y="69"/>
                    <a:pt x="86" y="68"/>
                  </a:cubicBezTo>
                  <a:cubicBezTo>
                    <a:pt x="85" y="67"/>
                    <a:pt x="85" y="66"/>
                    <a:pt x="85" y="65"/>
                  </a:cubicBezTo>
                  <a:cubicBezTo>
                    <a:pt x="85" y="65"/>
                    <a:pt x="86" y="65"/>
                    <a:pt x="86" y="65"/>
                  </a:cubicBezTo>
                  <a:cubicBezTo>
                    <a:pt x="87" y="65"/>
                    <a:pt x="86" y="66"/>
                    <a:pt x="86" y="66"/>
                  </a:cubicBezTo>
                  <a:cubicBezTo>
                    <a:pt x="87" y="67"/>
                    <a:pt x="87" y="68"/>
                    <a:pt x="88" y="67"/>
                  </a:cubicBezTo>
                  <a:cubicBezTo>
                    <a:pt x="88" y="67"/>
                    <a:pt x="88" y="66"/>
                    <a:pt x="88" y="66"/>
                  </a:cubicBezTo>
                  <a:cubicBezTo>
                    <a:pt x="88" y="65"/>
                    <a:pt x="88" y="64"/>
                    <a:pt x="87" y="64"/>
                  </a:cubicBezTo>
                  <a:cubicBezTo>
                    <a:pt x="87" y="63"/>
                    <a:pt x="87" y="63"/>
                    <a:pt x="87" y="63"/>
                  </a:cubicBezTo>
                  <a:cubicBezTo>
                    <a:pt x="87" y="62"/>
                    <a:pt x="87" y="62"/>
                    <a:pt x="87" y="62"/>
                  </a:cubicBezTo>
                  <a:cubicBezTo>
                    <a:pt x="86" y="61"/>
                    <a:pt x="88" y="61"/>
                    <a:pt x="88" y="60"/>
                  </a:cubicBezTo>
                  <a:cubicBezTo>
                    <a:pt x="89" y="60"/>
                    <a:pt x="89" y="60"/>
                    <a:pt x="90" y="59"/>
                  </a:cubicBezTo>
                  <a:cubicBezTo>
                    <a:pt x="90" y="59"/>
                    <a:pt x="90" y="59"/>
                    <a:pt x="90" y="59"/>
                  </a:cubicBezTo>
                  <a:cubicBezTo>
                    <a:pt x="90" y="58"/>
                    <a:pt x="89" y="58"/>
                    <a:pt x="89" y="58"/>
                  </a:cubicBezTo>
                  <a:cubicBezTo>
                    <a:pt x="88" y="58"/>
                    <a:pt x="88" y="58"/>
                    <a:pt x="87" y="57"/>
                  </a:cubicBezTo>
                  <a:cubicBezTo>
                    <a:pt x="87" y="57"/>
                    <a:pt x="87" y="57"/>
                    <a:pt x="88" y="57"/>
                  </a:cubicBezTo>
                  <a:cubicBezTo>
                    <a:pt x="88" y="57"/>
                    <a:pt x="89" y="57"/>
                    <a:pt x="90" y="57"/>
                  </a:cubicBezTo>
                  <a:cubicBezTo>
                    <a:pt x="90" y="57"/>
                    <a:pt x="90" y="58"/>
                    <a:pt x="91" y="58"/>
                  </a:cubicBezTo>
                  <a:cubicBezTo>
                    <a:pt x="91" y="57"/>
                    <a:pt x="91" y="55"/>
                    <a:pt x="92" y="53"/>
                  </a:cubicBezTo>
                  <a:cubicBezTo>
                    <a:pt x="92" y="53"/>
                    <a:pt x="92" y="53"/>
                    <a:pt x="92" y="52"/>
                  </a:cubicBezTo>
                  <a:cubicBezTo>
                    <a:pt x="93" y="52"/>
                    <a:pt x="93" y="52"/>
                    <a:pt x="93" y="52"/>
                  </a:cubicBezTo>
                  <a:cubicBezTo>
                    <a:pt x="93" y="52"/>
                    <a:pt x="94" y="52"/>
                    <a:pt x="94" y="52"/>
                  </a:cubicBezTo>
                  <a:cubicBezTo>
                    <a:pt x="94" y="52"/>
                    <a:pt x="95" y="52"/>
                    <a:pt x="95" y="51"/>
                  </a:cubicBezTo>
                  <a:cubicBezTo>
                    <a:pt x="95" y="51"/>
                    <a:pt x="94" y="51"/>
                    <a:pt x="94" y="51"/>
                  </a:cubicBezTo>
                  <a:cubicBezTo>
                    <a:pt x="94" y="51"/>
                    <a:pt x="93" y="51"/>
                    <a:pt x="93" y="51"/>
                  </a:cubicBezTo>
                  <a:cubicBezTo>
                    <a:pt x="92" y="50"/>
                    <a:pt x="93" y="49"/>
                    <a:pt x="93" y="49"/>
                  </a:cubicBezTo>
                  <a:cubicBezTo>
                    <a:pt x="93" y="48"/>
                    <a:pt x="94" y="47"/>
                    <a:pt x="94" y="48"/>
                  </a:cubicBezTo>
                  <a:cubicBezTo>
                    <a:pt x="95" y="48"/>
                    <a:pt x="94" y="49"/>
                    <a:pt x="95" y="49"/>
                  </a:cubicBezTo>
                  <a:cubicBezTo>
                    <a:pt x="95" y="49"/>
                    <a:pt x="95" y="49"/>
                    <a:pt x="96" y="49"/>
                  </a:cubicBezTo>
                  <a:cubicBezTo>
                    <a:pt x="96" y="48"/>
                    <a:pt x="96" y="47"/>
                    <a:pt x="96" y="47"/>
                  </a:cubicBezTo>
                  <a:cubicBezTo>
                    <a:pt x="96" y="46"/>
                    <a:pt x="97" y="46"/>
                    <a:pt x="97" y="46"/>
                  </a:cubicBezTo>
                  <a:cubicBezTo>
                    <a:pt x="98" y="45"/>
                    <a:pt x="98" y="45"/>
                    <a:pt x="98" y="45"/>
                  </a:cubicBezTo>
                  <a:cubicBezTo>
                    <a:pt x="98" y="44"/>
                    <a:pt x="99" y="43"/>
                    <a:pt x="100" y="42"/>
                  </a:cubicBezTo>
                  <a:cubicBezTo>
                    <a:pt x="101" y="42"/>
                    <a:pt x="102" y="42"/>
                    <a:pt x="101" y="41"/>
                  </a:cubicBezTo>
                  <a:cubicBezTo>
                    <a:pt x="101" y="40"/>
                    <a:pt x="101" y="40"/>
                    <a:pt x="101" y="40"/>
                  </a:cubicBezTo>
                  <a:cubicBezTo>
                    <a:pt x="100" y="39"/>
                    <a:pt x="99" y="39"/>
                    <a:pt x="99" y="39"/>
                  </a:cubicBezTo>
                  <a:cubicBezTo>
                    <a:pt x="99" y="38"/>
                    <a:pt x="100" y="38"/>
                    <a:pt x="100" y="38"/>
                  </a:cubicBezTo>
                  <a:cubicBezTo>
                    <a:pt x="100" y="39"/>
                    <a:pt x="100" y="39"/>
                    <a:pt x="101" y="39"/>
                  </a:cubicBezTo>
                  <a:cubicBezTo>
                    <a:pt x="101" y="39"/>
                    <a:pt x="102" y="40"/>
                    <a:pt x="102" y="39"/>
                  </a:cubicBezTo>
                  <a:cubicBezTo>
                    <a:pt x="102" y="39"/>
                    <a:pt x="103" y="38"/>
                    <a:pt x="103" y="38"/>
                  </a:cubicBezTo>
                  <a:cubicBezTo>
                    <a:pt x="103" y="38"/>
                    <a:pt x="103" y="37"/>
                    <a:pt x="104" y="37"/>
                  </a:cubicBezTo>
                  <a:cubicBezTo>
                    <a:pt x="104" y="37"/>
                    <a:pt x="104" y="37"/>
                    <a:pt x="104" y="37"/>
                  </a:cubicBezTo>
                  <a:cubicBezTo>
                    <a:pt x="104" y="36"/>
                    <a:pt x="104" y="36"/>
                    <a:pt x="104" y="35"/>
                  </a:cubicBezTo>
                  <a:cubicBezTo>
                    <a:pt x="104" y="35"/>
                    <a:pt x="103" y="34"/>
                    <a:pt x="103" y="34"/>
                  </a:cubicBezTo>
                  <a:cubicBezTo>
                    <a:pt x="103" y="35"/>
                    <a:pt x="103" y="35"/>
                    <a:pt x="103" y="35"/>
                  </a:cubicBezTo>
                  <a:cubicBezTo>
                    <a:pt x="103" y="35"/>
                    <a:pt x="103" y="36"/>
                    <a:pt x="103" y="36"/>
                  </a:cubicBezTo>
                  <a:cubicBezTo>
                    <a:pt x="103" y="36"/>
                    <a:pt x="102" y="36"/>
                    <a:pt x="102" y="37"/>
                  </a:cubicBezTo>
                  <a:cubicBezTo>
                    <a:pt x="101" y="37"/>
                    <a:pt x="100" y="37"/>
                    <a:pt x="100" y="36"/>
                  </a:cubicBezTo>
                  <a:cubicBezTo>
                    <a:pt x="99" y="36"/>
                    <a:pt x="99" y="35"/>
                    <a:pt x="99" y="34"/>
                  </a:cubicBezTo>
                  <a:cubicBezTo>
                    <a:pt x="99" y="34"/>
                    <a:pt x="99" y="33"/>
                    <a:pt x="100" y="33"/>
                  </a:cubicBezTo>
                  <a:cubicBezTo>
                    <a:pt x="101" y="33"/>
                    <a:pt x="101" y="33"/>
                    <a:pt x="102" y="33"/>
                  </a:cubicBezTo>
                  <a:cubicBezTo>
                    <a:pt x="102" y="32"/>
                    <a:pt x="103" y="32"/>
                    <a:pt x="104" y="32"/>
                  </a:cubicBezTo>
                  <a:cubicBezTo>
                    <a:pt x="104" y="33"/>
                    <a:pt x="104" y="33"/>
                    <a:pt x="104" y="33"/>
                  </a:cubicBezTo>
                  <a:cubicBezTo>
                    <a:pt x="104" y="33"/>
                    <a:pt x="104" y="34"/>
                    <a:pt x="105" y="34"/>
                  </a:cubicBezTo>
                  <a:cubicBezTo>
                    <a:pt x="106" y="34"/>
                    <a:pt x="105" y="32"/>
                    <a:pt x="105" y="32"/>
                  </a:cubicBezTo>
                  <a:cubicBezTo>
                    <a:pt x="105" y="31"/>
                    <a:pt x="105" y="30"/>
                    <a:pt x="106" y="30"/>
                  </a:cubicBezTo>
                  <a:cubicBezTo>
                    <a:pt x="106" y="30"/>
                    <a:pt x="108" y="29"/>
                    <a:pt x="108" y="29"/>
                  </a:cubicBezTo>
                  <a:cubicBezTo>
                    <a:pt x="109" y="29"/>
                    <a:pt x="109" y="28"/>
                    <a:pt x="109" y="27"/>
                  </a:cubicBezTo>
                  <a:cubicBezTo>
                    <a:pt x="108" y="27"/>
                    <a:pt x="108" y="28"/>
                    <a:pt x="107" y="28"/>
                  </a:cubicBezTo>
                  <a:cubicBezTo>
                    <a:pt x="107" y="28"/>
                    <a:pt x="105" y="28"/>
                    <a:pt x="105" y="27"/>
                  </a:cubicBezTo>
                  <a:cubicBezTo>
                    <a:pt x="105" y="26"/>
                    <a:pt x="106" y="25"/>
                    <a:pt x="106" y="24"/>
                  </a:cubicBezTo>
                  <a:cubicBezTo>
                    <a:pt x="105" y="24"/>
                    <a:pt x="105" y="24"/>
                    <a:pt x="104" y="24"/>
                  </a:cubicBezTo>
                  <a:cubicBezTo>
                    <a:pt x="104" y="24"/>
                    <a:pt x="103" y="24"/>
                    <a:pt x="103" y="24"/>
                  </a:cubicBezTo>
                  <a:cubicBezTo>
                    <a:pt x="102" y="24"/>
                    <a:pt x="102" y="23"/>
                    <a:pt x="101" y="23"/>
                  </a:cubicBezTo>
                  <a:cubicBezTo>
                    <a:pt x="101" y="23"/>
                    <a:pt x="101" y="22"/>
                    <a:pt x="101" y="22"/>
                  </a:cubicBezTo>
                  <a:cubicBezTo>
                    <a:pt x="101" y="21"/>
                    <a:pt x="101" y="21"/>
                    <a:pt x="101" y="20"/>
                  </a:cubicBezTo>
                  <a:cubicBezTo>
                    <a:pt x="101" y="20"/>
                    <a:pt x="101" y="19"/>
                    <a:pt x="102" y="20"/>
                  </a:cubicBezTo>
                  <a:cubicBezTo>
                    <a:pt x="102" y="20"/>
                    <a:pt x="102" y="21"/>
                    <a:pt x="103" y="21"/>
                  </a:cubicBezTo>
                  <a:cubicBezTo>
                    <a:pt x="103" y="21"/>
                    <a:pt x="105" y="22"/>
                    <a:pt x="105" y="22"/>
                  </a:cubicBezTo>
                  <a:cubicBezTo>
                    <a:pt x="105" y="21"/>
                    <a:pt x="104" y="20"/>
                    <a:pt x="103" y="20"/>
                  </a:cubicBezTo>
                  <a:cubicBezTo>
                    <a:pt x="103" y="20"/>
                    <a:pt x="103" y="20"/>
                    <a:pt x="103" y="20"/>
                  </a:cubicBezTo>
                  <a:cubicBezTo>
                    <a:pt x="103" y="19"/>
                    <a:pt x="102" y="19"/>
                    <a:pt x="102" y="19"/>
                  </a:cubicBezTo>
                  <a:cubicBezTo>
                    <a:pt x="103" y="18"/>
                    <a:pt x="104" y="18"/>
                    <a:pt x="104" y="17"/>
                  </a:cubicBezTo>
                  <a:cubicBezTo>
                    <a:pt x="105" y="16"/>
                    <a:pt x="105" y="16"/>
                    <a:pt x="104" y="16"/>
                  </a:cubicBezTo>
                  <a:cubicBezTo>
                    <a:pt x="103" y="16"/>
                    <a:pt x="103" y="16"/>
                    <a:pt x="102" y="17"/>
                  </a:cubicBezTo>
                  <a:cubicBezTo>
                    <a:pt x="102" y="17"/>
                    <a:pt x="101" y="18"/>
                    <a:pt x="100" y="18"/>
                  </a:cubicBezTo>
                  <a:cubicBezTo>
                    <a:pt x="100" y="18"/>
                    <a:pt x="100" y="17"/>
                    <a:pt x="100" y="17"/>
                  </a:cubicBezTo>
                  <a:cubicBezTo>
                    <a:pt x="100" y="16"/>
                    <a:pt x="101" y="15"/>
                    <a:pt x="101" y="14"/>
                  </a:cubicBezTo>
                  <a:cubicBezTo>
                    <a:pt x="101" y="14"/>
                    <a:pt x="102" y="13"/>
                    <a:pt x="102" y="13"/>
                  </a:cubicBezTo>
                  <a:cubicBezTo>
                    <a:pt x="103" y="12"/>
                    <a:pt x="103" y="12"/>
                    <a:pt x="102" y="12"/>
                  </a:cubicBezTo>
                  <a:cubicBezTo>
                    <a:pt x="101" y="12"/>
                    <a:pt x="100" y="12"/>
                    <a:pt x="99" y="11"/>
                  </a:cubicBezTo>
                  <a:cubicBezTo>
                    <a:pt x="99" y="11"/>
                    <a:pt x="99" y="10"/>
                    <a:pt x="99" y="10"/>
                  </a:cubicBezTo>
                  <a:cubicBezTo>
                    <a:pt x="99" y="10"/>
                    <a:pt x="99" y="9"/>
                    <a:pt x="99" y="9"/>
                  </a:cubicBezTo>
                  <a:cubicBezTo>
                    <a:pt x="99" y="9"/>
                    <a:pt x="99" y="8"/>
                    <a:pt x="99" y="8"/>
                  </a:cubicBezTo>
                  <a:cubicBezTo>
                    <a:pt x="99" y="8"/>
                    <a:pt x="100" y="8"/>
                    <a:pt x="100" y="7"/>
                  </a:cubicBezTo>
                  <a:cubicBezTo>
                    <a:pt x="101" y="7"/>
                    <a:pt x="103" y="6"/>
                    <a:pt x="102" y="4"/>
                  </a:cubicBezTo>
                  <a:cubicBezTo>
                    <a:pt x="102" y="3"/>
                    <a:pt x="102" y="3"/>
                    <a:pt x="101" y="2"/>
                  </a:cubicBezTo>
                  <a:cubicBezTo>
                    <a:pt x="101" y="2"/>
                    <a:pt x="101" y="1"/>
                    <a:pt x="100" y="1"/>
                  </a:cubicBezTo>
                  <a:cubicBezTo>
                    <a:pt x="100" y="1"/>
                    <a:pt x="100" y="2"/>
                    <a:pt x="100" y="2"/>
                  </a:cubicBezTo>
                  <a:cubicBezTo>
                    <a:pt x="100" y="3"/>
                    <a:pt x="100" y="3"/>
                    <a:pt x="100" y="3"/>
                  </a:cubicBezTo>
                  <a:cubicBezTo>
                    <a:pt x="100" y="4"/>
                    <a:pt x="100" y="4"/>
                    <a:pt x="99" y="5"/>
                  </a:cubicBezTo>
                  <a:cubicBezTo>
                    <a:pt x="98" y="5"/>
                    <a:pt x="97" y="4"/>
                    <a:pt x="97" y="3"/>
                  </a:cubicBezTo>
                  <a:cubicBezTo>
                    <a:pt x="97" y="3"/>
                    <a:pt x="98" y="2"/>
                    <a:pt x="98" y="2"/>
                  </a:cubicBezTo>
                  <a:cubicBezTo>
                    <a:pt x="99" y="0"/>
                    <a:pt x="99" y="0"/>
                    <a:pt x="99" y="0"/>
                  </a:cubicBezTo>
                  <a:cubicBezTo>
                    <a:pt x="0" y="0"/>
                    <a:pt x="0" y="0"/>
                    <a:pt x="0" y="0"/>
                  </a:cubicBezTo>
                  <a:cubicBezTo>
                    <a:pt x="0" y="42"/>
                    <a:pt x="0" y="42"/>
                    <a:pt x="0" y="42"/>
                  </a:cubicBezTo>
                  <a:cubicBezTo>
                    <a:pt x="0" y="42"/>
                    <a:pt x="6" y="48"/>
                    <a:pt x="6" y="49"/>
                  </a:cubicBezTo>
                  <a:cubicBezTo>
                    <a:pt x="6" y="49"/>
                    <a:pt x="8" y="53"/>
                    <a:pt x="8" y="54"/>
                  </a:cubicBezTo>
                  <a:cubicBezTo>
                    <a:pt x="8" y="55"/>
                    <a:pt x="8" y="57"/>
                    <a:pt x="8" y="57"/>
                  </a:cubicBezTo>
                  <a:cubicBezTo>
                    <a:pt x="8" y="57"/>
                    <a:pt x="7" y="59"/>
                    <a:pt x="8" y="59"/>
                  </a:cubicBezTo>
                  <a:cubicBezTo>
                    <a:pt x="8" y="60"/>
                    <a:pt x="11" y="61"/>
                    <a:pt x="11" y="62"/>
                  </a:cubicBezTo>
                  <a:cubicBezTo>
                    <a:pt x="11" y="62"/>
                    <a:pt x="11" y="62"/>
                    <a:pt x="11" y="62"/>
                  </a:cubicBezTo>
                  <a:cubicBezTo>
                    <a:pt x="10" y="62"/>
                    <a:pt x="10" y="63"/>
                    <a:pt x="10" y="63"/>
                  </a:cubicBezTo>
                  <a:cubicBezTo>
                    <a:pt x="10" y="63"/>
                    <a:pt x="11" y="64"/>
                    <a:pt x="12" y="64"/>
                  </a:cubicBezTo>
                  <a:cubicBezTo>
                    <a:pt x="12" y="65"/>
                    <a:pt x="12" y="66"/>
                    <a:pt x="12" y="66"/>
                  </a:cubicBezTo>
                  <a:cubicBezTo>
                    <a:pt x="12" y="67"/>
                    <a:pt x="13" y="67"/>
                    <a:pt x="13" y="67"/>
                  </a:cubicBezTo>
                  <a:cubicBezTo>
                    <a:pt x="13" y="68"/>
                    <a:pt x="12" y="69"/>
                    <a:pt x="12" y="69"/>
                  </a:cubicBezTo>
                  <a:cubicBezTo>
                    <a:pt x="12" y="69"/>
                    <a:pt x="12" y="70"/>
                    <a:pt x="12" y="70"/>
                  </a:cubicBezTo>
                  <a:cubicBezTo>
                    <a:pt x="13" y="71"/>
                    <a:pt x="15" y="73"/>
                    <a:pt x="15" y="73"/>
                  </a:cubicBezTo>
                  <a:cubicBezTo>
                    <a:pt x="15" y="74"/>
                    <a:pt x="15" y="74"/>
                    <a:pt x="15" y="75"/>
                  </a:cubicBezTo>
                  <a:cubicBezTo>
                    <a:pt x="15" y="75"/>
                    <a:pt x="16" y="76"/>
                    <a:pt x="16" y="76"/>
                  </a:cubicBezTo>
                  <a:cubicBezTo>
                    <a:pt x="16" y="76"/>
                    <a:pt x="17" y="75"/>
                    <a:pt x="17" y="75"/>
                  </a:cubicBezTo>
                  <a:cubicBezTo>
                    <a:pt x="17" y="75"/>
                    <a:pt x="17" y="76"/>
                    <a:pt x="17" y="76"/>
                  </a:cubicBezTo>
                  <a:cubicBezTo>
                    <a:pt x="17" y="77"/>
                    <a:pt x="16" y="78"/>
                    <a:pt x="16" y="78"/>
                  </a:cubicBezTo>
                  <a:cubicBezTo>
                    <a:pt x="17" y="78"/>
                    <a:pt x="17" y="79"/>
                    <a:pt x="17" y="80"/>
                  </a:cubicBezTo>
                  <a:cubicBezTo>
                    <a:pt x="17" y="80"/>
                    <a:pt x="17" y="81"/>
                    <a:pt x="16" y="81"/>
                  </a:cubicBezTo>
                  <a:cubicBezTo>
                    <a:pt x="16" y="82"/>
                    <a:pt x="16" y="82"/>
                    <a:pt x="16" y="82"/>
                  </a:cubicBezTo>
                  <a:cubicBezTo>
                    <a:pt x="16" y="83"/>
                    <a:pt x="17" y="84"/>
                    <a:pt x="17" y="85"/>
                  </a:cubicBezTo>
                  <a:cubicBezTo>
                    <a:pt x="17" y="85"/>
                    <a:pt x="17" y="86"/>
                    <a:pt x="17" y="87"/>
                  </a:cubicBezTo>
                  <a:cubicBezTo>
                    <a:pt x="17" y="87"/>
                    <a:pt x="16" y="89"/>
                    <a:pt x="16" y="90"/>
                  </a:cubicBezTo>
                  <a:cubicBezTo>
                    <a:pt x="16" y="90"/>
                    <a:pt x="15" y="93"/>
                    <a:pt x="15" y="94"/>
                  </a:cubicBezTo>
                  <a:cubicBezTo>
                    <a:pt x="14" y="95"/>
                    <a:pt x="13" y="98"/>
                    <a:pt x="12" y="98"/>
                  </a:cubicBezTo>
                  <a:cubicBezTo>
                    <a:pt x="12" y="99"/>
                    <a:pt x="10" y="99"/>
                    <a:pt x="10" y="100"/>
                  </a:cubicBezTo>
                  <a:cubicBezTo>
                    <a:pt x="10" y="100"/>
                    <a:pt x="11" y="101"/>
                    <a:pt x="11" y="102"/>
                  </a:cubicBezTo>
                  <a:cubicBezTo>
                    <a:pt x="11" y="102"/>
                    <a:pt x="11" y="105"/>
                    <a:pt x="11" y="105"/>
                  </a:cubicBezTo>
                  <a:cubicBezTo>
                    <a:pt x="11" y="106"/>
                    <a:pt x="10" y="107"/>
                    <a:pt x="10" y="107"/>
                  </a:cubicBezTo>
                  <a:cubicBezTo>
                    <a:pt x="10" y="108"/>
                    <a:pt x="9" y="108"/>
                    <a:pt x="9" y="109"/>
                  </a:cubicBezTo>
                  <a:cubicBezTo>
                    <a:pt x="10" y="110"/>
                    <a:pt x="11" y="111"/>
                    <a:pt x="11" y="111"/>
                  </a:cubicBezTo>
                  <a:cubicBezTo>
                    <a:pt x="11" y="112"/>
                    <a:pt x="11" y="114"/>
                    <a:pt x="11" y="115"/>
                  </a:cubicBezTo>
                  <a:cubicBezTo>
                    <a:pt x="11" y="115"/>
                    <a:pt x="11" y="119"/>
                    <a:pt x="11" y="120"/>
                  </a:cubicBezTo>
                  <a:cubicBezTo>
                    <a:pt x="11" y="120"/>
                    <a:pt x="9" y="122"/>
                    <a:pt x="8" y="124"/>
                  </a:cubicBezTo>
                  <a:cubicBezTo>
                    <a:pt x="8" y="124"/>
                    <a:pt x="8" y="124"/>
                    <a:pt x="9" y="124"/>
                  </a:cubicBezTo>
                  <a:cubicBezTo>
                    <a:pt x="9" y="124"/>
                    <a:pt x="9" y="125"/>
                    <a:pt x="9" y="126"/>
                  </a:cubicBezTo>
                  <a:cubicBezTo>
                    <a:pt x="9" y="126"/>
                    <a:pt x="8" y="127"/>
                    <a:pt x="8" y="128"/>
                  </a:cubicBezTo>
                  <a:cubicBezTo>
                    <a:pt x="8" y="128"/>
                    <a:pt x="9" y="129"/>
                    <a:pt x="8" y="129"/>
                  </a:cubicBezTo>
                  <a:cubicBezTo>
                    <a:pt x="8" y="129"/>
                    <a:pt x="7" y="130"/>
                    <a:pt x="7" y="130"/>
                  </a:cubicBezTo>
                  <a:cubicBezTo>
                    <a:pt x="6" y="130"/>
                    <a:pt x="5" y="130"/>
                    <a:pt x="5" y="131"/>
                  </a:cubicBezTo>
                  <a:cubicBezTo>
                    <a:pt x="5" y="132"/>
                    <a:pt x="5" y="132"/>
                    <a:pt x="6" y="133"/>
                  </a:cubicBezTo>
                  <a:cubicBezTo>
                    <a:pt x="6" y="133"/>
                    <a:pt x="6" y="134"/>
                    <a:pt x="7" y="134"/>
                  </a:cubicBezTo>
                  <a:cubicBezTo>
                    <a:pt x="7" y="134"/>
                    <a:pt x="8" y="134"/>
                    <a:pt x="8" y="134"/>
                  </a:cubicBezTo>
                  <a:cubicBezTo>
                    <a:pt x="9" y="134"/>
                    <a:pt x="9" y="134"/>
                    <a:pt x="10" y="133"/>
                  </a:cubicBezTo>
                  <a:cubicBezTo>
                    <a:pt x="11" y="133"/>
                    <a:pt x="13" y="133"/>
                    <a:pt x="14" y="133"/>
                  </a:cubicBezTo>
                  <a:cubicBezTo>
                    <a:pt x="15" y="132"/>
                    <a:pt x="16" y="132"/>
                    <a:pt x="17" y="132"/>
                  </a:cubicBezTo>
                  <a:cubicBezTo>
                    <a:pt x="19" y="131"/>
                    <a:pt x="20" y="132"/>
                    <a:pt x="21" y="132"/>
                  </a:cubicBezTo>
                  <a:cubicBezTo>
                    <a:pt x="23" y="132"/>
                    <a:pt x="24" y="131"/>
                    <a:pt x="26" y="132"/>
                  </a:cubicBezTo>
                  <a:cubicBezTo>
                    <a:pt x="27" y="132"/>
                    <a:pt x="28" y="132"/>
                    <a:pt x="29" y="132"/>
                  </a:cubicBezTo>
                  <a:cubicBezTo>
                    <a:pt x="30" y="132"/>
                    <a:pt x="31" y="132"/>
                    <a:pt x="33" y="133"/>
                  </a:cubicBezTo>
                  <a:cubicBezTo>
                    <a:pt x="34" y="133"/>
                    <a:pt x="36" y="133"/>
                    <a:pt x="37" y="134"/>
                  </a:cubicBezTo>
                  <a:cubicBezTo>
                    <a:pt x="38" y="134"/>
                    <a:pt x="40" y="135"/>
                    <a:pt x="41" y="136"/>
                  </a:cubicBezTo>
                  <a:cubicBezTo>
                    <a:pt x="43" y="136"/>
                    <a:pt x="44" y="137"/>
                    <a:pt x="45" y="138"/>
                  </a:cubicBezTo>
                  <a:cubicBezTo>
                    <a:pt x="47" y="138"/>
                    <a:pt x="48" y="139"/>
                    <a:pt x="50" y="139"/>
                  </a:cubicBezTo>
                  <a:cubicBezTo>
                    <a:pt x="51" y="139"/>
                    <a:pt x="51" y="140"/>
                    <a:pt x="52" y="140"/>
                  </a:cubicBezTo>
                  <a:cubicBezTo>
                    <a:pt x="53" y="140"/>
                    <a:pt x="54" y="140"/>
                    <a:pt x="55" y="140"/>
                  </a:cubicBezTo>
                  <a:cubicBezTo>
                    <a:pt x="56" y="140"/>
                    <a:pt x="57" y="141"/>
                    <a:pt x="59" y="141"/>
                  </a:cubicBezTo>
                  <a:cubicBezTo>
                    <a:pt x="60" y="141"/>
                    <a:pt x="61" y="141"/>
                    <a:pt x="62" y="141"/>
                  </a:cubicBezTo>
                  <a:cubicBezTo>
                    <a:pt x="62" y="140"/>
                    <a:pt x="63" y="141"/>
                    <a:pt x="64" y="140"/>
                  </a:cubicBezTo>
                  <a:cubicBezTo>
                    <a:pt x="64" y="141"/>
                    <a:pt x="65" y="140"/>
                    <a:pt x="65" y="140"/>
                  </a:cubicBezTo>
                  <a:cubicBezTo>
                    <a:pt x="65" y="140"/>
                    <a:pt x="66" y="139"/>
                    <a:pt x="66" y="139"/>
                  </a:cubicBezTo>
                  <a:cubicBezTo>
                    <a:pt x="66" y="139"/>
                    <a:pt x="67" y="139"/>
                    <a:pt x="67" y="139"/>
                  </a:cubicBezTo>
                  <a:cubicBezTo>
                    <a:pt x="68" y="139"/>
                    <a:pt x="68" y="139"/>
                    <a:pt x="68" y="139"/>
                  </a:cubicBezTo>
                  <a:cubicBezTo>
                    <a:pt x="68" y="138"/>
                    <a:pt x="67" y="138"/>
                    <a:pt x="67" y="138"/>
                  </a:cubicBezTo>
                  <a:cubicBezTo>
                    <a:pt x="67" y="138"/>
                    <a:pt x="67" y="138"/>
                    <a:pt x="67" y="137"/>
                  </a:cubicBezTo>
                  <a:cubicBezTo>
                    <a:pt x="67" y="137"/>
                    <a:pt x="67" y="137"/>
                    <a:pt x="66" y="137"/>
                  </a:cubicBezTo>
                  <a:cubicBezTo>
                    <a:pt x="66" y="136"/>
                    <a:pt x="65" y="136"/>
                    <a:pt x="65" y="135"/>
                  </a:cubicBezTo>
                  <a:cubicBezTo>
                    <a:pt x="65" y="135"/>
                    <a:pt x="65" y="135"/>
                    <a:pt x="64" y="134"/>
                  </a:cubicBezTo>
                  <a:cubicBezTo>
                    <a:pt x="64" y="134"/>
                    <a:pt x="64" y="134"/>
                    <a:pt x="64" y="134"/>
                  </a:cubicBezTo>
                  <a:cubicBezTo>
                    <a:pt x="63" y="133"/>
                    <a:pt x="64" y="133"/>
                    <a:pt x="64" y="132"/>
                  </a:cubicBezTo>
                  <a:cubicBezTo>
                    <a:pt x="65" y="132"/>
                    <a:pt x="65" y="131"/>
                    <a:pt x="65" y="130"/>
                  </a:cubicBezTo>
                  <a:cubicBezTo>
                    <a:pt x="65" y="130"/>
                    <a:pt x="65" y="129"/>
                    <a:pt x="65" y="129"/>
                  </a:cubicBezTo>
                  <a:cubicBezTo>
                    <a:pt x="66" y="129"/>
                    <a:pt x="66" y="129"/>
                    <a:pt x="66" y="129"/>
                  </a:cubicBezTo>
                  <a:cubicBezTo>
                    <a:pt x="67" y="130"/>
                    <a:pt x="66" y="132"/>
                    <a:pt x="67" y="132"/>
                  </a:cubicBezTo>
                  <a:cubicBezTo>
                    <a:pt x="67" y="133"/>
                    <a:pt x="69" y="132"/>
                    <a:pt x="69" y="132"/>
                  </a:cubicBezTo>
                  <a:cubicBezTo>
                    <a:pt x="69" y="132"/>
                    <a:pt x="69" y="132"/>
                    <a:pt x="70" y="131"/>
                  </a:cubicBezTo>
                  <a:cubicBezTo>
                    <a:pt x="70" y="131"/>
                    <a:pt x="70" y="131"/>
                    <a:pt x="70" y="131"/>
                  </a:cubicBezTo>
                  <a:cubicBezTo>
                    <a:pt x="71" y="131"/>
                    <a:pt x="71" y="129"/>
                    <a:pt x="71" y="128"/>
                  </a:cubicBezTo>
                  <a:cubicBezTo>
                    <a:pt x="71" y="127"/>
                    <a:pt x="70" y="125"/>
                    <a:pt x="71" y="125"/>
                  </a:cubicBezTo>
                  <a:cubicBezTo>
                    <a:pt x="72" y="125"/>
                    <a:pt x="72" y="126"/>
                    <a:pt x="72" y="126"/>
                  </a:cubicBezTo>
                  <a:cubicBezTo>
                    <a:pt x="72" y="126"/>
                    <a:pt x="72" y="127"/>
                    <a:pt x="72" y="127"/>
                  </a:cubicBezTo>
                  <a:cubicBezTo>
                    <a:pt x="72" y="127"/>
                    <a:pt x="72" y="128"/>
                    <a:pt x="72" y="128"/>
                  </a:cubicBezTo>
                  <a:cubicBezTo>
                    <a:pt x="73" y="129"/>
                    <a:pt x="73" y="129"/>
                    <a:pt x="73" y="128"/>
                  </a:cubicBezTo>
                  <a:cubicBezTo>
                    <a:pt x="73" y="128"/>
                    <a:pt x="74" y="128"/>
                    <a:pt x="75" y="128"/>
                  </a:cubicBezTo>
                  <a:cubicBezTo>
                    <a:pt x="75" y="127"/>
                    <a:pt x="76" y="127"/>
                    <a:pt x="76" y="127"/>
                  </a:cubicBezTo>
                  <a:cubicBezTo>
                    <a:pt x="76" y="127"/>
                    <a:pt x="77" y="127"/>
                    <a:pt x="77" y="127"/>
                  </a:cubicBezTo>
                  <a:cubicBezTo>
                    <a:pt x="77" y="127"/>
                    <a:pt x="77" y="128"/>
                    <a:pt x="77" y="129"/>
                  </a:cubicBezTo>
                  <a:cubicBezTo>
                    <a:pt x="78" y="130"/>
                    <a:pt x="77" y="131"/>
                    <a:pt x="76" y="131"/>
                  </a:cubicBezTo>
                  <a:cubicBezTo>
                    <a:pt x="76" y="132"/>
                    <a:pt x="75" y="133"/>
                    <a:pt x="75" y="134"/>
                  </a:cubicBezTo>
                  <a:cubicBezTo>
                    <a:pt x="75" y="134"/>
                    <a:pt x="76" y="134"/>
                    <a:pt x="76" y="133"/>
                  </a:cubicBezTo>
                  <a:cubicBezTo>
                    <a:pt x="77" y="133"/>
                    <a:pt x="77" y="133"/>
                    <a:pt x="77" y="133"/>
                  </a:cubicBezTo>
                  <a:cubicBezTo>
                    <a:pt x="78" y="133"/>
                    <a:pt x="79" y="133"/>
                    <a:pt x="79" y="133"/>
                  </a:cubicBezTo>
                  <a:cubicBezTo>
                    <a:pt x="80" y="133"/>
                    <a:pt x="82" y="133"/>
                    <a:pt x="83" y="133"/>
                  </a:cubicBezTo>
                  <a:cubicBezTo>
                    <a:pt x="83" y="133"/>
                    <a:pt x="84" y="133"/>
                    <a:pt x="84" y="134"/>
                  </a:cubicBezTo>
                  <a:cubicBezTo>
                    <a:pt x="84" y="134"/>
                    <a:pt x="83" y="134"/>
                    <a:pt x="83" y="134"/>
                  </a:cubicBezTo>
                  <a:cubicBezTo>
                    <a:pt x="83" y="135"/>
                    <a:pt x="83" y="136"/>
                    <a:pt x="84" y="137"/>
                  </a:cubicBezTo>
                  <a:cubicBezTo>
                    <a:pt x="84" y="137"/>
                    <a:pt x="85" y="137"/>
                    <a:pt x="85" y="137"/>
                  </a:cubicBezTo>
                  <a:cubicBezTo>
                    <a:pt x="86" y="137"/>
                    <a:pt x="86" y="138"/>
                    <a:pt x="86" y="138"/>
                  </a:cubicBezTo>
                  <a:cubicBezTo>
                    <a:pt x="86" y="139"/>
                    <a:pt x="86" y="139"/>
                    <a:pt x="86" y="140"/>
                  </a:cubicBezTo>
                  <a:cubicBezTo>
                    <a:pt x="87" y="140"/>
                    <a:pt x="87" y="141"/>
                    <a:pt x="87" y="141"/>
                  </a:cubicBezTo>
                  <a:cubicBezTo>
                    <a:pt x="87" y="141"/>
                    <a:pt x="87" y="142"/>
                    <a:pt x="87" y="142"/>
                  </a:cubicBezTo>
                  <a:cubicBezTo>
                    <a:pt x="87" y="143"/>
                    <a:pt x="88" y="143"/>
                    <a:pt x="88" y="143"/>
                  </a:cubicBezTo>
                  <a:cubicBezTo>
                    <a:pt x="89" y="144"/>
                    <a:pt x="89" y="144"/>
                    <a:pt x="90" y="144"/>
                  </a:cubicBezTo>
                  <a:cubicBezTo>
                    <a:pt x="91" y="144"/>
                    <a:pt x="91" y="143"/>
                    <a:pt x="92" y="142"/>
                  </a:cubicBezTo>
                  <a:cubicBezTo>
                    <a:pt x="92" y="142"/>
                    <a:pt x="93" y="142"/>
                    <a:pt x="94" y="142"/>
                  </a:cubicBezTo>
                  <a:cubicBezTo>
                    <a:pt x="94" y="143"/>
                    <a:pt x="95" y="143"/>
                    <a:pt x="95" y="143"/>
                  </a:cubicBezTo>
                  <a:cubicBezTo>
                    <a:pt x="95" y="142"/>
                    <a:pt x="95" y="141"/>
                    <a:pt x="95" y="141"/>
                  </a:cubicBezTo>
                  <a:cubicBezTo>
                    <a:pt x="96" y="141"/>
                    <a:pt x="97" y="140"/>
                    <a:pt x="98" y="140"/>
                  </a:cubicBezTo>
                  <a:cubicBezTo>
                    <a:pt x="99" y="139"/>
                    <a:pt x="100" y="139"/>
                    <a:pt x="100" y="140"/>
                  </a:cubicBezTo>
                  <a:cubicBezTo>
                    <a:pt x="101" y="140"/>
                    <a:pt x="102" y="141"/>
                    <a:pt x="102" y="141"/>
                  </a:cubicBezTo>
                  <a:cubicBezTo>
                    <a:pt x="102" y="141"/>
                    <a:pt x="101" y="141"/>
                    <a:pt x="101" y="142"/>
                  </a:cubicBezTo>
                  <a:cubicBezTo>
                    <a:pt x="100" y="142"/>
                    <a:pt x="100" y="142"/>
                    <a:pt x="100" y="142"/>
                  </a:cubicBezTo>
                  <a:cubicBezTo>
                    <a:pt x="99" y="142"/>
                    <a:pt x="99" y="142"/>
                    <a:pt x="99" y="142"/>
                  </a:cubicBezTo>
                  <a:cubicBezTo>
                    <a:pt x="98" y="143"/>
                    <a:pt x="98" y="143"/>
                    <a:pt x="97" y="143"/>
                  </a:cubicBezTo>
                  <a:cubicBezTo>
                    <a:pt x="97" y="143"/>
                    <a:pt x="95" y="143"/>
                    <a:pt x="96" y="144"/>
                  </a:cubicBezTo>
                  <a:cubicBezTo>
                    <a:pt x="97" y="144"/>
                    <a:pt x="97" y="145"/>
                    <a:pt x="97" y="146"/>
                  </a:cubicBezTo>
                  <a:cubicBezTo>
                    <a:pt x="98" y="147"/>
                    <a:pt x="98" y="147"/>
                    <a:pt x="98" y="148"/>
                  </a:cubicBezTo>
                  <a:cubicBezTo>
                    <a:pt x="98" y="148"/>
                    <a:pt x="99" y="148"/>
                    <a:pt x="99" y="149"/>
                  </a:cubicBezTo>
                  <a:cubicBezTo>
                    <a:pt x="100" y="149"/>
                    <a:pt x="101" y="150"/>
                    <a:pt x="100" y="150"/>
                  </a:cubicBezTo>
                  <a:cubicBezTo>
                    <a:pt x="99" y="150"/>
                    <a:pt x="98" y="150"/>
                    <a:pt x="98" y="150"/>
                  </a:cubicBezTo>
                  <a:cubicBezTo>
                    <a:pt x="97" y="150"/>
                    <a:pt x="96" y="149"/>
                    <a:pt x="95" y="150"/>
                  </a:cubicBezTo>
                  <a:cubicBezTo>
                    <a:pt x="95" y="150"/>
                    <a:pt x="95" y="150"/>
                    <a:pt x="94" y="151"/>
                  </a:cubicBezTo>
                  <a:cubicBezTo>
                    <a:pt x="94" y="151"/>
                    <a:pt x="94" y="151"/>
                    <a:pt x="94" y="151"/>
                  </a:cubicBezTo>
                  <a:cubicBezTo>
                    <a:pt x="93" y="151"/>
                    <a:pt x="95" y="152"/>
                    <a:pt x="95" y="152"/>
                  </a:cubicBezTo>
                  <a:cubicBezTo>
                    <a:pt x="95" y="152"/>
                    <a:pt x="95" y="153"/>
                    <a:pt x="96" y="153"/>
                  </a:cubicBezTo>
                  <a:cubicBezTo>
                    <a:pt x="96" y="153"/>
                    <a:pt x="96" y="153"/>
                    <a:pt x="97" y="153"/>
                  </a:cubicBezTo>
                  <a:cubicBezTo>
                    <a:pt x="97" y="153"/>
                    <a:pt x="98" y="153"/>
                    <a:pt x="99" y="153"/>
                  </a:cubicBezTo>
                  <a:cubicBezTo>
                    <a:pt x="100" y="154"/>
                    <a:pt x="100" y="154"/>
                    <a:pt x="101" y="154"/>
                  </a:cubicBezTo>
                  <a:cubicBezTo>
                    <a:pt x="101" y="154"/>
                    <a:pt x="102" y="154"/>
                    <a:pt x="102" y="155"/>
                  </a:cubicBezTo>
                  <a:cubicBezTo>
                    <a:pt x="102" y="155"/>
                    <a:pt x="103" y="155"/>
                    <a:pt x="103" y="155"/>
                  </a:cubicBezTo>
                  <a:cubicBezTo>
                    <a:pt x="104" y="155"/>
                    <a:pt x="105" y="155"/>
                    <a:pt x="104" y="155"/>
                  </a:cubicBezTo>
                  <a:cubicBezTo>
                    <a:pt x="104" y="154"/>
                    <a:pt x="104" y="154"/>
                    <a:pt x="104" y="154"/>
                  </a:cubicBezTo>
                  <a:cubicBezTo>
                    <a:pt x="103" y="154"/>
                    <a:pt x="103" y="154"/>
                    <a:pt x="103" y="153"/>
                  </a:cubicBezTo>
                  <a:cubicBezTo>
                    <a:pt x="103" y="153"/>
                    <a:pt x="103" y="153"/>
                    <a:pt x="103" y="152"/>
                  </a:cubicBezTo>
                  <a:cubicBezTo>
                    <a:pt x="103" y="152"/>
                    <a:pt x="104" y="151"/>
                    <a:pt x="104" y="151"/>
                  </a:cubicBezTo>
                  <a:cubicBezTo>
                    <a:pt x="105" y="151"/>
                    <a:pt x="105" y="150"/>
                    <a:pt x="106" y="149"/>
                  </a:cubicBezTo>
                  <a:cubicBezTo>
                    <a:pt x="106" y="149"/>
                    <a:pt x="107" y="149"/>
                    <a:pt x="107" y="149"/>
                  </a:cubicBezTo>
                  <a:cubicBezTo>
                    <a:pt x="108" y="149"/>
                    <a:pt x="108" y="150"/>
                    <a:pt x="108" y="150"/>
                  </a:cubicBezTo>
                  <a:cubicBezTo>
                    <a:pt x="108" y="151"/>
                    <a:pt x="109" y="151"/>
                    <a:pt x="109" y="152"/>
                  </a:cubicBezTo>
                  <a:cubicBezTo>
                    <a:pt x="110" y="152"/>
                    <a:pt x="111" y="152"/>
                    <a:pt x="111" y="152"/>
                  </a:cubicBezTo>
                  <a:cubicBezTo>
                    <a:pt x="111" y="153"/>
                    <a:pt x="111" y="153"/>
                    <a:pt x="111" y="154"/>
                  </a:cubicBezTo>
                  <a:cubicBezTo>
                    <a:pt x="110" y="154"/>
                    <a:pt x="110" y="154"/>
                    <a:pt x="109" y="154"/>
                  </a:cubicBezTo>
                  <a:cubicBezTo>
                    <a:pt x="109" y="154"/>
                    <a:pt x="107" y="155"/>
                    <a:pt x="108" y="156"/>
                  </a:cubicBezTo>
                  <a:cubicBezTo>
                    <a:pt x="108" y="156"/>
                    <a:pt x="108" y="156"/>
                    <a:pt x="108" y="157"/>
                  </a:cubicBezTo>
                  <a:cubicBezTo>
                    <a:pt x="109" y="157"/>
                    <a:pt x="109" y="157"/>
                    <a:pt x="109" y="157"/>
                  </a:cubicBezTo>
                  <a:cubicBezTo>
                    <a:pt x="110" y="158"/>
                    <a:pt x="110" y="157"/>
                    <a:pt x="111" y="157"/>
                  </a:cubicBezTo>
                  <a:cubicBezTo>
                    <a:pt x="111" y="157"/>
                    <a:pt x="112" y="157"/>
                    <a:pt x="113" y="156"/>
                  </a:cubicBezTo>
                  <a:cubicBezTo>
                    <a:pt x="113" y="156"/>
                    <a:pt x="114" y="156"/>
                    <a:pt x="114" y="156"/>
                  </a:cubicBezTo>
                  <a:cubicBezTo>
                    <a:pt x="115" y="155"/>
                    <a:pt x="115" y="154"/>
                    <a:pt x="116" y="153"/>
                  </a:cubicBezTo>
                  <a:cubicBezTo>
                    <a:pt x="116" y="153"/>
                    <a:pt x="116" y="152"/>
                    <a:pt x="117" y="152"/>
                  </a:cubicBezTo>
                  <a:cubicBezTo>
                    <a:pt x="117" y="152"/>
                    <a:pt x="118" y="153"/>
                    <a:pt x="118" y="153"/>
                  </a:cubicBezTo>
                  <a:cubicBezTo>
                    <a:pt x="118" y="154"/>
                    <a:pt x="119" y="154"/>
                    <a:pt x="119" y="153"/>
                  </a:cubicBezTo>
                  <a:cubicBezTo>
                    <a:pt x="119" y="153"/>
                    <a:pt x="119" y="153"/>
                    <a:pt x="119" y="152"/>
                  </a:cubicBezTo>
                  <a:cubicBezTo>
                    <a:pt x="119" y="152"/>
                    <a:pt x="119" y="151"/>
                    <a:pt x="119" y="151"/>
                  </a:cubicBezTo>
                  <a:cubicBezTo>
                    <a:pt x="119" y="150"/>
                    <a:pt x="119" y="150"/>
                    <a:pt x="120" y="150"/>
                  </a:cubicBezTo>
                  <a:cubicBezTo>
                    <a:pt x="120" y="150"/>
                    <a:pt x="122" y="150"/>
                    <a:pt x="121" y="149"/>
                  </a:cubicBezTo>
                  <a:cubicBezTo>
                    <a:pt x="121" y="149"/>
                    <a:pt x="121" y="149"/>
                    <a:pt x="121" y="149"/>
                  </a:cubicBezTo>
                  <a:cubicBezTo>
                    <a:pt x="121" y="148"/>
                    <a:pt x="122" y="148"/>
                    <a:pt x="122" y="149"/>
                  </a:cubicBezTo>
                  <a:cubicBezTo>
                    <a:pt x="123" y="149"/>
                    <a:pt x="123" y="149"/>
                    <a:pt x="123" y="149"/>
                  </a:cubicBezTo>
                  <a:cubicBezTo>
                    <a:pt x="124" y="150"/>
                    <a:pt x="124" y="150"/>
                    <a:pt x="125" y="150"/>
                  </a:cubicBezTo>
                  <a:cubicBezTo>
                    <a:pt x="126" y="150"/>
                    <a:pt x="127" y="150"/>
                    <a:pt x="128" y="151"/>
                  </a:cubicBezTo>
                  <a:cubicBezTo>
                    <a:pt x="129" y="151"/>
                    <a:pt x="129" y="152"/>
                    <a:pt x="130" y="152"/>
                  </a:cubicBezTo>
                  <a:cubicBezTo>
                    <a:pt x="131" y="153"/>
                    <a:pt x="131" y="153"/>
                    <a:pt x="131" y="154"/>
                  </a:cubicBezTo>
                  <a:cubicBezTo>
                    <a:pt x="131" y="154"/>
                    <a:pt x="131" y="155"/>
                    <a:pt x="131" y="155"/>
                  </a:cubicBezTo>
                  <a:cubicBezTo>
                    <a:pt x="132" y="155"/>
                    <a:pt x="132" y="155"/>
                    <a:pt x="132" y="156"/>
                  </a:cubicBezTo>
                  <a:cubicBezTo>
                    <a:pt x="132" y="156"/>
                    <a:pt x="131" y="158"/>
                    <a:pt x="132" y="158"/>
                  </a:cubicBezTo>
                  <a:cubicBezTo>
                    <a:pt x="132" y="159"/>
                    <a:pt x="133" y="158"/>
                    <a:pt x="134" y="158"/>
                  </a:cubicBezTo>
                  <a:cubicBezTo>
                    <a:pt x="134" y="157"/>
                    <a:pt x="135" y="157"/>
                    <a:pt x="136" y="156"/>
                  </a:cubicBezTo>
                  <a:cubicBezTo>
                    <a:pt x="136" y="155"/>
                    <a:pt x="136" y="154"/>
                    <a:pt x="136" y="153"/>
                  </a:cubicBezTo>
                  <a:cubicBezTo>
                    <a:pt x="136" y="152"/>
                    <a:pt x="136" y="151"/>
                    <a:pt x="136" y="150"/>
                  </a:cubicBezTo>
                  <a:cubicBezTo>
                    <a:pt x="136" y="149"/>
                    <a:pt x="136" y="148"/>
                    <a:pt x="136" y="147"/>
                  </a:cubicBezTo>
                  <a:cubicBezTo>
                    <a:pt x="137" y="146"/>
                    <a:pt x="137" y="145"/>
                    <a:pt x="136" y="144"/>
                  </a:cubicBezTo>
                  <a:cubicBezTo>
                    <a:pt x="136" y="144"/>
                    <a:pt x="134" y="144"/>
                    <a:pt x="134" y="144"/>
                  </a:cubicBezTo>
                  <a:cubicBezTo>
                    <a:pt x="133" y="143"/>
                    <a:pt x="133" y="143"/>
                    <a:pt x="133" y="143"/>
                  </a:cubicBezTo>
                  <a:cubicBezTo>
                    <a:pt x="132" y="143"/>
                    <a:pt x="132" y="142"/>
                    <a:pt x="132" y="142"/>
                  </a:cubicBezTo>
                  <a:cubicBezTo>
                    <a:pt x="132" y="141"/>
                    <a:pt x="133" y="141"/>
                    <a:pt x="133" y="141"/>
                  </a:cubicBezTo>
                  <a:cubicBezTo>
                    <a:pt x="134" y="140"/>
                    <a:pt x="134" y="139"/>
                    <a:pt x="134" y="139"/>
                  </a:cubicBezTo>
                  <a:cubicBezTo>
                    <a:pt x="134" y="138"/>
                    <a:pt x="134" y="138"/>
                    <a:pt x="134" y="138"/>
                  </a:cubicBezTo>
                  <a:cubicBezTo>
                    <a:pt x="134" y="138"/>
                    <a:pt x="133" y="138"/>
                    <a:pt x="133" y="137"/>
                  </a:cubicBezTo>
                  <a:cubicBezTo>
                    <a:pt x="133" y="137"/>
                    <a:pt x="133" y="137"/>
                    <a:pt x="132" y="136"/>
                  </a:cubicBezTo>
                  <a:cubicBezTo>
                    <a:pt x="132" y="136"/>
                    <a:pt x="132" y="135"/>
                    <a:pt x="131" y="136"/>
                  </a:cubicBezTo>
                  <a:cubicBezTo>
                    <a:pt x="131" y="136"/>
                    <a:pt x="131" y="136"/>
                    <a:pt x="130" y="136"/>
                  </a:cubicBezTo>
                  <a:cubicBezTo>
                    <a:pt x="129" y="137"/>
                    <a:pt x="129" y="136"/>
                    <a:pt x="129" y="136"/>
                  </a:cubicBezTo>
                  <a:cubicBezTo>
                    <a:pt x="129" y="136"/>
                    <a:pt x="129" y="136"/>
                    <a:pt x="128" y="135"/>
                  </a:cubicBezTo>
                  <a:cubicBezTo>
                    <a:pt x="128" y="135"/>
                    <a:pt x="128" y="135"/>
                    <a:pt x="128" y="135"/>
                  </a:cubicBezTo>
                  <a:cubicBezTo>
                    <a:pt x="128" y="134"/>
                    <a:pt x="127" y="133"/>
                    <a:pt x="128" y="133"/>
                  </a:cubicBezTo>
                  <a:cubicBezTo>
                    <a:pt x="128" y="132"/>
                    <a:pt x="129" y="132"/>
                    <a:pt x="129" y="132"/>
                  </a:cubicBezTo>
                  <a:cubicBezTo>
                    <a:pt x="130" y="132"/>
                    <a:pt x="131" y="132"/>
                    <a:pt x="131" y="131"/>
                  </a:cubicBezTo>
                  <a:cubicBezTo>
                    <a:pt x="132" y="131"/>
                    <a:pt x="132" y="131"/>
                    <a:pt x="132" y="131"/>
                  </a:cubicBezTo>
                  <a:cubicBezTo>
                    <a:pt x="133" y="131"/>
                    <a:pt x="133" y="130"/>
                    <a:pt x="133" y="130"/>
                  </a:cubicBezTo>
                  <a:cubicBezTo>
                    <a:pt x="134" y="130"/>
                    <a:pt x="133" y="131"/>
                    <a:pt x="133" y="132"/>
                  </a:cubicBezTo>
                  <a:cubicBezTo>
                    <a:pt x="133" y="132"/>
                    <a:pt x="133" y="133"/>
                    <a:pt x="133" y="134"/>
                  </a:cubicBezTo>
                  <a:cubicBezTo>
                    <a:pt x="133" y="134"/>
                    <a:pt x="132" y="134"/>
                    <a:pt x="133" y="135"/>
                  </a:cubicBezTo>
                  <a:cubicBezTo>
                    <a:pt x="133" y="135"/>
                    <a:pt x="133" y="135"/>
                    <a:pt x="134" y="136"/>
                  </a:cubicBezTo>
                  <a:cubicBezTo>
                    <a:pt x="135" y="136"/>
                    <a:pt x="135" y="136"/>
                    <a:pt x="135" y="137"/>
                  </a:cubicBezTo>
                  <a:cubicBezTo>
                    <a:pt x="136" y="138"/>
                    <a:pt x="135" y="139"/>
                    <a:pt x="135" y="139"/>
                  </a:cubicBezTo>
                  <a:cubicBezTo>
                    <a:pt x="136" y="141"/>
                    <a:pt x="137" y="142"/>
                    <a:pt x="139" y="143"/>
                  </a:cubicBezTo>
                  <a:cubicBezTo>
                    <a:pt x="139" y="144"/>
                    <a:pt x="141" y="144"/>
                    <a:pt x="142" y="144"/>
                  </a:cubicBezTo>
                  <a:cubicBezTo>
                    <a:pt x="143" y="144"/>
                    <a:pt x="144" y="144"/>
                    <a:pt x="144" y="144"/>
                  </a:cubicBezTo>
                  <a:cubicBezTo>
                    <a:pt x="145" y="144"/>
                    <a:pt x="145" y="144"/>
                    <a:pt x="145" y="144"/>
                  </a:cubicBezTo>
                  <a:cubicBezTo>
                    <a:pt x="145" y="145"/>
                    <a:pt x="145" y="146"/>
                    <a:pt x="146" y="146"/>
                  </a:cubicBezTo>
                  <a:cubicBezTo>
                    <a:pt x="146" y="146"/>
                    <a:pt x="147" y="146"/>
                    <a:pt x="147" y="146"/>
                  </a:cubicBezTo>
                  <a:cubicBezTo>
                    <a:pt x="148" y="147"/>
                    <a:pt x="148" y="147"/>
                    <a:pt x="148" y="147"/>
                  </a:cubicBezTo>
                  <a:cubicBezTo>
                    <a:pt x="149" y="147"/>
                    <a:pt x="150" y="147"/>
                    <a:pt x="150" y="147"/>
                  </a:cubicBezTo>
                  <a:cubicBezTo>
                    <a:pt x="151" y="147"/>
                    <a:pt x="152" y="147"/>
                    <a:pt x="153" y="147"/>
                  </a:cubicBezTo>
                  <a:cubicBezTo>
                    <a:pt x="154" y="147"/>
                    <a:pt x="154" y="147"/>
                    <a:pt x="154" y="148"/>
                  </a:cubicBezTo>
                  <a:cubicBezTo>
                    <a:pt x="155" y="148"/>
                    <a:pt x="155" y="149"/>
                    <a:pt x="156" y="149"/>
                  </a:cubicBezTo>
                  <a:cubicBezTo>
                    <a:pt x="156" y="149"/>
                    <a:pt x="156" y="149"/>
                    <a:pt x="157" y="150"/>
                  </a:cubicBezTo>
                  <a:cubicBezTo>
                    <a:pt x="157" y="150"/>
                    <a:pt x="158" y="149"/>
                    <a:pt x="158" y="149"/>
                  </a:cubicBezTo>
                  <a:cubicBezTo>
                    <a:pt x="158" y="149"/>
                    <a:pt x="158" y="148"/>
                    <a:pt x="159" y="149"/>
                  </a:cubicBezTo>
                  <a:cubicBezTo>
                    <a:pt x="159" y="149"/>
                    <a:pt x="159" y="149"/>
                    <a:pt x="159" y="149"/>
                  </a:cubicBezTo>
                  <a:cubicBezTo>
                    <a:pt x="159" y="149"/>
                    <a:pt x="160" y="149"/>
                    <a:pt x="160" y="149"/>
                  </a:cubicBezTo>
                  <a:cubicBezTo>
                    <a:pt x="160" y="150"/>
                    <a:pt x="161" y="150"/>
                    <a:pt x="162" y="151"/>
                  </a:cubicBezTo>
                  <a:cubicBezTo>
                    <a:pt x="162" y="151"/>
                    <a:pt x="163" y="151"/>
                    <a:pt x="163" y="151"/>
                  </a:cubicBezTo>
                  <a:cubicBezTo>
                    <a:pt x="163" y="151"/>
                    <a:pt x="163" y="151"/>
                    <a:pt x="163" y="151"/>
                  </a:cubicBezTo>
                  <a:cubicBezTo>
                    <a:pt x="164" y="151"/>
                    <a:pt x="164" y="150"/>
                    <a:pt x="164" y="150"/>
                  </a:cubicBezTo>
                  <a:cubicBezTo>
                    <a:pt x="165" y="150"/>
                    <a:pt x="165" y="150"/>
                    <a:pt x="165" y="150"/>
                  </a:cubicBezTo>
                  <a:cubicBezTo>
                    <a:pt x="165" y="149"/>
                    <a:pt x="164" y="149"/>
                    <a:pt x="163" y="149"/>
                  </a:cubicBezTo>
                  <a:cubicBezTo>
                    <a:pt x="163" y="149"/>
                    <a:pt x="162" y="149"/>
                    <a:pt x="162" y="149"/>
                  </a:cubicBezTo>
                  <a:cubicBezTo>
                    <a:pt x="161" y="149"/>
                    <a:pt x="161" y="148"/>
                    <a:pt x="160" y="148"/>
                  </a:cubicBezTo>
                  <a:cubicBezTo>
                    <a:pt x="160" y="147"/>
                    <a:pt x="160" y="147"/>
                    <a:pt x="159" y="147"/>
                  </a:cubicBezTo>
                  <a:cubicBezTo>
                    <a:pt x="158" y="147"/>
                    <a:pt x="158" y="147"/>
                    <a:pt x="158" y="147"/>
                  </a:cubicBezTo>
                  <a:cubicBezTo>
                    <a:pt x="157" y="148"/>
                    <a:pt x="157" y="148"/>
                    <a:pt x="156" y="148"/>
                  </a:cubicBezTo>
                  <a:cubicBezTo>
                    <a:pt x="156" y="148"/>
                    <a:pt x="155" y="148"/>
                    <a:pt x="155" y="148"/>
                  </a:cubicBezTo>
                  <a:cubicBezTo>
                    <a:pt x="154" y="147"/>
                    <a:pt x="154" y="147"/>
                    <a:pt x="155" y="146"/>
                  </a:cubicBezTo>
                  <a:cubicBezTo>
                    <a:pt x="155" y="146"/>
                    <a:pt x="155" y="145"/>
                    <a:pt x="154" y="144"/>
                  </a:cubicBezTo>
                  <a:cubicBezTo>
                    <a:pt x="154" y="143"/>
                    <a:pt x="154" y="144"/>
                    <a:pt x="153" y="143"/>
                  </a:cubicBezTo>
                  <a:cubicBezTo>
                    <a:pt x="153" y="143"/>
                    <a:pt x="153" y="142"/>
                    <a:pt x="152" y="142"/>
                  </a:cubicBezTo>
                  <a:cubicBezTo>
                    <a:pt x="152" y="141"/>
                    <a:pt x="152" y="142"/>
                    <a:pt x="151" y="141"/>
                  </a:cubicBezTo>
                  <a:cubicBezTo>
                    <a:pt x="151" y="141"/>
                    <a:pt x="150" y="141"/>
                    <a:pt x="150" y="141"/>
                  </a:cubicBezTo>
                  <a:cubicBezTo>
                    <a:pt x="150" y="140"/>
                    <a:pt x="149" y="140"/>
                    <a:pt x="149" y="139"/>
                  </a:cubicBezTo>
                  <a:cubicBezTo>
                    <a:pt x="149" y="139"/>
                    <a:pt x="149" y="138"/>
                    <a:pt x="149" y="138"/>
                  </a:cubicBezTo>
                  <a:cubicBezTo>
                    <a:pt x="148" y="138"/>
                    <a:pt x="148" y="138"/>
                    <a:pt x="148" y="138"/>
                  </a:cubicBezTo>
                  <a:cubicBezTo>
                    <a:pt x="147" y="138"/>
                    <a:pt x="147" y="138"/>
                    <a:pt x="147" y="137"/>
                  </a:cubicBezTo>
                  <a:cubicBezTo>
                    <a:pt x="147" y="137"/>
                    <a:pt x="146" y="137"/>
                    <a:pt x="146" y="137"/>
                  </a:cubicBezTo>
                  <a:cubicBezTo>
                    <a:pt x="146" y="136"/>
                    <a:pt x="146" y="136"/>
                    <a:pt x="146" y="136"/>
                  </a:cubicBezTo>
                  <a:cubicBezTo>
                    <a:pt x="147" y="136"/>
                    <a:pt x="147" y="136"/>
                    <a:pt x="147" y="135"/>
                  </a:cubicBezTo>
                  <a:cubicBezTo>
                    <a:pt x="147" y="135"/>
                    <a:pt x="147" y="135"/>
                    <a:pt x="147" y="135"/>
                  </a:cubicBezTo>
                  <a:cubicBezTo>
                    <a:pt x="148" y="135"/>
                    <a:pt x="148" y="135"/>
                    <a:pt x="148" y="136"/>
                  </a:cubicBezTo>
                  <a:cubicBezTo>
                    <a:pt x="148" y="136"/>
                    <a:pt x="148" y="137"/>
                    <a:pt x="149" y="137"/>
                  </a:cubicBezTo>
                  <a:cubicBezTo>
                    <a:pt x="149" y="137"/>
                    <a:pt x="150" y="138"/>
                    <a:pt x="150" y="138"/>
                  </a:cubicBezTo>
                  <a:cubicBezTo>
                    <a:pt x="151" y="138"/>
                    <a:pt x="151" y="137"/>
                    <a:pt x="152" y="137"/>
                  </a:cubicBezTo>
                  <a:cubicBezTo>
                    <a:pt x="152" y="137"/>
                    <a:pt x="153" y="137"/>
                    <a:pt x="153" y="136"/>
                  </a:cubicBezTo>
                  <a:cubicBezTo>
                    <a:pt x="153" y="136"/>
                    <a:pt x="153" y="136"/>
                    <a:pt x="154" y="136"/>
                  </a:cubicBezTo>
                  <a:cubicBezTo>
                    <a:pt x="154" y="136"/>
                    <a:pt x="155" y="136"/>
                    <a:pt x="154" y="136"/>
                  </a:cubicBezTo>
                  <a:cubicBezTo>
                    <a:pt x="154" y="135"/>
                    <a:pt x="153" y="136"/>
                    <a:pt x="153" y="135"/>
                  </a:cubicBezTo>
                  <a:cubicBezTo>
                    <a:pt x="153" y="135"/>
                    <a:pt x="153" y="135"/>
                    <a:pt x="153" y="135"/>
                  </a:cubicBezTo>
                  <a:cubicBezTo>
                    <a:pt x="152" y="135"/>
                    <a:pt x="152" y="134"/>
                    <a:pt x="152" y="134"/>
                  </a:cubicBezTo>
                  <a:cubicBezTo>
                    <a:pt x="152" y="134"/>
                    <a:pt x="153" y="134"/>
                    <a:pt x="153" y="134"/>
                  </a:cubicBezTo>
                  <a:cubicBezTo>
                    <a:pt x="153" y="133"/>
                    <a:pt x="153" y="133"/>
                    <a:pt x="153" y="133"/>
                  </a:cubicBezTo>
                  <a:cubicBezTo>
                    <a:pt x="154" y="132"/>
                    <a:pt x="154" y="132"/>
                    <a:pt x="154" y="132"/>
                  </a:cubicBezTo>
                  <a:cubicBezTo>
                    <a:pt x="153" y="131"/>
                    <a:pt x="153" y="131"/>
                    <a:pt x="153" y="131"/>
                  </a:cubicBezTo>
                  <a:cubicBezTo>
                    <a:pt x="153" y="131"/>
                    <a:pt x="153" y="130"/>
                    <a:pt x="153" y="130"/>
                  </a:cubicBezTo>
                  <a:cubicBezTo>
                    <a:pt x="153" y="130"/>
                    <a:pt x="154" y="130"/>
                    <a:pt x="154" y="131"/>
                  </a:cubicBezTo>
                  <a:cubicBezTo>
                    <a:pt x="154" y="131"/>
                    <a:pt x="155" y="131"/>
                    <a:pt x="155" y="132"/>
                  </a:cubicBezTo>
                  <a:cubicBezTo>
                    <a:pt x="155" y="133"/>
                    <a:pt x="156" y="133"/>
                    <a:pt x="157" y="134"/>
                  </a:cubicBezTo>
                  <a:cubicBezTo>
                    <a:pt x="157" y="134"/>
                    <a:pt x="158" y="135"/>
                    <a:pt x="159" y="135"/>
                  </a:cubicBezTo>
                  <a:cubicBezTo>
                    <a:pt x="159" y="135"/>
                    <a:pt x="159" y="134"/>
                    <a:pt x="159" y="133"/>
                  </a:cubicBezTo>
                  <a:cubicBezTo>
                    <a:pt x="159" y="133"/>
                    <a:pt x="159" y="132"/>
                    <a:pt x="159" y="132"/>
                  </a:cubicBezTo>
                  <a:cubicBezTo>
                    <a:pt x="159" y="131"/>
                    <a:pt x="160" y="130"/>
                    <a:pt x="160" y="129"/>
                  </a:cubicBezTo>
                  <a:cubicBezTo>
                    <a:pt x="160" y="129"/>
                    <a:pt x="160" y="128"/>
                    <a:pt x="160" y="127"/>
                  </a:cubicBezTo>
                  <a:cubicBezTo>
                    <a:pt x="160" y="127"/>
                    <a:pt x="161" y="127"/>
                    <a:pt x="161" y="126"/>
                  </a:cubicBezTo>
                  <a:cubicBezTo>
                    <a:pt x="161" y="126"/>
                    <a:pt x="161" y="125"/>
                    <a:pt x="161" y="125"/>
                  </a:cubicBezTo>
                  <a:cubicBezTo>
                    <a:pt x="161" y="124"/>
                    <a:pt x="160" y="124"/>
                    <a:pt x="159" y="124"/>
                  </a:cubicBezTo>
                  <a:cubicBezTo>
                    <a:pt x="159" y="124"/>
                    <a:pt x="159" y="124"/>
                    <a:pt x="159" y="123"/>
                  </a:cubicBezTo>
                  <a:cubicBezTo>
                    <a:pt x="159" y="123"/>
                    <a:pt x="159" y="123"/>
                    <a:pt x="158" y="123"/>
                  </a:cubicBezTo>
                  <a:cubicBezTo>
                    <a:pt x="158" y="122"/>
                    <a:pt x="159" y="121"/>
                    <a:pt x="159" y="120"/>
                  </a:cubicBezTo>
                  <a:cubicBezTo>
                    <a:pt x="158" y="121"/>
                    <a:pt x="157" y="121"/>
                    <a:pt x="156" y="122"/>
                  </a:cubicBezTo>
                  <a:cubicBezTo>
                    <a:pt x="156" y="122"/>
                    <a:pt x="155" y="122"/>
                    <a:pt x="155" y="123"/>
                  </a:cubicBezTo>
                  <a:cubicBezTo>
                    <a:pt x="155" y="123"/>
                    <a:pt x="155" y="124"/>
                    <a:pt x="155" y="124"/>
                  </a:cubicBezTo>
                  <a:cubicBezTo>
                    <a:pt x="156" y="125"/>
                    <a:pt x="157" y="125"/>
                    <a:pt x="156" y="126"/>
                  </a:cubicBezTo>
                  <a:cubicBezTo>
                    <a:pt x="155" y="127"/>
                    <a:pt x="155" y="127"/>
                    <a:pt x="155" y="128"/>
                  </a:cubicBezTo>
                  <a:cubicBezTo>
                    <a:pt x="155" y="128"/>
                    <a:pt x="155" y="128"/>
                    <a:pt x="154" y="128"/>
                  </a:cubicBezTo>
                  <a:cubicBezTo>
                    <a:pt x="153" y="129"/>
                    <a:pt x="153" y="128"/>
                    <a:pt x="152" y="128"/>
                  </a:cubicBezTo>
                  <a:cubicBezTo>
                    <a:pt x="151" y="127"/>
                    <a:pt x="150" y="128"/>
                    <a:pt x="149" y="127"/>
                  </a:cubicBezTo>
                  <a:cubicBezTo>
                    <a:pt x="148" y="126"/>
                    <a:pt x="147" y="126"/>
                    <a:pt x="146" y="126"/>
                  </a:cubicBezTo>
                  <a:cubicBezTo>
                    <a:pt x="146" y="125"/>
                    <a:pt x="145" y="125"/>
                    <a:pt x="145" y="125"/>
                  </a:cubicBezTo>
                  <a:cubicBezTo>
                    <a:pt x="145" y="124"/>
                    <a:pt x="144" y="124"/>
                    <a:pt x="144" y="124"/>
                  </a:cubicBezTo>
                  <a:cubicBezTo>
                    <a:pt x="144" y="123"/>
                    <a:pt x="145" y="122"/>
                    <a:pt x="145" y="122"/>
                  </a:cubicBezTo>
                  <a:cubicBezTo>
                    <a:pt x="145" y="122"/>
                    <a:pt x="145" y="121"/>
                    <a:pt x="146" y="121"/>
                  </a:cubicBezTo>
                  <a:cubicBezTo>
                    <a:pt x="146" y="121"/>
                    <a:pt x="146" y="121"/>
                    <a:pt x="147" y="120"/>
                  </a:cubicBezTo>
                  <a:cubicBezTo>
                    <a:pt x="147" y="120"/>
                    <a:pt x="147" y="120"/>
                    <a:pt x="148" y="120"/>
                  </a:cubicBezTo>
                  <a:cubicBezTo>
                    <a:pt x="148" y="119"/>
                    <a:pt x="149" y="119"/>
                    <a:pt x="149" y="119"/>
                  </a:cubicBezTo>
                  <a:cubicBezTo>
                    <a:pt x="150" y="118"/>
                    <a:pt x="150" y="118"/>
                    <a:pt x="149" y="117"/>
                  </a:cubicBezTo>
                  <a:cubicBezTo>
                    <a:pt x="149" y="117"/>
                    <a:pt x="149" y="116"/>
                    <a:pt x="148" y="116"/>
                  </a:cubicBezTo>
                  <a:cubicBezTo>
                    <a:pt x="148" y="116"/>
                    <a:pt x="147" y="117"/>
                    <a:pt x="147" y="117"/>
                  </a:cubicBezTo>
                  <a:cubicBezTo>
                    <a:pt x="146" y="117"/>
                    <a:pt x="145" y="118"/>
                    <a:pt x="145" y="118"/>
                  </a:cubicBezTo>
                  <a:cubicBezTo>
                    <a:pt x="144" y="118"/>
                    <a:pt x="144" y="118"/>
                    <a:pt x="144" y="118"/>
                  </a:cubicBezTo>
                  <a:cubicBezTo>
                    <a:pt x="144" y="118"/>
                    <a:pt x="144" y="118"/>
                    <a:pt x="143" y="118"/>
                  </a:cubicBezTo>
                  <a:cubicBezTo>
                    <a:pt x="143" y="118"/>
                    <a:pt x="142" y="119"/>
                    <a:pt x="142" y="119"/>
                  </a:cubicBezTo>
                  <a:cubicBezTo>
                    <a:pt x="141" y="119"/>
                    <a:pt x="141" y="120"/>
                    <a:pt x="140" y="120"/>
                  </a:cubicBezTo>
                  <a:cubicBezTo>
                    <a:pt x="139" y="120"/>
                    <a:pt x="139" y="120"/>
                    <a:pt x="138" y="121"/>
                  </a:cubicBezTo>
                  <a:cubicBezTo>
                    <a:pt x="137" y="121"/>
                    <a:pt x="137" y="121"/>
                    <a:pt x="136" y="121"/>
                  </a:cubicBezTo>
                  <a:cubicBezTo>
                    <a:pt x="135" y="121"/>
                    <a:pt x="133" y="121"/>
                    <a:pt x="132" y="121"/>
                  </a:cubicBezTo>
                  <a:cubicBezTo>
                    <a:pt x="131" y="121"/>
                    <a:pt x="130" y="121"/>
                    <a:pt x="129" y="121"/>
                  </a:cubicBezTo>
                  <a:cubicBezTo>
                    <a:pt x="129" y="121"/>
                    <a:pt x="129" y="121"/>
                    <a:pt x="129" y="121"/>
                  </a:cubicBezTo>
                  <a:cubicBezTo>
                    <a:pt x="128" y="120"/>
                    <a:pt x="128" y="120"/>
                    <a:pt x="128" y="120"/>
                  </a:cubicBezTo>
                  <a:cubicBezTo>
                    <a:pt x="127" y="120"/>
                    <a:pt x="127" y="120"/>
                    <a:pt x="126" y="119"/>
                  </a:cubicBezTo>
                  <a:cubicBezTo>
                    <a:pt x="126" y="119"/>
                    <a:pt x="126" y="119"/>
                    <a:pt x="126" y="119"/>
                  </a:cubicBezTo>
                  <a:cubicBezTo>
                    <a:pt x="125" y="118"/>
                    <a:pt x="125" y="118"/>
                    <a:pt x="125" y="118"/>
                  </a:cubicBezTo>
                  <a:cubicBezTo>
                    <a:pt x="124" y="118"/>
                    <a:pt x="125" y="117"/>
                    <a:pt x="125" y="116"/>
                  </a:cubicBezTo>
                  <a:cubicBezTo>
                    <a:pt x="125" y="115"/>
                    <a:pt x="125" y="115"/>
                    <a:pt x="126" y="114"/>
                  </a:cubicBezTo>
                  <a:cubicBezTo>
                    <a:pt x="127" y="113"/>
                    <a:pt x="128" y="112"/>
                    <a:pt x="128" y="112"/>
                  </a:cubicBezTo>
                  <a:cubicBezTo>
                    <a:pt x="128" y="111"/>
                    <a:pt x="126" y="111"/>
                    <a:pt x="126" y="111"/>
                  </a:cubicBezTo>
                  <a:cubicBezTo>
                    <a:pt x="125" y="111"/>
                    <a:pt x="125" y="112"/>
                    <a:pt x="125" y="113"/>
                  </a:cubicBezTo>
                  <a:cubicBezTo>
                    <a:pt x="125" y="113"/>
                    <a:pt x="124" y="113"/>
                    <a:pt x="124" y="114"/>
                  </a:cubicBezTo>
                  <a:cubicBezTo>
                    <a:pt x="124" y="114"/>
                    <a:pt x="124" y="114"/>
                    <a:pt x="124" y="115"/>
                  </a:cubicBezTo>
                  <a:cubicBezTo>
                    <a:pt x="123" y="116"/>
                    <a:pt x="120" y="116"/>
                    <a:pt x="120" y="115"/>
                  </a:cubicBezTo>
                  <a:cubicBezTo>
                    <a:pt x="119" y="115"/>
                    <a:pt x="120" y="114"/>
                    <a:pt x="120" y="114"/>
                  </a:cubicBezTo>
                  <a:cubicBezTo>
                    <a:pt x="120" y="113"/>
                    <a:pt x="120" y="112"/>
                    <a:pt x="120" y="112"/>
                  </a:cubicBezTo>
                  <a:cubicBezTo>
                    <a:pt x="121" y="111"/>
                    <a:pt x="121" y="110"/>
                    <a:pt x="122" y="110"/>
                  </a:cubicBezTo>
                  <a:cubicBezTo>
                    <a:pt x="122" y="110"/>
                    <a:pt x="123" y="109"/>
                    <a:pt x="124" y="109"/>
                  </a:cubicBezTo>
                  <a:cubicBezTo>
                    <a:pt x="124" y="109"/>
                    <a:pt x="124" y="110"/>
                    <a:pt x="125" y="110"/>
                  </a:cubicBezTo>
                  <a:cubicBezTo>
                    <a:pt x="125" y="110"/>
                    <a:pt x="125" y="110"/>
                    <a:pt x="126" y="110"/>
                  </a:cubicBezTo>
                  <a:cubicBezTo>
                    <a:pt x="127" y="110"/>
                    <a:pt x="127" y="111"/>
                    <a:pt x="128" y="110"/>
                  </a:cubicBezTo>
                  <a:cubicBezTo>
                    <a:pt x="130" y="110"/>
                    <a:pt x="130" y="109"/>
                    <a:pt x="131" y="108"/>
                  </a:cubicBezTo>
                  <a:cubicBezTo>
                    <a:pt x="132" y="108"/>
                    <a:pt x="132" y="108"/>
                    <a:pt x="133" y="108"/>
                  </a:cubicBezTo>
                  <a:cubicBezTo>
                    <a:pt x="134" y="108"/>
                    <a:pt x="135" y="108"/>
                    <a:pt x="136" y="108"/>
                  </a:cubicBezTo>
                  <a:cubicBezTo>
                    <a:pt x="136" y="108"/>
                    <a:pt x="136" y="108"/>
                    <a:pt x="137" y="108"/>
                  </a:cubicBezTo>
                  <a:cubicBezTo>
                    <a:pt x="137" y="109"/>
                    <a:pt x="137" y="109"/>
                    <a:pt x="137" y="109"/>
                  </a:cubicBezTo>
                  <a:cubicBezTo>
                    <a:pt x="138" y="110"/>
                    <a:pt x="138" y="110"/>
                    <a:pt x="139" y="110"/>
                  </a:cubicBezTo>
                  <a:cubicBezTo>
                    <a:pt x="139" y="110"/>
                    <a:pt x="139" y="111"/>
                    <a:pt x="139" y="111"/>
                  </a:cubicBezTo>
                  <a:cubicBezTo>
                    <a:pt x="140" y="111"/>
                    <a:pt x="139" y="112"/>
                    <a:pt x="140" y="112"/>
                  </a:cubicBezTo>
                  <a:cubicBezTo>
                    <a:pt x="141" y="112"/>
                    <a:pt x="142" y="112"/>
                    <a:pt x="143" y="113"/>
                  </a:cubicBezTo>
                  <a:cubicBezTo>
                    <a:pt x="143" y="114"/>
                    <a:pt x="144" y="114"/>
                    <a:pt x="145" y="114"/>
                  </a:cubicBezTo>
                  <a:cubicBezTo>
                    <a:pt x="146" y="114"/>
                    <a:pt x="147" y="115"/>
                    <a:pt x="148" y="115"/>
                  </a:cubicBezTo>
                  <a:cubicBezTo>
                    <a:pt x="148" y="115"/>
                    <a:pt x="148" y="115"/>
                    <a:pt x="149" y="115"/>
                  </a:cubicBezTo>
                  <a:cubicBezTo>
                    <a:pt x="149" y="115"/>
                    <a:pt x="149" y="116"/>
                    <a:pt x="149" y="116"/>
                  </a:cubicBezTo>
                  <a:cubicBezTo>
                    <a:pt x="150" y="116"/>
                    <a:pt x="151" y="116"/>
                    <a:pt x="151" y="116"/>
                  </a:cubicBezTo>
                  <a:cubicBezTo>
                    <a:pt x="152" y="115"/>
                    <a:pt x="152" y="115"/>
                    <a:pt x="152" y="114"/>
                  </a:cubicBezTo>
                  <a:cubicBezTo>
                    <a:pt x="153" y="114"/>
                    <a:pt x="153" y="114"/>
                    <a:pt x="153" y="115"/>
                  </a:cubicBezTo>
                  <a:cubicBezTo>
                    <a:pt x="154" y="115"/>
                    <a:pt x="154" y="115"/>
                    <a:pt x="154" y="115"/>
                  </a:cubicBezTo>
                  <a:cubicBezTo>
                    <a:pt x="155" y="116"/>
                    <a:pt x="156" y="116"/>
                    <a:pt x="157" y="115"/>
                  </a:cubicBezTo>
                  <a:cubicBezTo>
                    <a:pt x="155" y="115"/>
                    <a:pt x="155" y="115"/>
                    <a:pt x="155" y="115"/>
                  </a:cubicBezTo>
                  <a:cubicBezTo>
                    <a:pt x="155" y="115"/>
                    <a:pt x="153" y="113"/>
                    <a:pt x="152" y="113"/>
                  </a:cubicBezTo>
                  <a:close/>
                  <a:moveTo>
                    <a:pt x="70" y="140"/>
                  </a:moveTo>
                  <a:cubicBezTo>
                    <a:pt x="70" y="140"/>
                    <a:pt x="70" y="140"/>
                    <a:pt x="71" y="140"/>
                  </a:cubicBezTo>
                  <a:cubicBezTo>
                    <a:pt x="71" y="140"/>
                    <a:pt x="72" y="141"/>
                    <a:pt x="72" y="141"/>
                  </a:cubicBezTo>
                  <a:cubicBezTo>
                    <a:pt x="72" y="141"/>
                    <a:pt x="73" y="142"/>
                    <a:pt x="73" y="142"/>
                  </a:cubicBezTo>
                  <a:cubicBezTo>
                    <a:pt x="74" y="142"/>
                    <a:pt x="74" y="142"/>
                    <a:pt x="75" y="143"/>
                  </a:cubicBezTo>
                  <a:cubicBezTo>
                    <a:pt x="75" y="143"/>
                    <a:pt x="75" y="143"/>
                    <a:pt x="76" y="143"/>
                  </a:cubicBezTo>
                  <a:cubicBezTo>
                    <a:pt x="76" y="143"/>
                    <a:pt x="76" y="143"/>
                    <a:pt x="76" y="144"/>
                  </a:cubicBezTo>
                  <a:cubicBezTo>
                    <a:pt x="77" y="144"/>
                    <a:pt x="77" y="143"/>
                    <a:pt x="77" y="143"/>
                  </a:cubicBezTo>
                  <a:cubicBezTo>
                    <a:pt x="77" y="143"/>
                    <a:pt x="78" y="142"/>
                    <a:pt x="78" y="142"/>
                  </a:cubicBezTo>
                  <a:cubicBezTo>
                    <a:pt x="79" y="141"/>
                    <a:pt x="79" y="141"/>
                    <a:pt x="79" y="141"/>
                  </a:cubicBezTo>
                  <a:cubicBezTo>
                    <a:pt x="80" y="140"/>
                    <a:pt x="81" y="139"/>
                    <a:pt x="80" y="139"/>
                  </a:cubicBezTo>
                  <a:cubicBezTo>
                    <a:pt x="79" y="139"/>
                    <a:pt x="79" y="139"/>
                    <a:pt x="78" y="139"/>
                  </a:cubicBezTo>
                  <a:cubicBezTo>
                    <a:pt x="78" y="139"/>
                    <a:pt x="78" y="139"/>
                    <a:pt x="77" y="139"/>
                  </a:cubicBezTo>
                  <a:cubicBezTo>
                    <a:pt x="77" y="138"/>
                    <a:pt x="77" y="138"/>
                    <a:pt x="76" y="138"/>
                  </a:cubicBezTo>
                  <a:cubicBezTo>
                    <a:pt x="76" y="138"/>
                    <a:pt x="76" y="138"/>
                    <a:pt x="75" y="138"/>
                  </a:cubicBezTo>
                  <a:cubicBezTo>
                    <a:pt x="75" y="138"/>
                    <a:pt x="75" y="137"/>
                    <a:pt x="75" y="137"/>
                  </a:cubicBezTo>
                  <a:cubicBezTo>
                    <a:pt x="75" y="137"/>
                    <a:pt x="74" y="137"/>
                    <a:pt x="74" y="137"/>
                  </a:cubicBezTo>
                  <a:cubicBezTo>
                    <a:pt x="73" y="138"/>
                    <a:pt x="73" y="138"/>
                    <a:pt x="73" y="138"/>
                  </a:cubicBezTo>
                  <a:cubicBezTo>
                    <a:pt x="73" y="138"/>
                    <a:pt x="72" y="138"/>
                    <a:pt x="72" y="138"/>
                  </a:cubicBezTo>
                  <a:cubicBezTo>
                    <a:pt x="72" y="139"/>
                    <a:pt x="71" y="139"/>
                    <a:pt x="71" y="139"/>
                  </a:cubicBezTo>
                  <a:cubicBezTo>
                    <a:pt x="70" y="139"/>
                    <a:pt x="70" y="139"/>
                    <a:pt x="70" y="139"/>
                  </a:cubicBezTo>
                  <a:cubicBezTo>
                    <a:pt x="69" y="140"/>
                    <a:pt x="69" y="140"/>
                    <a:pt x="70" y="140"/>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8" name="Freeform 41">
              <a:extLst>
                <a:ext uri="{FF2B5EF4-FFF2-40B4-BE49-F238E27FC236}">
                  <a16:creationId xmlns:a16="http://schemas.microsoft.com/office/drawing/2014/main" id="{E3DD3AC0-5BF2-FDE2-7EA4-8EE25F7ADECF}"/>
                </a:ext>
              </a:extLst>
            </p:cNvPr>
            <p:cNvSpPr>
              <a:spLocks/>
            </p:cNvSpPr>
            <p:nvPr/>
          </p:nvSpPr>
          <p:spPr bwMode="auto">
            <a:xfrm>
              <a:off x="7347506" y="2845022"/>
              <a:ext cx="1019410" cy="459313"/>
            </a:xfrm>
            <a:custGeom>
              <a:avLst/>
              <a:gdLst>
                <a:gd name="T0" fmla="*/ 249 w 257"/>
                <a:gd name="T1" fmla="*/ 67 h 116"/>
                <a:gd name="T2" fmla="*/ 243 w 257"/>
                <a:gd name="T3" fmla="*/ 59 h 116"/>
                <a:gd name="T4" fmla="*/ 240 w 257"/>
                <a:gd name="T5" fmla="*/ 51 h 116"/>
                <a:gd name="T6" fmla="*/ 234 w 257"/>
                <a:gd name="T7" fmla="*/ 45 h 116"/>
                <a:gd name="T8" fmla="*/ 236 w 257"/>
                <a:gd name="T9" fmla="*/ 39 h 116"/>
                <a:gd name="T10" fmla="*/ 235 w 257"/>
                <a:gd name="T11" fmla="*/ 30 h 116"/>
                <a:gd name="T12" fmla="*/ 228 w 257"/>
                <a:gd name="T13" fmla="*/ 25 h 116"/>
                <a:gd name="T14" fmla="*/ 226 w 257"/>
                <a:gd name="T15" fmla="*/ 18 h 116"/>
                <a:gd name="T16" fmla="*/ 218 w 257"/>
                <a:gd name="T17" fmla="*/ 21 h 116"/>
                <a:gd name="T18" fmla="*/ 213 w 257"/>
                <a:gd name="T19" fmla="*/ 23 h 116"/>
                <a:gd name="T20" fmla="*/ 206 w 257"/>
                <a:gd name="T21" fmla="*/ 20 h 116"/>
                <a:gd name="T22" fmla="*/ 201 w 257"/>
                <a:gd name="T23" fmla="*/ 20 h 116"/>
                <a:gd name="T24" fmla="*/ 192 w 257"/>
                <a:gd name="T25" fmla="*/ 17 h 116"/>
                <a:gd name="T26" fmla="*/ 180 w 257"/>
                <a:gd name="T27" fmla="*/ 14 h 116"/>
                <a:gd name="T28" fmla="*/ 177 w 257"/>
                <a:gd name="T29" fmla="*/ 6 h 116"/>
                <a:gd name="T30" fmla="*/ 172 w 257"/>
                <a:gd name="T31" fmla="*/ 1 h 116"/>
                <a:gd name="T32" fmla="*/ 166 w 257"/>
                <a:gd name="T33" fmla="*/ 3 h 116"/>
                <a:gd name="T34" fmla="*/ 160 w 257"/>
                <a:gd name="T35" fmla="*/ 0 h 116"/>
                <a:gd name="T36" fmla="*/ 157 w 257"/>
                <a:gd name="T37" fmla="*/ 5 h 116"/>
                <a:gd name="T38" fmla="*/ 159 w 257"/>
                <a:gd name="T39" fmla="*/ 11 h 116"/>
                <a:gd name="T40" fmla="*/ 155 w 257"/>
                <a:gd name="T41" fmla="*/ 16 h 116"/>
                <a:gd name="T42" fmla="*/ 143 w 257"/>
                <a:gd name="T43" fmla="*/ 18 h 116"/>
                <a:gd name="T44" fmla="*/ 138 w 257"/>
                <a:gd name="T45" fmla="*/ 26 h 116"/>
                <a:gd name="T46" fmla="*/ 129 w 257"/>
                <a:gd name="T47" fmla="*/ 37 h 116"/>
                <a:gd name="T48" fmla="*/ 121 w 257"/>
                <a:gd name="T49" fmla="*/ 47 h 116"/>
                <a:gd name="T50" fmla="*/ 115 w 257"/>
                <a:gd name="T51" fmla="*/ 51 h 116"/>
                <a:gd name="T52" fmla="*/ 108 w 257"/>
                <a:gd name="T53" fmla="*/ 43 h 116"/>
                <a:gd name="T54" fmla="*/ 105 w 257"/>
                <a:gd name="T55" fmla="*/ 46 h 116"/>
                <a:gd name="T56" fmla="*/ 100 w 257"/>
                <a:gd name="T57" fmla="*/ 51 h 116"/>
                <a:gd name="T58" fmla="*/ 96 w 257"/>
                <a:gd name="T59" fmla="*/ 57 h 116"/>
                <a:gd name="T60" fmla="*/ 91 w 257"/>
                <a:gd name="T61" fmla="*/ 52 h 116"/>
                <a:gd name="T62" fmla="*/ 82 w 257"/>
                <a:gd name="T63" fmla="*/ 55 h 116"/>
                <a:gd name="T64" fmla="*/ 79 w 257"/>
                <a:gd name="T65" fmla="*/ 58 h 116"/>
                <a:gd name="T66" fmla="*/ 68 w 257"/>
                <a:gd name="T67" fmla="*/ 53 h 116"/>
                <a:gd name="T68" fmla="*/ 62 w 257"/>
                <a:gd name="T69" fmla="*/ 54 h 116"/>
                <a:gd name="T70" fmla="*/ 59 w 257"/>
                <a:gd name="T71" fmla="*/ 55 h 116"/>
                <a:gd name="T72" fmla="*/ 52 w 257"/>
                <a:gd name="T73" fmla="*/ 54 h 116"/>
                <a:gd name="T74" fmla="*/ 51 w 257"/>
                <a:gd name="T75" fmla="*/ 60 h 116"/>
                <a:gd name="T76" fmla="*/ 45 w 257"/>
                <a:gd name="T77" fmla="*/ 69 h 116"/>
                <a:gd name="T78" fmla="*/ 41 w 257"/>
                <a:gd name="T79" fmla="*/ 74 h 116"/>
                <a:gd name="T80" fmla="*/ 33 w 257"/>
                <a:gd name="T81" fmla="*/ 77 h 116"/>
                <a:gd name="T82" fmla="*/ 31 w 257"/>
                <a:gd name="T83" fmla="*/ 92 h 116"/>
                <a:gd name="T84" fmla="*/ 13 w 257"/>
                <a:gd name="T85" fmla="*/ 86 h 116"/>
                <a:gd name="T86" fmla="*/ 12 w 257"/>
                <a:gd name="T87" fmla="*/ 97 h 116"/>
                <a:gd name="T88" fmla="*/ 8 w 257"/>
                <a:gd name="T89" fmla="*/ 105 h 116"/>
                <a:gd name="T90" fmla="*/ 5 w 257"/>
                <a:gd name="T91" fmla="*/ 111 h 116"/>
                <a:gd name="T92" fmla="*/ 47 w 257"/>
                <a:gd name="T93" fmla="*/ 116 h 116"/>
                <a:gd name="T94" fmla="*/ 55 w 257"/>
                <a:gd name="T95" fmla="*/ 110 h 116"/>
                <a:gd name="T96" fmla="*/ 184 w 257"/>
                <a:gd name="T97" fmla="*/ 111 h 116"/>
                <a:gd name="T98" fmla="*/ 213 w 257"/>
                <a:gd name="T99" fmla="*/ 107 h 116"/>
                <a:gd name="T100" fmla="*/ 223 w 257"/>
                <a:gd name="T101" fmla="*/ 100 h 116"/>
                <a:gd name="T102" fmla="*/ 230 w 257"/>
                <a:gd name="T103" fmla="*/ 93 h 116"/>
                <a:gd name="T104" fmla="*/ 240 w 257"/>
                <a:gd name="T105" fmla="*/ 84 h 116"/>
                <a:gd name="T106" fmla="*/ 255 w 257"/>
                <a:gd name="T107" fmla="*/ 7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7" h="116">
                  <a:moveTo>
                    <a:pt x="255" y="71"/>
                  </a:moveTo>
                  <a:cubicBezTo>
                    <a:pt x="252" y="70"/>
                    <a:pt x="252" y="70"/>
                    <a:pt x="252" y="70"/>
                  </a:cubicBezTo>
                  <a:cubicBezTo>
                    <a:pt x="251" y="67"/>
                    <a:pt x="251" y="67"/>
                    <a:pt x="251" y="67"/>
                  </a:cubicBezTo>
                  <a:cubicBezTo>
                    <a:pt x="249" y="67"/>
                    <a:pt x="249" y="67"/>
                    <a:pt x="249" y="67"/>
                  </a:cubicBezTo>
                  <a:cubicBezTo>
                    <a:pt x="249" y="67"/>
                    <a:pt x="245" y="64"/>
                    <a:pt x="245" y="64"/>
                  </a:cubicBezTo>
                  <a:cubicBezTo>
                    <a:pt x="245" y="64"/>
                    <a:pt x="245" y="63"/>
                    <a:pt x="245" y="62"/>
                  </a:cubicBezTo>
                  <a:cubicBezTo>
                    <a:pt x="245" y="62"/>
                    <a:pt x="246" y="61"/>
                    <a:pt x="246" y="61"/>
                  </a:cubicBezTo>
                  <a:cubicBezTo>
                    <a:pt x="243" y="59"/>
                    <a:pt x="243" y="59"/>
                    <a:pt x="243" y="59"/>
                  </a:cubicBezTo>
                  <a:cubicBezTo>
                    <a:pt x="243" y="59"/>
                    <a:pt x="242" y="55"/>
                    <a:pt x="242" y="55"/>
                  </a:cubicBezTo>
                  <a:cubicBezTo>
                    <a:pt x="242" y="55"/>
                    <a:pt x="239" y="54"/>
                    <a:pt x="239" y="54"/>
                  </a:cubicBezTo>
                  <a:cubicBezTo>
                    <a:pt x="240" y="52"/>
                    <a:pt x="240" y="52"/>
                    <a:pt x="240" y="52"/>
                  </a:cubicBezTo>
                  <a:cubicBezTo>
                    <a:pt x="240" y="52"/>
                    <a:pt x="240" y="51"/>
                    <a:pt x="240" y="51"/>
                  </a:cubicBezTo>
                  <a:cubicBezTo>
                    <a:pt x="240" y="51"/>
                    <a:pt x="238" y="50"/>
                    <a:pt x="238" y="50"/>
                  </a:cubicBezTo>
                  <a:cubicBezTo>
                    <a:pt x="238" y="50"/>
                    <a:pt x="238" y="48"/>
                    <a:pt x="237" y="48"/>
                  </a:cubicBezTo>
                  <a:cubicBezTo>
                    <a:pt x="237" y="48"/>
                    <a:pt x="236" y="45"/>
                    <a:pt x="236" y="45"/>
                  </a:cubicBezTo>
                  <a:cubicBezTo>
                    <a:pt x="236" y="45"/>
                    <a:pt x="234" y="45"/>
                    <a:pt x="234" y="45"/>
                  </a:cubicBezTo>
                  <a:cubicBezTo>
                    <a:pt x="234" y="44"/>
                    <a:pt x="235" y="43"/>
                    <a:pt x="235" y="43"/>
                  </a:cubicBezTo>
                  <a:cubicBezTo>
                    <a:pt x="236" y="42"/>
                    <a:pt x="236" y="42"/>
                    <a:pt x="236" y="42"/>
                  </a:cubicBezTo>
                  <a:cubicBezTo>
                    <a:pt x="235" y="40"/>
                    <a:pt x="235" y="40"/>
                    <a:pt x="235" y="40"/>
                  </a:cubicBezTo>
                  <a:cubicBezTo>
                    <a:pt x="235" y="40"/>
                    <a:pt x="236" y="39"/>
                    <a:pt x="236" y="39"/>
                  </a:cubicBezTo>
                  <a:cubicBezTo>
                    <a:pt x="236" y="39"/>
                    <a:pt x="236" y="36"/>
                    <a:pt x="236" y="36"/>
                  </a:cubicBezTo>
                  <a:cubicBezTo>
                    <a:pt x="236" y="35"/>
                    <a:pt x="236" y="33"/>
                    <a:pt x="236" y="33"/>
                  </a:cubicBezTo>
                  <a:cubicBezTo>
                    <a:pt x="235" y="30"/>
                    <a:pt x="235" y="30"/>
                    <a:pt x="235" y="30"/>
                  </a:cubicBezTo>
                  <a:cubicBezTo>
                    <a:pt x="235" y="30"/>
                    <a:pt x="235" y="30"/>
                    <a:pt x="235" y="30"/>
                  </a:cubicBezTo>
                  <a:cubicBezTo>
                    <a:pt x="235" y="29"/>
                    <a:pt x="235" y="28"/>
                    <a:pt x="234" y="28"/>
                  </a:cubicBezTo>
                  <a:cubicBezTo>
                    <a:pt x="233" y="27"/>
                    <a:pt x="232" y="26"/>
                    <a:pt x="231" y="26"/>
                  </a:cubicBezTo>
                  <a:cubicBezTo>
                    <a:pt x="231" y="26"/>
                    <a:pt x="230" y="26"/>
                    <a:pt x="230" y="25"/>
                  </a:cubicBezTo>
                  <a:cubicBezTo>
                    <a:pt x="229" y="25"/>
                    <a:pt x="229" y="25"/>
                    <a:pt x="228" y="25"/>
                  </a:cubicBezTo>
                  <a:cubicBezTo>
                    <a:pt x="227" y="24"/>
                    <a:pt x="227" y="23"/>
                    <a:pt x="226" y="23"/>
                  </a:cubicBezTo>
                  <a:cubicBezTo>
                    <a:pt x="226" y="22"/>
                    <a:pt x="226" y="21"/>
                    <a:pt x="226" y="20"/>
                  </a:cubicBezTo>
                  <a:cubicBezTo>
                    <a:pt x="226" y="19"/>
                    <a:pt x="226" y="19"/>
                    <a:pt x="226" y="19"/>
                  </a:cubicBezTo>
                  <a:cubicBezTo>
                    <a:pt x="226" y="18"/>
                    <a:pt x="226" y="18"/>
                    <a:pt x="226" y="18"/>
                  </a:cubicBezTo>
                  <a:cubicBezTo>
                    <a:pt x="225" y="17"/>
                    <a:pt x="224" y="17"/>
                    <a:pt x="224" y="17"/>
                  </a:cubicBezTo>
                  <a:cubicBezTo>
                    <a:pt x="223" y="18"/>
                    <a:pt x="222" y="18"/>
                    <a:pt x="221" y="18"/>
                  </a:cubicBezTo>
                  <a:cubicBezTo>
                    <a:pt x="221" y="18"/>
                    <a:pt x="220" y="19"/>
                    <a:pt x="220" y="20"/>
                  </a:cubicBezTo>
                  <a:cubicBezTo>
                    <a:pt x="219" y="20"/>
                    <a:pt x="219" y="21"/>
                    <a:pt x="218" y="21"/>
                  </a:cubicBezTo>
                  <a:cubicBezTo>
                    <a:pt x="218" y="22"/>
                    <a:pt x="217" y="22"/>
                    <a:pt x="217" y="22"/>
                  </a:cubicBezTo>
                  <a:cubicBezTo>
                    <a:pt x="216" y="23"/>
                    <a:pt x="216" y="23"/>
                    <a:pt x="215" y="23"/>
                  </a:cubicBezTo>
                  <a:cubicBezTo>
                    <a:pt x="215" y="23"/>
                    <a:pt x="214" y="23"/>
                    <a:pt x="214" y="23"/>
                  </a:cubicBezTo>
                  <a:cubicBezTo>
                    <a:pt x="213" y="23"/>
                    <a:pt x="213" y="23"/>
                    <a:pt x="213" y="23"/>
                  </a:cubicBezTo>
                  <a:cubicBezTo>
                    <a:pt x="212" y="23"/>
                    <a:pt x="211" y="24"/>
                    <a:pt x="211" y="24"/>
                  </a:cubicBezTo>
                  <a:cubicBezTo>
                    <a:pt x="211" y="24"/>
                    <a:pt x="210" y="23"/>
                    <a:pt x="210" y="23"/>
                  </a:cubicBezTo>
                  <a:cubicBezTo>
                    <a:pt x="209" y="22"/>
                    <a:pt x="208" y="21"/>
                    <a:pt x="207" y="21"/>
                  </a:cubicBezTo>
                  <a:cubicBezTo>
                    <a:pt x="207" y="21"/>
                    <a:pt x="206" y="20"/>
                    <a:pt x="206" y="20"/>
                  </a:cubicBezTo>
                  <a:cubicBezTo>
                    <a:pt x="206" y="20"/>
                    <a:pt x="205" y="20"/>
                    <a:pt x="205" y="20"/>
                  </a:cubicBezTo>
                  <a:cubicBezTo>
                    <a:pt x="205" y="19"/>
                    <a:pt x="205" y="19"/>
                    <a:pt x="204" y="19"/>
                  </a:cubicBezTo>
                  <a:cubicBezTo>
                    <a:pt x="204" y="19"/>
                    <a:pt x="203" y="20"/>
                    <a:pt x="202" y="20"/>
                  </a:cubicBezTo>
                  <a:cubicBezTo>
                    <a:pt x="202" y="20"/>
                    <a:pt x="201" y="20"/>
                    <a:pt x="201" y="20"/>
                  </a:cubicBezTo>
                  <a:cubicBezTo>
                    <a:pt x="200" y="21"/>
                    <a:pt x="200" y="21"/>
                    <a:pt x="199" y="22"/>
                  </a:cubicBezTo>
                  <a:cubicBezTo>
                    <a:pt x="199" y="22"/>
                    <a:pt x="197" y="23"/>
                    <a:pt x="196" y="22"/>
                  </a:cubicBezTo>
                  <a:cubicBezTo>
                    <a:pt x="195" y="21"/>
                    <a:pt x="195" y="20"/>
                    <a:pt x="194" y="19"/>
                  </a:cubicBezTo>
                  <a:cubicBezTo>
                    <a:pt x="193" y="18"/>
                    <a:pt x="193" y="18"/>
                    <a:pt x="192" y="17"/>
                  </a:cubicBezTo>
                  <a:cubicBezTo>
                    <a:pt x="192" y="17"/>
                    <a:pt x="191" y="16"/>
                    <a:pt x="190" y="16"/>
                  </a:cubicBezTo>
                  <a:cubicBezTo>
                    <a:pt x="189" y="15"/>
                    <a:pt x="187" y="16"/>
                    <a:pt x="186" y="16"/>
                  </a:cubicBezTo>
                  <a:cubicBezTo>
                    <a:pt x="185" y="16"/>
                    <a:pt x="184" y="16"/>
                    <a:pt x="182" y="16"/>
                  </a:cubicBezTo>
                  <a:cubicBezTo>
                    <a:pt x="181" y="16"/>
                    <a:pt x="181" y="15"/>
                    <a:pt x="180" y="14"/>
                  </a:cubicBezTo>
                  <a:cubicBezTo>
                    <a:pt x="180" y="13"/>
                    <a:pt x="179" y="12"/>
                    <a:pt x="179" y="11"/>
                  </a:cubicBezTo>
                  <a:cubicBezTo>
                    <a:pt x="178" y="10"/>
                    <a:pt x="178" y="9"/>
                    <a:pt x="178" y="8"/>
                  </a:cubicBezTo>
                  <a:cubicBezTo>
                    <a:pt x="178" y="8"/>
                    <a:pt x="177" y="8"/>
                    <a:pt x="177" y="7"/>
                  </a:cubicBezTo>
                  <a:cubicBezTo>
                    <a:pt x="177" y="7"/>
                    <a:pt x="177" y="7"/>
                    <a:pt x="177" y="6"/>
                  </a:cubicBezTo>
                  <a:cubicBezTo>
                    <a:pt x="177" y="6"/>
                    <a:pt x="176" y="5"/>
                    <a:pt x="176" y="5"/>
                  </a:cubicBezTo>
                  <a:cubicBezTo>
                    <a:pt x="176" y="5"/>
                    <a:pt x="175" y="4"/>
                    <a:pt x="175" y="4"/>
                  </a:cubicBezTo>
                  <a:cubicBezTo>
                    <a:pt x="174" y="4"/>
                    <a:pt x="173" y="3"/>
                    <a:pt x="173" y="2"/>
                  </a:cubicBezTo>
                  <a:cubicBezTo>
                    <a:pt x="172" y="2"/>
                    <a:pt x="172" y="2"/>
                    <a:pt x="172" y="1"/>
                  </a:cubicBezTo>
                  <a:cubicBezTo>
                    <a:pt x="172" y="1"/>
                    <a:pt x="171" y="1"/>
                    <a:pt x="170" y="1"/>
                  </a:cubicBezTo>
                  <a:cubicBezTo>
                    <a:pt x="170" y="1"/>
                    <a:pt x="169" y="2"/>
                    <a:pt x="168" y="2"/>
                  </a:cubicBezTo>
                  <a:cubicBezTo>
                    <a:pt x="168" y="2"/>
                    <a:pt x="167" y="2"/>
                    <a:pt x="167" y="3"/>
                  </a:cubicBezTo>
                  <a:cubicBezTo>
                    <a:pt x="167" y="3"/>
                    <a:pt x="166" y="3"/>
                    <a:pt x="166" y="3"/>
                  </a:cubicBezTo>
                  <a:cubicBezTo>
                    <a:pt x="165" y="3"/>
                    <a:pt x="164" y="2"/>
                    <a:pt x="164" y="2"/>
                  </a:cubicBezTo>
                  <a:cubicBezTo>
                    <a:pt x="163" y="2"/>
                    <a:pt x="163" y="1"/>
                    <a:pt x="163" y="1"/>
                  </a:cubicBezTo>
                  <a:cubicBezTo>
                    <a:pt x="162" y="0"/>
                    <a:pt x="162" y="0"/>
                    <a:pt x="161" y="0"/>
                  </a:cubicBezTo>
                  <a:cubicBezTo>
                    <a:pt x="161" y="0"/>
                    <a:pt x="160" y="0"/>
                    <a:pt x="160" y="0"/>
                  </a:cubicBezTo>
                  <a:cubicBezTo>
                    <a:pt x="160" y="0"/>
                    <a:pt x="159" y="1"/>
                    <a:pt x="159" y="1"/>
                  </a:cubicBezTo>
                  <a:cubicBezTo>
                    <a:pt x="159" y="1"/>
                    <a:pt x="159" y="1"/>
                    <a:pt x="159" y="1"/>
                  </a:cubicBezTo>
                  <a:cubicBezTo>
                    <a:pt x="158" y="3"/>
                    <a:pt x="158" y="3"/>
                    <a:pt x="158" y="3"/>
                  </a:cubicBezTo>
                  <a:cubicBezTo>
                    <a:pt x="158" y="3"/>
                    <a:pt x="157" y="4"/>
                    <a:pt x="157" y="5"/>
                  </a:cubicBezTo>
                  <a:cubicBezTo>
                    <a:pt x="157" y="6"/>
                    <a:pt x="158" y="6"/>
                    <a:pt x="158" y="7"/>
                  </a:cubicBezTo>
                  <a:cubicBezTo>
                    <a:pt x="158" y="7"/>
                    <a:pt x="159" y="8"/>
                    <a:pt x="158" y="9"/>
                  </a:cubicBezTo>
                  <a:cubicBezTo>
                    <a:pt x="158" y="10"/>
                    <a:pt x="158" y="10"/>
                    <a:pt x="158" y="11"/>
                  </a:cubicBezTo>
                  <a:cubicBezTo>
                    <a:pt x="158" y="11"/>
                    <a:pt x="158" y="11"/>
                    <a:pt x="159" y="11"/>
                  </a:cubicBezTo>
                  <a:cubicBezTo>
                    <a:pt x="160" y="11"/>
                    <a:pt x="160" y="12"/>
                    <a:pt x="160" y="13"/>
                  </a:cubicBezTo>
                  <a:cubicBezTo>
                    <a:pt x="160" y="13"/>
                    <a:pt x="159" y="14"/>
                    <a:pt x="159" y="14"/>
                  </a:cubicBezTo>
                  <a:cubicBezTo>
                    <a:pt x="159" y="14"/>
                    <a:pt x="160" y="16"/>
                    <a:pt x="159" y="16"/>
                  </a:cubicBezTo>
                  <a:cubicBezTo>
                    <a:pt x="158" y="17"/>
                    <a:pt x="157" y="16"/>
                    <a:pt x="155" y="16"/>
                  </a:cubicBezTo>
                  <a:cubicBezTo>
                    <a:pt x="153" y="16"/>
                    <a:pt x="153" y="16"/>
                    <a:pt x="152" y="17"/>
                  </a:cubicBezTo>
                  <a:cubicBezTo>
                    <a:pt x="151" y="17"/>
                    <a:pt x="150" y="19"/>
                    <a:pt x="149" y="19"/>
                  </a:cubicBezTo>
                  <a:cubicBezTo>
                    <a:pt x="147" y="20"/>
                    <a:pt x="147" y="20"/>
                    <a:pt x="146" y="20"/>
                  </a:cubicBezTo>
                  <a:cubicBezTo>
                    <a:pt x="145" y="20"/>
                    <a:pt x="144" y="18"/>
                    <a:pt x="143" y="18"/>
                  </a:cubicBezTo>
                  <a:cubicBezTo>
                    <a:pt x="143" y="18"/>
                    <a:pt x="142" y="18"/>
                    <a:pt x="141" y="18"/>
                  </a:cubicBezTo>
                  <a:cubicBezTo>
                    <a:pt x="140" y="18"/>
                    <a:pt x="139" y="18"/>
                    <a:pt x="138" y="19"/>
                  </a:cubicBezTo>
                  <a:cubicBezTo>
                    <a:pt x="137" y="19"/>
                    <a:pt x="137" y="22"/>
                    <a:pt x="137" y="23"/>
                  </a:cubicBezTo>
                  <a:cubicBezTo>
                    <a:pt x="137" y="24"/>
                    <a:pt x="138" y="25"/>
                    <a:pt x="138" y="26"/>
                  </a:cubicBezTo>
                  <a:cubicBezTo>
                    <a:pt x="138" y="27"/>
                    <a:pt x="137" y="29"/>
                    <a:pt x="137" y="29"/>
                  </a:cubicBezTo>
                  <a:cubicBezTo>
                    <a:pt x="137" y="29"/>
                    <a:pt x="132" y="31"/>
                    <a:pt x="132" y="32"/>
                  </a:cubicBezTo>
                  <a:cubicBezTo>
                    <a:pt x="131" y="33"/>
                    <a:pt x="131" y="34"/>
                    <a:pt x="131" y="35"/>
                  </a:cubicBezTo>
                  <a:cubicBezTo>
                    <a:pt x="131" y="36"/>
                    <a:pt x="130" y="36"/>
                    <a:pt x="129" y="37"/>
                  </a:cubicBezTo>
                  <a:cubicBezTo>
                    <a:pt x="128" y="38"/>
                    <a:pt x="128" y="38"/>
                    <a:pt x="127" y="38"/>
                  </a:cubicBezTo>
                  <a:cubicBezTo>
                    <a:pt x="126" y="38"/>
                    <a:pt x="125" y="39"/>
                    <a:pt x="124" y="39"/>
                  </a:cubicBezTo>
                  <a:cubicBezTo>
                    <a:pt x="123" y="40"/>
                    <a:pt x="123" y="41"/>
                    <a:pt x="122" y="42"/>
                  </a:cubicBezTo>
                  <a:cubicBezTo>
                    <a:pt x="122" y="43"/>
                    <a:pt x="121" y="46"/>
                    <a:pt x="121" y="47"/>
                  </a:cubicBezTo>
                  <a:cubicBezTo>
                    <a:pt x="121" y="48"/>
                    <a:pt x="121" y="49"/>
                    <a:pt x="121" y="49"/>
                  </a:cubicBezTo>
                  <a:cubicBezTo>
                    <a:pt x="121" y="50"/>
                    <a:pt x="119" y="50"/>
                    <a:pt x="119" y="50"/>
                  </a:cubicBezTo>
                  <a:cubicBezTo>
                    <a:pt x="118" y="50"/>
                    <a:pt x="117" y="52"/>
                    <a:pt x="117" y="52"/>
                  </a:cubicBezTo>
                  <a:cubicBezTo>
                    <a:pt x="117" y="52"/>
                    <a:pt x="116" y="51"/>
                    <a:pt x="115" y="51"/>
                  </a:cubicBezTo>
                  <a:cubicBezTo>
                    <a:pt x="115" y="50"/>
                    <a:pt x="114" y="50"/>
                    <a:pt x="113" y="49"/>
                  </a:cubicBezTo>
                  <a:cubicBezTo>
                    <a:pt x="112" y="49"/>
                    <a:pt x="111" y="49"/>
                    <a:pt x="110" y="48"/>
                  </a:cubicBezTo>
                  <a:cubicBezTo>
                    <a:pt x="109" y="48"/>
                    <a:pt x="109" y="46"/>
                    <a:pt x="109" y="45"/>
                  </a:cubicBezTo>
                  <a:cubicBezTo>
                    <a:pt x="108" y="44"/>
                    <a:pt x="108" y="44"/>
                    <a:pt x="108" y="43"/>
                  </a:cubicBezTo>
                  <a:cubicBezTo>
                    <a:pt x="108" y="43"/>
                    <a:pt x="106" y="42"/>
                    <a:pt x="106" y="42"/>
                  </a:cubicBezTo>
                  <a:cubicBezTo>
                    <a:pt x="106" y="42"/>
                    <a:pt x="106" y="42"/>
                    <a:pt x="106" y="43"/>
                  </a:cubicBezTo>
                  <a:cubicBezTo>
                    <a:pt x="105" y="44"/>
                    <a:pt x="107" y="44"/>
                    <a:pt x="107" y="45"/>
                  </a:cubicBezTo>
                  <a:cubicBezTo>
                    <a:pt x="107" y="45"/>
                    <a:pt x="105" y="46"/>
                    <a:pt x="105" y="46"/>
                  </a:cubicBezTo>
                  <a:cubicBezTo>
                    <a:pt x="104" y="46"/>
                    <a:pt x="102" y="45"/>
                    <a:pt x="102" y="46"/>
                  </a:cubicBezTo>
                  <a:cubicBezTo>
                    <a:pt x="102" y="46"/>
                    <a:pt x="103" y="47"/>
                    <a:pt x="103" y="48"/>
                  </a:cubicBezTo>
                  <a:cubicBezTo>
                    <a:pt x="103" y="48"/>
                    <a:pt x="101" y="48"/>
                    <a:pt x="101" y="49"/>
                  </a:cubicBezTo>
                  <a:cubicBezTo>
                    <a:pt x="100" y="49"/>
                    <a:pt x="100" y="50"/>
                    <a:pt x="100" y="51"/>
                  </a:cubicBezTo>
                  <a:cubicBezTo>
                    <a:pt x="101" y="52"/>
                    <a:pt x="101" y="54"/>
                    <a:pt x="101" y="54"/>
                  </a:cubicBezTo>
                  <a:cubicBezTo>
                    <a:pt x="100" y="54"/>
                    <a:pt x="99" y="54"/>
                    <a:pt x="98" y="54"/>
                  </a:cubicBezTo>
                  <a:cubicBezTo>
                    <a:pt x="98" y="54"/>
                    <a:pt x="98" y="56"/>
                    <a:pt x="98" y="57"/>
                  </a:cubicBezTo>
                  <a:cubicBezTo>
                    <a:pt x="97" y="58"/>
                    <a:pt x="96" y="57"/>
                    <a:pt x="96" y="57"/>
                  </a:cubicBezTo>
                  <a:cubicBezTo>
                    <a:pt x="96" y="57"/>
                    <a:pt x="96" y="55"/>
                    <a:pt x="96" y="55"/>
                  </a:cubicBezTo>
                  <a:cubicBezTo>
                    <a:pt x="96" y="54"/>
                    <a:pt x="95" y="55"/>
                    <a:pt x="95" y="55"/>
                  </a:cubicBezTo>
                  <a:cubicBezTo>
                    <a:pt x="94" y="55"/>
                    <a:pt x="93" y="55"/>
                    <a:pt x="93" y="54"/>
                  </a:cubicBezTo>
                  <a:cubicBezTo>
                    <a:pt x="92" y="54"/>
                    <a:pt x="91" y="53"/>
                    <a:pt x="91" y="52"/>
                  </a:cubicBezTo>
                  <a:cubicBezTo>
                    <a:pt x="91" y="52"/>
                    <a:pt x="90" y="51"/>
                    <a:pt x="90" y="51"/>
                  </a:cubicBezTo>
                  <a:cubicBezTo>
                    <a:pt x="90" y="51"/>
                    <a:pt x="88" y="52"/>
                    <a:pt x="88" y="53"/>
                  </a:cubicBezTo>
                  <a:cubicBezTo>
                    <a:pt x="87" y="53"/>
                    <a:pt x="85" y="54"/>
                    <a:pt x="84" y="54"/>
                  </a:cubicBezTo>
                  <a:cubicBezTo>
                    <a:pt x="83" y="55"/>
                    <a:pt x="82" y="55"/>
                    <a:pt x="82" y="55"/>
                  </a:cubicBezTo>
                  <a:cubicBezTo>
                    <a:pt x="82" y="56"/>
                    <a:pt x="82" y="57"/>
                    <a:pt x="81" y="58"/>
                  </a:cubicBezTo>
                  <a:cubicBezTo>
                    <a:pt x="81" y="58"/>
                    <a:pt x="81" y="59"/>
                    <a:pt x="80" y="60"/>
                  </a:cubicBezTo>
                  <a:cubicBezTo>
                    <a:pt x="80" y="60"/>
                    <a:pt x="79" y="60"/>
                    <a:pt x="79" y="60"/>
                  </a:cubicBezTo>
                  <a:cubicBezTo>
                    <a:pt x="79" y="60"/>
                    <a:pt x="79" y="59"/>
                    <a:pt x="79" y="58"/>
                  </a:cubicBezTo>
                  <a:cubicBezTo>
                    <a:pt x="78" y="58"/>
                    <a:pt x="78" y="57"/>
                    <a:pt x="78" y="57"/>
                  </a:cubicBezTo>
                  <a:cubicBezTo>
                    <a:pt x="78" y="57"/>
                    <a:pt x="77" y="57"/>
                    <a:pt x="76" y="57"/>
                  </a:cubicBezTo>
                  <a:cubicBezTo>
                    <a:pt x="76" y="57"/>
                    <a:pt x="70" y="53"/>
                    <a:pt x="70" y="53"/>
                  </a:cubicBezTo>
                  <a:cubicBezTo>
                    <a:pt x="70" y="53"/>
                    <a:pt x="69" y="53"/>
                    <a:pt x="68" y="53"/>
                  </a:cubicBezTo>
                  <a:cubicBezTo>
                    <a:pt x="67" y="54"/>
                    <a:pt x="67" y="54"/>
                    <a:pt x="66" y="54"/>
                  </a:cubicBezTo>
                  <a:cubicBezTo>
                    <a:pt x="66" y="54"/>
                    <a:pt x="65" y="53"/>
                    <a:pt x="64" y="52"/>
                  </a:cubicBezTo>
                  <a:cubicBezTo>
                    <a:pt x="64" y="52"/>
                    <a:pt x="64" y="52"/>
                    <a:pt x="63" y="52"/>
                  </a:cubicBezTo>
                  <a:cubicBezTo>
                    <a:pt x="62" y="53"/>
                    <a:pt x="62" y="54"/>
                    <a:pt x="62" y="54"/>
                  </a:cubicBezTo>
                  <a:cubicBezTo>
                    <a:pt x="63" y="55"/>
                    <a:pt x="63" y="57"/>
                    <a:pt x="63" y="57"/>
                  </a:cubicBezTo>
                  <a:cubicBezTo>
                    <a:pt x="63" y="58"/>
                    <a:pt x="63" y="58"/>
                    <a:pt x="61" y="58"/>
                  </a:cubicBezTo>
                  <a:cubicBezTo>
                    <a:pt x="60" y="58"/>
                    <a:pt x="60" y="57"/>
                    <a:pt x="60" y="57"/>
                  </a:cubicBezTo>
                  <a:cubicBezTo>
                    <a:pt x="60" y="56"/>
                    <a:pt x="60" y="55"/>
                    <a:pt x="59" y="55"/>
                  </a:cubicBezTo>
                  <a:cubicBezTo>
                    <a:pt x="59" y="55"/>
                    <a:pt x="58" y="55"/>
                    <a:pt x="58" y="56"/>
                  </a:cubicBezTo>
                  <a:cubicBezTo>
                    <a:pt x="57" y="56"/>
                    <a:pt x="55" y="56"/>
                    <a:pt x="55" y="56"/>
                  </a:cubicBezTo>
                  <a:cubicBezTo>
                    <a:pt x="55" y="56"/>
                    <a:pt x="54" y="55"/>
                    <a:pt x="54" y="54"/>
                  </a:cubicBezTo>
                  <a:cubicBezTo>
                    <a:pt x="53" y="54"/>
                    <a:pt x="52" y="54"/>
                    <a:pt x="52" y="54"/>
                  </a:cubicBezTo>
                  <a:cubicBezTo>
                    <a:pt x="52" y="54"/>
                    <a:pt x="52" y="56"/>
                    <a:pt x="51" y="56"/>
                  </a:cubicBezTo>
                  <a:cubicBezTo>
                    <a:pt x="51" y="57"/>
                    <a:pt x="52" y="58"/>
                    <a:pt x="52" y="58"/>
                  </a:cubicBezTo>
                  <a:cubicBezTo>
                    <a:pt x="52" y="58"/>
                    <a:pt x="53" y="59"/>
                    <a:pt x="53" y="59"/>
                  </a:cubicBezTo>
                  <a:cubicBezTo>
                    <a:pt x="53" y="59"/>
                    <a:pt x="51" y="61"/>
                    <a:pt x="51" y="60"/>
                  </a:cubicBezTo>
                  <a:cubicBezTo>
                    <a:pt x="50" y="60"/>
                    <a:pt x="49" y="60"/>
                    <a:pt x="49" y="60"/>
                  </a:cubicBezTo>
                  <a:cubicBezTo>
                    <a:pt x="49" y="60"/>
                    <a:pt x="45" y="64"/>
                    <a:pt x="45" y="64"/>
                  </a:cubicBezTo>
                  <a:cubicBezTo>
                    <a:pt x="45" y="65"/>
                    <a:pt x="44" y="66"/>
                    <a:pt x="44" y="66"/>
                  </a:cubicBezTo>
                  <a:cubicBezTo>
                    <a:pt x="44" y="66"/>
                    <a:pt x="45" y="69"/>
                    <a:pt x="45" y="69"/>
                  </a:cubicBezTo>
                  <a:cubicBezTo>
                    <a:pt x="45" y="69"/>
                    <a:pt x="47" y="71"/>
                    <a:pt x="47" y="71"/>
                  </a:cubicBezTo>
                  <a:cubicBezTo>
                    <a:pt x="47" y="73"/>
                    <a:pt x="47" y="73"/>
                    <a:pt x="47" y="73"/>
                  </a:cubicBezTo>
                  <a:cubicBezTo>
                    <a:pt x="47" y="73"/>
                    <a:pt x="46" y="74"/>
                    <a:pt x="46" y="74"/>
                  </a:cubicBezTo>
                  <a:cubicBezTo>
                    <a:pt x="45" y="74"/>
                    <a:pt x="42" y="74"/>
                    <a:pt x="41" y="74"/>
                  </a:cubicBezTo>
                  <a:cubicBezTo>
                    <a:pt x="41" y="74"/>
                    <a:pt x="39" y="75"/>
                    <a:pt x="39" y="75"/>
                  </a:cubicBezTo>
                  <a:cubicBezTo>
                    <a:pt x="38" y="76"/>
                    <a:pt x="37" y="76"/>
                    <a:pt x="37" y="76"/>
                  </a:cubicBezTo>
                  <a:cubicBezTo>
                    <a:pt x="37" y="77"/>
                    <a:pt x="34" y="76"/>
                    <a:pt x="34" y="76"/>
                  </a:cubicBezTo>
                  <a:cubicBezTo>
                    <a:pt x="34" y="76"/>
                    <a:pt x="33" y="77"/>
                    <a:pt x="33" y="77"/>
                  </a:cubicBezTo>
                  <a:cubicBezTo>
                    <a:pt x="32" y="78"/>
                    <a:pt x="32" y="82"/>
                    <a:pt x="32" y="82"/>
                  </a:cubicBezTo>
                  <a:cubicBezTo>
                    <a:pt x="32" y="82"/>
                    <a:pt x="34" y="87"/>
                    <a:pt x="34" y="87"/>
                  </a:cubicBezTo>
                  <a:cubicBezTo>
                    <a:pt x="34" y="91"/>
                    <a:pt x="34" y="91"/>
                    <a:pt x="34" y="91"/>
                  </a:cubicBezTo>
                  <a:cubicBezTo>
                    <a:pt x="31" y="92"/>
                    <a:pt x="31" y="92"/>
                    <a:pt x="31" y="92"/>
                  </a:cubicBezTo>
                  <a:cubicBezTo>
                    <a:pt x="31" y="92"/>
                    <a:pt x="27" y="89"/>
                    <a:pt x="27" y="89"/>
                  </a:cubicBezTo>
                  <a:cubicBezTo>
                    <a:pt x="27" y="89"/>
                    <a:pt x="20" y="85"/>
                    <a:pt x="20" y="85"/>
                  </a:cubicBezTo>
                  <a:cubicBezTo>
                    <a:pt x="20" y="85"/>
                    <a:pt x="15" y="84"/>
                    <a:pt x="15" y="84"/>
                  </a:cubicBezTo>
                  <a:cubicBezTo>
                    <a:pt x="13" y="86"/>
                    <a:pt x="13" y="86"/>
                    <a:pt x="13" y="86"/>
                  </a:cubicBezTo>
                  <a:cubicBezTo>
                    <a:pt x="13" y="86"/>
                    <a:pt x="10" y="90"/>
                    <a:pt x="10" y="90"/>
                  </a:cubicBezTo>
                  <a:cubicBezTo>
                    <a:pt x="10" y="90"/>
                    <a:pt x="9" y="93"/>
                    <a:pt x="9" y="93"/>
                  </a:cubicBezTo>
                  <a:cubicBezTo>
                    <a:pt x="9" y="93"/>
                    <a:pt x="10" y="95"/>
                    <a:pt x="10" y="95"/>
                  </a:cubicBezTo>
                  <a:cubicBezTo>
                    <a:pt x="12" y="97"/>
                    <a:pt x="12" y="97"/>
                    <a:pt x="12" y="97"/>
                  </a:cubicBezTo>
                  <a:cubicBezTo>
                    <a:pt x="12" y="97"/>
                    <a:pt x="10" y="99"/>
                    <a:pt x="10" y="99"/>
                  </a:cubicBezTo>
                  <a:cubicBezTo>
                    <a:pt x="10" y="99"/>
                    <a:pt x="8" y="102"/>
                    <a:pt x="8" y="102"/>
                  </a:cubicBezTo>
                  <a:cubicBezTo>
                    <a:pt x="8" y="102"/>
                    <a:pt x="11" y="104"/>
                    <a:pt x="11" y="104"/>
                  </a:cubicBezTo>
                  <a:cubicBezTo>
                    <a:pt x="11" y="104"/>
                    <a:pt x="8" y="105"/>
                    <a:pt x="8" y="105"/>
                  </a:cubicBezTo>
                  <a:cubicBezTo>
                    <a:pt x="8" y="105"/>
                    <a:pt x="9" y="109"/>
                    <a:pt x="9" y="109"/>
                  </a:cubicBezTo>
                  <a:cubicBezTo>
                    <a:pt x="9" y="109"/>
                    <a:pt x="7" y="113"/>
                    <a:pt x="7" y="113"/>
                  </a:cubicBezTo>
                  <a:cubicBezTo>
                    <a:pt x="7" y="113"/>
                    <a:pt x="6" y="112"/>
                    <a:pt x="6" y="112"/>
                  </a:cubicBezTo>
                  <a:cubicBezTo>
                    <a:pt x="6" y="112"/>
                    <a:pt x="5" y="111"/>
                    <a:pt x="5" y="111"/>
                  </a:cubicBezTo>
                  <a:cubicBezTo>
                    <a:pt x="5" y="111"/>
                    <a:pt x="3" y="110"/>
                    <a:pt x="3" y="110"/>
                  </a:cubicBezTo>
                  <a:cubicBezTo>
                    <a:pt x="3" y="110"/>
                    <a:pt x="1" y="112"/>
                    <a:pt x="1" y="112"/>
                  </a:cubicBezTo>
                  <a:cubicBezTo>
                    <a:pt x="0" y="116"/>
                    <a:pt x="0" y="116"/>
                    <a:pt x="0" y="116"/>
                  </a:cubicBezTo>
                  <a:cubicBezTo>
                    <a:pt x="47" y="116"/>
                    <a:pt x="47" y="116"/>
                    <a:pt x="47" y="116"/>
                  </a:cubicBezTo>
                  <a:cubicBezTo>
                    <a:pt x="48" y="111"/>
                    <a:pt x="48" y="111"/>
                    <a:pt x="48" y="111"/>
                  </a:cubicBezTo>
                  <a:cubicBezTo>
                    <a:pt x="47" y="108"/>
                    <a:pt x="47" y="108"/>
                    <a:pt x="47" y="108"/>
                  </a:cubicBezTo>
                  <a:cubicBezTo>
                    <a:pt x="54" y="108"/>
                    <a:pt x="54" y="108"/>
                    <a:pt x="54" y="108"/>
                  </a:cubicBezTo>
                  <a:cubicBezTo>
                    <a:pt x="55" y="110"/>
                    <a:pt x="55" y="110"/>
                    <a:pt x="55" y="110"/>
                  </a:cubicBezTo>
                  <a:cubicBezTo>
                    <a:pt x="74" y="110"/>
                    <a:pt x="74" y="110"/>
                    <a:pt x="74" y="110"/>
                  </a:cubicBezTo>
                  <a:cubicBezTo>
                    <a:pt x="97" y="109"/>
                    <a:pt x="97" y="109"/>
                    <a:pt x="97" y="109"/>
                  </a:cubicBezTo>
                  <a:cubicBezTo>
                    <a:pt x="142" y="111"/>
                    <a:pt x="142" y="111"/>
                    <a:pt x="142" y="111"/>
                  </a:cubicBezTo>
                  <a:cubicBezTo>
                    <a:pt x="184" y="111"/>
                    <a:pt x="184" y="111"/>
                    <a:pt x="184" y="111"/>
                  </a:cubicBezTo>
                  <a:cubicBezTo>
                    <a:pt x="199" y="111"/>
                    <a:pt x="199" y="111"/>
                    <a:pt x="199" y="111"/>
                  </a:cubicBezTo>
                  <a:cubicBezTo>
                    <a:pt x="205" y="108"/>
                    <a:pt x="205" y="108"/>
                    <a:pt x="205" y="108"/>
                  </a:cubicBezTo>
                  <a:cubicBezTo>
                    <a:pt x="205" y="108"/>
                    <a:pt x="208" y="108"/>
                    <a:pt x="208" y="108"/>
                  </a:cubicBezTo>
                  <a:cubicBezTo>
                    <a:pt x="208" y="108"/>
                    <a:pt x="212" y="107"/>
                    <a:pt x="213" y="107"/>
                  </a:cubicBezTo>
                  <a:cubicBezTo>
                    <a:pt x="213" y="106"/>
                    <a:pt x="216" y="106"/>
                    <a:pt x="217" y="105"/>
                  </a:cubicBezTo>
                  <a:cubicBezTo>
                    <a:pt x="217" y="105"/>
                    <a:pt x="218" y="104"/>
                    <a:pt x="218" y="104"/>
                  </a:cubicBezTo>
                  <a:cubicBezTo>
                    <a:pt x="218" y="103"/>
                    <a:pt x="219" y="101"/>
                    <a:pt x="219" y="101"/>
                  </a:cubicBezTo>
                  <a:cubicBezTo>
                    <a:pt x="220" y="101"/>
                    <a:pt x="222" y="100"/>
                    <a:pt x="223" y="100"/>
                  </a:cubicBezTo>
                  <a:cubicBezTo>
                    <a:pt x="224" y="100"/>
                    <a:pt x="224" y="100"/>
                    <a:pt x="225" y="100"/>
                  </a:cubicBezTo>
                  <a:cubicBezTo>
                    <a:pt x="225" y="99"/>
                    <a:pt x="226" y="98"/>
                    <a:pt x="227" y="98"/>
                  </a:cubicBezTo>
                  <a:cubicBezTo>
                    <a:pt x="227" y="97"/>
                    <a:pt x="226" y="95"/>
                    <a:pt x="227" y="95"/>
                  </a:cubicBezTo>
                  <a:cubicBezTo>
                    <a:pt x="228" y="94"/>
                    <a:pt x="230" y="93"/>
                    <a:pt x="230" y="93"/>
                  </a:cubicBezTo>
                  <a:cubicBezTo>
                    <a:pt x="231" y="92"/>
                    <a:pt x="231" y="93"/>
                    <a:pt x="231" y="92"/>
                  </a:cubicBezTo>
                  <a:cubicBezTo>
                    <a:pt x="232" y="91"/>
                    <a:pt x="232" y="90"/>
                    <a:pt x="232" y="89"/>
                  </a:cubicBezTo>
                  <a:cubicBezTo>
                    <a:pt x="232" y="89"/>
                    <a:pt x="234" y="88"/>
                    <a:pt x="235" y="87"/>
                  </a:cubicBezTo>
                  <a:cubicBezTo>
                    <a:pt x="236" y="86"/>
                    <a:pt x="239" y="84"/>
                    <a:pt x="240" y="84"/>
                  </a:cubicBezTo>
                  <a:cubicBezTo>
                    <a:pt x="242" y="83"/>
                    <a:pt x="244" y="83"/>
                    <a:pt x="245" y="82"/>
                  </a:cubicBezTo>
                  <a:cubicBezTo>
                    <a:pt x="246" y="82"/>
                    <a:pt x="247" y="80"/>
                    <a:pt x="248" y="79"/>
                  </a:cubicBezTo>
                  <a:cubicBezTo>
                    <a:pt x="249" y="79"/>
                    <a:pt x="257" y="71"/>
                    <a:pt x="257" y="71"/>
                  </a:cubicBezTo>
                  <a:lnTo>
                    <a:pt x="255" y="71"/>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39" name="Freeform 42">
              <a:extLst>
                <a:ext uri="{FF2B5EF4-FFF2-40B4-BE49-F238E27FC236}">
                  <a16:creationId xmlns:a16="http://schemas.microsoft.com/office/drawing/2014/main" id="{57BAFA27-9695-66CF-1C11-27E387F39ED3}"/>
                </a:ext>
              </a:extLst>
            </p:cNvPr>
            <p:cNvSpPr>
              <a:spLocks/>
            </p:cNvSpPr>
            <p:nvPr/>
          </p:nvSpPr>
          <p:spPr bwMode="auto">
            <a:xfrm>
              <a:off x="5620954" y="2689715"/>
              <a:ext cx="1022715" cy="527053"/>
            </a:xfrm>
            <a:custGeom>
              <a:avLst/>
              <a:gdLst>
                <a:gd name="T0" fmla="*/ 258 w 258"/>
                <a:gd name="T1" fmla="*/ 40 h 133"/>
                <a:gd name="T2" fmla="*/ 257 w 258"/>
                <a:gd name="T3" fmla="*/ 38 h 133"/>
                <a:gd name="T4" fmla="*/ 255 w 258"/>
                <a:gd name="T5" fmla="*/ 38 h 133"/>
                <a:gd name="T6" fmla="*/ 251 w 258"/>
                <a:gd name="T7" fmla="*/ 37 h 133"/>
                <a:gd name="T8" fmla="*/ 249 w 258"/>
                <a:gd name="T9" fmla="*/ 34 h 133"/>
                <a:gd name="T10" fmla="*/ 247 w 258"/>
                <a:gd name="T11" fmla="*/ 30 h 133"/>
                <a:gd name="T12" fmla="*/ 247 w 258"/>
                <a:gd name="T13" fmla="*/ 28 h 133"/>
                <a:gd name="T14" fmla="*/ 246 w 258"/>
                <a:gd name="T15" fmla="*/ 28 h 133"/>
                <a:gd name="T16" fmla="*/ 245 w 258"/>
                <a:gd name="T17" fmla="*/ 28 h 133"/>
                <a:gd name="T18" fmla="*/ 243 w 258"/>
                <a:gd name="T19" fmla="*/ 26 h 133"/>
                <a:gd name="T20" fmla="*/ 242 w 258"/>
                <a:gd name="T21" fmla="*/ 24 h 133"/>
                <a:gd name="T22" fmla="*/ 241 w 258"/>
                <a:gd name="T23" fmla="*/ 19 h 133"/>
                <a:gd name="T24" fmla="*/ 242 w 258"/>
                <a:gd name="T25" fmla="*/ 19 h 133"/>
                <a:gd name="T26" fmla="*/ 242 w 258"/>
                <a:gd name="T27" fmla="*/ 18 h 133"/>
                <a:gd name="T28" fmla="*/ 243 w 258"/>
                <a:gd name="T29" fmla="*/ 16 h 133"/>
                <a:gd name="T30" fmla="*/ 243 w 258"/>
                <a:gd name="T31" fmla="*/ 15 h 133"/>
                <a:gd name="T32" fmla="*/ 245 w 258"/>
                <a:gd name="T33" fmla="*/ 15 h 133"/>
                <a:gd name="T34" fmla="*/ 245 w 258"/>
                <a:gd name="T35" fmla="*/ 13 h 133"/>
                <a:gd name="T36" fmla="*/ 247 w 258"/>
                <a:gd name="T37" fmla="*/ 13 h 133"/>
                <a:gd name="T38" fmla="*/ 246 w 258"/>
                <a:gd name="T39" fmla="*/ 11 h 133"/>
                <a:gd name="T40" fmla="*/ 247 w 258"/>
                <a:gd name="T41" fmla="*/ 11 h 133"/>
                <a:gd name="T42" fmla="*/ 248 w 258"/>
                <a:gd name="T43" fmla="*/ 10 h 133"/>
                <a:gd name="T44" fmla="*/ 248 w 258"/>
                <a:gd name="T45" fmla="*/ 8 h 133"/>
                <a:gd name="T46" fmla="*/ 246 w 258"/>
                <a:gd name="T47" fmla="*/ 8 h 133"/>
                <a:gd name="T48" fmla="*/ 245 w 258"/>
                <a:gd name="T49" fmla="*/ 6 h 133"/>
                <a:gd name="T50" fmla="*/ 244 w 258"/>
                <a:gd name="T51" fmla="*/ 5 h 133"/>
                <a:gd name="T52" fmla="*/ 243 w 258"/>
                <a:gd name="T53" fmla="*/ 6 h 133"/>
                <a:gd name="T54" fmla="*/ 242 w 258"/>
                <a:gd name="T55" fmla="*/ 7 h 133"/>
                <a:gd name="T56" fmla="*/ 240 w 258"/>
                <a:gd name="T57" fmla="*/ 7 h 133"/>
                <a:gd name="T58" fmla="*/ 238 w 258"/>
                <a:gd name="T59" fmla="*/ 5 h 133"/>
                <a:gd name="T60" fmla="*/ 236 w 258"/>
                <a:gd name="T61" fmla="*/ 3 h 133"/>
                <a:gd name="T62" fmla="*/ 234 w 258"/>
                <a:gd name="T63" fmla="*/ 1 h 133"/>
                <a:gd name="T64" fmla="*/ 232 w 258"/>
                <a:gd name="T65" fmla="*/ 0 h 133"/>
                <a:gd name="T66" fmla="*/ 0 w 258"/>
                <a:gd name="T67" fmla="*/ 0 h 133"/>
                <a:gd name="T68" fmla="*/ 0 w 258"/>
                <a:gd name="T69" fmla="*/ 133 h 133"/>
                <a:gd name="T70" fmla="*/ 257 w 258"/>
                <a:gd name="T71" fmla="*/ 133 h 133"/>
                <a:gd name="T72" fmla="*/ 258 w 258"/>
                <a:gd name="T73" fmla="*/ 4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8" h="133">
                  <a:moveTo>
                    <a:pt x="258" y="40"/>
                  </a:moveTo>
                  <a:cubicBezTo>
                    <a:pt x="257" y="38"/>
                    <a:pt x="257" y="38"/>
                    <a:pt x="257" y="38"/>
                  </a:cubicBezTo>
                  <a:cubicBezTo>
                    <a:pt x="257" y="38"/>
                    <a:pt x="256" y="38"/>
                    <a:pt x="255" y="38"/>
                  </a:cubicBezTo>
                  <a:cubicBezTo>
                    <a:pt x="254" y="38"/>
                    <a:pt x="253" y="37"/>
                    <a:pt x="251" y="37"/>
                  </a:cubicBezTo>
                  <a:cubicBezTo>
                    <a:pt x="250" y="36"/>
                    <a:pt x="250" y="35"/>
                    <a:pt x="249" y="34"/>
                  </a:cubicBezTo>
                  <a:cubicBezTo>
                    <a:pt x="248" y="33"/>
                    <a:pt x="246" y="32"/>
                    <a:pt x="247" y="30"/>
                  </a:cubicBezTo>
                  <a:cubicBezTo>
                    <a:pt x="247" y="29"/>
                    <a:pt x="247" y="29"/>
                    <a:pt x="247" y="28"/>
                  </a:cubicBezTo>
                  <a:cubicBezTo>
                    <a:pt x="247" y="28"/>
                    <a:pt x="246" y="28"/>
                    <a:pt x="246" y="28"/>
                  </a:cubicBezTo>
                  <a:cubicBezTo>
                    <a:pt x="245" y="28"/>
                    <a:pt x="245" y="28"/>
                    <a:pt x="245" y="28"/>
                  </a:cubicBezTo>
                  <a:cubicBezTo>
                    <a:pt x="244" y="27"/>
                    <a:pt x="244" y="26"/>
                    <a:pt x="243" y="26"/>
                  </a:cubicBezTo>
                  <a:cubicBezTo>
                    <a:pt x="243" y="25"/>
                    <a:pt x="242" y="24"/>
                    <a:pt x="242" y="24"/>
                  </a:cubicBezTo>
                  <a:cubicBezTo>
                    <a:pt x="241" y="23"/>
                    <a:pt x="239" y="20"/>
                    <a:pt x="241" y="19"/>
                  </a:cubicBezTo>
                  <a:cubicBezTo>
                    <a:pt x="241" y="19"/>
                    <a:pt x="242" y="19"/>
                    <a:pt x="242" y="19"/>
                  </a:cubicBezTo>
                  <a:cubicBezTo>
                    <a:pt x="242" y="19"/>
                    <a:pt x="242" y="18"/>
                    <a:pt x="242" y="18"/>
                  </a:cubicBezTo>
                  <a:cubicBezTo>
                    <a:pt x="242" y="17"/>
                    <a:pt x="242" y="17"/>
                    <a:pt x="243" y="16"/>
                  </a:cubicBezTo>
                  <a:cubicBezTo>
                    <a:pt x="243" y="16"/>
                    <a:pt x="243" y="16"/>
                    <a:pt x="243" y="15"/>
                  </a:cubicBezTo>
                  <a:cubicBezTo>
                    <a:pt x="244" y="15"/>
                    <a:pt x="244" y="15"/>
                    <a:pt x="245" y="15"/>
                  </a:cubicBezTo>
                  <a:cubicBezTo>
                    <a:pt x="245" y="14"/>
                    <a:pt x="245" y="13"/>
                    <a:pt x="245" y="13"/>
                  </a:cubicBezTo>
                  <a:cubicBezTo>
                    <a:pt x="246" y="13"/>
                    <a:pt x="247" y="13"/>
                    <a:pt x="247" y="13"/>
                  </a:cubicBezTo>
                  <a:cubicBezTo>
                    <a:pt x="247" y="12"/>
                    <a:pt x="245" y="12"/>
                    <a:pt x="246" y="11"/>
                  </a:cubicBezTo>
                  <a:cubicBezTo>
                    <a:pt x="247" y="10"/>
                    <a:pt x="247" y="11"/>
                    <a:pt x="247" y="11"/>
                  </a:cubicBezTo>
                  <a:cubicBezTo>
                    <a:pt x="248" y="11"/>
                    <a:pt x="248" y="10"/>
                    <a:pt x="248" y="10"/>
                  </a:cubicBezTo>
                  <a:cubicBezTo>
                    <a:pt x="248" y="9"/>
                    <a:pt x="248" y="9"/>
                    <a:pt x="248" y="8"/>
                  </a:cubicBezTo>
                  <a:cubicBezTo>
                    <a:pt x="247" y="8"/>
                    <a:pt x="247" y="8"/>
                    <a:pt x="246" y="8"/>
                  </a:cubicBezTo>
                  <a:cubicBezTo>
                    <a:pt x="246" y="7"/>
                    <a:pt x="246" y="6"/>
                    <a:pt x="245" y="6"/>
                  </a:cubicBezTo>
                  <a:cubicBezTo>
                    <a:pt x="245" y="5"/>
                    <a:pt x="245" y="5"/>
                    <a:pt x="244" y="5"/>
                  </a:cubicBezTo>
                  <a:cubicBezTo>
                    <a:pt x="244" y="5"/>
                    <a:pt x="243" y="5"/>
                    <a:pt x="243" y="6"/>
                  </a:cubicBezTo>
                  <a:cubicBezTo>
                    <a:pt x="243" y="6"/>
                    <a:pt x="243" y="7"/>
                    <a:pt x="242" y="7"/>
                  </a:cubicBezTo>
                  <a:cubicBezTo>
                    <a:pt x="242" y="7"/>
                    <a:pt x="241" y="7"/>
                    <a:pt x="240" y="7"/>
                  </a:cubicBezTo>
                  <a:cubicBezTo>
                    <a:pt x="239" y="6"/>
                    <a:pt x="238" y="5"/>
                    <a:pt x="238" y="5"/>
                  </a:cubicBezTo>
                  <a:cubicBezTo>
                    <a:pt x="237" y="4"/>
                    <a:pt x="236" y="4"/>
                    <a:pt x="236" y="3"/>
                  </a:cubicBezTo>
                  <a:cubicBezTo>
                    <a:pt x="235" y="2"/>
                    <a:pt x="235" y="2"/>
                    <a:pt x="234" y="1"/>
                  </a:cubicBezTo>
                  <a:cubicBezTo>
                    <a:pt x="233" y="1"/>
                    <a:pt x="233" y="1"/>
                    <a:pt x="232" y="0"/>
                  </a:cubicBezTo>
                  <a:cubicBezTo>
                    <a:pt x="0" y="0"/>
                    <a:pt x="0" y="0"/>
                    <a:pt x="0" y="0"/>
                  </a:cubicBezTo>
                  <a:cubicBezTo>
                    <a:pt x="0" y="133"/>
                    <a:pt x="0" y="133"/>
                    <a:pt x="0" y="133"/>
                  </a:cubicBezTo>
                  <a:cubicBezTo>
                    <a:pt x="257" y="133"/>
                    <a:pt x="257" y="133"/>
                    <a:pt x="257" y="133"/>
                  </a:cubicBezTo>
                  <a:lnTo>
                    <a:pt x="258" y="40"/>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0" name="Freeform 43">
              <a:extLst>
                <a:ext uri="{FF2B5EF4-FFF2-40B4-BE49-F238E27FC236}">
                  <a16:creationId xmlns:a16="http://schemas.microsoft.com/office/drawing/2014/main" id="{B2EDD235-FF5D-04D0-7F51-79FBCA9D7775}"/>
                </a:ext>
              </a:extLst>
            </p:cNvPr>
            <p:cNvSpPr>
              <a:spLocks/>
            </p:cNvSpPr>
            <p:nvPr/>
          </p:nvSpPr>
          <p:spPr bwMode="auto">
            <a:xfrm>
              <a:off x="6361141" y="2047007"/>
              <a:ext cx="887234" cy="579924"/>
            </a:xfrm>
            <a:custGeom>
              <a:avLst/>
              <a:gdLst>
                <a:gd name="T0" fmla="*/ 173 w 224"/>
                <a:gd name="T1" fmla="*/ 138 h 146"/>
                <a:gd name="T2" fmla="*/ 176 w 224"/>
                <a:gd name="T3" fmla="*/ 142 h 146"/>
                <a:gd name="T4" fmla="*/ 180 w 224"/>
                <a:gd name="T5" fmla="*/ 145 h 146"/>
                <a:gd name="T6" fmla="*/ 182 w 224"/>
                <a:gd name="T7" fmla="*/ 142 h 146"/>
                <a:gd name="T8" fmla="*/ 182 w 224"/>
                <a:gd name="T9" fmla="*/ 135 h 146"/>
                <a:gd name="T10" fmla="*/ 189 w 224"/>
                <a:gd name="T11" fmla="*/ 133 h 146"/>
                <a:gd name="T12" fmla="*/ 192 w 224"/>
                <a:gd name="T13" fmla="*/ 125 h 146"/>
                <a:gd name="T14" fmla="*/ 195 w 224"/>
                <a:gd name="T15" fmla="*/ 111 h 146"/>
                <a:gd name="T16" fmla="*/ 192 w 224"/>
                <a:gd name="T17" fmla="*/ 100 h 146"/>
                <a:gd name="T18" fmla="*/ 197 w 224"/>
                <a:gd name="T19" fmla="*/ 98 h 146"/>
                <a:gd name="T20" fmla="*/ 206 w 224"/>
                <a:gd name="T21" fmla="*/ 95 h 146"/>
                <a:gd name="T22" fmla="*/ 215 w 224"/>
                <a:gd name="T23" fmla="*/ 91 h 146"/>
                <a:gd name="T24" fmla="*/ 221 w 224"/>
                <a:gd name="T25" fmla="*/ 81 h 146"/>
                <a:gd name="T26" fmla="*/ 223 w 224"/>
                <a:gd name="T27" fmla="*/ 66 h 146"/>
                <a:gd name="T28" fmla="*/ 213 w 224"/>
                <a:gd name="T29" fmla="*/ 54 h 146"/>
                <a:gd name="T30" fmla="*/ 207 w 224"/>
                <a:gd name="T31" fmla="*/ 47 h 146"/>
                <a:gd name="T32" fmla="*/ 203 w 224"/>
                <a:gd name="T33" fmla="*/ 41 h 146"/>
                <a:gd name="T34" fmla="*/ 196 w 224"/>
                <a:gd name="T35" fmla="*/ 39 h 146"/>
                <a:gd name="T36" fmla="*/ 191 w 224"/>
                <a:gd name="T37" fmla="*/ 30 h 146"/>
                <a:gd name="T38" fmla="*/ 189 w 224"/>
                <a:gd name="T39" fmla="*/ 24 h 146"/>
                <a:gd name="T40" fmla="*/ 190 w 224"/>
                <a:gd name="T41" fmla="*/ 15 h 146"/>
                <a:gd name="T42" fmla="*/ 187 w 224"/>
                <a:gd name="T43" fmla="*/ 7 h 146"/>
                <a:gd name="T44" fmla="*/ 187 w 224"/>
                <a:gd name="T45" fmla="*/ 0 h 146"/>
                <a:gd name="T46" fmla="*/ 1 w 224"/>
                <a:gd name="T47" fmla="*/ 3 h 146"/>
                <a:gd name="T48" fmla="*/ 2 w 224"/>
                <a:gd name="T49" fmla="*/ 10 h 146"/>
                <a:gd name="T50" fmla="*/ 6 w 224"/>
                <a:gd name="T51" fmla="*/ 14 h 146"/>
                <a:gd name="T52" fmla="*/ 5 w 224"/>
                <a:gd name="T53" fmla="*/ 22 h 146"/>
                <a:gd name="T54" fmla="*/ 3 w 224"/>
                <a:gd name="T55" fmla="*/ 28 h 146"/>
                <a:gd name="T56" fmla="*/ 0 w 224"/>
                <a:gd name="T57" fmla="*/ 37 h 146"/>
                <a:gd name="T58" fmla="*/ 6 w 224"/>
                <a:gd name="T59" fmla="*/ 46 h 146"/>
                <a:gd name="T60" fmla="*/ 8 w 224"/>
                <a:gd name="T61" fmla="*/ 52 h 146"/>
                <a:gd name="T62" fmla="*/ 11 w 224"/>
                <a:gd name="T63" fmla="*/ 59 h 146"/>
                <a:gd name="T64" fmla="*/ 12 w 224"/>
                <a:gd name="T65" fmla="*/ 65 h 146"/>
                <a:gd name="T66" fmla="*/ 14 w 224"/>
                <a:gd name="T67" fmla="*/ 71 h 146"/>
                <a:gd name="T68" fmla="*/ 17 w 224"/>
                <a:gd name="T69" fmla="*/ 73 h 146"/>
                <a:gd name="T70" fmla="*/ 19 w 224"/>
                <a:gd name="T71" fmla="*/ 82 h 146"/>
                <a:gd name="T72" fmla="*/ 18 w 224"/>
                <a:gd name="T73" fmla="*/ 87 h 146"/>
                <a:gd name="T74" fmla="*/ 20 w 224"/>
                <a:gd name="T75" fmla="*/ 94 h 146"/>
                <a:gd name="T76" fmla="*/ 24 w 224"/>
                <a:gd name="T77" fmla="*/ 96 h 146"/>
                <a:gd name="T78" fmla="*/ 25 w 224"/>
                <a:gd name="T79" fmla="*/ 105 h 146"/>
                <a:gd name="T80" fmla="*/ 26 w 224"/>
                <a:gd name="T81" fmla="*/ 113 h 146"/>
                <a:gd name="T82" fmla="*/ 28 w 224"/>
                <a:gd name="T83" fmla="*/ 127 h 146"/>
                <a:gd name="T84" fmla="*/ 29 w 224"/>
                <a:gd name="T85" fmla="*/ 133 h 146"/>
                <a:gd name="T86" fmla="*/ 169 w 224"/>
                <a:gd name="T87" fmla="*/ 13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4" h="146">
                  <a:moveTo>
                    <a:pt x="169" y="135"/>
                  </a:moveTo>
                  <a:cubicBezTo>
                    <a:pt x="169" y="135"/>
                    <a:pt x="170" y="137"/>
                    <a:pt x="171" y="137"/>
                  </a:cubicBezTo>
                  <a:cubicBezTo>
                    <a:pt x="171" y="137"/>
                    <a:pt x="173" y="138"/>
                    <a:pt x="173" y="138"/>
                  </a:cubicBezTo>
                  <a:cubicBezTo>
                    <a:pt x="173" y="138"/>
                    <a:pt x="174" y="139"/>
                    <a:pt x="174" y="139"/>
                  </a:cubicBezTo>
                  <a:cubicBezTo>
                    <a:pt x="174" y="139"/>
                    <a:pt x="174" y="141"/>
                    <a:pt x="175" y="141"/>
                  </a:cubicBezTo>
                  <a:cubicBezTo>
                    <a:pt x="175" y="141"/>
                    <a:pt x="176" y="142"/>
                    <a:pt x="176" y="142"/>
                  </a:cubicBezTo>
                  <a:cubicBezTo>
                    <a:pt x="176" y="142"/>
                    <a:pt x="176" y="143"/>
                    <a:pt x="176" y="143"/>
                  </a:cubicBezTo>
                  <a:cubicBezTo>
                    <a:pt x="177" y="144"/>
                    <a:pt x="177" y="144"/>
                    <a:pt x="178" y="144"/>
                  </a:cubicBezTo>
                  <a:cubicBezTo>
                    <a:pt x="178" y="144"/>
                    <a:pt x="180" y="145"/>
                    <a:pt x="180" y="145"/>
                  </a:cubicBezTo>
                  <a:cubicBezTo>
                    <a:pt x="180" y="146"/>
                    <a:pt x="180" y="146"/>
                    <a:pt x="180" y="146"/>
                  </a:cubicBezTo>
                  <a:cubicBezTo>
                    <a:pt x="180" y="146"/>
                    <a:pt x="181" y="145"/>
                    <a:pt x="181" y="145"/>
                  </a:cubicBezTo>
                  <a:cubicBezTo>
                    <a:pt x="182" y="144"/>
                    <a:pt x="182" y="142"/>
                    <a:pt x="182" y="142"/>
                  </a:cubicBezTo>
                  <a:cubicBezTo>
                    <a:pt x="182" y="141"/>
                    <a:pt x="181" y="140"/>
                    <a:pt x="181" y="139"/>
                  </a:cubicBezTo>
                  <a:cubicBezTo>
                    <a:pt x="181" y="139"/>
                    <a:pt x="181" y="138"/>
                    <a:pt x="181" y="137"/>
                  </a:cubicBezTo>
                  <a:cubicBezTo>
                    <a:pt x="181" y="136"/>
                    <a:pt x="182" y="136"/>
                    <a:pt x="182" y="135"/>
                  </a:cubicBezTo>
                  <a:cubicBezTo>
                    <a:pt x="183" y="135"/>
                    <a:pt x="183" y="134"/>
                    <a:pt x="184" y="134"/>
                  </a:cubicBezTo>
                  <a:cubicBezTo>
                    <a:pt x="185" y="134"/>
                    <a:pt x="186" y="134"/>
                    <a:pt x="187" y="134"/>
                  </a:cubicBezTo>
                  <a:cubicBezTo>
                    <a:pt x="188" y="134"/>
                    <a:pt x="189" y="134"/>
                    <a:pt x="189" y="133"/>
                  </a:cubicBezTo>
                  <a:cubicBezTo>
                    <a:pt x="190" y="132"/>
                    <a:pt x="190" y="132"/>
                    <a:pt x="191" y="131"/>
                  </a:cubicBezTo>
                  <a:cubicBezTo>
                    <a:pt x="191" y="130"/>
                    <a:pt x="191" y="128"/>
                    <a:pt x="191" y="128"/>
                  </a:cubicBezTo>
                  <a:cubicBezTo>
                    <a:pt x="191" y="127"/>
                    <a:pt x="191" y="126"/>
                    <a:pt x="192" y="125"/>
                  </a:cubicBezTo>
                  <a:cubicBezTo>
                    <a:pt x="192" y="124"/>
                    <a:pt x="194" y="123"/>
                    <a:pt x="195" y="122"/>
                  </a:cubicBezTo>
                  <a:cubicBezTo>
                    <a:pt x="196" y="121"/>
                    <a:pt x="196" y="118"/>
                    <a:pt x="196" y="117"/>
                  </a:cubicBezTo>
                  <a:cubicBezTo>
                    <a:pt x="196" y="116"/>
                    <a:pt x="196" y="112"/>
                    <a:pt x="195" y="111"/>
                  </a:cubicBezTo>
                  <a:cubicBezTo>
                    <a:pt x="194" y="109"/>
                    <a:pt x="192" y="107"/>
                    <a:pt x="191" y="107"/>
                  </a:cubicBezTo>
                  <a:cubicBezTo>
                    <a:pt x="191" y="106"/>
                    <a:pt x="191" y="105"/>
                    <a:pt x="191" y="104"/>
                  </a:cubicBezTo>
                  <a:cubicBezTo>
                    <a:pt x="191" y="103"/>
                    <a:pt x="192" y="101"/>
                    <a:pt x="192" y="100"/>
                  </a:cubicBezTo>
                  <a:cubicBezTo>
                    <a:pt x="192" y="100"/>
                    <a:pt x="193" y="98"/>
                    <a:pt x="193" y="98"/>
                  </a:cubicBezTo>
                  <a:cubicBezTo>
                    <a:pt x="194" y="98"/>
                    <a:pt x="194" y="97"/>
                    <a:pt x="195" y="97"/>
                  </a:cubicBezTo>
                  <a:cubicBezTo>
                    <a:pt x="196" y="97"/>
                    <a:pt x="196" y="98"/>
                    <a:pt x="197" y="98"/>
                  </a:cubicBezTo>
                  <a:cubicBezTo>
                    <a:pt x="198" y="97"/>
                    <a:pt x="198" y="97"/>
                    <a:pt x="199" y="96"/>
                  </a:cubicBezTo>
                  <a:cubicBezTo>
                    <a:pt x="200" y="96"/>
                    <a:pt x="201" y="96"/>
                    <a:pt x="201" y="96"/>
                  </a:cubicBezTo>
                  <a:cubicBezTo>
                    <a:pt x="202" y="96"/>
                    <a:pt x="206" y="96"/>
                    <a:pt x="206" y="95"/>
                  </a:cubicBezTo>
                  <a:cubicBezTo>
                    <a:pt x="207" y="94"/>
                    <a:pt x="207" y="94"/>
                    <a:pt x="208" y="93"/>
                  </a:cubicBezTo>
                  <a:cubicBezTo>
                    <a:pt x="210" y="93"/>
                    <a:pt x="211" y="94"/>
                    <a:pt x="212" y="93"/>
                  </a:cubicBezTo>
                  <a:cubicBezTo>
                    <a:pt x="213" y="93"/>
                    <a:pt x="214" y="92"/>
                    <a:pt x="215" y="91"/>
                  </a:cubicBezTo>
                  <a:cubicBezTo>
                    <a:pt x="216" y="91"/>
                    <a:pt x="216" y="91"/>
                    <a:pt x="217" y="89"/>
                  </a:cubicBezTo>
                  <a:cubicBezTo>
                    <a:pt x="218" y="88"/>
                    <a:pt x="218" y="86"/>
                    <a:pt x="218" y="85"/>
                  </a:cubicBezTo>
                  <a:cubicBezTo>
                    <a:pt x="218" y="83"/>
                    <a:pt x="219" y="82"/>
                    <a:pt x="221" y="81"/>
                  </a:cubicBezTo>
                  <a:cubicBezTo>
                    <a:pt x="222" y="80"/>
                    <a:pt x="223" y="79"/>
                    <a:pt x="223" y="78"/>
                  </a:cubicBezTo>
                  <a:cubicBezTo>
                    <a:pt x="224" y="76"/>
                    <a:pt x="224" y="73"/>
                    <a:pt x="224" y="71"/>
                  </a:cubicBezTo>
                  <a:cubicBezTo>
                    <a:pt x="224" y="70"/>
                    <a:pt x="224" y="67"/>
                    <a:pt x="223" y="66"/>
                  </a:cubicBezTo>
                  <a:cubicBezTo>
                    <a:pt x="222" y="65"/>
                    <a:pt x="218" y="62"/>
                    <a:pt x="216" y="61"/>
                  </a:cubicBezTo>
                  <a:cubicBezTo>
                    <a:pt x="215" y="60"/>
                    <a:pt x="214" y="59"/>
                    <a:pt x="214" y="57"/>
                  </a:cubicBezTo>
                  <a:cubicBezTo>
                    <a:pt x="214" y="56"/>
                    <a:pt x="214" y="55"/>
                    <a:pt x="213" y="54"/>
                  </a:cubicBezTo>
                  <a:cubicBezTo>
                    <a:pt x="212" y="53"/>
                    <a:pt x="211" y="52"/>
                    <a:pt x="210" y="51"/>
                  </a:cubicBezTo>
                  <a:cubicBezTo>
                    <a:pt x="208" y="50"/>
                    <a:pt x="207" y="50"/>
                    <a:pt x="207" y="49"/>
                  </a:cubicBezTo>
                  <a:cubicBezTo>
                    <a:pt x="207" y="49"/>
                    <a:pt x="207" y="47"/>
                    <a:pt x="207" y="47"/>
                  </a:cubicBezTo>
                  <a:cubicBezTo>
                    <a:pt x="206" y="46"/>
                    <a:pt x="206" y="45"/>
                    <a:pt x="206" y="44"/>
                  </a:cubicBezTo>
                  <a:cubicBezTo>
                    <a:pt x="205" y="44"/>
                    <a:pt x="205" y="43"/>
                    <a:pt x="205" y="42"/>
                  </a:cubicBezTo>
                  <a:cubicBezTo>
                    <a:pt x="204" y="42"/>
                    <a:pt x="204" y="41"/>
                    <a:pt x="203" y="41"/>
                  </a:cubicBezTo>
                  <a:cubicBezTo>
                    <a:pt x="202" y="40"/>
                    <a:pt x="201" y="40"/>
                    <a:pt x="200" y="40"/>
                  </a:cubicBezTo>
                  <a:cubicBezTo>
                    <a:pt x="199" y="40"/>
                    <a:pt x="199" y="40"/>
                    <a:pt x="198" y="39"/>
                  </a:cubicBezTo>
                  <a:cubicBezTo>
                    <a:pt x="198" y="39"/>
                    <a:pt x="197" y="39"/>
                    <a:pt x="196" y="39"/>
                  </a:cubicBezTo>
                  <a:cubicBezTo>
                    <a:pt x="195" y="39"/>
                    <a:pt x="195" y="38"/>
                    <a:pt x="194" y="38"/>
                  </a:cubicBezTo>
                  <a:cubicBezTo>
                    <a:pt x="192" y="36"/>
                    <a:pt x="192" y="34"/>
                    <a:pt x="192" y="32"/>
                  </a:cubicBezTo>
                  <a:cubicBezTo>
                    <a:pt x="192" y="31"/>
                    <a:pt x="192" y="30"/>
                    <a:pt x="191" y="30"/>
                  </a:cubicBezTo>
                  <a:cubicBezTo>
                    <a:pt x="191" y="29"/>
                    <a:pt x="190" y="28"/>
                    <a:pt x="190" y="28"/>
                  </a:cubicBezTo>
                  <a:cubicBezTo>
                    <a:pt x="190" y="27"/>
                    <a:pt x="189" y="27"/>
                    <a:pt x="189" y="26"/>
                  </a:cubicBezTo>
                  <a:cubicBezTo>
                    <a:pt x="189" y="25"/>
                    <a:pt x="189" y="25"/>
                    <a:pt x="189" y="24"/>
                  </a:cubicBezTo>
                  <a:cubicBezTo>
                    <a:pt x="188" y="23"/>
                    <a:pt x="189" y="21"/>
                    <a:pt x="189" y="20"/>
                  </a:cubicBezTo>
                  <a:cubicBezTo>
                    <a:pt x="189" y="19"/>
                    <a:pt x="188" y="18"/>
                    <a:pt x="189" y="17"/>
                  </a:cubicBezTo>
                  <a:cubicBezTo>
                    <a:pt x="189" y="16"/>
                    <a:pt x="190" y="15"/>
                    <a:pt x="190" y="15"/>
                  </a:cubicBezTo>
                  <a:cubicBezTo>
                    <a:pt x="191" y="14"/>
                    <a:pt x="192" y="13"/>
                    <a:pt x="192" y="13"/>
                  </a:cubicBezTo>
                  <a:cubicBezTo>
                    <a:pt x="193" y="10"/>
                    <a:pt x="190" y="9"/>
                    <a:pt x="188" y="8"/>
                  </a:cubicBezTo>
                  <a:cubicBezTo>
                    <a:pt x="188" y="8"/>
                    <a:pt x="187" y="7"/>
                    <a:pt x="187" y="7"/>
                  </a:cubicBezTo>
                  <a:cubicBezTo>
                    <a:pt x="187" y="6"/>
                    <a:pt x="187" y="6"/>
                    <a:pt x="187" y="5"/>
                  </a:cubicBezTo>
                  <a:cubicBezTo>
                    <a:pt x="187" y="4"/>
                    <a:pt x="187" y="4"/>
                    <a:pt x="187" y="3"/>
                  </a:cubicBezTo>
                  <a:cubicBezTo>
                    <a:pt x="187" y="0"/>
                    <a:pt x="187" y="0"/>
                    <a:pt x="187" y="0"/>
                  </a:cubicBezTo>
                  <a:cubicBezTo>
                    <a:pt x="6" y="1"/>
                    <a:pt x="6" y="1"/>
                    <a:pt x="6" y="1"/>
                  </a:cubicBezTo>
                  <a:cubicBezTo>
                    <a:pt x="1" y="1"/>
                    <a:pt x="1" y="1"/>
                    <a:pt x="1" y="1"/>
                  </a:cubicBezTo>
                  <a:cubicBezTo>
                    <a:pt x="1" y="1"/>
                    <a:pt x="1" y="2"/>
                    <a:pt x="1" y="3"/>
                  </a:cubicBezTo>
                  <a:cubicBezTo>
                    <a:pt x="2" y="3"/>
                    <a:pt x="4" y="5"/>
                    <a:pt x="4" y="5"/>
                  </a:cubicBezTo>
                  <a:cubicBezTo>
                    <a:pt x="4" y="6"/>
                    <a:pt x="4" y="9"/>
                    <a:pt x="4" y="9"/>
                  </a:cubicBezTo>
                  <a:cubicBezTo>
                    <a:pt x="2" y="10"/>
                    <a:pt x="2" y="10"/>
                    <a:pt x="2" y="10"/>
                  </a:cubicBezTo>
                  <a:cubicBezTo>
                    <a:pt x="2" y="11"/>
                    <a:pt x="2" y="11"/>
                    <a:pt x="2" y="11"/>
                  </a:cubicBezTo>
                  <a:cubicBezTo>
                    <a:pt x="2" y="13"/>
                    <a:pt x="2" y="13"/>
                    <a:pt x="2" y="13"/>
                  </a:cubicBezTo>
                  <a:cubicBezTo>
                    <a:pt x="2" y="13"/>
                    <a:pt x="6" y="14"/>
                    <a:pt x="6" y="14"/>
                  </a:cubicBezTo>
                  <a:cubicBezTo>
                    <a:pt x="6" y="14"/>
                    <a:pt x="7" y="18"/>
                    <a:pt x="7" y="19"/>
                  </a:cubicBezTo>
                  <a:cubicBezTo>
                    <a:pt x="7" y="19"/>
                    <a:pt x="7" y="20"/>
                    <a:pt x="7" y="21"/>
                  </a:cubicBezTo>
                  <a:cubicBezTo>
                    <a:pt x="7" y="21"/>
                    <a:pt x="6" y="21"/>
                    <a:pt x="5" y="22"/>
                  </a:cubicBezTo>
                  <a:cubicBezTo>
                    <a:pt x="5" y="22"/>
                    <a:pt x="4" y="22"/>
                    <a:pt x="4" y="23"/>
                  </a:cubicBezTo>
                  <a:cubicBezTo>
                    <a:pt x="4" y="23"/>
                    <a:pt x="5" y="26"/>
                    <a:pt x="5" y="27"/>
                  </a:cubicBezTo>
                  <a:cubicBezTo>
                    <a:pt x="5" y="27"/>
                    <a:pt x="3" y="28"/>
                    <a:pt x="3" y="28"/>
                  </a:cubicBezTo>
                  <a:cubicBezTo>
                    <a:pt x="3" y="29"/>
                    <a:pt x="3" y="32"/>
                    <a:pt x="3" y="32"/>
                  </a:cubicBezTo>
                  <a:cubicBezTo>
                    <a:pt x="3" y="32"/>
                    <a:pt x="0" y="35"/>
                    <a:pt x="0" y="35"/>
                  </a:cubicBezTo>
                  <a:cubicBezTo>
                    <a:pt x="0" y="35"/>
                    <a:pt x="0" y="37"/>
                    <a:pt x="0" y="37"/>
                  </a:cubicBezTo>
                  <a:cubicBezTo>
                    <a:pt x="0" y="38"/>
                    <a:pt x="4" y="41"/>
                    <a:pt x="4" y="41"/>
                  </a:cubicBezTo>
                  <a:cubicBezTo>
                    <a:pt x="4" y="42"/>
                    <a:pt x="4" y="42"/>
                    <a:pt x="4" y="43"/>
                  </a:cubicBezTo>
                  <a:cubicBezTo>
                    <a:pt x="4" y="43"/>
                    <a:pt x="6" y="46"/>
                    <a:pt x="6" y="46"/>
                  </a:cubicBezTo>
                  <a:cubicBezTo>
                    <a:pt x="6" y="46"/>
                    <a:pt x="5" y="48"/>
                    <a:pt x="5" y="48"/>
                  </a:cubicBezTo>
                  <a:cubicBezTo>
                    <a:pt x="9" y="49"/>
                    <a:pt x="9" y="49"/>
                    <a:pt x="9" y="49"/>
                  </a:cubicBezTo>
                  <a:cubicBezTo>
                    <a:pt x="9" y="49"/>
                    <a:pt x="8" y="52"/>
                    <a:pt x="8" y="52"/>
                  </a:cubicBezTo>
                  <a:cubicBezTo>
                    <a:pt x="8" y="53"/>
                    <a:pt x="8" y="54"/>
                    <a:pt x="8" y="55"/>
                  </a:cubicBezTo>
                  <a:cubicBezTo>
                    <a:pt x="8" y="55"/>
                    <a:pt x="9" y="57"/>
                    <a:pt x="9" y="57"/>
                  </a:cubicBezTo>
                  <a:cubicBezTo>
                    <a:pt x="10" y="58"/>
                    <a:pt x="11" y="59"/>
                    <a:pt x="11" y="59"/>
                  </a:cubicBezTo>
                  <a:cubicBezTo>
                    <a:pt x="11" y="59"/>
                    <a:pt x="10" y="61"/>
                    <a:pt x="10" y="61"/>
                  </a:cubicBezTo>
                  <a:cubicBezTo>
                    <a:pt x="10" y="62"/>
                    <a:pt x="10" y="63"/>
                    <a:pt x="10" y="63"/>
                  </a:cubicBezTo>
                  <a:cubicBezTo>
                    <a:pt x="10" y="63"/>
                    <a:pt x="12" y="65"/>
                    <a:pt x="12" y="65"/>
                  </a:cubicBezTo>
                  <a:cubicBezTo>
                    <a:pt x="12" y="69"/>
                    <a:pt x="12" y="69"/>
                    <a:pt x="12" y="69"/>
                  </a:cubicBezTo>
                  <a:cubicBezTo>
                    <a:pt x="12" y="69"/>
                    <a:pt x="14" y="69"/>
                    <a:pt x="14" y="69"/>
                  </a:cubicBezTo>
                  <a:cubicBezTo>
                    <a:pt x="14" y="69"/>
                    <a:pt x="14" y="71"/>
                    <a:pt x="14" y="71"/>
                  </a:cubicBezTo>
                  <a:cubicBezTo>
                    <a:pt x="14" y="72"/>
                    <a:pt x="15" y="71"/>
                    <a:pt x="15" y="71"/>
                  </a:cubicBezTo>
                  <a:cubicBezTo>
                    <a:pt x="16" y="71"/>
                    <a:pt x="16" y="72"/>
                    <a:pt x="16" y="72"/>
                  </a:cubicBezTo>
                  <a:cubicBezTo>
                    <a:pt x="16" y="72"/>
                    <a:pt x="17" y="72"/>
                    <a:pt x="17" y="73"/>
                  </a:cubicBezTo>
                  <a:cubicBezTo>
                    <a:pt x="18" y="73"/>
                    <a:pt x="16" y="76"/>
                    <a:pt x="16" y="76"/>
                  </a:cubicBezTo>
                  <a:cubicBezTo>
                    <a:pt x="16" y="76"/>
                    <a:pt x="19" y="79"/>
                    <a:pt x="20" y="80"/>
                  </a:cubicBezTo>
                  <a:cubicBezTo>
                    <a:pt x="20" y="80"/>
                    <a:pt x="19" y="82"/>
                    <a:pt x="19" y="82"/>
                  </a:cubicBezTo>
                  <a:cubicBezTo>
                    <a:pt x="19" y="82"/>
                    <a:pt x="19" y="84"/>
                    <a:pt x="19" y="85"/>
                  </a:cubicBezTo>
                  <a:cubicBezTo>
                    <a:pt x="19" y="85"/>
                    <a:pt x="18" y="85"/>
                    <a:pt x="18" y="85"/>
                  </a:cubicBezTo>
                  <a:cubicBezTo>
                    <a:pt x="18" y="85"/>
                    <a:pt x="18" y="87"/>
                    <a:pt x="18" y="87"/>
                  </a:cubicBezTo>
                  <a:cubicBezTo>
                    <a:pt x="18" y="87"/>
                    <a:pt x="18" y="89"/>
                    <a:pt x="18" y="89"/>
                  </a:cubicBezTo>
                  <a:cubicBezTo>
                    <a:pt x="18" y="89"/>
                    <a:pt x="19" y="91"/>
                    <a:pt x="19" y="92"/>
                  </a:cubicBezTo>
                  <a:cubicBezTo>
                    <a:pt x="19" y="92"/>
                    <a:pt x="20" y="94"/>
                    <a:pt x="20" y="94"/>
                  </a:cubicBezTo>
                  <a:cubicBezTo>
                    <a:pt x="20" y="94"/>
                    <a:pt x="21" y="92"/>
                    <a:pt x="22" y="92"/>
                  </a:cubicBezTo>
                  <a:cubicBezTo>
                    <a:pt x="22" y="92"/>
                    <a:pt x="21" y="95"/>
                    <a:pt x="21" y="95"/>
                  </a:cubicBezTo>
                  <a:cubicBezTo>
                    <a:pt x="21" y="95"/>
                    <a:pt x="24" y="96"/>
                    <a:pt x="24" y="96"/>
                  </a:cubicBezTo>
                  <a:cubicBezTo>
                    <a:pt x="25" y="97"/>
                    <a:pt x="25" y="98"/>
                    <a:pt x="25" y="99"/>
                  </a:cubicBezTo>
                  <a:cubicBezTo>
                    <a:pt x="25" y="99"/>
                    <a:pt x="26" y="102"/>
                    <a:pt x="26" y="103"/>
                  </a:cubicBezTo>
                  <a:cubicBezTo>
                    <a:pt x="26" y="104"/>
                    <a:pt x="25" y="104"/>
                    <a:pt x="25" y="105"/>
                  </a:cubicBezTo>
                  <a:cubicBezTo>
                    <a:pt x="24" y="105"/>
                    <a:pt x="24" y="106"/>
                    <a:pt x="24" y="107"/>
                  </a:cubicBezTo>
                  <a:cubicBezTo>
                    <a:pt x="24" y="108"/>
                    <a:pt x="25" y="109"/>
                    <a:pt x="26" y="109"/>
                  </a:cubicBezTo>
                  <a:cubicBezTo>
                    <a:pt x="26" y="110"/>
                    <a:pt x="26" y="112"/>
                    <a:pt x="26" y="113"/>
                  </a:cubicBezTo>
                  <a:cubicBezTo>
                    <a:pt x="26" y="114"/>
                    <a:pt x="27" y="116"/>
                    <a:pt x="27" y="117"/>
                  </a:cubicBezTo>
                  <a:cubicBezTo>
                    <a:pt x="28" y="118"/>
                    <a:pt x="28" y="121"/>
                    <a:pt x="28" y="122"/>
                  </a:cubicBezTo>
                  <a:cubicBezTo>
                    <a:pt x="28" y="123"/>
                    <a:pt x="28" y="126"/>
                    <a:pt x="28" y="127"/>
                  </a:cubicBezTo>
                  <a:cubicBezTo>
                    <a:pt x="27" y="129"/>
                    <a:pt x="27" y="129"/>
                    <a:pt x="26" y="129"/>
                  </a:cubicBezTo>
                  <a:cubicBezTo>
                    <a:pt x="25" y="130"/>
                    <a:pt x="26" y="131"/>
                    <a:pt x="27" y="131"/>
                  </a:cubicBezTo>
                  <a:cubicBezTo>
                    <a:pt x="27" y="132"/>
                    <a:pt x="29" y="132"/>
                    <a:pt x="29" y="133"/>
                  </a:cubicBezTo>
                  <a:cubicBezTo>
                    <a:pt x="30" y="133"/>
                    <a:pt x="30" y="136"/>
                    <a:pt x="30" y="136"/>
                  </a:cubicBezTo>
                  <a:cubicBezTo>
                    <a:pt x="70" y="136"/>
                    <a:pt x="70" y="136"/>
                    <a:pt x="70" y="136"/>
                  </a:cubicBezTo>
                  <a:lnTo>
                    <a:pt x="169" y="135"/>
                  </a:lnTo>
                  <a:close/>
                </a:path>
              </a:pathLst>
            </a:custGeom>
            <a:solidFill>
              <a:srgbClr val="00B05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1" name="Freeform 44">
              <a:extLst>
                <a:ext uri="{FF2B5EF4-FFF2-40B4-BE49-F238E27FC236}">
                  <a16:creationId xmlns:a16="http://schemas.microsoft.com/office/drawing/2014/main" id="{2C262361-AE9B-C5DE-3E96-D56313F62C21}"/>
                </a:ext>
              </a:extLst>
            </p:cNvPr>
            <p:cNvSpPr>
              <a:spLocks/>
            </p:cNvSpPr>
            <p:nvPr/>
          </p:nvSpPr>
          <p:spPr bwMode="auto">
            <a:xfrm>
              <a:off x="7530901" y="2372491"/>
              <a:ext cx="451052" cy="713753"/>
            </a:xfrm>
            <a:custGeom>
              <a:avLst/>
              <a:gdLst>
                <a:gd name="T0" fmla="*/ 5 w 114"/>
                <a:gd name="T1" fmla="*/ 175 h 180"/>
                <a:gd name="T2" fmla="*/ 9 w 114"/>
                <a:gd name="T3" fmla="*/ 175 h 180"/>
                <a:gd name="T4" fmla="*/ 14 w 114"/>
                <a:gd name="T5" fmla="*/ 176 h 180"/>
                <a:gd name="T6" fmla="*/ 16 w 114"/>
                <a:gd name="T7" fmla="*/ 173 h 180"/>
                <a:gd name="T8" fmla="*/ 20 w 114"/>
                <a:gd name="T9" fmla="*/ 173 h 180"/>
                <a:gd name="T10" fmla="*/ 30 w 114"/>
                <a:gd name="T11" fmla="*/ 176 h 180"/>
                <a:gd name="T12" fmla="*/ 33 w 114"/>
                <a:gd name="T13" fmla="*/ 179 h 180"/>
                <a:gd name="T14" fmla="*/ 36 w 114"/>
                <a:gd name="T15" fmla="*/ 174 h 180"/>
                <a:gd name="T16" fmla="*/ 44 w 114"/>
                <a:gd name="T17" fmla="*/ 170 h 180"/>
                <a:gd name="T18" fmla="*/ 49 w 114"/>
                <a:gd name="T19" fmla="*/ 174 h 180"/>
                <a:gd name="T20" fmla="*/ 52 w 114"/>
                <a:gd name="T21" fmla="*/ 176 h 180"/>
                <a:gd name="T22" fmla="*/ 54 w 114"/>
                <a:gd name="T23" fmla="*/ 170 h 180"/>
                <a:gd name="T24" fmla="*/ 56 w 114"/>
                <a:gd name="T25" fmla="*/ 165 h 180"/>
                <a:gd name="T26" fmla="*/ 60 w 114"/>
                <a:gd name="T27" fmla="*/ 162 h 180"/>
                <a:gd name="T28" fmla="*/ 63 w 114"/>
                <a:gd name="T29" fmla="*/ 164 h 180"/>
                <a:gd name="T30" fmla="*/ 69 w 114"/>
                <a:gd name="T31" fmla="*/ 170 h 180"/>
                <a:gd name="T32" fmla="*/ 75 w 114"/>
                <a:gd name="T33" fmla="*/ 168 h 180"/>
                <a:gd name="T34" fmla="*/ 78 w 114"/>
                <a:gd name="T35" fmla="*/ 158 h 180"/>
                <a:gd name="T36" fmla="*/ 85 w 114"/>
                <a:gd name="T37" fmla="*/ 154 h 180"/>
                <a:gd name="T38" fmla="*/ 92 w 114"/>
                <a:gd name="T39" fmla="*/ 145 h 180"/>
                <a:gd name="T40" fmla="*/ 95 w 114"/>
                <a:gd name="T41" fmla="*/ 137 h 180"/>
                <a:gd name="T42" fmla="*/ 103 w 114"/>
                <a:gd name="T43" fmla="*/ 138 h 180"/>
                <a:gd name="T44" fmla="*/ 113 w 114"/>
                <a:gd name="T45" fmla="*/ 135 h 180"/>
                <a:gd name="T46" fmla="*/ 113 w 114"/>
                <a:gd name="T47" fmla="*/ 130 h 180"/>
                <a:gd name="T48" fmla="*/ 112 w 114"/>
                <a:gd name="T49" fmla="*/ 126 h 180"/>
                <a:gd name="T50" fmla="*/ 113 w 114"/>
                <a:gd name="T51" fmla="*/ 120 h 180"/>
                <a:gd name="T52" fmla="*/ 45 w 114"/>
                <a:gd name="T53" fmla="*/ 0 h 180"/>
                <a:gd name="T54" fmla="*/ 41 w 114"/>
                <a:gd name="T55" fmla="*/ 2 h 180"/>
                <a:gd name="T56" fmla="*/ 33 w 114"/>
                <a:gd name="T57" fmla="*/ 6 h 180"/>
                <a:gd name="T58" fmla="*/ 30 w 114"/>
                <a:gd name="T59" fmla="*/ 7 h 180"/>
                <a:gd name="T60" fmla="*/ 27 w 114"/>
                <a:gd name="T61" fmla="*/ 7 h 180"/>
                <a:gd name="T62" fmla="*/ 22 w 114"/>
                <a:gd name="T63" fmla="*/ 4 h 180"/>
                <a:gd name="T64" fmla="*/ 19 w 114"/>
                <a:gd name="T65" fmla="*/ 0 h 180"/>
                <a:gd name="T66" fmla="*/ 17 w 114"/>
                <a:gd name="T67" fmla="*/ 113 h 180"/>
                <a:gd name="T68" fmla="*/ 16 w 114"/>
                <a:gd name="T69" fmla="*/ 119 h 180"/>
                <a:gd name="T70" fmla="*/ 18 w 114"/>
                <a:gd name="T71" fmla="*/ 123 h 180"/>
                <a:gd name="T72" fmla="*/ 20 w 114"/>
                <a:gd name="T73" fmla="*/ 128 h 180"/>
                <a:gd name="T74" fmla="*/ 19 w 114"/>
                <a:gd name="T75" fmla="*/ 133 h 180"/>
                <a:gd name="T76" fmla="*/ 17 w 114"/>
                <a:gd name="T77" fmla="*/ 141 h 180"/>
                <a:gd name="T78" fmla="*/ 15 w 114"/>
                <a:gd name="T79" fmla="*/ 145 h 180"/>
                <a:gd name="T80" fmla="*/ 14 w 114"/>
                <a:gd name="T81" fmla="*/ 148 h 180"/>
                <a:gd name="T82" fmla="*/ 9 w 114"/>
                <a:gd name="T83" fmla="*/ 154 h 180"/>
                <a:gd name="T84" fmla="*/ 6 w 114"/>
                <a:gd name="T85" fmla="*/ 157 h 180"/>
                <a:gd name="T86" fmla="*/ 4 w 114"/>
                <a:gd name="T87" fmla="*/ 158 h 180"/>
                <a:gd name="T88" fmla="*/ 6 w 114"/>
                <a:gd name="T89" fmla="*/ 162 h 180"/>
                <a:gd name="T90" fmla="*/ 5 w 114"/>
                <a:gd name="T91" fmla="*/ 166 h 180"/>
                <a:gd name="T92" fmla="*/ 3 w 114"/>
                <a:gd name="T93" fmla="*/ 168 h 180"/>
                <a:gd name="T94" fmla="*/ 1 w 114"/>
                <a:gd name="T95" fmla="*/ 173 h 180"/>
                <a:gd name="T96" fmla="*/ 2 w 114"/>
                <a:gd name="T97" fmla="*/ 177 h 180"/>
                <a:gd name="T98" fmla="*/ 5 w 114"/>
                <a:gd name="T99" fmla="*/ 17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4" h="180">
                  <a:moveTo>
                    <a:pt x="7" y="178"/>
                  </a:moveTo>
                  <a:cubicBezTo>
                    <a:pt x="7" y="178"/>
                    <a:pt x="6" y="177"/>
                    <a:pt x="6" y="177"/>
                  </a:cubicBezTo>
                  <a:cubicBezTo>
                    <a:pt x="6" y="177"/>
                    <a:pt x="5" y="176"/>
                    <a:pt x="5" y="175"/>
                  </a:cubicBezTo>
                  <a:cubicBezTo>
                    <a:pt x="6" y="175"/>
                    <a:pt x="6" y="173"/>
                    <a:pt x="6" y="173"/>
                  </a:cubicBezTo>
                  <a:cubicBezTo>
                    <a:pt x="6" y="173"/>
                    <a:pt x="7" y="173"/>
                    <a:pt x="8" y="173"/>
                  </a:cubicBezTo>
                  <a:cubicBezTo>
                    <a:pt x="8" y="174"/>
                    <a:pt x="9" y="175"/>
                    <a:pt x="9" y="175"/>
                  </a:cubicBezTo>
                  <a:cubicBezTo>
                    <a:pt x="9" y="175"/>
                    <a:pt x="11" y="175"/>
                    <a:pt x="12" y="175"/>
                  </a:cubicBezTo>
                  <a:cubicBezTo>
                    <a:pt x="12" y="174"/>
                    <a:pt x="13" y="174"/>
                    <a:pt x="13" y="174"/>
                  </a:cubicBezTo>
                  <a:cubicBezTo>
                    <a:pt x="14" y="174"/>
                    <a:pt x="14" y="175"/>
                    <a:pt x="14" y="176"/>
                  </a:cubicBezTo>
                  <a:cubicBezTo>
                    <a:pt x="14" y="176"/>
                    <a:pt x="14" y="177"/>
                    <a:pt x="15" y="177"/>
                  </a:cubicBezTo>
                  <a:cubicBezTo>
                    <a:pt x="17" y="177"/>
                    <a:pt x="17" y="177"/>
                    <a:pt x="17" y="176"/>
                  </a:cubicBezTo>
                  <a:cubicBezTo>
                    <a:pt x="17" y="176"/>
                    <a:pt x="17" y="174"/>
                    <a:pt x="16" y="173"/>
                  </a:cubicBezTo>
                  <a:cubicBezTo>
                    <a:pt x="16" y="173"/>
                    <a:pt x="16" y="172"/>
                    <a:pt x="17" y="171"/>
                  </a:cubicBezTo>
                  <a:cubicBezTo>
                    <a:pt x="18" y="171"/>
                    <a:pt x="18" y="171"/>
                    <a:pt x="18" y="171"/>
                  </a:cubicBezTo>
                  <a:cubicBezTo>
                    <a:pt x="19" y="172"/>
                    <a:pt x="20" y="173"/>
                    <a:pt x="20" y="173"/>
                  </a:cubicBezTo>
                  <a:cubicBezTo>
                    <a:pt x="21" y="173"/>
                    <a:pt x="21" y="173"/>
                    <a:pt x="22" y="172"/>
                  </a:cubicBezTo>
                  <a:cubicBezTo>
                    <a:pt x="23" y="172"/>
                    <a:pt x="24" y="172"/>
                    <a:pt x="24" y="172"/>
                  </a:cubicBezTo>
                  <a:cubicBezTo>
                    <a:pt x="24" y="172"/>
                    <a:pt x="30" y="176"/>
                    <a:pt x="30" y="176"/>
                  </a:cubicBezTo>
                  <a:cubicBezTo>
                    <a:pt x="31" y="176"/>
                    <a:pt x="32" y="176"/>
                    <a:pt x="32" y="176"/>
                  </a:cubicBezTo>
                  <a:cubicBezTo>
                    <a:pt x="32" y="176"/>
                    <a:pt x="32" y="177"/>
                    <a:pt x="33" y="177"/>
                  </a:cubicBezTo>
                  <a:cubicBezTo>
                    <a:pt x="33" y="178"/>
                    <a:pt x="33" y="179"/>
                    <a:pt x="33" y="179"/>
                  </a:cubicBezTo>
                  <a:cubicBezTo>
                    <a:pt x="33" y="179"/>
                    <a:pt x="34" y="179"/>
                    <a:pt x="34" y="179"/>
                  </a:cubicBezTo>
                  <a:cubicBezTo>
                    <a:pt x="35" y="178"/>
                    <a:pt x="35" y="177"/>
                    <a:pt x="35" y="177"/>
                  </a:cubicBezTo>
                  <a:cubicBezTo>
                    <a:pt x="36" y="176"/>
                    <a:pt x="36" y="175"/>
                    <a:pt x="36" y="174"/>
                  </a:cubicBezTo>
                  <a:cubicBezTo>
                    <a:pt x="36" y="174"/>
                    <a:pt x="37" y="174"/>
                    <a:pt x="38" y="173"/>
                  </a:cubicBezTo>
                  <a:cubicBezTo>
                    <a:pt x="39" y="173"/>
                    <a:pt x="41" y="172"/>
                    <a:pt x="42" y="172"/>
                  </a:cubicBezTo>
                  <a:cubicBezTo>
                    <a:pt x="42" y="171"/>
                    <a:pt x="44" y="170"/>
                    <a:pt x="44" y="170"/>
                  </a:cubicBezTo>
                  <a:cubicBezTo>
                    <a:pt x="44" y="170"/>
                    <a:pt x="45" y="171"/>
                    <a:pt x="45" y="171"/>
                  </a:cubicBezTo>
                  <a:cubicBezTo>
                    <a:pt x="45" y="172"/>
                    <a:pt x="46" y="173"/>
                    <a:pt x="47" y="173"/>
                  </a:cubicBezTo>
                  <a:cubicBezTo>
                    <a:pt x="47" y="174"/>
                    <a:pt x="48" y="174"/>
                    <a:pt x="49" y="174"/>
                  </a:cubicBezTo>
                  <a:cubicBezTo>
                    <a:pt x="49" y="174"/>
                    <a:pt x="50" y="173"/>
                    <a:pt x="50" y="174"/>
                  </a:cubicBezTo>
                  <a:cubicBezTo>
                    <a:pt x="50" y="174"/>
                    <a:pt x="50" y="176"/>
                    <a:pt x="50" y="176"/>
                  </a:cubicBezTo>
                  <a:cubicBezTo>
                    <a:pt x="50" y="176"/>
                    <a:pt x="51" y="177"/>
                    <a:pt x="52" y="176"/>
                  </a:cubicBezTo>
                  <a:cubicBezTo>
                    <a:pt x="52" y="175"/>
                    <a:pt x="52" y="173"/>
                    <a:pt x="52" y="173"/>
                  </a:cubicBezTo>
                  <a:cubicBezTo>
                    <a:pt x="53" y="173"/>
                    <a:pt x="54" y="173"/>
                    <a:pt x="55" y="173"/>
                  </a:cubicBezTo>
                  <a:cubicBezTo>
                    <a:pt x="55" y="173"/>
                    <a:pt x="55" y="171"/>
                    <a:pt x="54" y="170"/>
                  </a:cubicBezTo>
                  <a:cubicBezTo>
                    <a:pt x="54" y="169"/>
                    <a:pt x="54" y="168"/>
                    <a:pt x="55" y="168"/>
                  </a:cubicBezTo>
                  <a:cubicBezTo>
                    <a:pt x="55" y="167"/>
                    <a:pt x="57" y="167"/>
                    <a:pt x="57" y="167"/>
                  </a:cubicBezTo>
                  <a:cubicBezTo>
                    <a:pt x="57" y="166"/>
                    <a:pt x="56" y="165"/>
                    <a:pt x="56" y="165"/>
                  </a:cubicBezTo>
                  <a:cubicBezTo>
                    <a:pt x="56" y="164"/>
                    <a:pt x="58" y="165"/>
                    <a:pt x="59" y="165"/>
                  </a:cubicBezTo>
                  <a:cubicBezTo>
                    <a:pt x="59" y="165"/>
                    <a:pt x="61" y="164"/>
                    <a:pt x="61" y="164"/>
                  </a:cubicBezTo>
                  <a:cubicBezTo>
                    <a:pt x="61" y="163"/>
                    <a:pt x="59" y="163"/>
                    <a:pt x="60" y="162"/>
                  </a:cubicBezTo>
                  <a:cubicBezTo>
                    <a:pt x="60" y="161"/>
                    <a:pt x="60" y="161"/>
                    <a:pt x="60" y="161"/>
                  </a:cubicBezTo>
                  <a:cubicBezTo>
                    <a:pt x="60" y="161"/>
                    <a:pt x="62" y="162"/>
                    <a:pt x="62" y="162"/>
                  </a:cubicBezTo>
                  <a:cubicBezTo>
                    <a:pt x="62" y="163"/>
                    <a:pt x="62" y="163"/>
                    <a:pt x="63" y="164"/>
                  </a:cubicBezTo>
                  <a:cubicBezTo>
                    <a:pt x="63" y="165"/>
                    <a:pt x="63" y="167"/>
                    <a:pt x="64" y="167"/>
                  </a:cubicBezTo>
                  <a:cubicBezTo>
                    <a:pt x="65" y="168"/>
                    <a:pt x="66" y="168"/>
                    <a:pt x="67" y="168"/>
                  </a:cubicBezTo>
                  <a:cubicBezTo>
                    <a:pt x="68" y="169"/>
                    <a:pt x="69" y="169"/>
                    <a:pt x="69" y="170"/>
                  </a:cubicBezTo>
                  <a:cubicBezTo>
                    <a:pt x="70" y="170"/>
                    <a:pt x="71" y="171"/>
                    <a:pt x="71" y="171"/>
                  </a:cubicBezTo>
                  <a:cubicBezTo>
                    <a:pt x="71" y="171"/>
                    <a:pt x="72" y="169"/>
                    <a:pt x="73" y="169"/>
                  </a:cubicBezTo>
                  <a:cubicBezTo>
                    <a:pt x="73" y="169"/>
                    <a:pt x="75" y="169"/>
                    <a:pt x="75" y="168"/>
                  </a:cubicBezTo>
                  <a:cubicBezTo>
                    <a:pt x="75" y="168"/>
                    <a:pt x="75" y="167"/>
                    <a:pt x="75" y="166"/>
                  </a:cubicBezTo>
                  <a:cubicBezTo>
                    <a:pt x="75" y="165"/>
                    <a:pt x="76" y="162"/>
                    <a:pt x="76" y="161"/>
                  </a:cubicBezTo>
                  <a:cubicBezTo>
                    <a:pt x="77" y="160"/>
                    <a:pt x="77" y="159"/>
                    <a:pt x="78" y="158"/>
                  </a:cubicBezTo>
                  <a:cubicBezTo>
                    <a:pt x="79" y="158"/>
                    <a:pt x="80" y="157"/>
                    <a:pt x="81" y="157"/>
                  </a:cubicBezTo>
                  <a:cubicBezTo>
                    <a:pt x="82" y="157"/>
                    <a:pt x="82" y="157"/>
                    <a:pt x="83" y="156"/>
                  </a:cubicBezTo>
                  <a:cubicBezTo>
                    <a:pt x="84" y="155"/>
                    <a:pt x="85" y="155"/>
                    <a:pt x="85" y="154"/>
                  </a:cubicBezTo>
                  <a:cubicBezTo>
                    <a:pt x="85" y="153"/>
                    <a:pt x="85" y="152"/>
                    <a:pt x="86" y="151"/>
                  </a:cubicBezTo>
                  <a:cubicBezTo>
                    <a:pt x="86" y="150"/>
                    <a:pt x="91" y="148"/>
                    <a:pt x="91" y="148"/>
                  </a:cubicBezTo>
                  <a:cubicBezTo>
                    <a:pt x="91" y="148"/>
                    <a:pt x="92" y="146"/>
                    <a:pt x="92" y="145"/>
                  </a:cubicBezTo>
                  <a:cubicBezTo>
                    <a:pt x="92" y="144"/>
                    <a:pt x="91" y="143"/>
                    <a:pt x="91" y="142"/>
                  </a:cubicBezTo>
                  <a:cubicBezTo>
                    <a:pt x="91" y="141"/>
                    <a:pt x="91" y="138"/>
                    <a:pt x="92" y="138"/>
                  </a:cubicBezTo>
                  <a:cubicBezTo>
                    <a:pt x="93" y="137"/>
                    <a:pt x="94" y="137"/>
                    <a:pt x="95" y="137"/>
                  </a:cubicBezTo>
                  <a:cubicBezTo>
                    <a:pt x="96" y="137"/>
                    <a:pt x="97" y="137"/>
                    <a:pt x="97" y="137"/>
                  </a:cubicBezTo>
                  <a:cubicBezTo>
                    <a:pt x="98" y="137"/>
                    <a:pt x="99" y="139"/>
                    <a:pt x="100" y="139"/>
                  </a:cubicBezTo>
                  <a:cubicBezTo>
                    <a:pt x="101" y="139"/>
                    <a:pt x="101" y="139"/>
                    <a:pt x="103" y="138"/>
                  </a:cubicBezTo>
                  <a:cubicBezTo>
                    <a:pt x="104" y="138"/>
                    <a:pt x="105" y="136"/>
                    <a:pt x="106" y="136"/>
                  </a:cubicBezTo>
                  <a:cubicBezTo>
                    <a:pt x="107" y="135"/>
                    <a:pt x="107" y="135"/>
                    <a:pt x="109" y="135"/>
                  </a:cubicBezTo>
                  <a:cubicBezTo>
                    <a:pt x="111" y="135"/>
                    <a:pt x="112" y="136"/>
                    <a:pt x="113" y="135"/>
                  </a:cubicBezTo>
                  <a:cubicBezTo>
                    <a:pt x="114" y="135"/>
                    <a:pt x="113" y="133"/>
                    <a:pt x="113" y="133"/>
                  </a:cubicBezTo>
                  <a:cubicBezTo>
                    <a:pt x="113" y="133"/>
                    <a:pt x="114" y="132"/>
                    <a:pt x="114" y="132"/>
                  </a:cubicBezTo>
                  <a:cubicBezTo>
                    <a:pt x="114" y="131"/>
                    <a:pt x="114" y="130"/>
                    <a:pt x="113" y="130"/>
                  </a:cubicBezTo>
                  <a:cubicBezTo>
                    <a:pt x="112" y="130"/>
                    <a:pt x="112" y="130"/>
                    <a:pt x="112" y="130"/>
                  </a:cubicBezTo>
                  <a:cubicBezTo>
                    <a:pt x="112" y="129"/>
                    <a:pt x="112" y="129"/>
                    <a:pt x="112" y="128"/>
                  </a:cubicBezTo>
                  <a:cubicBezTo>
                    <a:pt x="113" y="127"/>
                    <a:pt x="112" y="126"/>
                    <a:pt x="112" y="126"/>
                  </a:cubicBezTo>
                  <a:cubicBezTo>
                    <a:pt x="112" y="125"/>
                    <a:pt x="111" y="125"/>
                    <a:pt x="111" y="124"/>
                  </a:cubicBezTo>
                  <a:cubicBezTo>
                    <a:pt x="111" y="123"/>
                    <a:pt x="112" y="122"/>
                    <a:pt x="112" y="122"/>
                  </a:cubicBezTo>
                  <a:cubicBezTo>
                    <a:pt x="113" y="120"/>
                    <a:pt x="113" y="120"/>
                    <a:pt x="113" y="120"/>
                  </a:cubicBezTo>
                  <a:cubicBezTo>
                    <a:pt x="114" y="0"/>
                    <a:pt x="114" y="0"/>
                    <a:pt x="114" y="0"/>
                  </a:cubicBezTo>
                  <a:cubicBezTo>
                    <a:pt x="45" y="0"/>
                    <a:pt x="45" y="0"/>
                    <a:pt x="45" y="0"/>
                  </a:cubicBezTo>
                  <a:cubicBezTo>
                    <a:pt x="45" y="0"/>
                    <a:pt x="45" y="0"/>
                    <a:pt x="45" y="0"/>
                  </a:cubicBezTo>
                  <a:cubicBezTo>
                    <a:pt x="44" y="1"/>
                    <a:pt x="44" y="1"/>
                    <a:pt x="44" y="1"/>
                  </a:cubicBezTo>
                  <a:cubicBezTo>
                    <a:pt x="43" y="1"/>
                    <a:pt x="43" y="1"/>
                    <a:pt x="42" y="1"/>
                  </a:cubicBezTo>
                  <a:cubicBezTo>
                    <a:pt x="42" y="1"/>
                    <a:pt x="41" y="2"/>
                    <a:pt x="41" y="2"/>
                  </a:cubicBezTo>
                  <a:cubicBezTo>
                    <a:pt x="41" y="2"/>
                    <a:pt x="41" y="2"/>
                    <a:pt x="40" y="2"/>
                  </a:cubicBezTo>
                  <a:cubicBezTo>
                    <a:pt x="39" y="3"/>
                    <a:pt x="38" y="3"/>
                    <a:pt x="37" y="4"/>
                  </a:cubicBezTo>
                  <a:cubicBezTo>
                    <a:pt x="36" y="5"/>
                    <a:pt x="35" y="5"/>
                    <a:pt x="33" y="6"/>
                  </a:cubicBezTo>
                  <a:cubicBezTo>
                    <a:pt x="33" y="6"/>
                    <a:pt x="33" y="6"/>
                    <a:pt x="32" y="6"/>
                  </a:cubicBezTo>
                  <a:cubicBezTo>
                    <a:pt x="32" y="6"/>
                    <a:pt x="32" y="6"/>
                    <a:pt x="31" y="6"/>
                  </a:cubicBezTo>
                  <a:cubicBezTo>
                    <a:pt x="31" y="7"/>
                    <a:pt x="30" y="7"/>
                    <a:pt x="30" y="7"/>
                  </a:cubicBezTo>
                  <a:cubicBezTo>
                    <a:pt x="29" y="7"/>
                    <a:pt x="29" y="7"/>
                    <a:pt x="29" y="7"/>
                  </a:cubicBezTo>
                  <a:cubicBezTo>
                    <a:pt x="28" y="7"/>
                    <a:pt x="28" y="7"/>
                    <a:pt x="28" y="7"/>
                  </a:cubicBezTo>
                  <a:cubicBezTo>
                    <a:pt x="28" y="7"/>
                    <a:pt x="28" y="7"/>
                    <a:pt x="27" y="7"/>
                  </a:cubicBezTo>
                  <a:cubicBezTo>
                    <a:pt x="27" y="6"/>
                    <a:pt x="26" y="6"/>
                    <a:pt x="25" y="6"/>
                  </a:cubicBezTo>
                  <a:cubicBezTo>
                    <a:pt x="24" y="6"/>
                    <a:pt x="24" y="6"/>
                    <a:pt x="23" y="5"/>
                  </a:cubicBezTo>
                  <a:cubicBezTo>
                    <a:pt x="23" y="5"/>
                    <a:pt x="22" y="4"/>
                    <a:pt x="22" y="4"/>
                  </a:cubicBezTo>
                  <a:cubicBezTo>
                    <a:pt x="21" y="3"/>
                    <a:pt x="21" y="3"/>
                    <a:pt x="21" y="2"/>
                  </a:cubicBezTo>
                  <a:cubicBezTo>
                    <a:pt x="20" y="2"/>
                    <a:pt x="20" y="1"/>
                    <a:pt x="20" y="1"/>
                  </a:cubicBezTo>
                  <a:cubicBezTo>
                    <a:pt x="20" y="1"/>
                    <a:pt x="19" y="1"/>
                    <a:pt x="19" y="0"/>
                  </a:cubicBezTo>
                  <a:cubicBezTo>
                    <a:pt x="20" y="110"/>
                    <a:pt x="20" y="110"/>
                    <a:pt x="20" y="110"/>
                  </a:cubicBezTo>
                  <a:cubicBezTo>
                    <a:pt x="16" y="111"/>
                    <a:pt x="16" y="111"/>
                    <a:pt x="16" y="111"/>
                  </a:cubicBezTo>
                  <a:cubicBezTo>
                    <a:pt x="16" y="111"/>
                    <a:pt x="17" y="113"/>
                    <a:pt x="17" y="113"/>
                  </a:cubicBezTo>
                  <a:cubicBezTo>
                    <a:pt x="17" y="114"/>
                    <a:pt x="18" y="114"/>
                    <a:pt x="18" y="114"/>
                  </a:cubicBezTo>
                  <a:cubicBezTo>
                    <a:pt x="17" y="117"/>
                    <a:pt x="17" y="117"/>
                    <a:pt x="17" y="117"/>
                  </a:cubicBezTo>
                  <a:cubicBezTo>
                    <a:pt x="17" y="117"/>
                    <a:pt x="16" y="118"/>
                    <a:pt x="16" y="119"/>
                  </a:cubicBezTo>
                  <a:cubicBezTo>
                    <a:pt x="16" y="119"/>
                    <a:pt x="16" y="120"/>
                    <a:pt x="16" y="120"/>
                  </a:cubicBezTo>
                  <a:cubicBezTo>
                    <a:pt x="16" y="120"/>
                    <a:pt x="16" y="121"/>
                    <a:pt x="16" y="121"/>
                  </a:cubicBezTo>
                  <a:cubicBezTo>
                    <a:pt x="18" y="123"/>
                    <a:pt x="18" y="123"/>
                    <a:pt x="18" y="123"/>
                  </a:cubicBezTo>
                  <a:cubicBezTo>
                    <a:pt x="18" y="126"/>
                    <a:pt x="18" y="126"/>
                    <a:pt x="18" y="126"/>
                  </a:cubicBezTo>
                  <a:cubicBezTo>
                    <a:pt x="20" y="127"/>
                    <a:pt x="20" y="127"/>
                    <a:pt x="20" y="127"/>
                  </a:cubicBezTo>
                  <a:cubicBezTo>
                    <a:pt x="20" y="128"/>
                    <a:pt x="20" y="128"/>
                    <a:pt x="20" y="128"/>
                  </a:cubicBezTo>
                  <a:cubicBezTo>
                    <a:pt x="20" y="128"/>
                    <a:pt x="19" y="130"/>
                    <a:pt x="19" y="130"/>
                  </a:cubicBezTo>
                  <a:cubicBezTo>
                    <a:pt x="19" y="130"/>
                    <a:pt x="18" y="132"/>
                    <a:pt x="18" y="132"/>
                  </a:cubicBezTo>
                  <a:cubicBezTo>
                    <a:pt x="18" y="132"/>
                    <a:pt x="19" y="133"/>
                    <a:pt x="19" y="133"/>
                  </a:cubicBezTo>
                  <a:cubicBezTo>
                    <a:pt x="21" y="137"/>
                    <a:pt x="21" y="137"/>
                    <a:pt x="21" y="137"/>
                  </a:cubicBezTo>
                  <a:cubicBezTo>
                    <a:pt x="19" y="140"/>
                    <a:pt x="19" y="140"/>
                    <a:pt x="19" y="140"/>
                  </a:cubicBezTo>
                  <a:cubicBezTo>
                    <a:pt x="17" y="141"/>
                    <a:pt x="17" y="141"/>
                    <a:pt x="17" y="141"/>
                  </a:cubicBezTo>
                  <a:cubicBezTo>
                    <a:pt x="17" y="142"/>
                    <a:pt x="17" y="142"/>
                    <a:pt x="17" y="142"/>
                  </a:cubicBezTo>
                  <a:cubicBezTo>
                    <a:pt x="17" y="144"/>
                    <a:pt x="17" y="144"/>
                    <a:pt x="17" y="144"/>
                  </a:cubicBezTo>
                  <a:cubicBezTo>
                    <a:pt x="15" y="145"/>
                    <a:pt x="15" y="145"/>
                    <a:pt x="15" y="145"/>
                  </a:cubicBezTo>
                  <a:cubicBezTo>
                    <a:pt x="15" y="145"/>
                    <a:pt x="15" y="146"/>
                    <a:pt x="15" y="146"/>
                  </a:cubicBezTo>
                  <a:cubicBezTo>
                    <a:pt x="15" y="146"/>
                    <a:pt x="15" y="147"/>
                    <a:pt x="15" y="147"/>
                  </a:cubicBezTo>
                  <a:cubicBezTo>
                    <a:pt x="14" y="148"/>
                    <a:pt x="14" y="148"/>
                    <a:pt x="14" y="148"/>
                  </a:cubicBezTo>
                  <a:cubicBezTo>
                    <a:pt x="12" y="149"/>
                    <a:pt x="12" y="149"/>
                    <a:pt x="12" y="149"/>
                  </a:cubicBezTo>
                  <a:cubicBezTo>
                    <a:pt x="12" y="151"/>
                    <a:pt x="12" y="151"/>
                    <a:pt x="12" y="151"/>
                  </a:cubicBezTo>
                  <a:cubicBezTo>
                    <a:pt x="9" y="154"/>
                    <a:pt x="9" y="154"/>
                    <a:pt x="9" y="154"/>
                  </a:cubicBezTo>
                  <a:cubicBezTo>
                    <a:pt x="9" y="157"/>
                    <a:pt x="9" y="157"/>
                    <a:pt x="9" y="157"/>
                  </a:cubicBezTo>
                  <a:cubicBezTo>
                    <a:pt x="8" y="156"/>
                    <a:pt x="8" y="156"/>
                    <a:pt x="8" y="156"/>
                  </a:cubicBezTo>
                  <a:cubicBezTo>
                    <a:pt x="6" y="157"/>
                    <a:pt x="6" y="157"/>
                    <a:pt x="6" y="157"/>
                  </a:cubicBezTo>
                  <a:cubicBezTo>
                    <a:pt x="5" y="156"/>
                    <a:pt x="5" y="156"/>
                    <a:pt x="5" y="156"/>
                  </a:cubicBezTo>
                  <a:cubicBezTo>
                    <a:pt x="5" y="159"/>
                    <a:pt x="5" y="159"/>
                    <a:pt x="5" y="159"/>
                  </a:cubicBezTo>
                  <a:cubicBezTo>
                    <a:pt x="4" y="158"/>
                    <a:pt x="4" y="158"/>
                    <a:pt x="4" y="158"/>
                  </a:cubicBezTo>
                  <a:cubicBezTo>
                    <a:pt x="4" y="158"/>
                    <a:pt x="4" y="159"/>
                    <a:pt x="4" y="159"/>
                  </a:cubicBezTo>
                  <a:cubicBezTo>
                    <a:pt x="4" y="160"/>
                    <a:pt x="4" y="161"/>
                    <a:pt x="4" y="161"/>
                  </a:cubicBezTo>
                  <a:cubicBezTo>
                    <a:pt x="6" y="162"/>
                    <a:pt x="6" y="162"/>
                    <a:pt x="6" y="162"/>
                  </a:cubicBezTo>
                  <a:cubicBezTo>
                    <a:pt x="6" y="162"/>
                    <a:pt x="5" y="164"/>
                    <a:pt x="5" y="164"/>
                  </a:cubicBezTo>
                  <a:cubicBezTo>
                    <a:pt x="5" y="164"/>
                    <a:pt x="3" y="165"/>
                    <a:pt x="3" y="165"/>
                  </a:cubicBezTo>
                  <a:cubicBezTo>
                    <a:pt x="3" y="165"/>
                    <a:pt x="5" y="166"/>
                    <a:pt x="5" y="166"/>
                  </a:cubicBezTo>
                  <a:cubicBezTo>
                    <a:pt x="5" y="166"/>
                    <a:pt x="4" y="167"/>
                    <a:pt x="4" y="167"/>
                  </a:cubicBezTo>
                  <a:cubicBezTo>
                    <a:pt x="2" y="167"/>
                    <a:pt x="2" y="167"/>
                    <a:pt x="2" y="167"/>
                  </a:cubicBezTo>
                  <a:cubicBezTo>
                    <a:pt x="3" y="168"/>
                    <a:pt x="3" y="168"/>
                    <a:pt x="3" y="168"/>
                  </a:cubicBezTo>
                  <a:cubicBezTo>
                    <a:pt x="3" y="171"/>
                    <a:pt x="3" y="171"/>
                    <a:pt x="3" y="171"/>
                  </a:cubicBezTo>
                  <a:cubicBezTo>
                    <a:pt x="2" y="174"/>
                    <a:pt x="2" y="174"/>
                    <a:pt x="2" y="174"/>
                  </a:cubicBezTo>
                  <a:cubicBezTo>
                    <a:pt x="2" y="174"/>
                    <a:pt x="1" y="173"/>
                    <a:pt x="1" y="173"/>
                  </a:cubicBezTo>
                  <a:cubicBezTo>
                    <a:pt x="1" y="172"/>
                    <a:pt x="0" y="174"/>
                    <a:pt x="0" y="174"/>
                  </a:cubicBezTo>
                  <a:cubicBezTo>
                    <a:pt x="0" y="174"/>
                    <a:pt x="1" y="175"/>
                    <a:pt x="2" y="176"/>
                  </a:cubicBezTo>
                  <a:cubicBezTo>
                    <a:pt x="2" y="176"/>
                    <a:pt x="2" y="177"/>
                    <a:pt x="2" y="177"/>
                  </a:cubicBezTo>
                  <a:cubicBezTo>
                    <a:pt x="0" y="178"/>
                    <a:pt x="0" y="178"/>
                    <a:pt x="0" y="178"/>
                  </a:cubicBezTo>
                  <a:cubicBezTo>
                    <a:pt x="3" y="179"/>
                    <a:pt x="3" y="179"/>
                    <a:pt x="3" y="179"/>
                  </a:cubicBezTo>
                  <a:cubicBezTo>
                    <a:pt x="3" y="179"/>
                    <a:pt x="4" y="179"/>
                    <a:pt x="5" y="179"/>
                  </a:cubicBezTo>
                  <a:cubicBezTo>
                    <a:pt x="5" y="180"/>
                    <a:pt x="7" y="178"/>
                    <a:pt x="7" y="178"/>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dirty="0">
                <a:solidFill>
                  <a:schemeClr val="bg1"/>
                </a:solidFill>
              </a:endParaRPr>
            </a:p>
          </p:txBody>
        </p:sp>
        <p:sp>
          <p:nvSpPr>
            <p:cNvPr id="42" name="Freeform 45">
              <a:extLst>
                <a:ext uri="{FF2B5EF4-FFF2-40B4-BE49-F238E27FC236}">
                  <a16:creationId xmlns:a16="http://schemas.microsoft.com/office/drawing/2014/main" id="{2D7A9B39-7ACF-3B87-1DD7-57F2C327B0C1}"/>
                </a:ext>
              </a:extLst>
            </p:cNvPr>
            <p:cNvSpPr>
              <a:spLocks/>
            </p:cNvSpPr>
            <p:nvPr/>
          </p:nvSpPr>
          <p:spPr bwMode="auto">
            <a:xfrm>
              <a:off x="7063327" y="2233706"/>
              <a:ext cx="550184" cy="988019"/>
            </a:xfrm>
            <a:custGeom>
              <a:avLst/>
              <a:gdLst>
                <a:gd name="T0" fmla="*/ 138 w 139"/>
                <a:gd name="T1" fmla="*/ 163 h 249"/>
                <a:gd name="T2" fmla="*/ 134 w 139"/>
                <a:gd name="T3" fmla="*/ 156 h 249"/>
                <a:gd name="T4" fmla="*/ 136 w 139"/>
                <a:gd name="T5" fmla="*/ 149 h 249"/>
                <a:gd name="T6" fmla="*/ 137 w 139"/>
                <a:gd name="T7" fmla="*/ 35 h 249"/>
                <a:gd name="T8" fmla="*/ 134 w 139"/>
                <a:gd name="T9" fmla="*/ 27 h 249"/>
                <a:gd name="T10" fmla="*/ 133 w 139"/>
                <a:gd name="T11" fmla="*/ 22 h 249"/>
                <a:gd name="T12" fmla="*/ 129 w 139"/>
                <a:gd name="T13" fmla="*/ 16 h 249"/>
                <a:gd name="T14" fmla="*/ 128 w 139"/>
                <a:gd name="T15" fmla="*/ 5 h 249"/>
                <a:gd name="T16" fmla="*/ 30 w 139"/>
                <a:gd name="T17" fmla="*/ 0 h 249"/>
                <a:gd name="T18" fmla="*/ 37 w 139"/>
                <a:gd name="T19" fmla="*/ 10 h 249"/>
                <a:gd name="T20" fmla="*/ 46 w 139"/>
                <a:gd name="T21" fmla="*/ 31 h 249"/>
                <a:gd name="T22" fmla="*/ 38 w 139"/>
                <a:gd name="T23" fmla="*/ 44 h 249"/>
                <a:gd name="T24" fmla="*/ 24 w 139"/>
                <a:gd name="T25" fmla="*/ 49 h 249"/>
                <a:gd name="T26" fmla="*/ 16 w 139"/>
                <a:gd name="T27" fmla="*/ 51 h 249"/>
                <a:gd name="T28" fmla="*/ 18 w 139"/>
                <a:gd name="T29" fmla="*/ 64 h 249"/>
                <a:gd name="T30" fmla="*/ 14 w 139"/>
                <a:gd name="T31" fmla="*/ 81 h 249"/>
                <a:gd name="T32" fmla="*/ 7 w 139"/>
                <a:gd name="T33" fmla="*/ 87 h 249"/>
                <a:gd name="T34" fmla="*/ 5 w 139"/>
                <a:gd name="T35" fmla="*/ 95 h 249"/>
                <a:gd name="T36" fmla="*/ 0 w 139"/>
                <a:gd name="T37" fmla="*/ 104 h 249"/>
                <a:gd name="T38" fmla="*/ 2 w 139"/>
                <a:gd name="T39" fmla="*/ 116 h 249"/>
                <a:gd name="T40" fmla="*/ 5 w 139"/>
                <a:gd name="T41" fmla="*/ 125 h 249"/>
                <a:gd name="T42" fmla="*/ 12 w 139"/>
                <a:gd name="T43" fmla="*/ 136 h 249"/>
                <a:gd name="T44" fmla="*/ 27 w 139"/>
                <a:gd name="T45" fmla="*/ 149 h 249"/>
                <a:gd name="T46" fmla="*/ 29 w 139"/>
                <a:gd name="T47" fmla="*/ 161 h 249"/>
                <a:gd name="T48" fmla="*/ 37 w 139"/>
                <a:gd name="T49" fmla="*/ 162 h 249"/>
                <a:gd name="T50" fmla="*/ 45 w 139"/>
                <a:gd name="T51" fmla="*/ 173 h 249"/>
                <a:gd name="T52" fmla="*/ 42 w 139"/>
                <a:gd name="T53" fmla="*/ 185 h 249"/>
                <a:gd name="T54" fmla="*/ 51 w 139"/>
                <a:gd name="T55" fmla="*/ 205 h 249"/>
                <a:gd name="T56" fmla="*/ 55 w 139"/>
                <a:gd name="T57" fmla="*/ 210 h 249"/>
                <a:gd name="T58" fmla="*/ 63 w 139"/>
                <a:gd name="T59" fmla="*/ 216 h 249"/>
                <a:gd name="T60" fmla="*/ 70 w 139"/>
                <a:gd name="T61" fmla="*/ 223 h 249"/>
                <a:gd name="T62" fmla="*/ 71 w 139"/>
                <a:gd name="T63" fmla="*/ 229 h 249"/>
                <a:gd name="T64" fmla="*/ 69 w 139"/>
                <a:gd name="T65" fmla="*/ 235 h 249"/>
                <a:gd name="T66" fmla="*/ 73 w 139"/>
                <a:gd name="T67" fmla="*/ 243 h 249"/>
                <a:gd name="T68" fmla="*/ 77 w 139"/>
                <a:gd name="T69" fmla="*/ 248 h 249"/>
                <a:gd name="T70" fmla="*/ 78 w 139"/>
                <a:gd name="T71" fmla="*/ 245 h 249"/>
                <a:gd name="T72" fmla="*/ 82 w 139"/>
                <a:gd name="T73" fmla="*/ 249 h 249"/>
                <a:gd name="T74" fmla="*/ 87 w 139"/>
                <a:gd name="T75" fmla="*/ 238 h 249"/>
                <a:gd name="T76" fmla="*/ 106 w 139"/>
                <a:gd name="T77" fmla="*/ 245 h 249"/>
                <a:gd name="T78" fmla="*/ 106 w 139"/>
                <a:gd name="T79" fmla="*/ 230 h 249"/>
                <a:gd name="T80" fmla="*/ 118 w 139"/>
                <a:gd name="T81" fmla="*/ 228 h 249"/>
                <a:gd name="T82" fmla="*/ 116 w 139"/>
                <a:gd name="T83" fmla="*/ 220 h 249"/>
                <a:gd name="T84" fmla="*/ 120 w 139"/>
                <a:gd name="T85" fmla="*/ 212 h 249"/>
                <a:gd name="T86" fmla="*/ 120 w 139"/>
                <a:gd name="T87" fmla="*/ 209 h 249"/>
                <a:gd name="T88" fmla="*/ 122 w 139"/>
                <a:gd name="T89" fmla="*/ 202 h 249"/>
                <a:gd name="T90" fmla="*/ 124 w 139"/>
                <a:gd name="T91" fmla="*/ 197 h 249"/>
                <a:gd name="T92" fmla="*/ 123 w 139"/>
                <a:gd name="T93" fmla="*/ 194 h 249"/>
                <a:gd name="T94" fmla="*/ 127 w 139"/>
                <a:gd name="T95" fmla="*/ 192 h 249"/>
                <a:gd name="T96" fmla="*/ 132 w 139"/>
                <a:gd name="T97" fmla="*/ 183 h 249"/>
                <a:gd name="T98" fmla="*/ 135 w 139"/>
                <a:gd name="T99" fmla="*/ 179 h 249"/>
                <a:gd name="T100" fmla="*/ 139 w 139"/>
                <a:gd name="T101" fmla="*/ 172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9" h="249">
                  <a:moveTo>
                    <a:pt x="137" y="168"/>
                  </a:moveTo>
                  <a:cubicBezTo>
                    <a:pt x="137" y="168"/>
                    <a:pt x="136" y="167"/>
                    <a:pt x="136" y="167"/>
                  </a:cubicBezTo>
                  <a:cubicBezTo>
                    <a:pt x="136" y="167"/>
                    <a:pt x="137" y="165"/>
                    <a:pt x="137" y="165"/>
                  </a:cubicBezTo>
                  <a:cubicBezTo>
                    <a:pt x="137" y="165"/>
                    <a:pt x="138" y="163"/>
                    <a:pt x="138" y="163"/>
                  </a:cubicBezTo>
                  <a:cubicBezTo>
                    <a:pt x="138" y="162"/>
                    <a:pt x="138" y="162"/>
                    <a:pt x="138" y="162"/>
                  </a:cubicBezTo>
                  <a:cubicBezTo>
                    <a:pt x="136" y="161"/>
                    <a:pt x="136" y="161"/>
                    <a:pt x="136" y="161"/>
                  </a:cubicBezTo>
                  <a:cubicBezTo>
                    <a:pt x="136" y="158"/>
                    <a:pt x="136" y="158"/>
                    <a:pt x="136" y="158"/>
                  </a:cubicBezTo>
                  <a:cubicBezTo>
                    <a:pt x="134" y="156"/>
                    <a:pt x="134" y="156"/>
                    <a:pt x="134" y="156"/>
                  </a:cubicBezTo>
                  <a:cubicBezTo>
                    <a:pt x="134" y="156"/>
                    <a:pt x="134" y="155"/>
                    <a:pt x="134" y="155"/>
                  </a:cubicBezTo>
                  <a:cubicBezTo>
                    <a:pt x="134" y="155"/>
                    <a:pt x="134" y="154"/>
                    <a:pt x="134" y="154"/>
                  </a:cubicBezTo>
                  <a:cubicBezTo>
                    <a:pt x="134" y="153"/>
                    <a:pt x="135" y="152"/>
                    <a:pt x="135" y="152"/>
                  </a:cubicBezTo>
                  <a:cubicBezTo>
                    <a:pt x="136" y="149"/>
                    <a:pt x="136" y="149"/>
                    <a:pt x="136" y="149"/>
                  </a:cubicBezTo>
                  <a:cubicBezTo>
                    <a:pt x="136" y="149"/>
                    <a:pt x="135" y="149"/>
                    <a:pt x="135" y="148"/>
                  </a:cubicBezTo>
                  <a:cubicBezTo>
                    <a:pt x="135" y="148"/>
                    <a:pt x="134" y="146"/>
                    <a:pt x="134" y="146"/>
                  </a:cubicBezTo>
                  <a:cubicBezTo>
                    <a:pt x="138" y="145"/>
                    <a:pt x="138" y="145"/>
                    <a:pt x="138" y="145"/>
                  </a:cubicBezTo>
                  <a:cubicBezTo>
                    <a:pt x="137" y="35"/>
                    <a:pt x="137" y="35"/>
                    <a:pt x="137" y="35"/>
                  </a:cubicBezTo>
                  <a:cubicBezTo>
                    <a:pt x="137" y="35"/>
                    <a:pt x="137" y="35"/>
                    <a:pt x="137" y="34"/>
                  </a:cubicBezTo>
                  <a:cubicBezTo>
                    <a:pt x="136" y="33"/>
                    <a:pt x="136" y="32"/>
                    <a:pt x="135" y="31"/>
                  </a:cubicBezTo>
                  <a:cubicBezTo>
                    <a:pt x="135" y="30"/>
                    <a:pt x="135" y="29"/>
                    <a:pt x="134" y="28"/>
                  </a:cubicBezTo>
                  <a:cubicBezTo>
                    <a:pt x="134" y="28"/>
                    <a:pt x="134" y="27"/>
                    <a:pt x="134" y="27"/>
                  </a:cubicBezTo>
                  <a:cubicBezTo>
                    <a:pt x="134" y="26"/>
                    <a:pt x="134" y="26"/>
                    <a:pt x="134" y="25"/>
                  </a:cubicBezTo>
                  <a:cubicBezTo>
                    <a:pt x="134" y="25"/>
                    <a:pt x="134" y="25"/>
                    <a:pt x="134" y="24"/>
                  </a:cubicBezTo>
                  <a:cubicBezTo>
                    <a:pt x="133" y="24"/>
                    <a:pt x="134" y="23"/>
                    <a:pt x="133" y="23"/>
                  </a:cubicBezTo>
                  <a:cubicBezTo>
                    <a:pt x="133" y="23"/>
                    <a:pt x="133" y="22"/>
                    <a:pt x="133" y="22"/>
                  </a:cubicBezTo>
                  <a:cubicBezTo>
                    <a:pt x="133" y="21"/>
                    <a:pt x="133" y="21"/>
                    <a:pt x="132" y="21"/>
                  </a:cubicBezTo>
                  <a:cubicBezTo>
                    <a:pt x="132" y="21"/>
                    <a:pt x="132" y="20"/>
                    <a:pt x="132" y="20"/>
                  </a:cubicBezTo>
                  <a:cubicBezTo>
                    <a:pt x="131" y="20"/>
                    <a:pt x="131" y="19"/>
                    <a:pt x="131" y="19"/>
                  </a:cubicBezTo>
                  <a:cubicBezTo>
                    <a:pt x="130" y="18"/>
                    <a:pt x="130" y="17"/>
                    <a:pt x="129" y="16"/>
                  </a:cubicBezTo>
                  <a:cubicBezTo>
                    <a:pt x="129" y="16"/>
                    <a:pt x="128" y="15"/>
                    <a:pt x="128" y="14"/>
                  </a:cubicBezTo>
                  <a:cubicBezTo>
                    <a:pt x="128" y="13"/>
                    <a:pt x="127" y="12"/>
                    <a:pt x="128" y="10"/>
                  </a:cubicBezTo>
                  <a:cubicBezTo>
                    <a:pt x="128" y="9"/>
                    <a:pt x="128" y="8"/>
                    <a:pt x="128" y="7"/>
                  </a:cubicBezTo>
                  <a:cubicBezTo>
                    <a:pt x="128" y="6"/>
                    <a:pt x="128" y="6"/>
                    <a:pt x="128" y="5"/>
                  </a:cubicBezTo>
                  <a:cubicBezTo>
                    <a:pt x="128" y="5"/>
                    <a:pt x="128" y="4"/>
                    <a:pt x="128" y="4"/>
                  </a:cubicBezTo>
                  <a:cubicBezTo>
                    <a:pt x="128" y="3"/>
                    <a:pt x="129" y="2"/>
                    <a:pt x="128" y="1"/>
                  </a:cubicBezTo>
                  <a:cubicBezTo>
                    <a:pt x="128" y="1"/>
                    <a:pt x="128" y="1"/>
                    <a:pt x="128" y="0"/>
                  </a:cubicBezTo>
                  <a:cubicBezTo>
                    <a:pt x="30" y="0"/>
                    <a:pt x="30" y="0"/>
                    <a:pt x="30" y="0"/>
                  </a:cubicBezTo>
                  <a:cubicBezTo>
                    <a:pt x="30" y="0"/>
                    <a:pt x="30" y="2"/>
                    <a:pt x="30" y="2"/>
                  </a:cubicBezTo>
                  <a:cubicBezTo>
                    <a:pt x="30" y="3"/>
                    <a:pt x="31" y="3"/>
                    <a:pt x="33" y="4"/>
                  </a:cubicBezTo>
                  <a:cubicBezTo>
                    <a:pt x="34" y="5"/>
                    <a:pt x="35" y="6"/>
                    <a:pt x="36" y="7"/>
                  </a:cubicBezTo>
                  <a:cubicBezTo>
                    <a:pt x="37" y="8"/>
                    <a:pt x="37" y="9"/>
                    <a:pt x="37" y="10"/>
                  </a:cubicBezTo>
                  <a:cubicBezTo>
                    <a:pt x="37" y="12"/>
                    <a:pt x="38" y="13"/>
                    <a:pt x="39" y="14"/>
                  </a:cubicBezTo>
                  <a:cubicBezTo>
                    <a:pt x="41" y="15"/>
                    <a:pt x="45" y="18"/>
                    <a:pt x="46" y="19"/>
                  </a:cubicBezTo>
                  <a:cubicBezTo>
                    <a:pt x="47" y="20"/>
                    <a:pt x="47" y="23"/>
                    <a:pt x="47" y="24"/>
                  </a:cubicBezTo>
                  <a:cubicBezTo>
                    <a:pt x="47" y="26"/>
                    <a:pt x="47" y="29"/>
                    <a:pt x="46" y="31"/>
                  </a:cubicBezTo>
                  <a:cubicBezTo>
                    <a:pt x="46" y="32"/>
                    <a:pt x="45" y="33"/>
                    <a:pt x="44" y="34"/>
                  </a:cubicBezTo>
                  <a:cubicBezTo>
                    <a:pt x="42" y="35"/>
                    <a:pt x="41" y="36"/>
                    <a:pt x="41" y="38"/>
                  </a:cubicBezTo>
                  <a:cubicBezTo>
                    <a:pt x="41" y="39"/>
                    <a:pt x="41" y="41"/>
                    <a:pt x="40" y="42"/>
                  </a:cubicBezTo>
                  <a:cubicBezTo>
                    <a:pt x="39" y="44"/>
                    <a:pt x="39" y="44"/>
                    <a:pt x="38" y="44"/>
                  </a:cubicBezTo>
                  <a:cubicBezTo>
                    <a:pt x="37" y="45"/>
                    <a:pt x="36" y="46"/>
                    <a:pt x="35" y="46"/>
                  </a:cubicBezTo>
                  <a:cubicBezTo>
                    <a:pt x="34" y="47"/>
                    <a:pt x="33" y="46"/>
                    <a:pt x="31" y="46"/>
                  </a:cubicBezTo>
                  <a:cubicBezTo>
                    <a:pt x="30" y="47"/>
                    <a:pt x="30" y="47"/>
                    <a:pt x="29" y="48"/>
                  </a:cubicBezTo>
                  <a:cubicBezTo>
                    <a:pt x="29" y="49"/>
                    <a:pt x="25" y="49"/>
                    <a:pt x="24" y="49"/>
                  </a:cubicBezTo>
                  <a:cubicBezTo>
                    <a:pt x="24" y="49"/>
                    <a:pt x="23" y="49"/>
                    <a:pt x="22" y="49"/>
                  </a:cubicBezTo>
                  <a:cubicBezTo>
                    <a:pt x="21" y="50"/>
                    <a:pt x="21" y="50"/>
                    <a:pt x="20" y="51"/>
                  </a:cubicBezTo>
                  <a:cubicBezTo>
                    <a:pt x="19" y="51"/>
                    <a:pt x="19" y="50"/>
                    <a:pt x="18" y="50"/>
                  </a:cubicBezTo>
                  <a:cubicBezTo>
                    <a:pt x="17" y="50"/>
                    <a:pt x="17" y="51"/>
                    <a:pt x="16" y="51"/>
                  </a:cubicBezTo>
                  <a:cubicBezTo>
                    <a:pt x="16" y="51"/>
                    <a:pt x="15" y="53"/>
                    <a:pt x="15" y="53"/>
                  </a:cubicBezTo>
                  <a:cubicBezTo>
                    <a:pt x="15" y="54"/>
                    <a:pt x="14" y="56"/>
                    <a:pt x="14" y="57"/>
                  </a:cubicBezTo>
                  <a:cubicBezTo>
                    <a:pt x="14" y="58"/>
                    <a:pt x="14" y="59"/>
                    <a:pt x="14" y="60"/>
                  </a:cubicBezTo>
                  <a:cubicBezTo>
                    <a:pt x="15" y="60"/>
                    <a:pt x="17" y="62"/>
                    <a:pt x="18" y="64"/>
                  </a:cubicBezTo>
                  <a:cubicBezTo>
                    <a:pt x="19" y="65"/>
                    <a:pt x="19" y="69"/>
                    <a:pt x="19" y="70"/>
                  </a:cubicBezTo>
                  <a:cubicBezTo>
                    <a:pt x="19" y="71"/>
                    <a:pt x="19" y="74"/>
                    <a:pt x="18" y="75"/>
                  </a:cubicBezTo>
                  <a:cubicBezTo>
                    <a:pt x="17" y="76"/>
                    <a:pt x="15" y="77"/>
                    <a:pt x="15" y="78"/>
                  </a:cubicBezTo>
                  <a:cubicBezTo>
                    <a:pt x="14" y="79"/>
                    <a:pt x="14" y="80"/>
                    <a:pt x="14" y="81"/>
                  </a:cubicBezTo>
                  <a:cubicBezTo>
                    <a:pt x="14" y="81"/>
                    <a:pt x="14" y="83"/>
                    <a:pt x="14" y="84"/>
                  </a:cubicBezTo>
                  <a:cubicBezTo>
                    <a:pt x="13" y="85"/>
                    <a:pt x="13" y="85"/>
                    <a:pt x="12" y="86"/>
                  </a:cubicBezTo>
                  <a:cubicBezTo>
                    <a:pt x="12" y="87"/>
                    <a:pt x="11" y="87"/>
                    <a:pt x="10" y="87"/>
                  </a:cubicBezTo>
                  <a:cubicBezTo>
                    <a:pt x="9" y="87"/>
                    <a:pt x="8" y="87"/>
                    <a:pt x="7" y="87"/>
                  </a:cubicBezTo>
                  <a:cubicBezTo>
                    <a:pt x="6" y="87"/>
                    <a:pt x="6" y="88"/>
                    <a:pt x="5" y="88"/>
                  </a:cubicBezTo>
                  <a:cubicBezTo>
                    <a:pt x="5" y="89"/>
                    <a:pt x="4" y="89"/>
                    <a:pt x="4" y="90"/>
                  </a:cubicBezTo>
                  <a:cubicBezTo>
                    <a:pt x="4" y="91"/>
                    <a:pt x="4" y="92"/>
                    <a:pt x="4" y="92"/>
                  </a:cubicBezTo>
                  <a:cubicBezTo>
                    <a:pt x="4" y="93"/>
                    <a:pt x="5" y="94"/>
                    <a:pt x="5" y="95"/>
                  </a:cubicBezTo>
                  <a:cubicBezTo>
                    <a:pt x="5" y="95"/>
                    <a:pt x="5" y="97"/>
                    <a:pt x="4" y="98"/>
                  </a:cubicBezTo>
                  <a:cubicBezTo>
                    <a:pt x="4" y="98"/>
                    <a:pt x="3" y="99"/>
                    <a:pt x="3" y="99"/>
                  </a:cubicBezTo>
                  <a:cubicBezTo>
                    <a:pt x="3" y="99"/>
                    <a:pt x="1" y="102"/>
                    <a:pt x="1" y="102"/>
                  </a:cubicBezTo>
                  <a:cubicBezTo>
                    <a:pt x="1" y="102"/>
                    <a:pt x="0" y="104"/>
                    <a:pt x="0" y="104"/>
                  </a:cubicBezTo>
                  <a:cubicBezTo>
                    <a:pt x="0" y="104"/>
                    <a:pt x="0" y="108"/>
                    <a:pt x="0" y="108"/>
                  </a:cubicBezTo>
                  <a:cubicBezTo>
                    <a:pt x="0" y="108"/>
                    <a:pt x="1" y="113"/>
                    <a:pt x="1" y="113"/>
                  </a:cubicBezTo>
                  <a:cubicBezTo>
                    <a:pt x="1" y="113"/>
                    <a:pt x="1" y="114"/>
                    <a:pt x="1" y="114"/>
                  </a:cubicBezTo>
                  <a:cubicBezTo>
                    <a:pt x="1" y="114"/>
                    <a:pt x="2" y="116"/>
                    <a:pt x="2" y="116"/>
                  </a:cubicBezTo>
                  <a:cubicBezTo>
                    <a:pt x="3" y="119"/>
                    <a:pt x="3" y="119"/>
                    <a:pt x="3" y="119"/>
                  </a:cubicBezTo>
                  <a:cubicBezTo>
                    <a:pt x="3" y="119"/>
                    <a:pt x="3" y="121"/>
                    <a:pt x="3" y="121"/>
                  </a:cubicBezTo>
                  <a:cubicBezTo>
                    <a:pt x="3" y="121"/>
                    <a:pt x="3" y="123"/>
                    <a:pt x="3" y="123"/>
                  </a:cubicBezTo>
                  <a:cubicBezTo>
                    <a:pt x="5" y="125"/>
                    <a:pt x="5" y="125"/>
                    <a:pt x="5" y="125"/>
                  </a:cubicBezTo>
                  <a:cubicBezTo>
                    <a:pt x="5" y="127"/>
                    <a:pt x="5" y="127"/>
                    <a:pt x="5" y="127"/>
                  </a:cubicBezTo>
                  <a:cubicBezTo>
                    <a:pt x="7" y="130"/>
                    <a:pt x="7" y="130"/>
                    <a:pt x="7" y="130"/>
                  </a:cubicBezTo>
                  <a:cubicBezTo>
                    <a:pt x="12" y="134"/>
                    <a:pt x="12" y="134"/>
                    <a:pt x="12" y="134"/>
                  </a:cubicBezTo>
                  <a:cubicBezTo>
                    <a:pt x="12" y="134"/>
                    <a:pt x="12" y="136"/>
                    <a:pt x="12" y="136"/>
                  </a:cubicBezTo>
                  <a:cubicBezTo>
                    <a:pt x="12" y="136"/>
                    <a:pt x="14" y="136"/>
                    <a:pt x="14" y="136"/>
                  </a:cubicBezTo>
                  <a:cubicBezTo>
                    <a:pt x="14" y="136"/>
                    <a:pt x="17" y="141"/>
                    <a:pt x="17" y="141"/>
                  </a:cubicBezTo>
                  <a:cubicBezTo>
                    <a:pt x="19" y="142"/>
                    <a:pt x="19" y="142"/>
                    <a:pt x="19" y="142"/>
                  </a:cubicBezTo>
                  <a:cubicBezTo>
                    <a:pt x="27" y="149"/>
                    <a:pt x="27" y="149"/>
                    <a:pt x="27" y="149"/>
                  </a:cubicBezTo>
                  <a:cubicBezTo>
                    <a:pt x="29" y="156"/>
                    <a:pt x="29" y="156"/>
                    <a:pt x="29" y="156"/>
                  </a:cubicBezTo>
                  <a:cubicBezTo>
                    <a:pt x="28" y="158"/>
                    <a:pt x="28" y="158"/>
                    <a:pt x="28" y="158"/>
                  </a:cubicBezTo>
                  <a:cubicBezTo>
                    <a:pt x="28" y="158"/>
                    <a:pt x="28" y="159"/>
                    <a:pt x="28" y="159"/>
                  </a:cubicBezTo>
                  <a:cubicBezTo>
                    <a:pt x="28" y="160"/>
                    <a:pt x="29" y="161"/>
                    <a:pt x="29" y="161"/>
                  </a:cubicBezTo>
                  <a:cubicBezTo>
                    <a:pt x="29" y="161"/>
                    <a:pt x="30" y="166"/>
                    <a:pt x="30" y="166"/>
                  </a:cubicBezTo>
                  <a:cubicBezTo>
                    <a:pt x="30" y="166"/>
                    <a:pt x="32" y="166"/>
                    <a:pt x="32" y="166"/>
                  </a:cubicBezTo>
                  <a:cubicBezTo>
                    <a:pt x="32" y="166"/>
                    <a:pt x="34" y="166"/>
                    <a:pt x="34" y="166"/>
                  </a:cubicBezTo>
                  <a:cubicBezTo>
                    <a:pt x="34" y="165"/>
                    <a:pt x="37" y="162"/>
                    <a:pt x="37" y="162"/>
                  </a:cubicBezTo>
                  <a:cubicBezTo>
                    <a:pt x="43" y="163"/>
                    <a:pt x="43" y="163"/>
                    <a:pt x="43" y="163"/>
                  </a:cubicBezTo>
                  <a:cubicBezTo>
                    <a:pt x="48" y="167"/>
                    <a:pt x="48" y="167"/>
                    <a:pt x="48" y="167"/>
                  </a:cubicBezTo>
                  <a:cubicBezTo>
                    <a:pt x="48" y="167"/>
                    <a:pt x="47" y="170"/>
                    <a:pt x="47" y="171"/>
                  </a:cubicBezTo>
                  <a:cubicBezTo>
                    <a:pt x="47" y="171"/>
                    <a:pt x="45" y="173"/>
                    <a:pt x="45" y="173"/>
                  </a:cubicBezTo>
                  <a:cubicBezTo>
                    <a:pt x="45" y="174"/>
                    <a:pt x="45" y="177"/>
                    <a:pt x="45" y="177"/>
                  </a:cubicBezTo>
                  <a:cubicBezTo>
                    <a:pt x="45" y="177"/>
                    <a:pt x="44" y="181"/>
                    <a:pt x="44" y="181"/>
                  </a:cubicBezTo>
                  <a:cubicBezTo>
                    <a:pt x="44" y="181"/>
                    <a:pt x="43" y="183"/>
                    <a:pt x="43" y="183"/>
                  </a:cubicBezTo>
                  <a:cubicBezTo>
                    <a:pt x="43" y="183"/>
                    <a:pt x="42" y="185"/>
                    <a:pt x="42" y="185"/>
                  </a:cubicBezTo>
                  <a:cubicBezTo>
                    <a:pt x="42" y="185"/>
                    <a:pt x="40" y="188"/>
                    <a:pt x="40" y="189"/>
                  </a:cubicBezTo>
                  <a:cubicBezTo>
                    <a:pt x="40" y="189"/>
                    <a:pt x="40" y="191"/>
                    <a:pt x="40" y="191"/>
                  </a:cubicBezTo>
                  <a:cubicBezTo>
                    <a:pt x="40" y="191"/>
                    <a:pt x="40" y="196"/>
                    <a:pt x="40" y="196"/>
                  </a:cubicBezTo>
                  <a:cubicBezTo>
                    <a:pt x="51" y="205"/>
                    <a:pt x="51" y="205"/>
                    <a:pt x="51" y="205"/>
                  </a:cubicBezTo>
                  <a:cubicBezTo>
                    <a:pt x="55" y="207"/>
                    <a:pt x="55" y="207"/>
                    <a:pt x="55" y="207"/>
                  </a:cubicBezTo>
                  <a:cubicBezTo>
                    <a:pt x="53" y="207"/>
                    <a:pt x="53" y="207"/>
                    <a:pt x="53" y="207"/>
                  </a:cubicBezTo>
                  <a:cubicBezTo>
                    <a:pt x="53" y="207"/>
                    <a:pt x="53" y="209"/>
                    <a:pt x="53" y="209"/>
                  </a:cubicBezTo>
                  <a:cubicBezTo>
                    <a:pt x="53" y="210"/>
                    <a:pt x="55" y="210"/>
                    <a:pt x="55" y="210"/>
                  </a:cubicBezTo>
                  <a:cubicBezTo>
                    <a:pt x="55" y="210"/>
                    <a:pt x="57" y="210"/>
                    <a:pt x="57" y="209"/>
                  </a:cubicBezTo>
                  <a:cubicBezTo>
                    <a:pt x="57" y="209"/>
                    <a:pt x="58" y="209"/>
                    <a:pt x="58" y="209"/>
                  </a:cubicBezTo>
                  <a:cubicBezTo>
                    <a:pt x="64" y="213"/>
                    <a:pt x="64" y="213"/>
                    <a:pt x="64" y="213"/>
                  </a:cubicBezTo>
                  <a:cubicBezTo>
                    <a:pt x="64" y="213"/>
                    <a:pt x="63" y="215"/>
                    <a:pt x="63" y="216"/>
                  </a:cubicBezTo>
                  <a:cubicBezTo>
                    <a:pt x="63" y="216"/>
                    <a:pt x="65" y="216"/>
                    <a:pt x="66" y="216"/>
                  </a:cubicBezTo>
                  <a:cubicBezTo>
                    <a:pt x="66" y="216"/>
                    <a:pt x="69" y="218"/>
                    <a:pt x="69" y="219"/>
                  </a:cubicBezTo>
                  <a:cubicBezTo>
                    <a:pt x="69" y="219"/>
                    <a:pt x="70" y="220"/>
                    <a:pt x="70" y="221"/>
                  </a:cubicBezTo>
                  <a:cubicBezTo>
                    <a:pt x="70" y="221"/>
                    <a:pt x="70" y="223"/>
                    <a:pt x="70" y="223"/>
                  </a:cubicBezTo>
                  <a:cubicBezTo>
                    <a:pt x="69" y="223"/>
                    <a:pt x="69" y="223"/>
                    <a:pt x="69" y="223"/>
                  </a:cubicBezTo>
                  <a:cubicBezTo>
                    <a:pt x="69" y="223"/>
                    <a:pt x="69" y="224"/>
                    <a:pt x="69" y="224"/>
                  </a:cubicBezTo>
                  <a:cubicBezTo>
                    <a:pt x="69" y="224"/>
                    <a:pt x="69" y="226"/>
                    <a:pt x="69" y="226"/>
                  </a:cubicBezTo>
                  <a:cubicBezTo>
                    <a:pt x="70" y="226"/>
                    <a:pt x="71" y="229"/>
                    <a:pt x="71" y="229"/>
                  </a:cubicBezTo>
                  <a:cubicBezTo>
                    <a:pt x="71" y="229"/>
                    <a:pt x="72" y="231"/>
                    <a:pt x="72" y="231"/>
                  </a:cubicBezTo>
                  <a:cubicBezTo>
                    <a:pt x="72" y="232"/>
                    <a:pt x="71" y="233"/>
                    <a:pt x="71" y="233"/>
                  </a:cubicBezTo>
                  <a:cubicBezTo>
                    <a:pt x="71" y="233"/>
                    <a:pt x="70" y="234"/>
                    <a:pt x="70" y="234"/>
                  </a:cubicBezTo>
                  <a:cubicBezTo>
                    <a:pt x="69" y="235"/>
                    <a:pt x="69" y="235"/>
                    <a:pt x="69" y="235"/>
                  </a:cubicBezTo>
                  <a:cubicBezTo>
                    <a:pt x="69" y="235"/>
                    <a:pt x="69" y="236"/>
                    <a:pt x="69" y="236"/>
                  </a:cubicBezTo>
                  <a:cubicBezTo>
                    <a:pt x="69" y="237"/>
                    <a:pt x="71" y="237"/>
                    <a:pt x="71" y="237"/>
                  </a:cubicBezTo>
                  <a:cubicBezTo>
                    <a:pt x="71" y="237"/>
                    <a:pt x="71" y="239"/>
                    <a:pt x="71" y="239"/>
                  </a:cubicBezTo>
                  <a:cubicBezTo>
                    <a:pt x="73" y="243"/>
                    <a:pt x="73" y="243"/>
                    <a:pt x="73" y="243"/>
                  </a:cubicBezTo>
                  <a:cubicBezTo>
                    <a:pt x="73" y="243"/>
                    <a:pt x="73" y="244"/>
                    <a:pt x="73" y="245"/>
                  </a:cubicBezTo>
                  <a:cubicBezTo>
                    <a:pt x="73" y="245"/>
                    <a:pt x="74" y="247"/>
                    <a:pt x="74" y="247"/>
                  </a:cubicBezTo>
                  <a:cubicBezTo>
                    <a:pt x="74" y="247"/>
                    <a:pt x="76" y="248"/>
                    <a:pt x="76" y="248"/>
                  </a:cubicBezTo>
                  <a:cubicBezTo>
                    <a:pt x="76" y="248"/>
                    <a:pt x="77" y="248"/>
                    <a:pt x="77" y="248"/>
                  </a:cubicBezTo>
                  <a:cubicBezTo>
                    <a:pt x="77" y="248"/>
                    <a:pt x="78" y="247"/>
                    <a:pt x="78" y="247"/>
                  </a:cubicBezTo>
                  <a:cubicBezTo>
                    <a:pt x="78" y="247"/>
                    <a:pt x="77" y="246"/>
                    <a:pt x="77" y="246"/>
                  </a:cubicBezTo>
                  <a:cubicBezTo>
                    <a:pt x="77" y="246"/>
                    <a:pt x="76" y="245"/>
                    <a:pt x="76" y="245"/>
                  </a:cubicBezTo>
                  <a:cubicBezTo>
                    <a:pt x="78" y="245"/>
                    <a:pt x="78" y="245"/>
                    <a:pt x="78" y="245"/>
                  </a:cubicBezTo>
                  <a:cubicBezTo>
                    <a:pt x="78" y="245"/>
                    <a:pt x="79" y="247"/>
                    <a:pt x="79" y="248"/>
                  </a:cubicBezTo>
                  <a:cubicBezTo>
                    <a:pt x="79" y="248"/>
                    <a:pt x="80" y="249"/>
                    <a:pt x="80" y="249"/>
                  </a:cubicBezTo>
                  <a:cubicBezTo>
                    <a:pt x="82" y="249"/>
                    <a:pt x="82" y="249"/>
                    <a:pt x="82" y="249"/>
                  </a:cubicBezTo>
                  <a:cubicBezTo>
                    <a:pt x="82" y="249"/>
                    <a:pt x="82" y="249"/>
                    <a:pt x="82" y="249"/>
                  </a:cubicBezTo>
                  <a:cubicBezTo>
                    <a:pt x="82" y="249"/>
                    <a:pt x="81" y="247"/>
                    <a:pt x="81" y="247"/>
                  </a:cubicBezTo>
                  <a:cubicBezTo>
                    <a:pt x="81" y="247"/>
                    <a:pt x="82" y="244"/>
                    <a:pt x="82" y="244"/>
                  </a:cubicBezTo>
                  <a:cubicBezTo>
                    <a:pt x="82" y="244"/>
                    <a:pt x="85" y="240"/>
                    <a:pt x="85" y="240"/>
                  </a:cubicBezTo>
                  <a:cubicBezTo>
                    <a:pt x="87" y="238"/>
                    <a:pt x="87" y="238"/>
                    <a:pt x="87" y="238"/>
                  </a:cubicBezTo>
                  <a:cubicBezTo>
                    <a:pt x="87" y="238"/>
                    <a:pt x="92" y="239"/>
                    <a:pt x="92" y="239"/>
                  </a:cubicBezTo>
                  <a:cubicBezTo>
                    <a:pt x="92" y="239"/>
                    <a:pt x="99" y="243"/>
                    <a:pt x="99" y="243"/>
                  </a:cubicBezTo>
                  <a:cubicBezTo>
                    <a:pt x="99" y="243"/>
                    <a:pt x="103" y="246"/>
                    <a:pt x="103" y="246"/>
                  </a:cubicBezTo>
                  <a:cubicBezTo>
                    <a:pt x="106" y="245"/>
                    <a:pt x="106" y="245"/>
                    <a:pt x="106" y="245"/>
                  </a:cubicBezTo>
                  <a:cubicBezTo>
                    <a:pt x="106" y="241"/>
                    <a:pt x="106" y="241"/>
                    <a:pt x="106" y="241"/>
                  </a:cubicBezTo>
                  <a:cubicBezTo>
                    <a:pt x="106" y="241"/>
                    <a:pt x="104" y="236"/>
                    <a:pt x="104" y="236"/>
                  </a:cubicBezTo>
                  <a:cubicBezTo>
                    <a:pt x="104" y="236"/>
                    <a:pt x="104" y="232"/>
                    <a:pt x="105" y="231"/>
                  </a:cubicBezTo>
                  <a:cubicBezTo>
                    <a:pt x="105" y="231"/>
                    <a:pt x="106" y="230"/>
                    <a:pt x="106" y="230"/>
                  </a:cubicBezTo>
                  <a:cubicBezTo>
                    <a:pt x="106" y="230"/>
                    <a:pt x="109" y="231"/>
                    <a:pt x="109" y="230"/>
                  </a:cubicBezTo>
                  <a:cubicBezTo>
                    <a:pt x="109" y="230"/>
                    <a:pt x="110" y="230"/>
                    <a:pt x="111" y="229"/>
                  </a:cubicBezTo>
                  <a:cubicBezTo>
                    <a:pt x="111" y="229"/>
                    <a:pt x="113" y="228"/>
                    <a:pt x="113" y="228"/>
                  </a:cubicBezTo>
                  <a:cubicBezTo>
                    <a:pt x="114" y="228"/>
                    <a:pt x="117" y="228"/>
                    <a:pt x="118" y="228"/>
                  </a:cubicBezTo>
                  <a:cubicBezTo>
                    <a:pt x="118" y="228"/>
                    <a:pt x="119" y="227"/>
                    <a:pt x="119" y="227"/>
                  </a:cubicBezTo>
                  <a:cubicBezTo>
                    <a:pt x="119" y="225"/>
                    <a:pt x="119" y="225"/>
                    <a:pt x="119" y="225"/>
                  </a:cubicBezTo>
                  <a:cubicBezTo>
                    <a:pt x="119" y="225"/>
                    <a:pt x="117" y="223"/>
                    <a:pt x="117" y="223"/>
                  </a:cubicBezTo>
                  <a:cubicBezTo>
                    <a:pt x="117" y="223"/>
                    <a:pt x="116" y="220"/>
                    <a:pt x="116" y="220"/>
                  </a:cubicBezTo>
                  <a:cubicBezTo>
                    <a:pt x="116" y="220"/>
                    <a:pt x="117" y="219"/>
                    <a:pt x="117" y="218"/>
                  </a:cubicBezTo>
                  <a:cubicBezTo>
                    <a:pt x="117" y="218"/>
                    <a:pt x="121" y="214"/>
                    <a:pt x="121" y="214"/>
                  </a:cubicBezTo>
                  <a:cubicBezTo>
                    <a:pt x="118" y="213"/>
                    <a:pt x="118" y="213"/>
                    <a:pt x="118" y="213"/>
                  </a:cubicBezTo>
                  <a:cubicBezTo>
                    <a:pt x="120" y="212"/>
                    <a:pt x="120" y="212"/>
                    <a:pt x="120" y="212"/>
                  </a:cubicBezTo>
                  <a:cubicBezTo>
                    <a:pt x="120" y="212"/>
                    <a:pt x="120" y="211"/>
                    <a:pt x="120" y="211"/>
                  </a:cubicBezTo>
                  <a:cubicBezTo>
                    <a:pt x="119" y="210"/>
                    <a:pt x="118" y="209"/>
                    <a:pt x="118" y="209"/>
                  </a:cubicBezTo>
                  <a:cubicBezTo>
                    <a:pt x="118" y="209"/>
                    <a:pt x="119" y="207"/>
                    <a:pt x="119" y="208"/>
                  </a:cubicBezTo>
                  <a:cubicBezTo>
                    <a:pt x="119" y="208"/>
                    <a:pt x="120" y="209"/>
                    <a:pt x="120" y="209"/>
                  </a:cubicBezTo>
                  <a:cubicBezTo>
                    <a:pt x="121" y="206"/>
                    <a:pt x="121" y="206"/>
                    <a:pt x="121" y="206"/>
                  </a:cubicBezTo>
                  <a:cubicBezTo>
                    <a:pt x="121" y="203"/>
                    <a:pt x="121" y="203"/>
                    <a:pt x="121" y="203"/>
                  </a:cubicBezTo>
                  <a:cubicBezTo>
                    <a:pt x="120" y="202"/>
                    <a:pt x="120" y="202"/>
                    <a:pt x="120" y="202"/>
                  </a:cubicBezTo>
                  <a:cubicBezTo>
                    <a:pt x="122" y="202"/>
                    <a:pt x="122" y="202"/>
                    <a:pt x="122" y="202"/>
                  </a:cubicBezTo>
                  <a:cubicBezTo>
                    <a:pt x="122" y="202"/>
                    <a:pt x="123" y="201"/>
                    <a:pt x="123" y="201"/>
                  </a:cubicBezTo>
                  <a:cubicBezTo>
                    <a:pt x="123" y="201"/>
                    <a:pt x="121" y="200"/>
                    <a:pt x="121" y="200"/>
                  </a:cubicBezTo>
                  <a:cubicBezTo>
                    <a:pt x="121" y="200"/>
                    <a:pt x="123" y="199"/>
                    <a:pt x="123" y="199"/>
                  </a:cubicBezTo>
                  <a:cubicBezTo>
                    <a:pt x="123" y="199"/>
                    <a:pt x="124" y="197"/>
                    <a:pt x="124" y="197"/>
                  </a:cubicBezTo>
                  <a:cubicBezTo>
                    <a:pt x="122" y="196"/>
                    <a:pt x="122" y="196"/>
                    <a:pt x="122" y="196"/>
                  </a:cubicBezTo>
                  <a:cubicBezTo>
                    <a:pt x="122" y="196"/>
                    <a:pt x="122" y="195"/>
                    <a:pt x="122" y="194"/>
                  </a:cubicBezTo>
                  <a:cubicBezTo>
                    <a:pt x="122" y="194"/>
                    <a:pt x="122" y="193"/>
                    <a:pt x="122" y="193"/>
                  </a:cubicBezTo>
                  <a:cubicBezTo>
                    <a:pt x="123" y="194"/>
                    <a:pt x="123" y="194"/>
                    <a:pt x="123" y="194"/>
                  </a:cubicBezTo>
                  <a:cubicBezTo>
                    <a:pt x="123" y="191"/>
                    <a:pt x="123" y="191"/>
                    <a:pt x="123" y="191"/>
                  </a:cubicBezTo>
                  <a:cubicBezTo>
                    <a:pt x="124" y="192"/>
                    <a:pt x="124" y="192"/>
                    <a:pt x="124" y="192"/>
                  </a:cubicBezTo>
                  <a:cubicBezTo>
                    <a:pt x="126" y="191"/>
                    <a:pt x="126" y="191"/>
                    <a:pt x="126" y="191"/>
                  </a:cubicBezTo>
                  <a:cubicBezTo>
                    <a:pt x="127" y="192"/>
                    <a:pt x="127" y="192"/>
                    <a:pt x="127" y="192"/>
                  </a:cubicBezTo>
                  <a:cubicBezTo>
                    <a:pt x="127" y="189"/>
                    <a:pt x="127" y="189"/>
                    <a:pt x="127" y="189"/>
                  </a:cubicBezTo>
                  <a:cubicBezTo>
                    <a:pt x="130" y="186"/>
                    <a:pt x="130" y="186"/>
                    <a:pt x="130" y="186"/>
                  </a:cubicBezTo>
                  <a:cubicBezTo>
                    <a:pt x="130" y="184"/>
                    <a:pt x="130" y="184"/>
                    <a:pt x="130" y="184"/>
                  </a:cubicBezTo>
                  <a:cubicBezTo>
                    <a:pt x="132" y="183"/>
                    <a:pt x="132" y="183"/>
                    <a:pt x="132" y="183"/>
                  </a:cubicBezTo>
                  <a:cubicBezTo>
                    <a:pt x="133" y="182"/>
                    <a:pt x="133" y="182"/>
                    <a:pt x="133" y="182"/>
                  </a:cubicBezTo>
                  <a:cubicBezTo>
                    <a:pt x="133" y="182"/>
                    <a:pt x="133" y="181"/>
                    <a:pt x="133" y="181"/>
                  </a:cubicBezTo>
                  <a:cubicBezTo>
                    <a:pt x="133" y="181"/>
                    <a:pt x="133" y="180"/>
                    <a:pt x="133" y="180"/>
                  </a:cubicBezTo>
                  <a:cubicBezTo>
                    <a:pt x="135" y="179"/>
                    <a:pt x="135" y="179"/>
                    <a:pt x="135" y="179"/>
                  </a:cubicBezTo>
                  <a:cubicBezTo>
                    <a:pt x="135" y="177"/>
                    <a:pt x="135" y="177"/>
                    <a:pt x="135" y="177"/>
                  </a:cubicBezTo>
                  <a:cubicBezTo>
                    <a:pt x="135" y="176"/>
                    <a:pt x="135" y="176"/>
                    <a:pt x="135" y="176"/>
                  </a:cubicBezTo>
                  <a:cubicBezTo>
                    <a:pt x="137" y="175"/>
                    <a:pt x="137" y="175"/>
                    <a:pt x="137" y="175"/>
                  </a:cubicBezTo>
                  <a:cubicBezTo>
                    <a:pt x="139" y="172"/>
                    <a:pt x="139" y="172"/>
                    <a:pt x="139" y="172"/>
                  </a:cubicBezTo>
                  <a:lnTo>
                    <a:pt x="137" y="168"/>
                  </a:lnTo>
                  <a:close/>
                </a:path>
              </a:pathLst>
            </a:custGeom>
            <a:solidFill>
              <a:srgbClr val="FF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3" name="Freeform 46">
              <a:extLst>
                <a:ext uri="{FF2B5EF4-FFF2-40B4-BE49-F238E27FC236}">
                  <a16:creationId xmlns:a16="http://schemas.microsoft.com/office/drawing/2014/main" id="{9FD78C09-93F1-1F93-8222-308A78BE5158}"/>
                </a:ext>
              </a:extLst>
            </p:cNvPr>
            <p:cNvSpPr>
              <a:spLocks/>
            </p:cNvSpPr>
            <p:nvPr/>
          </p:nvSpPr>
          <p:spPr bwMode="auto">
            <a:xfrm>
              <a:off x="3542482" y="956552"/>
              <a:ext cx="847581" cy="1372982"/>
            </a:xfrm>
            <a:custGeom>
              <a:avLst/>
              <a:gdLst>
                <a:gd name="T0" fmla="*/ 200 w 214"/>
                <a:gd name="T1" fmla="*/ 217 h 346"/>
                <a:gd name="T2" fmla="*/ 199 w 214"/>
                <a:gd name="T3" fmla="*/ 224 h 346"/>
                <a:gd name="T4" fmla="*/ 193 w 214"/>
                <a:gd name="T5" fmla="*/ 225 h 346"/>
                <a:gd name="T6" fmla="*/ 186 w 214"/>
                <a:gd name="T7" fmla="*/ 225 h 346"/>
                <a:gd name="T8" fmla="*/ 171 w 214"/>
                <a:gd name="T9" fmla="*/ 224 h 346"/>
                <a:gd name="T10" fmla="*/ 168 w 214"/>
                <a:gd name="T11" fmla="*/ 230 h 346"/>
                <a:gd name="T12" fmla="*/ 156 w 214"/>
                <a:gd name="T13" fmla="*/ 228 h 346"/>
                <a:gd name="T14" fmla="*/ 151 w 214"/>
                <a:gd name="T15" fmla="*/ 233 h 346"/>
                <a:gd name="T16" fmla="*/ 147 w 214"/>
                <a:gd name="T17" fmla="*/ 227 h 346"/>
                <a:gd name="T18" fmla="*/ 145 w 214"/>
                <a:gd name="T19" fmla="*/ 222 h 346"/>
                <a:gd name="T20" fmla="*/ 142 w 214"/>
                <a:gd name="T21" fmla="*/ 214 h 346"/>
                <a:gd name="T22" fmla="*/ 135 w 214"/>
                <a:gd name="T23" fmla="*/ 213 h 346"/>
                <a:gd name="T24" fmla="*/ 130 w 214"/>
                <a:gd name="T25" fmla="*/ 208 h 346"/>
                <a:gd name="T26" fmla="*/ 132 w 214"/>
                <a:gd name="T27" fmla="*/ 201 h 346"/>
                <a:gd name="T28" fmla="*/ 129 w 214"/>
                <a:gd name="T29" fmla="*/ 197 h 346"/>
                <a:gd name="T30" fmla="*/ 124 w 214"/>
                <a:gd name="T31" fmla="*/ 191 h 346"/>
                <a:gd name="T32" fmla="*/ 122 w 214"/>
                <a:gd name="T33" fmla="*/ 184 h 346"/>
                <a:gd name="T34" fmla="*/ 120 w 214"/>
                <a:gd name="T35" fmla="*/ 178 h 346"/>
                <a:gd name="T36" fmla="*/ 118 w 214"/>
                <a:gd name="T37" fmla="*/ 174 h 346"/>
                <a:gd name="T38" fmla="*/ 112 w 214"/>
                <a:gd name="T39" fmla="*/ 169 h 346"/>
                <a:gd name="T40" fmla="*/ 106 w 214"/>
                <a:gd name="T41" fmla="*/ 176 h 346"/>
                <a:gd name="T42" fmla="*/ 101 w 214"/>
                <a:gd name="T43" fmla="*/ 180 h 346"/>
                <a:gd name="T44" fmla="*/ 94 w 214"/>
                <a:gd name="T45" fmla="*/ 176 h 346"/>
                <a:gd name="T46" fmla="*/ 95 w 214"/>
                <a:gd name="T47" fmla="*/ 169 h 346"/>
                <a:gd name="T48" fmla="*/ 96 w 214"/>
                <a:gd name="T49" fmla="*/ 161 h 346"/>
                <a:gd name="T50" fmla="*/ 99 w 214"/>
                <a:gd name="T51" fmla="*/ 158 h 346"/>
                <a:gd name="T52" fmla="*/ 96 w 214"/>
                <a:gd name="T53" fmla="*/ 151 h 346"/>
                <a:gd name="T54" fmla="*/ 96 w 214"/>
                <a:gd name="T55" fmla="*/ 146 h 346"/>
                <a:gd name="T56" fmla="*/ 97 w 214"/>
                <a:gd name="T57" fmla="*/ 140 h 346"/>
                <a:gd name="T58" fmla="*/ 99 w 214"/>
                <a:gd name="T59" fmla="*/ 130 h 346"/>
                <a:gd name="T60" fmla="*/ 101 w 214"/>
                <a:gd name="T61" fmla="*/ 125 h 346"/>
                <a:gd name="T62" fmla="*/ 97 w 214"/>
                <a:gd name="T63" fmla="*/ 122 h 346"/>
                <a:gd name="T64" fmla="*/ 92 w 214"/>
                <a:gd name="T65" fmla="*/ 122 h 346"/>
                <a:gd name="T66" fmla="*/ 88 w 214"/>
                <a:gd name="T67" fmla="*/ 117 h 346"/>
                <a:gd name="T68" fmla="*/ 85 w 214"/>
                <a:gd name="T69" fmla="*/ 115 h 346"/>
                <a:gd name="T70" fmla="*/ 80 w 214"/>
                <a:gd name="T71" fmla="*/ 112 h 346"/>
                <a:gd name="T72" fmla="*/ 76 w 214"/>
                <a:gd name="T73" fmla="*/ 105 h 346"/>
                <a:gd name="T74" fmla="*/ 68 w 214"/>
                <a:gd name="T75" fmla="*/ 94 h 346"/>
                <a:gd name="T76" fmla="*/ 62 w 214"/>
                <a:gd name="T77" fmla="*/ 90 h 346"/>
                <a:gd name="T78" fmla="*/ 55 w 214"/>
                <a:gd name="T79" fmla="*/ 84 h 346"/>
                <a:gd name="T80" fmla="*/ 54 w 214"/>
                <a:gd name="T81" fmla="*/ 81 h 346"/>
                <a:gd name="T82" fmla="*/ 55 w 214"/>
                <a:gd name="T83" fmla="*/ 78 h 346"/>
                <a:gd name="T84" fmla="*/ 54 w 214"/>
                <a:gd name="T85" fmla="*/ 74 h 346"/>
                <a:gd name="T86" fmla="*/ 42 w 214"/>
                <a:gd name="T87" fmla="*/ 54 h 346"/>
                <a:gd name="T88" fmla="*/ 8 w 214"/>
                <a:gd name="T89" fmla="*/ 133 h 346"/>
                <a:gd name="T90" fmla="*/ 9 w 214"/>
                <a:gd name="T91" fmla="*/ 139 h 346"/>
                <a:gd name="T92" fmla="*/ 11 w 214"/>
                <a:gd name="T93" fmla="*/ 145 h 346"/>
                <a:gd name="T94" fmla="*/ 12 w 214"/>
                <a:gd name="T95" fmla="*/ 154 h 346"/>
                <a:gd name="T96" fmla="*/ 25 w 214"/>
                <a:gd name="T97" fmla="*/ 166 h 346"/>
                <a:gd name="T98" fmla="*/ 27 w 214"/>
                <a:gd name="T99" fmla="*/ 174 h 346"/>
                <a:gd name="T100" fmla="*/ 20 w 214"/>
                <a:gd name="T101" fmla="*/ 189 h 346"/>
                <a:gd name="T102" fmla="*/ 14 w 214"/>
                <a:gd name="T103" fmla="*/ 203 h 346"/>
                <a:gd name="T104" fmla="*/ 14 w 214"/>
                <a:gd name="T105" fmla="*/ 207 h 346"/>
                <a:gd name="T106" fmla="*/ 10 w 214"/>
                <a:gd name="T107" fmla="*/ 215 h 346"/>
                <a:gd name="T108" fmla="*/ 5 w 214"/>
                <a:gd name="T109" fmla="*/ 221 h 346"/>
                <a:gd name="T110" fmla="*/ 1 w 214"/>
                <a:gd name="T111" fmla="*/ 232 h 346"/>
                <a:gd name="T112" fmla="*/ 2 w 214"/>
                <a:gd name="T113" fmla="*/ 236 h 346"/>
                <a:gd name="T114" fmla="*/ 7 w 214"/>
                <a:gd name="T115" fmla="*/ 240 h 346"/>
                <a:gd name="T116" fmla="*/ 10 w 214"/>
                <a:gd name="T117" fmla="*/ 242 h 346"/>
                <a:gd name="T118" fmla="*/ 11 w 214"/>
                <a:gd name="T119" fmla="*/ 252 h 346"/>
                <a:gd name="T120" fmla="*/ 8 w 214"/>
                <a:gd name="T121" fmla="*/ 346 h 346"/>
                <a:gd name="T122" fmla="*/ 212 w 214"/>
                <a:gd name="T123" fmla="*/ 22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4" h="346">
                  <a:moveTo>
                    <a:pt x="203" y="215"/>
                  </a:moveTo>
                  <a:cubicBezTo>
                    <a:pt x="203" y="214"/>
                    <a:pt x="202" y="216"/>
                    <a:pt x="202" y="217"/>
                  </a:cubicBezTo>
                  <a:cubicBezTo>
                    <a:pt x="201" y="217"/>
                    <a:pt x="201" y="217"/>
                    <a:pt x="200" y="217"/>
                  </a:cubicBezTo>
                  <a:cubicBezTo>
                    <a:pt x="199" y="218"/>
                    <a:pt x="199" y="218"/>
                    <a:pt x="199" y="219"/>
                  </a:cubicBezTo>
                  <a:cubicBezTo>
                    <a:pt x="199" y="220"/>
                    <a:pt x="199" y="221"/>
                    <a:pt x="198" y="222"/>
                  </a:cubicBezTo>
                  <a:cubicBezTo>
                    <a:pt x="198" y="222"/>
                    <a:pt x="199" y="223"/>
                    <a:pt x="199" y="224"/>
                  </a:cubicBezTo>
                  <a:cubicBezTo>
                    <a:pt x="199" y="225"/>
                    <a:pt x="200" y="225"/>
                    <a:pt x="199" y="225"/>
                  </a:cubicBezTo>
                  <a:cubicBezTo>
                    <a:pt x="199" y="225"/>
                    <a:pt x="197" y="225"/>
                    <a:pt x="197" y="225"/>
                  </a:cubicBezTo>
                  <a:cubicBezTo>
                    <a:pt x="196" y="225"/>
                    <a:pt x="194" y="224"/>
                    <a:pt x="193" y="225"/>
                  </a:cubicBezTo>
                  <a:cubicBezTo>
                    <a:pt x="191" y="225"/>
                    <a:pt x="190" y="226"/>
                    <a:pt x="189" y="226"/>
                  </a:cubicBezTo>
                  <a:cubicBezTo>
                    <a:pt x="188" y="227"/>
                    <a:pt x="187" y="227"/>
                    <a:pt x="187" y="227"/>
                  </a:cubicBezTo>
                  <a:cubicBezTo>
                    <a:pt x="187" y="227"/>
                    <a:pt x="186" y="225"/>
                    <a:pt x="186" y="225"/>
                  </a:cubicBezTo>
                  <a:cubicBezTo>
                    <a:pt x="186" y="225"/>
                    <a:pt x="184" y="225"/>
                    <a:pt x="183" y="225"/>
                  </a:cubicBezTo>
                  <a:cubicBezTo>
                    <a:pt x="183" y="225"/>
                    <a:pt x="179" y="226"/>
                    <a:pt x="179" y="226"/>
                  </a:cubicBezTo>
                  <a:cubicBezTo>
                    <a:pt x="178" y="226"/>
                    <a:pt x="172" y="224"/>
                    <a:pt x="171" y="224"/>
                  </a:cubicBezTo>
                  <a:cubicBezTo>
                    <a:pt x="171" y="224"/>
                    <a:pt x="170" y="224"/>
                    <a:pt x="170" y="224"/>
                  </a:cubicBezTo>
                  <a:cubicBezTo>
                    <a:pt x="169" y="224"/>
                    <a:pt x="169" y="227"/>
                    <a:pt x="169" y="228"/>
                  </a:cubicBezTo>
                  <a:cubicBezTo>
                    <a:pt x="168" y="229"/>
                    <a:pt x="168" y="230"/>
                    <a:pt x="168" y="230"/>
                  </a:cubicBezTo>
                  <a:cubicBezTo>
                    <a:pt x="168" y="230"/>
                    <a:pt x="166" y="230"/>
                    <a:pt x="165" y="229"/>
                  </a:cubicBezTo>
                  <a:cubicBezTo>
                    <a:pt x="163" y="229"/>
                    <a:pt x="161" y="229"/>
                    <a:pt x="159" y="228"/>
                  </a:cubicBezTo>
                  <a:cubicBezTo>
                    <a:pt x="157" y="227"/>
                    <a:pt x="157" y="228"/>
                    <a:pt x="156" y="228"/>
                  </a:cubicBezTo>
                  <a:cubicBezTo>
                    <a:pt x="155" y="229"/>
                    <a:pt x="154" y="229"/>
                    <a:pt x="153" y="230"/>
                  </a:cubicBezTo>
                  <a:cubicBezTo>
                    <a:pt x="153" y="231"/>
                    <a:pt x="153" y="233"/>
                    <a:pt x="153" y="234"/>
                  </a:cubicBezTo>
                  <a:cubicBezTo>
                    <a:pt x="153" y="234"/>
                    <a:pt x="152" y="234"/>
                    <a:pt x="151" y="233"/>
                  </a:cubicBezTo>
                  <a:cubicBezTo>
                    <a:pt x="150" y="232"/>
                    <a:pt x="149" y="232"/>
                    <a:pt x="148" y="231"/>
                  </a:cubicBezTo>
                  <a:cubicBezTo>
                    <a:pt x="148" y="230"/>
                    <a:pt x="147" y="230"/>
                    <a:pt x="147" y="229"/>
                  </a:cubicBezTo>
                  <a:cubicBezTo>
                    <a:pt x="146" y="228"/>
                    <a:pt x="147" y="228"/>
                    <a:pt x="147" y="227"/>
                  </a:cubicBezTo>
                  <a:cubicBezTo>
                    <a:pt x="147" y="226"/>
                    <a:pt x="146" y="226"/>
                    <a:pt x="146" y="225"/>
                  </a:cubicBezTo>
                  <a:cubicBezTo>
                    <a:pt x="146" y="224"/>
                    <a:pt x="144" y="223"/>
                    <a:pt x="144" y="223"/>
                  </a:cubicBezTo>
                  <a:cubicBezTo>
                    <a:pt x="144" y="223"/>
                    <a:pt x="145" y="222"/>
                    <a:pt x="145" y="222"/>
                  </a:cubicBezTo>
                  <a:cubicBezTo>
                    <a:pt x="145" y="221"/>
                    <a:pt x="145" y="221"/>
                    <a:pt x="145" y="220"/>
                  </a:cubicBezTo>
                  <a:cubicBezTo>
                    <a:pt x="144" y="219"/>
                    <a:pt x="144" y="218"/>
                    <a:pt x="144" y="217"/>
                  </a:cubicBezTo>
                  <a:cubicBezTo>
                    <a:pt x="143" y="216"/>
                    <a:pt x="142" y="215"/>
                    <a:pt x="142" y="214"/>
                  </a:cubicBezTo>
                  <a:cubicBezTo>
                    <a:pt x="141" y="214"/>
                    <a:pt x="140" y="213"/>
                    <a:pt x="139" y="212"/>
                  </a:cubicBezTo>
                  <a:cubicBezTo>
                    <a:pt x="138" y="212"/>
                    <a:pt x="138" y="212"/>
                    <a:pt x="137" y="212"/>
                  </a:cubicBezTo>
                  <a:cubicBezTo>
                    <a:pt x="136" y="213"/>
                    <a:pt x="135" y="213"/>
                    <a:pt x="135" y="213"/>
                  </a:cubicBezTo>
                  <a:cubicBezTo>
                    <a:pt x="135" y="213"/>
                    <a:pt x="134" y="212"/>
                    <a:pt x="134" y="212"/>
                  </a:cubicBezTo>
                  <a:cubicBezTo>
                    <a:pt x="134" y="211"/>
                    <a:pt x="133" y="211"/>
                    <a:pt x="133" y="210"/>
                  </a:cubicBezTo>
                  <a:cubicBezTo>
                    <a:pt x="132" y="210"/>
                    <a:pt x="131" y="208"/>
                    <a:pt x="130" y="208"/>
                  </a:cubicBezTo>
                  <a:cubicBezTo>
                    <a:pt x="130" y="207"/>
                    <a:pt x="130" y="206"/>
                    <a:pt x="130" y="206"/>
                  </a:cubicBezTo>
                  <a:cubicBezTo>
                    <a:pt x="130" y="205"/>
                    <a:pt x="132" y="205"/>
                    <a:pt x="132" y="205"/>
                  </a:cubicBezTo>
                  <a:cubicBezTo>
                    <a:pt x="132" y="205"/>
                    <a:pt x="132" y="202"/>
                    <a:pt x="132" y="201"/>
                  </a:cubicBezTo>
                  <a:cubicBezTo>
                    <a:pt x="132" y="200"/>
                    <a:pt x="131" y="200"/>
                    <a:pt x="131" y="200"/>
                  </a:cubicBezTo>
                  <a:cubicBezTo>
                    <a:pt x="131" y="199"/>
                    <a:pt x="130" y="199"/>
                    <a:pt x="130" y="199"/>
                  </a:cubicBezTo>
                  <a:cubicBezTo>
                    <a:pt x="130" y="199"/>
                    <a:pt x="129" y="198"/>
                    <a:pt x="129" y="197"/>
                  </a:cubicBezTo>
                  <a:cubicBezTo>
                    <a:pt x="129" y="197"/>
                    <a:pt x="128" y="197"/>
                    <a:pt x="127" y="196"/>
                  </a:cubicBezTo>
                  <a:cubicBezTo>
                    <a:pt x="127" y="196"/>
                    <a:pt x="126" y="195"/>
                    <a:pt x="126" y="194"/>
                  </a:cubicBezTo>
                  <a:cubicBezTo>
                    <a:pt x="125" y="194"/>
                    <a:pt x="125" y="192"/>
                    <a:pt x="124" y="191"/>
                  </a:cubicBezTo>
                  <a:cubicBezTo>
                    <a:pt x="123" y="190"/>
                    <a:pt x="123" y="189"/>
                    <a:pt x="123" y="188"/>
                  </a:cubicBezTo>
                  <a:cubicBezTo>
                    <a:pt x="122" y="187"/>
                    <a:pt x="122" y="186"/>
                    <a:pt x="122" y="185"/>
                  </a:cubicBezTo>
                  <a:cubicBezTo>
                    <a:pt x="122" y="184"/>
                    <a:pt x="122" y="184"/>
                    <a:pt x="122" y="184"/>
                  </a:cubicBezTo>
                  <a:cubicBezTo>
                    <a:pt x="121" y="184"/>
                    <a:pt x="121" y="183"/>
                    <a:pt x="120" y="182"/>
                  </a:cubicBezTo>
                  <a:cubicBezTo>
                    <a:pt x="120" y="182"/>
                    <a:pt x="120" y="181"/>
                    <a:pt x="120" y="180"/>
                  </a:cubicBezTo>
                  <a:cubicBezTo>
                    <a:pt x="121" y="180"/>
                    <a:pt x="120" y="179"/>
                    <a:pt x="120" y="178"/>
                  </a:cubicBezTo>
                  <a:cubicBezTo>
                    <a:pt x="120" y="178"/>
                    <a:pt x="120" y="178"/>
                    <a:pt x="119" y="177"/>
                  </a:cubicBezTo>
                  <a:cubicBezTo>
                    <a:pt x="118" y="177"/>
                    <a:pt x="118" y="176"/>
                    <a:pt x="118" y="176"/>
                  </a:cubicBezTo>
                  <a:cubicBezTo>
                    <a:pt x="119" y="176"/>
                    <a:pt x="119" y="174"/>
                    <a:pt x="118" y="174"/>
                  </a:cubicBezTo>
                  <a:cubicBezTo>
                    <a:pt x="118" y="173"/>
                    <a:pt x="118" y="173"/>
                    <a:pt x="117" y="173"/>
                  </a:cubicBezTo>
                  <a:cubicBezTo>
                    <a:pt x="116" y="173"/>
                    <a:pt x="115" y="172"/>
                    <a:pt x="115" y="171"/>
                  </a:cubicBezTo>
                  <a:cubicBezTo>
                    <a:pt x="115" y="171"/>
                    <a:pt x="114" y="169"/>
                    <a:pt x="112" y="169"/>
                  </a:cubicBezTo>
                  <a:cubicBezTo>
                    <a:pt x="111" y="169"/>
                    <a:pt x="112" y="170"/>
                    <a:pt x="112" y="171"/>
                  </a:cubicBezTo>
                  <a:cubicBezTo>
                    <a:pt x="112" y="172"/>
                    <a:pt x="111" y="173"/>
                    <a:pt x="110" y="173"/>
                  </a:cubicBezTo>
                  <a:cubicBezTo>
                    <a:pt x="110" y="174"/>
                    <a:pt x="107" y="176"/>
                    <a:pt x="106" y="176"/>
                  </a:cubicBezTo>
                  <a:cubicBezTo>
                    <a:pt x="105" y="176"/>
                    <a:pt x="104" y="176"/>
                    <a:pt x="104" y="177"/>
                  </a:cubicBezTo>
                  <a:cubicBezTo>
                    <a:pt x="104" y="177"/>
                    <a:pt x="104" y="179"/>
                    <a:pt x="103" y="179"/>
                  </a:cubicBezTo>
                  <a:cubicBezTo>
                    <a:pt x="102" y="179"/>
                    <a:pt x="101" y="180"/>
                    <a:pt x="101" y="180"/>
                  </a:cubicBezTo>
                  <a:cubicBezTo>
                    <a:pt x="100" y="180"/>
                    <a:pt x="99" y="179"/>
                    <a:pt x="98" y="179"/>
                  </a:cubicBezTo>
                  <a:cubicBezTo>
                    <a:pt x="97" y="178"/>
                    <a:pt x="97" y="177"/>
                    <a:pt x="97" y="176"/>
                  </a:cubicBezTo>
                  <a:cubicBezTo>
                    <a:pt x="96" y="176"/>
                    <a:pt x="95" y="176"/>
                    <a:pt x="94" y="176"/>
                  </a:cubicBezTo>
                  <a:cubicBezTo>
                    <a:pt x="93" y="176"/>
                    <a:pt x="93" y="175"/>
                    <a:pt x="93" y="174"/>
                  </a:cubicBezTo>
                  <a:cubicBezTo>
                    <a:pt x="93" y="173"/>
                    <a:pt x="94" y="172"/>
                    <a:pt x="94" y="172"/>
                  </a:cubicBezTo>
                  <a:cubicBezTo>
                    <a:pt x="95" y="171"/>
                    <a:pt x="95" y="169"/>
                    <a:pt x="95" y="169"/>
                  </a:cubicBezTo>
                  <a:cubicBezTo>
                    <a:pt x="95" y="168"/>
                    <a:pt x="93" y="166"/>
                    <a:pt x="93" y="165"/>
                  </a:cubicBezTo>
                  <a:cubicBezTo>
                    <a:pt x="93" y="164"/>
                    <a:pt x="94" y="164"/>
                    <a:pt x="94" y="163"/>
                  </a:cubicBezTo>
                  <a:cubicBezTo>
                    <a:pt x="95" y="162"/>
                    <a:pt x="95" y="162"/>
                    <a:pt x="96" y="161"/>
                  </a:cubicBezTo>
                  <a:cubicBezTo>
                    <a:pt x="96" y="161"/>
                    <a:pt x="97" y="161"/>
                    <a:pt x="98" y="161"/>
                  </a:cubicBezTo>
                  <a:cubicBezTo>
                    <a:pt x="99" y="161"/>
                    <a:pt x="99" y="161"/>
                    <a:pt x="99" y="160"/>
                  </a:cubicBezTo>
                  <a:cubicBezTo>
                    <a:pt x="99" y="159"/>
                    <a:pt x="99" y="159"/>
                    <a:pt x="99" y="158"/>
                  </a:cubicBezTo>
                  <a:cubicBezTo>
                    <a:pt x="98" y="156"/>
                    <a:pt x="98" y="155"/>
                    <a:pt x="98" y="155"/>
                  </a:cubicBezTo>
                  <a:cubicBezTo>
                    <a:pt x="97" y="154"/>
                    <a:pt x="96" y="154"/>
                    <a:pt x="96" y="153"/>
                  </a:cubicBezTo>
                  <a:cubicBezTo>
                    <a:pt x="96" y="153"/>
                    <a:pt x="96" y="151"/>
                    <a:pt x="96" y="151"/>
                  </a:cubicBezTo>
                  <a:cubicBezTo>
                    <a:pt x="96" y="151"/>
                    <a:pt x="96" y="150"/>
                    <a:pt x="96" y="149"/>
                  </a:cubicBezTo>
                  <a:cubicBezTo>
                    <a:pt x="96" y="149"/>
                    <a:pt x="95" y="148"/>
                    <a:pt x="95" y="147"/>
                  </a:cubicBezTo>
                  <a:cubicBezTo>
                    <a:pt x="95" y="147"/>
                    <a:pt x="95" y="146"/>
                    <a:pt x="96" y="146"/>
                  </a:cubicBezTo>
                  <a:cubicBezTo>
                    <a:pt x="97" y="146"/>
                    <a:pt x="97" y="145"/>
                    <a:pt x="97" y="145"/>
                  </a:cubicBezTo>
                  <a:cubicBezTo>
                    <a:pt x="97" y="144"/>
                    <a:pt x="97" y="143"/>
                    <a:pt x="96" y="143"/>
                  </a:cubicBezTo>
                  <a:cubicBezTo>
                    <a:pt x="96" y="142"/>
                    <a:pt x="96" y="141"/>
                    <a:pt x="97" y="140"/>
                  </a:cubicBezTo>
                  <a:cubicBezTo>
                    <a:pt x="97" y="140"/>
                    <a:pt x="98" y="138"/>
                    <a:pt x="98" y="138"/>
                  </a:cubicBezTo>
                  <a:cubicBezTo>
                    <a:pt x="98" y="137"/>
                    <a:pt x="99" y="135"/>
                    <a:pt x="99" y="134"/>
                  </a:cubicBezTo>
                  <a:cubicBezTo>
                    <a:pt x="99" y="133"/>
                    <a:pt x="99" y="131"/>
                    <a:pt x="99" y="130"/>
                  </a:cubicBezTo>
                  <a:cubicBezTo>
                    <a:pt x="99" y="130"/>
                    <a:pt x="99" y="129"/>
                    <a:pt x="99" y="129"/>
                  </a:cubicBezTo>
                  <a:cubicBezTo>
                    <a:pt x="99" y="129"/>
                    <a:pt x="100" y="128"/>
                    <a:pt x="100" y="128"/>
                  </a:cubicBezTo>
                  <a:cubicBezTo>
                    <a:pt x="101" y="128"/>
                    <a:pt x="101" y="125"/>
                    <a:pt x="101" y="125"/>
                  </a:cubicBezTo>
                  <a:cubicBezTo>
                    <a:pt x="101" y="125"/>
                    <a:pt x="101" y="122"/>
                    <a:pt x="101" y="122"/>
                  </a:cubicBezTo>
                  <a:cubicBezTo>
                    <a:pt x="101" y="121"/>
                    <a:pt x="100" y="121"/>
                    <a:pt x="100" y="121"/>
                  </a:cubicBezTo>
                  <a:cubicBezTo>
                    <a:pt x="100" y="121"/>
                    <a:pt x="98" y="122"/>
                    <a:pt x="97" y="122"/>
                  </a:cubicBezTo>
                  <a:cubicBezTo>
                    <a:pt x="97" y="123"/>
                    <a:pt x="96" y="122"/>
                    <a:pt x="96" y="122"/>
                  </a:cubicBezTo>
                  <a:cubicBezTo>
                    <a:pt x="95" y="122"/>
                    <a:pt x="94" y="122"/>
                    <a:pt x="94" y="122"/>
                  </a:cubicBezTo>
                  <a:cubicBezTo>
                    <a:pt x="94" y="122"/>
                    <a:pt x="92" y="122"/>
                    <a:pt x="92" y="122"/>
                  </a:cubicBezTo>
                  <a:cubicBezTo>
                    <a:pt x="92" y="122"/>
                    <a:pt x="91" y="121"/>
                    <a:pt x="91" y="120"/>
                  </a:cubicBezTo>
                  <a:cubicBezTo>
                    <a:pt x="90" y="119"/>
                    <a:pt x="90" y="118"/>
                    <a:pt x="90" y="118"/>
                  </a:cubicBezTo>
                  <a:cubicBezTo>
                    <a:pt x="90" y="117"/>
                    <a:pt x="89" y="117"/>
                    <a:pt x="88" y="117"/>
                  </a:cubicBezTo>
                  <a:cubicBezTo>
                    <a:pt x="88" y="117"/>
                    <a:pt x="87" y="119"/>
                    <a:pt x="86" y="119"/>
                  </a:cubicBezTo>
                  <a:cubicBezTo>
                    <a:pt x="86" y="119"/>
                    <a:pt x="86" y="118"/>
                    <a:pt x="86" y="117"/>
                  </a:cubicBezTo>
                  <a:cubicBezTo>
                    <a:pt x="86" y="116"/>
                    <a:pt x="86" y="116"/>
                    <a:pt x="85" y="115"/>
                  </a:cubicBezTo>
                  <a:cubicBezTo>
                    <a:pt x="85" y="115"/>
                    <a:pt x="84" y="114"/>
                    <a:pt x="83" y="113"/>
                  </a:cubicBezTo>
                  <a:cubicBezTo>
                    <a:pt x="83" y="113"/>
                    <a:pt x="82" y="114"/>
                    <a:pt x="82" y="114"/>
                  </a:cubicBezTo>
                  <a:cubicBezTo>
                    <a:pt x="81" y="114"/>
                    <a:pt x="80" y="112"/>
                    <a:pt x="80" y="112"/>
                  </a:cubicBezTo>
                  <a:cubicBezTo>
                    <a:pt x="80" y="111"/>
                    <a:pt x="80" y="109"/>
                    <a:pt x="80" y="108"/>
                  </a:cubicBezTo>
                  <a:cubicBezTo>
                    <a:pt x="80" y="107"/>
                    <a:pt x="79" y="106"/>
                    <a:pt x="78" y="106"/>
                  </a:cubicBezTo>
                  <a:cubicBezTo>
                    <a:pt x="77" y="105"/>
                    <a:pt x="76" y="105"/>
                    <a:pt x="76" y="105"/>
                  </a:cubicBezTo>
                  <a:cubicBezTo>
                    <a:pt x="75" y="104"/>
                    <a:pt x="74" y="101"/>
                    <a:pt x="74" y="101"/>
                  </a:cubicBezTo>
                  <a:cubicBezTo>
                    <a:pt x="74" y="100"/>
                    <a:pt x="73" y="99"/>
                    <a:pt x="72" y="98"/>
                  </a:cubicBezTo>
                  <a:cubicBezTo>
                    <a:pt x="72" y="98"/>
                    <a:pt x="68" y="95"/>
                    <a:pt x="68" y="94"/>
                  </a:cubicBezTo>
                  <a:cubicBezTo>
                    <a:pt x="67" y="94"/>
                    <a:pt x="67" y="92"/>
                    <a:pt x="67" y="91"/>
                  </a:cubicBezTo>
                  <a:cubicBezTo>
                    <a:pt x="67" y="91"/>
                    <a:pt x="66" y="91"/>
                    <a:pt x="65" y="90"/>
                  </a:cubicBezTo>
                  <a:cubicBezTo>
                    <a:pt x="65" y="90"/>
                    <a:pt x="63" y="90"/>
                    <a:pt x="62" y="90"/>
                  </a:cubicBezTo>
                  <a:cubicBezTo>
                    <a:pt x="61" y="89"/>
                    <a:pt x="61" y="89"/>
                    <a:pt x="60" y="89"/>
                  </a:cubicBezTo>
                  <a:cubicBezTo>
                    <a:pt x="59" y="88"/>
                    <a:pt x="58" y="86"/>
                    <a:pt x="57" y="85"/>
                  </a:cubicBezTo>
                  <a:cubicBezTo>
                    <a:pt x="57" y="84"/>
                    <a:pt x="56" y="84"/>
                    <a:pt x="55" y="84"/>
                  </a:cubicBezTo>
                  <a:cubicBezTo>
                    <a:pt x="55" y="83"/>
                    <a:pt x="53" y="83"/>
                    <a:pt x="53" y="83"/>
                  </a:cubicBezTo>
                  <a:cubicBezTo>
                    <a:pt x="52" y="82"/>
                    <a:pt x="52" y="82"/>
                    <a:pt x="52" y="82"/>
                  </a:cubicBezTo>
                  <a:cubicBezTo>
                    <a:pt x="52" y="82"/>
                    <a:pt x="54" y="81"/>
                    <a:pt x="54" y="81"/>
                  </a:cubicBezTo>
                  <a:cubicBezTo>
                    <a:pt x="55" y="81"/>
                    <a:pt x="56" y="80"/>
                    <a:pt x="56" y="80"/>
                  </a:cubicBezTo>
                  <a:cubicBezTo>
                    <a:pt x="56" y="80"/>
                    <a:pt x="56" y="80"/>
                    <a:pt x="56" y="79"/>
                  </a:cubicBezTo>
                  <a:cubicBezTo>
                    <a:pt x="56" y="79"/>
                    <a:pt x="55" y="79"/>
                    <a:pt x="55" y="78"/>
                  </a:cubicBezTo>
                  <a:cubicBezTo>
                    <a:pt x="54" y="78"/>
                    <a:pt x="52" y="76"/>
                    <a:pt x="52" y="76"/>
                  </a:cubicBezTo>
                  <a:cubicBezTo>
                    <a:pt x="52" y="75"/>
                    <a:pt x="52" y="75"/>
                    <a:pt x="52" y="75"/>
                  </a:cubicBezTo>
                  <a:cubicBezTo>
                    <a:pt x="54" y="74"/>
                    <a:pt x="54" y="74"/>
                    <a:pt x="54" y="74"/>
                  </a:cubicBezTo>
                  <a:cubicBezTo>
                    <a:pt x="54" y="74"/>
                    <a:pt x="54" y="71"/>
                    <a:pt x="54" y="71"/>
                  </a:cubicBezTo>
                  <a:cubicBezTo>
                    <a:pt x="54" y="70"/>
                    <a:pt x="52" y="67"/>
                    <a:pt x="52" y="67"/>
                  </a:cubicBezTo>
                  <a:cubicBezTo>
                    <a:pt x="42" y="54"/>
                    <a:pt x="42" y="54"/>
                    <a:pt x="42" y="54"/>
                  </a:cubicBezTo>
                  <a:cubicBezTo>
                    <a:pt x="42" y="0"/>
                    <a:pt x="42" y="0"/>
                    <a:pt x="42" y="0"/>
                  </a:cubicBezTo>
                  <a:cubicBezTo>
                    <a:pt x="8" y="0"/>
                    <a:pt x="8" y="0"/>
                    <a:pt x="8" y="0"/>
                  </a:cubicBezTo>
                  <a:cubicBezTo>
                    <a:pt x="8" y="133"/>
                    <a:pt x="8" y="133"/>
                    <a:pt x="8" y="133"/>
                  </a:cubicBezTo>
                  <a:cubicBezTo>
                    <a:pt x="8" y="133"/>
                    <a:pt x="7" y="135"/>
                    <a:pt x="7" y="135"/>
                  </a:cubicBezTo>
                  <a:cubicBezTo>
                    <a:pt x="7" y="136"/>
                    <a:pt x="7" y="136"/>
                    <a:pt x="7" y="137"/>
                  </a:cubicBezTo>
                  <a:cubicBezTo>
                    <a:pt x="7" y="137"/>
                    <a:pt x="8" y="138"/>
                    <a:pt x="9" y="139"/>
                  </a:cubicBezTo>
                  <a:cubicBezTo>
                    <a:pt x="10" y="139"/>
                    <a:pt x="10" y="140"/>
                    <a:pt x="10" y="141"/>
                  </a:cubicBezTo>
                  <a:cubicBezTo>
                    <a:pt x="10" y="141"/>
                    <a:pt x="10" y="143"/>
                    <a:pt x="10" y="144"/>
                  </a:cubicBezTo>
                  <a:cubicBezTo>
                    <a:pt x="10" y="145"/>
                    <a:pt x="11" y="145"/>
                    <a:pt x="11" y="145"/>
                  </a:cubicBezTo>
                  <a:cubicBezTo>
                    <a:pt x="12" y="145"/>
                    <a:pt x="11" y="146"/>
                    <a:pt x="11" y="147"/>
                  </a:cubicBezTo>
                  <a:cubicBezTo>
                    <a:pt x="11" y="147"/>
                    <a:pt x="9" y="150"/>
                    <a:pt x="9" y="150"/>
                  </a:cubicBezTo>
                  <a:cubicBezTo>
                    <a:pt x="12" y="154"/>
                    <a:pt x="12" y="154"/>
                    <a:pt x="12" y="154"/>
                  </a:cubicBezTo>
                  <a:cubicBezTo>
                    <a:pt x="17" y="162"/>
                    <a:pt x="17" y="162"/>
                    <a:pt x="17" y="162"/>
                  </a:cubicBezTo>
                  <a:cubicBezTo>
                    <a:pt x="17" y="162"/>
                    <a:pt x="20" y="164"/>
                    <a:pt x="21" y="164"/>
                  </a:cubicBezTo>
                  <a:cubicBezTo>
                    <a:pt x="21" y="164"/>
                    <a:pt x="25" y="166"/>
                    <a:pt x="25" y="166"/>
                  </a:cubicBezTo>
                  <a:cubicBezTo>
                    <a:pt x="25" y="166"/>
                    <a:pt x="25" y="168"/>
                    <a:pt x="25" y="169"/>
                  </a:cubicBezTo>
                  <a:cubicBezTo>
                    <a:pt x="25" y="169"/>
                    <a:pt x="26" y="171"/>
                    <a:pt x="26" y="171"/>
                  </a:cubicBezTo>
                  <a:cubicBezTo>
                    <a:pt x="27" y="174"/>
                    <a:pt x="27" y="174"/>
                    <a:pt x="27" y="174"/>
                  </a:cubicBezTo>
                  <a:cubicBezTo>
                    <a:pt x="27" y="174"/>
                    <a:pt x="26" y="177"/>
                    <a:pt x="25" y="177"/>
                  </a:cubicBezTo>
                  <a:cubicBezTo>
                    <a:pt x="25" y="178"/>
                    <a:pt x="25" y="179"/>
                    <a:pt x="25" y="179"/>
                  </a:cubicBezTo>
                  <a:cubicBezTo>
                    <a:pt x="25" y="179"/>
                    <a:pt x="20" y="189"/>
                    <a:pt x="20" y="189"/>
                  </a:cubicBezTo>
                  <a:cubicBezTo>
                    <a:pt x="20" y="189"/>
                    <a:pt x="18" y="196"/>
                    <a:pt x="18" y="196"/>
                  </a:cubicBezTo>
                  <a:cubicBezTo>
                    <a:pt x="14" y="202"/>
                    <a:pt x="14" y="202"/>
                    <a:pt x="14" y="202"/>
                  </a:cubicBezTo>
                  <a:cubicBezTo>
                    <a:pt x="14" y="203"/>
                    <a:pt x="14" y="203"/>
                    <a:pt x="14" y="203"/>
                  </a:cubicBezTo>
                  <a:cubicBezTo>
                    <a:pt x="15" y="204"/>
                    <a:pt x="15" y="204"/>
                    <a:pt x="15" y="204"/>
                  </a:cubicBezTo>
                  <a:cubicBezTo>
                    <a:pt x="15" y="205"/>
                    <a:pt x="15" y="205"/>
                    <a:pt x="15" y="205"/>
                  </a:cubicBezTo>
                  <a:cubicBezTo>
                    <a:pt x="14" y="206"/>
                    <a:pt x="14" y="206"/>
                    <a:pt x="14" y="207"/>
                  </a:cubicBezTo>
                  <a:cubicBezTo>
                    <a:pt x="14" y="208"/>
                    <a:pt x="14" y="209"/>
                    <a:pt x="13" y="210"/>
                  </a:cubicBezTo>
                  <a:cubicBezTo>
                    <a:pt x="12" y="211"/>
                    <a:pt x="12" y="212"/>
                    <a:pt x="11" y="213"/>
                  </a:cubicBezTo>
                  <a:cubicBezTo>
                    <a:pt x="11" y="214"/>
                    <a:pt x="11" y="214"/>
                    <a:pt x="10" y="215"/>
                  </a:cubicBezTo>
                  <a:cubicBezTo>
                    <a:pt x="9" y="215"/>
                    <a:pt x="8" y="215"/>
                    <a:pt x="8" y="216"/>
                  </a:cubicBezTo>
                  <a:cubicBezTo>
                    <a:pt x="7" y="216"/>
                    <a:pt x="7" y="216"/>
                    <a:pt x="7" y="217"/>
                  </a:cubicBezTo>
                  <a:cubicBezTo>
                    <a:pt x="6" y="218"/>
                    <a:pt x="6" y="220"/>
                    <a:pt x="5" y="221"/>
                  </a:cubicBezTo>
                  <a:cubicBezTo>
                    <a:pt x="5" y="222"/>
                    <a:pt x="5" y="224"/>
                    <a:pt x="4" y="225"/>
                  </a:cubicBezTo>
                  <a:cubicBezTo>
                    <a:pt x="3" y="227"/>
                    <a:pt x="2" y="227"/>
                    <a:pt x="1" y="229"/>
                  </a:cubicBezTo>
                  <a:cubicBezTo>
                    <a:pt x="1" y="230"/>
                    <a:pt x="2" y="231"/>
                    <a:pt x="1" y="232"/>
                  </a:cubicBezTo>
                  <a:cubicBezTo>
                    <a:pt x="1" y="232"/>
                    <a:pt x="0" y="232"/>
                    <a:pt x="0" y="233"/>
                  </a:cubicBezTo>
                  <a:cubicBezTo>
                    <a:pt x="0" y="233"/>
                    <a:pt x="1" y="233"/>
                    <a:pt x="1" y="234"/>
                  </a:cubicBezTo>
                  <a:cubicBezTo>
                    <a:pt x="2" y="234"/>
                    <a:pt x="2" y="235"/>
                    <a:pt x="2" y="236"/>
                  </a:cubicBezTo>
                  <a:cubicBezTo>
                    <a:pt x="2" y="236"/>
                    <a:pt x="2" y="237"/>
                    <a:pt x="2" y="237"/>
                  </a:cubicBezTo>
                  <a:cubicBezTo>
                    <a:pt x="2" y="238"/>
                    <a:pt x="4" y="239"/>
                    <a:pt x="4" y="238"/>
                  </a:cubicBezTo>
                  <a:cubicBezTo>
                    <a:pt x="5" y="238"/>
                    <a:pt x="6" y="239"/>
                    <a:pt x="7" y="240"/>
                  </a:cubicBezTo>
                  <a:cubicBezTo>
                    <a:pt x="8" y="240"/>
                    <a:pt x="8" y="240"/>
                    <a:pt x="8" y="240"/>
                  </a:cubicBezTo>
                  <a:cubicBezTo>
                    <a:pt x="9" y="240"/>
                    <a:pt x="9" y="239"/>
                    <a:pt x="10" y="240"/>
                  </a:cubicBezTo>
                  <a:cubicBezTo>
                    <a:pt x="10" y="240"/>
                    <a:pt x="10" y="242"/>
                    <a:pt x="10" y="242"/>
                  </a:cubicBezTo>
                  <a:cubicBezTo>
                    <a:pt x="10" y="243"/>
                    <a:pt x="11" y="243"/>
                    <a:pt x="12" y="243"/>
                  </a:cubicBezTo>
                  <a:cubicBezTo>
                    <a:pt x="13" y="244"/>
                    <a:pt x="11" y="247"/>
                    <a:pt x="10" y="247"/>
                  </a:cubicBezTo>
                  <a:cubicBezTo>
                    <a:pt x="9" y="249"/>
                    <a:pt x="11" y="250"/>
                    <a:pt x="11" y="252"/>
                  </a:cubicBezTo>
                  <a:cubicBezTo>
                    <a:pt x="11" y="253"/>
                    <a:pt x="10" y="254"/>
                    <a:pt x="10" y="256"/>
                  </a:cubicBezTo>
                  <a:cubicBezTo>
                    <a:pt x="9" y="257"/>
                    <a:pt x="9" y="259"/>
                    <a:pt x="8" y="259"/>
                  </a:cubicBezTo>
                  <a:cubicBezTo>
                    <a:pt x="8" y="346"/>
                    <a:pt x="8" y="346"/>
                    <a:pt x="8" y="346"/>
                  </a:cubicBezTo>
                  <a:cubicBezTo>
                    <a:pt x="214" y="346"/>
                    <a:pt x="214" y="346"/>
                    <a:pt x="214" y="346"/>
                  </a:cubicBezTo>
                  <a:cubicBezTo>
                    <a:pt x="214" y="229"/>
                    <a:pt x="214" y="229"/>
                    <a:pt x="214" y="229"/>
                  </a:cubicBezTo>
                  <a:cubicBezTo>
                    <a:pt x="212" y="228"/>
                    <a:pt x="212" y="228"/>
                    <a:pt x="212" y="228"/>
                  </a:cubicBezTo>
                  <a:cubicBezTo>
                    <a:pt x="212" y="228"/>
                    <a:pt x="204" y="215"/>
                    <a:pt x="203" y="215"/>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4" name="Freeform 47">
              <a:extLst>
                <a:ext uri="{FF2B5EF4-FFF2-40B4-BE49-F238E27FC236}">
                  <a16:creationId xmlns:a16="http://schemas.microsoft.com/office/drawing/2014/main" id="{5BD20CA9-6036-9DF4-A6BB-CD38D9D3C26C}"/>
                </a:ext>
              </a:extLst>
            </p:cNvPr>
            <p:cNvSpPr>
              <a:spLocks/>
            </p:cNvSpPr>
            <p:nvPr/>
          </p:nvSpPr>
          <p:spPr bwMode="auto">
            <a:xfrm>
              <a:off x="7871255" y="3557123"/>
              <a:ext cx="652621" cy="758362"/>
            </a:xfrm>
            <a:custGeom>
              <a:avLst/>
              <a:gdLst>
                <a:gd name="T0" fmla="*/ 155 w 165"/>
                <a:gd name="T1" fmla="*/ 115 h 191"/>
                <a:gd name="T2" fmla="*/ 152 w 165"/>
                <a:gd name="T3" fmla="*/ 106 h 191"/>
                <a:gd name="T4" fmla="*/ 145 w 165"/>
                <a:gd name="T5" fmla="*/ 95 h 191"/>
                <a:gd name="T6" fmla="*/ 139 w 165"/>
                <a:gd name="T7" fmla="*/ 79 h 191"/>
                <a:gd name="T8" fmla="*/ 130 w 165"/>
                <a:gd name="T9" fmla="*/ 73 h 191"/>
                <a:gd name="T10" fmla="*/ 127 w 165"/>
                <a:gd name="T11" fmla="*/ 69 h 191"/>
                <a:gd name="T12" fmla="*/ 123 w 165"/>
                <a:gd name="T13" fmla="*/ 60 h 191"/>
                <a:gd name="T14" fmla="*/ 105 w 165"/>
                <a:gd name="T15" fmla="*/ 44 h 191"/>
                <a:gd name="T16" fmla="*/ 99 w 165"/>
                <a:gd name="T17" fmla="*/ 30 h 191"/>
                <a:gd name="T18" fmla="*/ 88 w 165"/>
                <a:gd name="T19" fmla="*/ 20 h 191"/>
                <a:gd name="T20" fmla="*/ 79 w 165"/>
                <a:gd name="T21" fmla="*/ 13 h 191"/>
                <a:gd name="T22" fmla="*/ 86 w 165"/>
                <a:gd name="T23" fmla="*/ 2 h 191"/>
                <a:gd name="T24" fmla="*/ 15 w 165"/>
                <a:gd name="T25" fmla="*/ 89 h 191"/>
                <a:gd name="T26" fmla="*/ 18 w 165"/>
                <a:gd name="T27" fmla="*/ 99 h 191"/>
                <a:gd name="T28" fmla="*/ 23 w 165"/>
                <a:gd name="T29" fmla="*/ 112 h 191"/>
                <a:gd name="T30" fmla="*/ 19 w 165"/>
                <a:gd name="T31" fmla="*/ 122 h 191"/>
                <a:gd name="T32" fmla="*/ 18 w 165"/>
                <a:gd name="T33" fmla="*/ 137 h 191"/>
                <a:gd name="T34" fmla="*/ 17 w 165"/>
                <a:gd name="T35" fmla="*/ 156 h 191"/>
                <a:gd name="T36" fmla="*/ 23 w 165"/>
                <a:gd name="T37" fmla="*/ 169 h 191"/>
                <a:gd name="T38" fmla="*/ 116 w 165"/>
                <a:gd name="T39" fmla="*/ 181 h 191"/>
                <a:gd name="T40" fmla="*/ 120 w 165"/>
                <a:gd name="T41" fmla="*/ 190 h 191"/>
                <a:gd name="T42" fmla="*/ 124 w 165"/>
                <a:gd name="T43" fmla="*/ 181 h 191"/>
                <a:gd name="T44" fmla="*/ 125 w 165"/>
                <a:gd name="T45" fmla="*/ 173 h 191"/>
                <a:gd name="T46" fmla="*/ 132 w 165"/>
                <a:gd name="T47" fmla="*/ 174 h 191"/>
                <a:gd name="T48" fmla="*/ 142 w 165"/>
                <a:gd name="T49" fmla="*/ 175 h 191"/>
                <a:gd name="T50" fmla="*/ 141 w 165"/>
                <a:gd name="T51" fmla="*/ 170 h 191"/>
                <a:gd name="T52" fmla="*/ 143 w 165"/>
                <a:gd name="T53" fmla="*/ 169 h 191"/>
                <a:gd name="T54" fmla="*/ 144 w 165"/>
                <a:gd name="T55" fmla="*/ 171 h 191"/>
                <a:gd name="T56" fmla="*/ 145 w 165"/>
                <a:gd name="T57" fmla="*/ 167 h 191"/>
                <a:gd name="T58" fmla="*/ 144 w 165"/>
                <a:gd name="T59" fmla="*/ 166 h 191"/>
                <a:gd name="T60" fmla="*/ 142 w 165"/>
                <a:gd name="T61" fmla="*/ 166 h 191"/>
                <a:gd name="T62" fmla="*/ 141 w 165"/>
                <a:gd name="T63" fmla="*/ 162 h 191"/>
                <a:gd name="T64" fmla="*/ 142 w 165"/>
                <a:gd name="T65" fmla="*/ 160 h 191"/>
                <a:gd name="T66" fmla="*/ 144 w 165"/>
                <a:gd name="T67" fmla="*/ 158 h 191"/>
                <a:gd name="T68" fmla="*/ 146 w 165"/>
                <a:gd name="T69" fmla="*/ 153 h 191"/>
                <a:gd name="T70" fmla="*/ 145 w 165"/>
                <a:gd name="T71" fmla="*/ 156 h 191"/>
                <a:gd name="T72" fmla="*/ 146 w 165"/>
                <a:gd name="T73" fmla="*/ 158 h 191"/>
                <a:gd name="T74" fmla="*/ 148 w 165"/>
                <a:gd name="T75" fmla="*/ 155 h 191"/>
                <a:gd name="T76" fmla="*/ 148 w 165"/>
                <a:gd name="T77" fmla="*/ 152 h 191"/>
                <a:gd name="T78" fmla="*/ 148 w 165"/>
                <a:gd name="T79" fmla="*/ 151 h 191"/>
                <a:gd name="T80" fmla="*/ 150 w 165"/>
                <a:gd name="T81" fmla="*/ 149 h 191"/>
                <a:gd name="T82" fmla="*/ 151 w 165"/>
                <a:gd name="T83" fmla="*/ 146 h 191"/>
                <a:gd name="T84" fmla="*/ 151 w 165"/>
                <a:gd name="T85" fmla="*/ 144 h 191"/>
                <a:gd name="T86" fmla="*/ 148 w 165"/>
                <a:gd name="T87" fmla="*/ 143 h 191"/>
                <a:gd name="T88" fmla="*/ 150 w 165"/>
                <a:gd name="T89" fmla="*/ 142 h 191"/>
                <a:gd name="T90" fmla="*/ 151 w 165"/>
                <a:gd name="T91" fmla="*/ 139 h 191"/>
                <a:gd name="T92" fmla="*/ 148 w 165"/>
                <a:gd name="T93" fmla="*/ 138 h 191"/>
                <a:gd name="T94" fmla="*/ 152 w 165"/>
                <a:gd name="T95" fmla="*/ 136 h 191"/>
                <a:gd name="T96" fmla="*/ 153 w 165"/>
                <a:gd name="T97" fmla="*/ 134 h 191"/>
                <a:gd name="T98" fmla="*/ 157 w 165"/>
                <a:gd name="T99" fmla="*/ 133 h 191"/>
                <a:gd name="T100" fmla="*/ 155 w 165"/>
                <a:gd name="T101" fmla="*/ 130 h 191"/>
                <a:gd name="T102" fmla="*/ 156 w 165"/>
                <a:gd name="T103" fmla="*/ 128 h 191"/>
                <a:gd name="T104" fmla="*/ 161 w 165"/>
                <a:gd name="T105" fmla="*/ 128 h 191"/>
                <a:gd name="T106" fmla="*/ 160 w 165"/>
                <a:gd name="T107" fmla="*/ 125 h 191"/>
                <a:gd name="T108" fmla="*/ 164 w 165"/>
                <a:gd name="T109" fmla="*/ 125 h 191"/>
                <a:gd name="T110" fmla="*/ 161 w 165"/>
                <a:gd name="T111" fmla="*/ 122 h 191"/>
                <a:gd name="T112" fmla="*/ 160 w 165"/>
                <a:gd name="T113" fmla="*/ 12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5" h="191">
                  <a:moveTo>
                    <a:pt x="159" y="120"/>
                  </a:moveTo>
                  <a:cubicBezTo>
                    <a:pt x="159" y="120"/>
                    <a:pt x="157" y="120"/>
                    <a:pt x="157" y="120"/>
                  </a:cubicBezTo>
                  <a:cubicBezTo>
                    <a:pt x="156" y="120"/>
                    <a:pt x="155" y="120"/>
                    <a:pt x="155" y="119"/>
                  </a:cubicBezTo>
                  <a:cubicBezTo>
                    <a:pt x="155" y="119"/>
                    <a:pt x="155" y="116"/>
                    <a:pt x="155" y="115"/>
                  </a:cubicBezTo>
                  <a:cubicBezTo>
                    <a:pt x="155" y="115"/>
                    <a:pt x="155" y="113"/>
                    <a:pt x="155" y="112"/>
                  </a:cubicBezTo>
                  <a:cubicBezTo>
                    <a:pt x="155" y="111"/>
                    <a:pt x="155" y="111"/>
                    <a:pt x="154" y="110"/>
                  </a:cubicBezTo>
                  <a:cubicBezTo>
                    <a:pt x="153" y="109"/>
                    <a:pt x="153" y="108"/>
                    <a:pt x="153" y="108"/>
                  </a:cubicBezTo>
                  <a:cubicBezTo>
                    <a:pt x="152" y="108"/>
                    <a:pt x="152" y="107"/>
                    <a:pt x="152" y="106"/>
                  </a:cubicBezTo>
                  <a:cubicBezTo>
                    <a:pt x="152" y="106"/>
                    <a:pt x="152" y="105"/>
                    <a:pt x="152" y="105"/>
                  </a:cubicBezTo>
                  <a:cubicBezTo>
                    <a:pt x="152" y="105"/>
                    <a:pt x="145" y="99"/>
                    <a:pt x="145" y="99"/>
                  </a:cubicBezTo>
                  <a:cubicBezTo>
                    <a:pt x="145" y="98"/>
                    <a:pt x="145" y="97"/>
                    <a:pt x="145" y="97"/>
                  </a:cubicBezTo>
                  <a:cubicBezTo>
                    <a:pt x="145" y="96"/>
                    <a:pt x="145" y="95"/>
                    <a:pt x="145" y="95"/>
                  </a:cubicBezTo>
                  <a:cubicBezTo>
                    <a:pt x="144" y="95"/>
                    <a:pt x="145" y="91"/>
                    <a:pt x="144" y="90"/>
                  </a:cubicBezTo>
                  <a:cubicBezTo>
                    <a:pt x="144" y="90"/>
                    <a:pt x="143" y="88"/>
                    <a:pt x="142" y="88"/>
                  </a:cubicBezTo>
                  <a:cubicBezTo>
                    <a:pt x="142" y="87"/>
                    <a:pt x="142" y="83"/>
                    <a:pt x="142" y="83"/>
                  </a:cubicBezTo>
                  <a:cubicBezTo>
                    <a:pt x="141" y="82"/>
                    <a:pt x="139" y="80"/>
                    <a:pt x="139" y="79"/>
                  </a:cubicBezTo>
                  <a:cubicBezTo>
                    <a:pt x="138" y="79"/>
                    <a:pt x="134" y="77"/>
                    <a:pt x="134" y="77"/>
                  </a:cubicBezTo>
                  <a:cubicBezTo>
                    <a:pt x="133" y="77"/>
                    <a:pt x="133" y="77"/>
                    <a:pt x="133" y="76"/>
                  </a:cubicBezTo>
                  <a:cubicBezTo>
                    <a:pt x="133" y="76"/>
                    <a:pt x="133" y="74"/>
                    <a:pt x="132" y="74"/>
                  </a:cubicBezTo>
                  <a:cubicBezTo>
                    <a:pt x="132" y="74"/>
                    <a:pt x="131" y="73"/>
                    <a:pt x="130" y="73"/>
                  </a:cubicBezTo>
                  <a:cubicBezTo>
                    <a:pt x="130" y="73"/>
                    <a:pt x="130" y="72"/>
                    <a:pt x="130" y="72"/>
                  </a:cubicBezTo>
                  <a:cubicBezTo>
                    <a:pt x="130" y="72"/>
                    <a:pt x="129" y="71"/>
                    <a:pt x="129" y="71"/>
                  </a:cubicBezTo>
                  <a:cubicBezTo>
                    <a:pt x="129" y="70"/>
                    <a:pt x="130" y="70"/>
                    <a:pt x="129" y="70"/>
                  </a:cubicBezTo>
                  <a:cubicBezTo>
                    <a:pt x="128" y="69"/>
                    <a:pt x="127" y="69"/>
                    <a:pt x="127" y="69"/>
                  </a:cubicBezTo>
                  <a:cubicBezTo>
                    <a:pt x="127" y="69"/>
                    <a:pt x="126" y="67"/>
                    <a:pt x="126" y="67"/>
                  </a:cubicBezTo>
                  <a:cubicBezTo>
                    <a:pt x="126" y="66"/>
                    <a:pt x="127" y="65"/>
                    <a:pt x="127" y="65"/>
                  </a:cubicBezTo>
                  <a:cubicBezTo>
                    <a:pt x="127" y="65"/>
                    <a:pt x="127" y="64"/>
                    <a:pt x="126" y="63"/>
                  </a:cubicBezTo>
                  <a:cubicBezTo>
                    <a:pt x="125" y="63"/>
                    <a:pt x="124" y="61"/>
                    <a:pt x="123" y="60"/>
                  </a:cubicBezTo>
                  <a:cubicBezTo>
                    <a:pt x="122" y="60"/>
                    <a:pt x="118" y="58"/>
                    <a:pt x="118" y="57"/>
                  </a:cubicBezTo>
                  <a:cubicBezTo>
                    <a:pt x="117" y="57"/>
                    <a:pt x="117" y="54"/>
                    <a:pt x="117" y="53"/>
                  </a:cubicBezTo>
                  <a:cubicBezTo>
                    <a:pt x="117" y="53"/>
                    <a:pt x="114" y="49"/>
                    <a:pt x="113" y="48"/>
                  </a:cubicBezTo>
                  <a:cubicBezTo>
                    <a:pt x="112" y="48"/>
                    <a:pt x="106" y="44"/>
                    <a:pt x="105" y="44"/>
                  </a:cubicBezTo>
                  <a:cubicBezTo>
                    <a:pt x="105" y="43"/>
                    <a:pt x="104" y="41"/>
                    <a:pt x="104" y="40"/>
                  </a:cubicBezTo>
                  <a:cubicBezTo>
                    <a:pt x="103" y="39"/>
                    <a:pt x="102" y="37"/>
                    <a:pt x="101" y="36"/>
                  </a:cubicBezTo>
                  <a:cubicBezTo>
                    <a:pt x="101" y="36"/>
                    <a:pt x="99" y="36"/>
                    <a:pt x="99" y="34"/>
                  </a:cubicBezTo>
                  <a:cubicBezTo>
                    <a:pt x="99" y="33"/>
                    <a:pt x="99" y="31"/>
                    <a:pt x="99" y="30"/>
                  </a:cubicBezTo>
                  <a:cubicBezTo>
                    <a:pt x="98" y="30"/>
                    <a:pt x="96" y="27"/>
                    <a:pt x="96" y="27"/>
                  </a:cubicBezTo>
                  <a:cubicBezTo>
                    <a:pt x="96" y="26"/>
                    <a:pt x="95" y="24"/>
                    <a:pt x="95" y="23"/>
                  </a:cubicBezTo>
                  <a:cubicBezTo>
                    <a:pt x="95" y="22"/>
                    <a:pt x="95" y="21"/>
                    <a:pt x="93" y="21"/>
                  </a:cubicBezTo>
                  <a:cubicBezTo>
                    <a:pt x="91" y="21"/>
                    <a:pt x="89" y="21"/>
                    <a:pt x="88" y="20"/>
                  </a:cubicBezTo>
                  <a:cubicBezTo>
                    <a:pt x="87" y="19"/>
                    <a:pt x="86" y="18"/>
                    <a:pt x="85" y="18"/>
                  </a:cubicBezTo>
                  <a:cubicBezTo>
                    <a:pt x="85" y="17"/>
                    <a:pt x="86" y="16"/>
                    <a:pt x="84" y="16"/>
                  </a:cubicBezTo>
                  <a:cubicBezTo>
                    <a:pt x="82" y="16"/>
                    <a:pt x="81" y="15"/>
                    <a:pt x="80" y="15"/>
                  </a:cubicBezTo>
                  <a:cubicBezTo>
                    <a:pt x="80" y="14"/>
                    <a:pt x="79" y="14"/>
                    <a:pt x="79" y="13"/>
                  </a:cubicBezTo>
                  <a:cubicBezTo>
                    <a:pt x="78" y="13"/>
                    <a:pt x="77" y="13"/>
                    <a:pt x="78" y="12"/>
                  </a:cubicBezTo>
                  <a:cubicBezTo>
                    <a:pt x="78" y="11"/>
                    <a:pt x="78" y="8"/>
                    <a:pt x="79" y="8"/>
                  </a:cubicBezTo>
                  <a:cubicBezTo>
                    <a:pt x="80" y="7"/>
                    <a:pt x="81" y="6"/>
                    <a:pt x="81" y="5"/>
                  </a:cubicBezTo>
                  <a:cubicBezTo>
                    <a:pt x="82" y="5"/>
                    <a:pt x="86" y="2"/>
                    <a:pt x="86" y="2"/>
                  </a:cubicBezTo>
                  <a:cubicBezTo>
                    <a:pt x="86" y="0"/>
                    <a:pt x="86" y="0"/>
                    <a:pt x="86" y="0"/>
                  </a:cubicBezTo>
                  <a:cubicBezTo>
                    <a:pt x="44" y="0"/>
                    <a:pt x="44" y="0"/>
                    <a:pt x="44" y="0"/>
                  </a:cubicBezTo>
                  <a:cubicBezTo>
                    <a:pt x="0" y="0"/>
                    <a:pt x="0" y="0"/>
                    <a:pt x="0" y="0"/>
                  </a:cubicBezTo>
                  <a:cubicBezTo>
                    <a:pt x="0" y="0"/>
                    <a:pt x="15" y="88"/>
                    <a:pt x="15" y="89"/>
                  </a:cubicBezTo>
                  <a:cubicBezTo>
                    <a:pt x="15" y="89"/>
                    <a:pt x="16" y="91"/>
                    <a:pt x="16" y="92"/>
                  </a:cubicBezTo>
                  <a:cubicBezTo>
                    <a:pt x="16" y="92"/>
                    <a:pt x="16" y="93"/>
                    <a:pt x="16" y="93"/>
                  </a:cubicBezTo>
                  <a:cubicBezTo>
                    <a:pt x="17" y="94"/>
                    <a:pt x="17" y="95"/>
                    <a:pt x="17" y="96"/>
                  </a:cubicBezTo>
                  <a:cubicBezTo>
                    <a:pt x="17" y="97"/>
                    <a:pt x="18" y="98"/>
                    <a:pt x="18" y="99"/>
                  </a:cubicBezTo>
                  <a:cubicBezTo>
                    <a:pt x="18" y="100"/>
                    <a:pt x="21" y="105"/>
                    <a:pt x="21" y="105"/>
                  </a:cubicBezTo>
                  <a:cubicBezTo>
                    <a:pt x="22" y="105"/>
                    <a:pt x="22" y="107"/>
                    <a:pt x="21" y="108"/>
                  </a:cubicBezTo>
                  <a:cubicBezTo>
                    <a:pt x="21" y="108"/>
                    <a:pt x="21" y="109"/>
                    <a:pt x="21" y="110"/>
                  </a:cubicBezTo>
                  <a:cubicBezTo>
                    <a:pt x="21" y="111"/>
                    <a:pt x="22" y="111"/>
                    <a:pt x="23" y="112"/>
                  </a:cubicBezTo>
                  <a:cubicBezTo>
                    <a:pt x="23" y="112"/>
                    <a:pt x="24" y="113"/>
                    <a:pt x="24" y="113"/>
                  </a:cubicBezTo>
                  <a:cubicBezTo>
                    <a:pt x="24" y="113"/>
                    <a:pt x="22" y="115"/>
                    <a:pt x="22" y="115"/>
                  </a:cubicBezTo>
                  <a:cubicBezTo>
                    <a:pt x="22" y="116"/>
                    <a:pt x="19" y="118"/>
                    <a:pt x="19" y="119"/>
                  </a:cubicBezTo>
                  <a:cubicBezTo>
                    <a:pt x="19" y="120"/>
                    <a:pt x="19" y="121"/>
                    <a:pt x="19" y="122"/>
                  </a:cubicBezTo>
                  <a:cubicBezTo>
                    <a:pt x="19" y="123"/>
                    <a:pt x="18" y="124"/>
                    <a:pt x="18" y="125"/>
                  </a:cubicBezTo>
                  <a:cubicBezTo>
                    <a:pt x="17" y="126"/>
                    <a:pt x="16" y="128"/>
                    <a:pt x="16" y="129"/>
                  </a:cubicBezTo>
                  <a:cubicBezTo>
                    <a:pt x="16" y="129"/>
                    <a:pt x="16" y="132"/>
                    <a:pt x="16" y="133"/>
                  </a:cubicBezTo>
                  <a:cubicBezTo>
                    <a:pt x="16" y="134"/>
                    <a:pt x="17" y="137"/>
                    <a:pt x="18" y="137"/>
                  </a:cubicBezTo>
                  <a:cubicBezTo>
                    <a:pt x="18" y="138"/>
                    <a:pt x="19" y="143"/>
                    <a:pt x="19" y="144"/>
                  </a:cubicBezTo>
                  <a:cubicBezTo>
                    <a:pt x="19" y="144"/>
                    <a:pt x="19" y="148"/>
                    <a:pt x="18" y="149"/>
                  </a:cubicBezTo>
                  <a:cubicBezTo>
                    <a:pt x="18" y="149"/>
                    <a:pt x="17" y="152"/>
                    <a:pt x="17" y="152"/>
                  </a:cubicBezTo>
                  <a:cubicBezTo>
                    <a:pt x="17" y="152"/>
                    <a:pt x="17" y="155"/>
                    <a:pt x="17" y="156"/>
                  </a:cubicBezTo>
                  <a:cubicBezTo>
                    <a:pt x="17" y="156"/>
                    <a:pt x="18" y="157"/>
                    <a:pt x="18" y="158"/>
                  </a:cubicBezTo>
                  <a:cubicBezTo>
                    <a:pt x="19" y="159"/>
                    <a:pt x="20" y="160"/>
                    <a:pt x="20" y="160"/>
                  </a:cubicBezTo>
                  <a:cubicBezTo>
                    <a:pt x="20" y="161"/>
                    <a:pt x="21" y="164"/>
                    <a:pt x="21" y="164"/>
                  </a:cubicBezTo>
                  <a:cubicBezTo>
                    <a:pt x="23" y="169"/>
                    <a:pt x="23" y="169"/>
                    <a:pt x="23" y="169"/>
                  </a:cubicBezTo>
                  <a:cubicBezTo>
                    <a:pt x="23" y="169"/>
                    <a:pt x="23" y="172"/>
                    <a:pt x="23" y="172"/>
                  </a:cubicBezTo>
                  <a:cubicBezTo>
                    <a:pt x="23" y="173"/>
                    <a:pt x="24" y="174"/>
                    <a:pt x="24" y="174"/>
                  </a:cubicBezTo>
                  <a:cubicBezTo>
                    <a:pt x="24" y="175"/>
                    <a:pt x="27" y="176"/>
                    <a:pt x="27" y="176"/>
                  </a:cubicBezTo>
                  <a:cubicBezTo>
                    <a:pt x="27" y="176"/>
                    <a:pt x="116" y="181"/>
                    <a:pt x="116" y="181"/>
                  </a:cubicBezTo>
                  <a:cubicBezTo>
                    <a:pt x="116" y="181"/>
                    <a:pt x="117" y="183"/>
                    <a:pt x="117" y="183"/>
                  </a:cubicBezTo>
                  <a:cubicBezTo>
                    <a:pt x="117" y="184"/>
                    <a:pt x="117" y="186"/>
                    <a:pt x="117" y="186"/>
                  </a:cubicBezTo>
                  <a:cubicBezTo>
                    <a:pt x="117" y="187"/>
                    <a:pt x="117" y="188"/>
                    <a:pt x="118" y="189"/>
                  </a:cubicBezTo>
                  <a:cubicBezTo>
                    <a:pt x="118" y="189"/>
                    <a:pt x="119" y="190"/>
                    <a:pt x="120" y="190"/>
                  </a:cubicBezTo>
                  <a:cubicBezTo>
                    <a:pt x="121" y="190"/>
                    <a:pt x="122" y="191"/>
                    <a:pt x="122" y="190"/>
                  </a:cubicBezTo>
                  <a:cubicBezTo>
                    <a:pt x="122" y="190"/>
                    <a:pt x="123" y="188"/>
                    <a:pt x="124" y="188"/>
                  </a:cubicBezTo>
                  <a:cubicBezTo>
                    <a:pt x="124" y="187"/>
                    <a:pt x="123" y="185"/>
                    <a:pt x="124" y="184"/>
                  </a:cubicBezTo>
                  <a:cubicBezTo>
                    <a:pt x="124" y="184"/>
                    <a:pt x="124" y="182"/>
                    <a:pt x="124" y="181"/>
                  </a:cubicBezTo>
                  <a:cubicBezTo>
                    <a:pt x="124" y="181"/>
                    <a:pt x="123" y="179"/>
                    <a:pt x="123" y="178"/>
                  </a:cubicBezTo>
                  <a:cubicBezTo>
                    <a:pt x="123" y="178"/>
                    <a:pt x="123" y="177"/>
                    <a:pt x="123" y="176"/>
                  </a:cubicBezTo>
                  <a:cubicBezTo>
                    <a:pt x="123" y="175"/>
                    <a:pt x="123" y="174"/>
                    <a:pt x="123" y="173"/>
                  </a:cubicBezTo>
                  <a:cubicBezTo>
                    <a:pt x="123" y="173"/>
                    <a:pt x="124" y="173"/>
                    <a:pt x="125" y="173"/>
                  </a:cubicBezTo>
                  <a:cubicBezTo>
                    <a:pt x="125" y="173"/>
                    <a:pt x="125" y="173"/>
                    <a:pt x="126" y="172"/>
                  </a:cubicBezTo>
                  <a:cubicBezTo>
                    <a:pt x="126" y="172"/>
                    <a:pt x="127" y="171"/>
                    <a:pt x="127" y="171"/>
                  </a:cubicBezTo>
                  <a:cubicBezTo>
                    <a:pt x="127" y="171"/>
                    <a:pt x="129" y="172"/>
                    <a:pt x="129" y="172"/>
                  </a:cubicBezTo>
                  <a:cubicBezTo>
                    <a:pt x="129" y="172"/>
                    <a:pt x="131" y="173"/>
                    <a:pt x="132" y="174"/>
                  </a:cubicBezTo>
                  <a:cubicBezTo>
                    <a:pt x="132" y="174"/>
                    <a:pt x="134" y="174"/>
                    <a:pt x="134" y="174"/>
                  </a:cubicBezTo>
                  <a:cubicBezTo>
                    <a:pt x="135" y="175"/>
                    <a:pt x="138" y="176"/>
                    <a:pt x="138" y="176"/>
                  </a:cubicBezTo>
                  <a:cubicBezTo>
                    <a:pt x="138" y="176"/>
                    <a:pt x="140" y="176"/>
                    <a:pt x="142" y="176"/>
                  </a:cubicBezTo>
                  <a:cubicBezTo>
                    <a:pt x="142" y="175"/>
                    <a:pt x="142" y="175"/>
                    <a:pt x="142" y="175"/>
                  </a:cubicBezTo>
                  <a:cubicBezTo>
                    <a:pt x="142" y="174"/>
                    <a:pt x="142" y="174"/>
                    <a:pt x="142" y="173"/>
                  </a:cubicBezTo>
                  <a:cubicBezTo>
                    <a:pt x="141" y="173"/>
                    <a:pt x="141" y="173"/>
                    <a:pt x="141" y="172"/>
                  </a:cubicBezTo>
                  <a:cubicBezTo>
                    <a:pt x="141" y="172"/>
                    <a:pt x="141" y="172"/>
                    <a:pt x="141" y="171"/>
                  </a:cubicBezTo>
                  <a:cubicBezTo>
                    <a:pt x="141" y="171"/>
                    <a:pt x="141" y="171"/>
                    <a:pt x="141" y="170"/>
                  </a:cubicBezTo>
                  <a:cubicBezTo>
                    <a:pt x="141" y="170"/>
                    <a:pt x="141" y="170"/>
                    <a:pt x="141" y="169"/>
                  </a:cubicBezTo>
                  <a:cubicBezTo>
                    <a:pt x="141" y="169"/>
                    <a:pt x="142" y="168"/>
                    <a:pt x="142" y="168"/>
                  </a:cubicBezTo>
                  <a:cubicBezTo>
                    <a:pt x="142" y="168"/>
                    <a:pt x="143" y="168"/>
                    <a:pt x="143" y="168"/>
                  </a:cubicBezTo>
                  <a:cubicBezTo>
                    <a:pt x="143" y="169"/>
                    <a:pt x="143" y="169"/>
                    <a:pt x="143" y="169"/>
                  </a:cubicBezTo>
                  <a:cubicBezTo>
                    <a:pt x="143" y="169"/>
                    <a:pt x="143" y="170"/>
                    <a:pt x="143" y="170"/>
                  </a:cubicBezTo>
                  <a:cubicBezTo>
                    <a:pt x="143" y="171"/>
                    <a:pt x="143" y="171"/>
                    <a:pt x="143" y="172"/>
                  </a:cubicBezTo>
                  <a:cubicBezTo>
                    <a:pt x="143" y="172"/>
                    <a:pt x="143" y="171"/>
                    <a:pt x="144" y="171"/>
                  </a:cubicBezTo>
                  <a:cubicBezTo>
                    <a:pt x="144" y="171"/>
                    <a:pt x="144" y="171"/>
                    <a:pt x="144" y="171"/>
                  </a:cubicBezTo>
                  <a:cubicBezTo>
                    <a:pt x="144" y="170"/>
                    <a:pt x="144" y="170"/>
                    <a:pt x="145" y="170"/>
                  </a:cubicBezTo>
                  <a:cubicBezTo>
                    <a:pt x="145" y="169"/>
                    <a:pt x="145" y="169"/>
                    <a:pt x="145" y="169"/>
                  </a:cubicBezTo>
                  <a:cubicBezTo>
                    <a:pt x="146" y="169"/>
                    <a:pt x="146" y="168"/>
                    <a:pt x="146" y="168"/>
                  </a:cubicBezTo>
                  <a:cubicBezTo>
                    <a:pt x="146" y="167"/>
                    <a:pt x="146" y="168"/>
                    <a:pt x="145" y="167"/>
                  </a:cubicBezTo>
                  <a:cubicBezTo>
                    <a:pt x="145" y="167"/>
                    <a:pt x="145" y="167"/>
                    <a:pt x="145" y="167"/>
                  </a:cubicBezTo>
                  <a:cubicBezTo>
                    <a:pt x="145" y="167"/>
                    <a:pt x="145" y="166"/>
                    <a:pt x="145" y="166"/>
                  </a:cubicBezTo>
                  <a:cubicBezTo>
                    <a:pt x="145" y="166"/>
                    <a:pt x="144" y="166"/>
                    <a:pt x="144" y="166"/>
                  </a:cubicBezTo>
                  <a:cubicBezTo>
                    <a:pt x="144" y="166"/>
                    <a:pt x="144" y="166"/>
                    <a:pt x="144" y="166"/>
                  </a:cubicBezTo>
                  <a:cubicBezTo>
                    <a:pt x="144" y="167"/>
                    <a:pt x="144" y="167"/>
                    <a:pt x="144" y="167"/>
                  </a:cubicBezTo>
                  <a:cubicBezTo>
                    <a:pt x="144" y="167"/>
                    <a:pt x="144" y="167"/>
                    <a:pt x="143" y="167"/>
                  </a:cubicBezTo>
                  <a:cubicBezTo>
                    <a:pt x="143" y="167"/>
                    <a:pt x="143" y="167"/>
                    <a:pt x="143" y="167"/>
                  </a:cubicBezTo>
                  <a:cubicBezTo>
                    <a:pt x="142" y="167"/>
                    <a:pt x="142" y="167"/>
                    <a:pt x="142" y="166"/>
                  </a:cubicBezTo>
                  <a:cubicBezTo>
                    <a:pt x="142" y="166"/>
                    <a:pt x="141" y="166"/>
                    <a:pt x="141" y="165"/>
                  </a:cubicBezTo>
                  <a:cubicBezTo>
                    <a:pt x="141" y="165"/>
                    <a:pt x="142" y="164"/>
                    <a:pt x="142" y="164"/>
                  </a:cubicBezTo>
                  <a:cubicBezTo>
                    <a:pt x="142" y="164"/>
                    <a:pt x="142" y="163"/>
                    <a:pt x="142" y="163"/>
                  </a:cubicBezTo>
                  <a:cubicBezTo>
                    <a:pt x="142" y="162"/>
                    <a:pt x="141" y="162"/>
                    <a:pt x="141" y="162"/>
                  </a:cubicBezTo>
                  <a:cubicBezTo>
                    <a:pt x="140" y="162"/>
                    <a:pt x="140" y="161"/>
                    <a:pt x="141" y="161"/>
                  </a:cubicBezTo>
                  <a:cubicBezTo>
                    <a:pt x="141" y="161"/>
                    <a:pt x="141" y="161"/>
                    <a:pt x="142" y="161"/>
                  </a:cubicBezTo>
                  <a:cubicBezTo>
                    <a:pt x="142" y="161"/>
                    <a:pt x="142" y="161"/>
                    <a:pt x="143" y="160"/>
                  </a:cubicBezTo>
                  <a:cubicBezTo>
                    <a:pt x="143" y="160"/>
                    <a:pt x="142" y="160"/>
                    <a:pt x="142" y="160"/>
                  </a:cubicBezTo>
                  <a:cubicBezTo>
                    <a:pt x="142" y="160"/>
                    <a:pt x="141" y="160"/>
                    <a:pt x="141" y="159"/>
                  </a:cubicBezTo>
                  <a:cubicBezTo>
                    <a:pt x="141" y="159"/>
                    <a:pt x="142" y="159"/>
                    <a:pt x="142" y="159"/>
                  </a:cubicBezTo>
                  <a:cubicBezTo>
                    <a:pt x="142" y="159"/>
                    <a:pt x="142" y="159"/>
                    <a:pt x="142" y="158"/>
                  </a:cubicBezTo>
                  <a:cubicBezTo>
                    <a:pt x="143" y="158"/>
                    <a:pt x="143" y="158"/>
                    <a:pt x="144" y="158"/>
                  </a:cubicBezTo>
                  <a:cubicBezTo>
                    <a:pt x="144" y="158"/>
                    <a:pt x="144" y="157"/>
                    <a:pt x="144" y="156"/>
                  </a:cubicBezTo>
                  <a:cubicBezTo>
                    <a:pt x="144" y="156"/>
                    <a:pt x="144" y="155"/>
                    <a:pt x="144" y="155"/>
                  </a:cubicBezTo>
                  <a:cubicBezTo>
                    <a:pt x="144" y="155"/>
                    <a:pt x="145" y="154"/>
                    <a:pt x="145" y="154"/>
                  </a:cubicBezTo>
                  <a:cubicBezTo>
                    <a:pt x="145" y="154"/>
                    <a:pt x="146" y="153"/>
                    <a:pt x="146" y="153"/>
                  </a:cubicBezTo>
                  <a:cubicBezTo>
                    <a:pt x="146" y="153"/>
                    <a:pt x="146" y="154"/>
                    <a:pt x="146" y="154"/>
                  </a:cubicBezTo>
                  <a:cubicBezTo>
                    <a:pt x="146" y="154"/>
                    <a:pt x="146" y="154"/>
                    <a:pt x="146" y="155"/>
                  </a:cubicBezTo>
                  <a:cubicBezTo>
                    <a:pt x="146" y="155"/>
                    <a:pt x="146" y="155"/>
                    <a:pt x="146" y="155"/>
                  </a:cubicBezTo>
                  <a:cubicBezTo>
                    <a:pt x="146" y="156"/>
                    <a:pt x="145" y="156"/>
                    <a:pt x="145" y="156"/>
                  </a:cubicBezTo>
                  <a:cubicBezTo>
                    <a:pt x="145" y="156"/>
                    <a:pt x="145" y="157"/>
                    <a:pt x="145" y="157"/>
                  </a:cubicBezTo>
                  <a:cubicBezTo>
                    <a:pt x="146" y="158"/>
                    <a:pt x="146" y="158"/>
                    <a:pt x="146" y="158"/>
                  </a:cubicBezTo>
                  <a:cubicBezTo>
                    <a:pt x="146" y="159"/>
                    <a:pt x="146" y="159"/>
                    <a:pt x="146" y="159"/>
                  </a:cubicBezTo>
                  <a:cubicBezTo>
                    <a:pt x="146" y="159"/>
                    <a:pt x="146" y="159"/>
                    <a:pt x="146" y="158"/>
                  </a:cubicBezTo>
                  <a:cubicBezTo>
                    <a:pt x="146" y="158"/>
                    <a:pt x="146" y="158"/>
                    <a:pt x="147" y="158"/>
                  </a:cubicBezTo>
                  <a:cubicBezTo>
                    <a:pt x="147" y="158"/>
                    <a:pt x="147" y="157"/>
                    <a:pt x="147" y="157"/>
                  </a:cubicBezTo>
                  <a:cubicBezTo>
                    <a:pt x="147" y="157"/>
                    <a:pt x="147" y="156"/>
                    <a:pt x="147" y="156"/>
                  </a:cubicBezTo>
                  <a:cubicBezTo>
                    <a:pt x="147" y="156"/>
                    <a:pt x="148" y="156"/>
                    <a:pt x="148" y="155"/>
                  </a:cubicBezTo>
                  <a:cubicBezTo>
                    <a:pt x="148" y="155"/>
                    <a:pt x="148" y="155"/>
                    <a:pt x="148" y="154"/>
                  </a:cubicBezTo>
                  <a:cubicBezTo>
                    <a:pt x="148" y="154"/>
                    <a:pt x="148" y="154"/>
                    <a:pt x="149" y="153"/>
                  </a:cubicBezTo>
                  <a:cubicBezTo>
                    <a:pt x="149" y="153"/>
                    <a:pt x="149" y="152"/>
                    <a:pt x="149" y="152"/>
                  </a:cubicBezTo>
                  <a:cubicBezTo>
                    <a:pt x="149" y="152"/>
                    <a:pt x="148" y="152"/>
                    <a:pt x="148" y="152"/>
                  </a:cubicBezTo>
                  <a:cubicBezTo>
                    <a:pt x="147" y="152"/>
                    <a:pt x="147" y="152"/>
                    <a:pt x="146" y="152"/>
                  </a:cubicBezTo>
                  <a:cubicBezTo>
                    <a:pt x="146" y="152"/>
                    <a:pt x="146" y="152"/>
                    <a:pt x="146" y="152"/>
                  </a:cubicBezTo>
                  <a:cubicBezTo>
                    <a:pt x="146" y="151"/>
                    <a:pt x="147" y="151"/>
                    <a:pt x="147" y="151"/>
                  </a:cubicBezTo>
                  <a:cubicBezTo>
                    <a:pt x="147" y="151"/>
                    <a:pt x="148" y="151"/>
                    <a:pt x="148" y="151"/>
                  </a:cubicBezTo>
                  <a:cubicBezTo>
                    <a:pt x="148" y="151"/>
                    <a:pt x="148" y="151"/>
                    <a:pt x="148" y="151"/>
                  </a:cubicBezTo>
                  <a:cubicBezTo>
                    <a:pt x="148" y="151"/>
                    <a:pt x="149" y="151"/>
                    <a:pt x="149" y="151"/>
                  </a:cubicBezTo>
                  <a:cubicBezTo>
                    <a:pt x="149" y="151"/>
                    <a:pt x="149" y="151"/>
                    <a:pt x="149" y="150"/>
                  </a:cubicBezTo>
                  <a:cubicBezTo>
                    <a:pt x="149" y="150"/>
                    <a:pt x="149" y="149"/>
                    <a:pt x="150" y="149"/>
                  </a:cubicBezTo>
                  <a:cubicBezTo>
                    <a:pt x="150" y="149"/>
                    <a:pt x="150" y="149"/>
                    <a:pt x="150" y="148"/>
                  </a:cubicBezTo>
                  <a:cubicBezTo>
                    <a:pt x="150" y="148"/>
                    <a:pt x="151" y="148"/>
                    <a:pt x="151" y="147"/>
                  </a:cubicBezTo>
                  <a:cubicBezTo>
                    <a:pt x="151" y="147"/>
                    <a:pt x="151" y="147"/>
                    <a:pt x="151" y="147"/>
                  </a:cubicBezTo>
                  <a:cubicBezTo>
                    <a:pt x="151" y="146"/>
                    <a:pt x="151" y="146"/>
                    <a:pt x="151" y="146"/>
                  </a:cubicBezTo>
                  <a:cubicBezTo>
                    <a:pt x="152" y="145"/>
                    <a:pt x="151" y="145"/>
                    <a:pt x="152" y="144"/>
                  </a:cubicBezTo>
                  <a:cubicBezTo>
                    <a:pt x="152" y="144"/>
                    <a:pt x="153" y="143"/>
                    <a:pt x="152" y="143"/>
                  </a:cubicBezTo>
                  <a:cubicBezTo>
                    <a:pt x="152" y="143"/>
                    <a:pt x="152" y="144"/>
                    <a:pt x="152" y="144"/>
                  </a:cubicBezTo>
                  <a:cubicBezTo>
                    <a:pt x="151" y="144"/>
                    <a:pt x="151" y="144"/>
                    <a:pt x="151" y="144"/>
                  </a:cubicBezTo>
                  <a:cubicBezTo>
                    <a:pt x="150" y="144"/>
                    <a:pt x="150" y="144"/>
                    <a:pt x="150" y="144"/>
                  </a:cubicBezTo>
                  <a:cubicBezTo>
                    <a:pt x="150" y="144"/>
                    <a:pt x="150" y="144"/>
                    <a:pt x="150" y="144"/>
                  </a:cubicBezTo>
                  <a:cubicBezTo>
                    <a:pt x="149" y="144"/>
                    <a:pt x="149" y="144"/>
                    <a:pt x="149" y="144"/>
                  </a:cubicBezTo>
                  <a:cubicBezTo>
                    <a:pt x="149" y="143"/>
                    <a:pt x="149" y="143"/>
                    <a:pt x="148" y="143"/>
                  </a:cubicBezTo>
                  <a:cubicBezTo>
                    <a:pt x="148" y="143"/>
                    <a:pt x="147" y="142"/>
                    <a:pt x="147" y="142"/>
                  </a:cubicBezTo>
                  <a:cubicBezTo>
                    <a:pt x="147" y="142"/>
                    <a:pt x="148" y="142"/>
                    <a:pt x="148" y="142"/>
                  </a:cubicBezTo>
                  <a:cubicBezTo>
                    <a:pt x="149" y="142"/>
                    <a:pt x="149" y="142"/>
                    <a:pt x="149" y="142"/>
                  </a:cubicBezTo>
                  <a:cubicBezTo>
                    <a:pt x="150" y="142"/>
                    <a:pt x="150" y="142"/>
                    <a:pt x="150" y="142"/>
                  </a:cubicBezTo>
                  <a:cubicBezTo>
                    <a:pt x="151" y="142"/>
                    <a:pt x="151" y="142"/>
                    <a:pt x="151" y="141"/>
                  </a:cubicBezTo>
                  <a:cubicBezTo>
                    <a:pt x="151" y="141"/>
                    <a:pt x="151" y="141"/>
                    <a:pt x="151" y="141"/>
                  </a:cubicBezTo>
                  <a:cubicBezTo>
                    <a:pt x="152" y="140"/>
                    <a:pt x="152" y="140"/>
                    <a:pt x="152" y="140"/>
                  </a:cubicBezTo>
                  <a:cubicBezTo>
                    <a:pt x="152" y="139"/>
                    <a:pt x="151" y="139"/>
                    <a:pt x="151" y="139"/>
                  </a:cubicBezTo>
                  <a:cubicBezTo>
                    <a:pt x="150" y="139"/>
                    <a:pt x="149" y="139"/>
                    <a:pt x="149" y="139"/>
                  </a:cubicBezTo>
                  <a:cubicBezTo>
                    <a:pt x="148" y="139"/>
                    <a:pt x="148" y="139"/>
                    <a:pt x="148" y="138"/>
                  </a:cubicBezTo>
                  <a:cubicBezTo>
                    <a:pt x="148" y="138"/>
                    <a:pt x="147" y="138"/>
                    <a:pt x="147" y="138"/>
                  </a:cubicBezTo>
                  <a:cubicBezTo>
                    <a:pt x="147" y="138"/>
                    <a:pt x="147" y="138"/>
                    <a:pt x="148" y="138"/>
                  </a:cubicBezTo>
                  <a:cubicBezTo>
                    <a:pt x="148" y="138"/>
                    <a:pt x="149" y="138"/>
                    <a:pt x="149" y="137"/>
                  </a:cubicBezTo>
                  <a:cubicBezTo>
                    <a:pt x="150" y="137"/>
                    <a:pt x="150" y="137"/>
                    <a:pt x="151" y="137"/>
                  </a:cubicBezTo>
                  <a:cubicBezTo>
                    <a:pt x="151" y="137"/>
                    <a:pt x="152" y="137"/>
                    <a:pt x="152" y="137"/>
                  </a:cubicBezTo>
                  <a:cubicBezTo>
                    <a:pt x="152" y="136"/>
                    <a:pt x="152" y="136"/>
                    <a:pt x="152" y="136"/>
                  </a:cubicBezTo>
                  <a:cubicBezTo>
                    <a:pt x="152" y="136"/>
                    <a:pt x="152" y="136"/>
                    <a:pt x="152" y="135"/>
                  </a:cubicBezTo>
                  <a:cubicBezTo>
                    <a:pt x="152" y="135"/>
                    <a:pt x="151" y="135"/>
                    <a:pt x="151" y="135"/>
                  </a:cubicBezTo>
                  <a:cubicBezTo>
                    <a:pt x="151" y="135"/>
                    <a:pt x="151" y="134"/>
                    <a:pt x="151" y="134"/>
                  </a:cubicBezTo>
                  <a:cubicBezTo>
                    <a:pt x="151" y="134"/>
                    <a:pt x="152" y="134"/>
                    <a:pt x="153" y="134"/>
                  </a:cubicBezTo>
                  <a:cubicBezTo>
                    <a:pt x="153" y="134"/>
                    <a:pt x="154" y="134"/>
                    <a:pt x="154" y="134"/>
                  </a:cubicBezTo>
                  <a:cubicBezTo>
                    <a:pt x="154" y="134"/>
                    <a:pt x="154" y="135"/>
                    <a:pt x="154" y="135"/>
                  </a:cubicBezTo>
                  <a:cubicBezTo>
                    <a:pt x="154" y="136"/>
                    <a:pt x="155" y="135"/>
                    <a:pt x="155" y="135"/>
                  </a:cubicBezTo>
                  <a:cubicBezTo>
                    <a:pt x="156" y="134"/>
                    <a:pt x="156" y="134"/>
                    <a:pt x="157" y="133"/>
                  </a:cubicBezTo>
                  <a:cubicBezTo>
                    <a:pt x="157" y="133"/>
                    <a:pt x="159" y="131"/>
                    <a:pt x="157" y="131"/>
                  </a:cubicBezTo>
                  <a:cubicBezTo>
                    <a:pt x="157" y="131"/>
                    <a:pt x="157" y="131"/>
                    <a:pt x="156" y="131"/>
                  </a:cubicBezTo>
                  <a:cubicBezTo>
                    <a:pt x="156" y="131"/>
                    <a:pt x="156" y="131"/>
                    <a:pt x="156" y="130"/>
                  </a:cubicBezTo>
                  <a:cubicBezTo>
                    <a:pt x="156" y="130"/>
                    <a:pt x="155" y="130"/>
                    <a:pt x="155" y="130"/>
                  </a:cubicBezTo>
                  <a:cubicBezTo>
                    <a:pt x="154" y="130"/>
                    <a:pt x="155" y="130"/>
                    <a:pt x="155" y="129"/>
                  </a:cubicBezTo>
                  <a:cubicBezTo>
                    <a:pt x="155" y="129"/>
                    <a:pt x="155" y="129"/>
                    <a:pt x="155" y="129"/>
                  </a:cubicBezTo>
                  <a:cubicBezTo>
                    <a:pt x="155" y="128"/>
                    <a:pt x="155" y="128"/>
                    <a:pt x="155" y="128"/>
                  </a:cubicBezTo>
                  <a:cubicBezTo>
                    <a:pt x="155" y="127"/>
                    <a:pt x="156" y="127"/>
                    <a:pt x="156" y="128"/>
                  </a:cubicBezTo>
                  <a:cubicBezTo>
                    <a:pt x="156" y="128"/>
                    <a:pt x="157" y="128"/>
                    <a:pt x="157" y="129"/>
                  </a:cubicBezTo>
                  <a:cubicBezTo>
                    <a:pt x="158" y="129"/>
                    <a:pt x="158" y="129"/>
                    <a:pt x="158" y="129"/>
                  </a:cubicBezTo>
                  <a:cubicBezTo>
                    <a:pt x="159" y="129"/>
                    <a:pt x="159" y="129"/>
                    <a:pt x="160" y="129"/>
                  </a:cubicBezTo>
                  <a:cubicBezTo>
                    <a:pt x="160" y="128"/>
                    <a:pt x="160" y="128"/>
                    <a:pt x="161" y="128"/>
                  </a:cubicBezTo>
                  <a:cubicBezTo>
                    <a:pt x="161" y="127"/>
                    <a:pt x="160" y="127"/>
                    <a:pt x="160" y="127"/>
                  </a:cubicBezTo>
                  <a:cubicBezTo>
                    <a:pt x="159" y="126"/>
                    <a:pt x="159" y="126"/>
                    <a:pt x="159" y="126"/>
                  </a:cubicBezTo>
                  <a:cubicBezTo>
                    <a:pt x="159" y="126"/>
                    <a:pt x="158" y="126"/>
                    <a:pt x="159" y="125"/>
                  </a:cubicBezTo>
                  <a:cubicBezTo>
                    <a:pt x="159" y="125"/>
                    <a:pt x="159" y="125"/>
                    <a:pt x="160" y="125"/>
                  </a:cubicBezTo>
                  <a:cubicBezTo>
                    <a:pt x="160" y="126"/>
                    <a:pt x="160" y="126"/>
                    <a:pt x="160" y="126"/>
                  </a:cubicBezTo>
                  <a:cubicBezTo>
                    <a:pt x="161" y="126"/>
                    <a:pt x="161" y="126"/>
                    <a:pt x="162" y="126"/>
                  </a:cubicBezTo>
                  <a:cubicBezTo>
                    <a:pt x="162" y="126"/>
                    <a:pt x="163" y="126"/>
                    <a:pt x="163" y="126"/>
                  </a:cubicBezTo>
                  <a:cubicBezTo>
                    <a:pt x="164" y="125"/>
                    <a:pt x="164" y="125"/>
                    <a:pt x="164" y="125"/>
                  </a:cubicBezTo>
                  <a:cubicBezTo>
                    <a:pt x="165" y="124"/>
                    <a:pt x="164" y="124"/>
                    <a:pt x="164" y="123"/>
                  </a:cubicBezTo>
                  <a:cubicBezTo>
                    <a:pt x="164" y="123"/>
                    <a:pt x="164" y="123"/>
                    <a:pt x="163" y="123"/>
                  </a:cubicBezTo>
                  <a:cubicBezTo>
                    <a:pt x="163" y="123"/>
                    <a:pt x="163" y="123"/>
                    <a:pt x="162" y="123"/>
                  </a:cubicBezTo>
                  <a:cubicBezTo>
                    <a:pt x="162" y="123"/>
                    <a:pt x="161" y="122"/>
                    <a:pt x="161" y="122"/>
                  </a:cubicBezTo>
                  <a:cubicBezTo>
                    <a:pt x="161" y="122"/>
                    <a:pt x="160" y="122"/>
                    <a:pt x="160" y="122"/>
                  </a:cubicBezTo>
                  <a:cubicBezTo>
                    <a:pt x="160" y="122"/>
                    <a:pt x="160" y="122"/>
                    <a:pt x="160" y="122"/>
                  </a:cubicBezTo>
                  <a:cubicBezTo>
                    <a:pt x="159" y="121"/>
                    <a:pt x="160" y="121"/>
                    <a:pt x="160" y="121"/>
                  </a:cubicBezTo>
                  <a:cubicBezTo>
                    <a:pt x="160" y="121"/>
                    <a:pt x="160" y="121"/>
                    <a:pt x="160" y="121"/>
                  </a:cubicBezTo>
                  <a:cubicBezTo>
                    <a:pt x="160" y="121"/>
                    <a:pt x="160" y="120"/>
                    <a:pt x="159" y="120"/>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5" name="Freeform 48">
              <a:extLst>
                <a:ext uri="{FF2B5EF4-FFF2-40B4-BE49-F238E27FC236}">
                  <a16:creationId xmlns:a16="http://schemas.microsoft.com/office/drawing/2014/main" id="{7F2D52E4-514A-A67A-37F0-600D19E33B31}"/>
                </a:ext>
              </a:extLst>
            </p:cNvPr>
            <p:cNvSpPr>
              <a:spLocks noEditPoints="1"/>
            </p:cNvSpPr>
            <p:nvPr/>
          </p:nvSpPr>
          <p:spPr bwMode="auto">
            <a:xfrm>
              <a:off x="7593685" y="4208092"/>
              <a:ext cx="1042541" cy="915322"/>
            </a:xfrm>
            <a:custGeom>
              <a:avLst/>
              <a:gdLst>
                <a:gd name="T0" fmla="*/ 251 w 263"/>
                <a:gd name="T1" fmla="*/ 230 h 231"/>
                <a:gd name="T2" fmla="*/ 193 w 263"/>
                <a:gd name="T3" fmla="*/ 12 h 231"/>
                <a:gd name="T4" fmla="*/ 187 w 263"/>
                <a:gd name="T5" fmla="*/ 19 h 231"/>
                <a:gd name="T6" fmla="*/ 0 w 263"/>
                <a:gd name="T7" fmla="*/ 6 h 231"/>
                <a:gd name="T8" fmla="*/ 9 w 263"/>
                <a:gd name="T9" fmla="*/ 22 h 231"/>
                <a:gd name="T10" fmla="*/ 11 w 263"/>
                <a:gd name="T11" fmla="*/ 27 h 231"/>
                <a:gd name="T12" fmla="*/ 18 w 263"/>
                <a:gd name="T13" fmla="*/ 22 h 231"/>
                <a:gd name="T14" fmla="*/ 22 w 263"/>
                <a:gd name="T15" fmla="*/ 21 h 231"/>
                <a:gd name="T16" fmla="*/ 35 w 263"/>
                <a:gd name="T17" fmla="*/ 25 h 231"/>
                <a:gd name="T18" fmla="*/ 46 w 263"/>
                <a:gd name="T19" fmla="*/ 22 h 231"/>
                <a:gd name="T20" fmla="*/ 50 w 263"/>
                <a:gd name="T21" fmla="*/ 26 h 231"/>
                <a:gd name="T22" fmla="*/ 65 w 263"/>
                <a:gd name="T23" fmla="*/ 35 h 231"/>
                <a:gd name="T24" fmla="*/ 69 w 263"/>
                <a:gd name="T25" fmla="*/ 37 h 231"/>
                <a:gd name="T26" fmla="*/ 81 w 263"/>
                <a:gd name="T27" fmla="*/ 53 h 231"/>
                <a:gd name="T28" fmla="*/ 94 w 263"/>
                <a:gd name="T29" fmla="*/ 50 h 231"/>
                <a:gd name="T30" fmla="*/ 104 w 263"/>
                <a:gd name="T31" fmla="*/ 46 h 231"/>
                <a:gd name="T32" fmla="*/ 116 w 263"/>
                <a:gd name="T33" fmla="*/ 38 h 231"/>
                <a:gd name="T34" fmla="*/ 133 w 263"/>
                <a:gd name="T35" fmla="*/ 42 h 231"/>
                <a:gd name="T36" fmla="*/ 150 w 263"/>
                <a:gd name="T37" fmla="*/ 62 h 231"/>
                <a:gd name="T38" fmla="*/ 157 w 263"/>
                <a:gd name="T39" fmla="*/ 68 h 231"/>
                <a:gd name="T40" fmla="*/ 168 w 263"/>
                <a:gd name="T41" fmla="*/ 78 h 231"/>
                <a:gd name="T42" fmla="*/ 171 w 263"/>
                <a:gd name="T43" fmla="*/ 88 h 231"/>
                <a:gd name="T44" fmla="*/ 169 w 263"/>
                <a:gd name="T45" fmla="*/ 110 h 231"/>
                <a:gd name="T46" fmla="*/ 169 w 263"/>
                <a:gd name="T47" fmla="*/ 129 h 231"/>
                <a:gd name="T48" fmla="*/ 171 w 263"/>
                <a:gd name="T49" fmla="*/ 122 h 231"/>
                <a:gd name="T50" fmla="*/ 178 w 263"/>
                <a:gd name="T51" fmla="*/ 126 h 231"/>
                <a:gd name="T52" fmla="*/ 181 w 263"/>
                <a:gd name="T53" fmla="*/ 126 h 231"/>
                <a:gd name="T54" fmla="*/ 175 w 263"/>
                <a:gd name="T55" fmla="*/ 137 h 231"/>
                <a:gd name="T56" fmla="*/ 173 w 263"/>
                <a:gd name="T57" fmla="*/ 142 h 231"/>
                <a:gd name="T58" fmla="*/ 182 w 263"/>
                <a:gd name="T59" fmla="*/ 160 h 231"/>
                <a:gd name="T60" fmla="*/ 189 w 263"/>
                <a:gd name="T61" fmla="*/ 164 h 231"/>
                <a:gd name="T62" fmla="*/ 195 w 263"/>
                <a:gd name="T63" fmla="*/ 159 h 231"/>
                <a:gd name="T64" fmla="*/ 192 w 263"/>
                <a:gd name="T65" fmla="*/ 170 h 231"/>
                <a:gd name="T66" fmla="*/ 192 w 263"/>
                <a:gd name="T67" fmla="*/ 178 h 231"/>
                <a:gd name="T68" fmla="*/ 198 w 263"/>
                <a:gd name="T69" fmla="*/ 181 h 231"/>
                <a:gd name="T70" fmla="*/ 202 w 263"/>
                <a:gd name="T71" fmla="*/ 194 h 231"/>
                <a:gd name="T72" fmla="*/ 213 w 263"/>
                <a:gd name="T73" fmla="*/ 204 h 231"/>
                <a:gd name="T74" fmla="*/ 222 w 263"/>
                <a:gd name="T75" fmla="*/ 217 h 231"/>
                <a:gd name="T76" fmla="*/ 224 w 263"/>
                <a:gd name="T77" fmla="*/ 222 h 231"/>
                <a:gd name="T78" fmla="*/ 234 w 263"/>
                <a:gd name="T79" fmla="*/ 229 h 231"/>
                <a:gd name="T80" fmla="*/ 252 w 263"/>
                <a:gd name="T81" fmla="*/ 222 h 231"/>
                <a:gd name="T82" fmla="*/ 255 w 263"/>
                <a:gd name="T83" fmla="*/ 210 h 231"/>
                <a:gd name="T84" fmla="*/ 259 w 263"/>
                <a:gd name="T85" fmla="*/ 200 h 231"/>
                <a:gd name="T86" fmla="*/ 262 w 263"/>
                <a:gd name="T87" fmla="*/ 179 h 231"/>
                <a:gd name="T88" fmla="*/ 261 w 263"/>
                <a:gd name="T89" fmla="*/ 160 h 231"/>
                <a:gd name="T90" fmla="*/ 256 w 263"/>
                <a:gd name="T91" fmla="*/ 151 h 231"/>
                <a:gd name="T92" fmla="*/ 255 w 263"/>
                <a:gd name="T93" fmla="*/ 147 h 231"/>
                <a:gd name="T94" fmla="*/ 252 w 263"/>
                <a:gd name="T95" fmla="*/ 140 h 231"/>
                <a:gd name="T96" fmla="*/ 250 w 263"/>
                <a:gd name="T97" fmla="*/ 131 h 231"/>
                <a:gd name="T98" fmla="*/ 245 w 263"/>
                <a:gd name="T99" fmla="*/ 120 h 231"/>
                <a:gd name="T100" fmla="*/ 239 w 263"/>
                <a:gd name="T101" fmla="*/ 107 h 231"/>
                <a:gd name="T102" fmla="*/ 242 w 263"/>
                <a:gd name="T103" fmla="*/ 100 h 231"/>
                <a:gd name="T104" fmla="*/ 245 w 263"/>
                <a:gd name="T105" fmla="*/ 101 h 231"/>
                <a:gd name="T106" fmla="*/ 236 w 263"/>
                <a:gd name="T107" fmla="*/ 88 h 231"/>
                <a:gd name="T108" fmla="*/ 231 w 263"/>
                <a:gd name="T109" fmla="*/ 76 h 231"/>
                <a:gd name="T110" fmla="*/ 228 w 263"/>
                <a:gd name="T111" fmla="*/ 69 h 231"/>
                <a:gd name="T112" fmla="*/ 225 w 263"/>
                <a:gd name="T113" fmla="*/ 63 h 231"/>
                <a:gd name="T114" fmla="*/ 219 w 263"/>
                <a:gd name="T115" fmla="*/ 46 h 231"/>
                <a:gd name="T116" fmla="*/ 217 w 263"/>
                <a:gd name="T117" fmla="*/ 34 h 231"/>
                <a:gd name="T118" fmla="*/ 216 w 263"/>
                <a:gd name="T119" fmla="*/ 26 h 231"/>
                <a:gd name="T120" fmla="*/ 214 w 263"/>
                <a:gd name="T121" fmla="*/ 22 h 231"/>
                <a:gd name="T122" fmla="*/ 213 w 263"/>
                <a:gd name="T123" fmla="*/ 17 h 231"/>
                <a:gd name="T124" fmla="*/ 212 w 263"/>
                <a:gd name="T125" fmla="*/ 1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3" h="231">
                  <a:moveTo>
                    <a:pt x="249" y="231"/>
                  </a:moveTo>
                  <a:cubicBezTo>
                    <a:pt x="249" y="229"/>
                    <a:pt x="249" y="229"/>
                    <a:pt x="250" y="228"/>
                  </a:cubicBezTo>
                  <a:cubicBezTo>
                    <a:pt x="251" y="227"/>
                    <a:pt x="252" y="226"/>
                    <a:pt x="252" y="225"/>
                  </a:cubicBezTo>
                  <a:cubicBezTo>
                    <a:pt x="252" y="224"/>
                    <a:pt x="253" y="223"/>
                    <a:pt x="254" y="223"/>
                  </a:cubicBezTo>
                  <a:cubicBezTo>
                    <a:pt x="254" y="223"/>
                    <a:pt x="254" y="224"/>
                    <a:pt x="254" y="225"/>
                  </a:cubicBezTo>
                  <a:cubicBezTo>
                    <a:pt x="253" y="225"/>
                    <a:pt x="253" y="226"/>
                    <a:pt x="253" y="227"/>
                  </a:cubicBezTo>
                  <a:cubicBezTo>
                    <a:pt x="252" y="227"/>
                    <a:pt x="252" y="228"/>
                    <a:pt x="252" y="228"/>
                  </a:cubicBezTo>
                  <a:cubicBezTo>
                    <a:pt x="252" y="229"/>
                    <a:pt x="251" y="229"/>
                    <a:pt x="251" y="229"/>
                  </a:cubicBezTo>
                  <a:cubicBezTo>
                    <a:pt x="251" y="230"/>
                    <a:pt x="251" y="230"/>
                    <a:pt x="251" y="230"/>
                  </a:cubicBezTo>
                  <a:cubicBezTo>
                    <a:pt x="250" y="231"/>
                    <a:pt x="250" y="231"/>
                    <a:pt x="249" y="231"/>
                  </a:cubicBezTo>
                  <a:close/>
                  <a:moveTo>
                    <a:pt x="204" y="10"/>
                  </a:moveTo>
                  <a:cubicBezTo>
                    <a:pt x="204" y="10"/>
                    <a:pt x="202" y="10"/>
                    <a:pt x="202" y="10"/>
                  </a:cubicBezTo>
                  <a:cubicBezTo>
                    <a:pt x="201" y="9"/>
                    <a:pt x="199" y="8"/>
                    <a:pt x="199" y="8"/>
                  </a:cubicBezTo>
                  <a:cubicBezTo>
                    <a:pt x="199" y="8"/>
                    <a:pt x="197" y="7"/>
                    <a:pt x="197" y="7"/>
                  </a:cubicBezTo>
                  <a:cubicBezTo>
                    <a:pt x="197" y="7"/>
                    <a:pt x="196" y="8"/>
                    <a:pt x="196" y="8"/>
                  </a:cubicBezTo>
                  <a:cubicBezTo>
                    <a:pt x="195" y="9"/>
                    <a:pt x="195" y="9"/>
                    <a:pt x="195" y="9"/>
                  </a:cubicBezTo>
                  <a:cubicBezTo>
                    <a:pt x="194" y="9"/>
                    <a:pt x="193" y="9"/>
                    <a:pt x="193" y="9"/>
                  </a:cubicBezTo>
                  <a:cubicBezTo>
                    <a:pt x="193" y="10"/>
                    <a:pt x="193" y="11"/>
                    <a:pt x="193" y="12"/>
                  </a:cubicBezTo>
                  <a:cubicBezTo>
                    <a:pt x="193" y="13"/>
                    <a:pt x="193" y="14"/>
                    <a:pt x="193" y="14"/>
                  </a:cubicBezTo>
                  <a:cubicBezTo>
                    <a:pt x="193" y="15"/>
                    <a:pt x="194" y="17"/>
                    <a:pt x="194" y="17"/>
                  </a:cubicBezTo>
                  <a:cubicBezTo>
                    <a:pt x="194" y="18"/>
                    <a:pt x="194" y="20"/>
                    <a:pt x="194" y="20"/>
                  </a:cubicBezTo>
                  <a:cubicBezTo>
                    <a:pt x="193" y="21"/>
                    <a:pt x="194" y="23"/>
                    <a:pt x="194" y="24"/>
                  </a:cubicBezTo>
                  <a:cubicBezTo>
                    <a:pt x="193" y="24"/>
                    <a:pt x="192" y="26"/>
                    <a:pt x="192" y="26"/>
                  </a:cubicBezTo>
                  <a:cubicBezTo>
                    <a:pt x="192" y="27"/>
                    <a:pt x="191" y="26"/>
                    <a:pt x="190" y="26"/>
                  </a:cubicBezTo>
                  <a:cubicBezTo>
                    <a:pt x="189" y="26"/>
                    <a:pt x="188" y="25"/>
                    <a:pt x="188" y="25"/>
                  </a:cubicBezTo>
                  <a:cubicBezTo>
                    <a:pt x="187" y="24"/>
                    <a:pt x="187" y="23"/>
                    <a:pt x="187" y="22"/>
                  </a:cubicBezTo>
                  <a:cubicBezTo>
                    <a:pt x="187" y="22"/>
                    <a:pt x="187" y="20"/>
                    <a:pt x="187" y="19"/>
                  </a:cubicBezTo>
                  <a:cubicBezTo>
                    <a:pt x="187" y="19"/>
                    <a:pt x="186" y="17"/>
                    <a:pt x="186" y="17"/>
                  </a:cubicBezTo>
                  <a:cubicBezTo>
                    <a:pt x="186" y="17"/>
                    <a:pt x="97" y="12"/>
                    <a:pt x="97" y="12"/>
                  </a:cubicBezTo>
                  <a:cubicBezTo>
                    <a:pt x="97" y="12"/>
                    <a:pt x="94" y="11"/>
                    <a:pt x="94" y="10"/>
                  </a:cubicBezTo>
                  <a:cubicBezTo>
                    <a:pt x="94" y="10"/>
                    <a:pt x="93" y="9"/>
                    <a:pt x="93" y="8"/>
                  </a:cubicBezTo>
                  <a:cubicBezTo>
                    <a:pt x="93" y="8"/>
                    <a:pt x="93" y="5"/>
                    <a:pt x="93" y="5"/>
                  </a:cubicBezTo>
                  <a:cubicBezTo>
                    <a:pt x="91" y="0"/>
                    <a:pt x="91" y="0"/>
                    <a:pt x="91" y="0"/>
                  </a:cubicBezTo>
                  <a:cubicBezTo>
                    <a:pt x="2" y="0"/>
                    <a:pt x="2" y="0"/>
                    <a:pt x="2" y="0"/>
                  </a:cubicBezTo>
                  <a:cubicBezTo>
                    <a:pt x="1" y="3"/>
                    <a:pt x="1" y="3"/>
                    <a:pt x="1" y="3"/>
                  </a:cubicBezTo>
                  <a:cubicBezTo>
                    <a:pt x="0" y="6"/>
                    <a:pt x="0" y="6"/>
                    <a:pt x="0" y="6"/>
                  </a:cubicBezTo>
                  <a:cubicBezTo>
                    <a:pt x="0" y="6"/>
                    <a:pt x="2" y="8"/>
                    <a:pt x="2" y="8"/>
                  </a:cubicBezTo>
                  <a:cubicBezTo>
                    <a:pt x="2" y="9"/>
                    <a:pt x="4" y="10"/>
                    <a:pt x="4" y="10"/>
                  </a:cubicBezTo>
                  <a:cubicBezTo>
                    <a:pt x="4" y="11"/>
                    <a:pt x="4" y="12"/>
                    <a:pt x="5" y="12"/>
                  </a:cubicBezTo>
                  <a:cubicBezTo>
                    <a:pt x="5" y="12"/>
                    <a:pt x="8" y="13"/>
                    <a:pt x="8" y="13"/>
                  </a:cubicBezTo>
                  <a:cubicBezTo>
                    <a:pt x="8" y="13"/>
                    <a:pt x="8" y="15"/>
                    <a:pt x="8" y="15"/>
                  </a:cubicBezTo>
                  <a:cubicBezTo>
                    <a:pt x="8" y="15"/>
                    <a:pt x="7" y="17"/>
                    <a:pt x="7" y="17"/>
                  </a:cubicBezTo>
                  <a:cubicBezTo>
                    <a:pt x="7" y="18"/>
                    <a:pt x="7" y="19"/>
                    <a:pt x="7" y="19"/>
                  </a:cubicBezTo>
                  <a:cubicBezTo>
                    <a:pt x="7" y="19"/>
                    <a:pt x="7" y="20"/>
                    <a:pt x="7" y="21"/>
                  </a:cubicBezTo>
                  <a:cubicBezTo>
                    <a:pt x="8" y="21"/>
                    <a:pt x="8" y="22"/>
                    <a:pt x="9" y="22"/>
                  </a:cubicBezTo>
                  <a:cubicBezTo>
                    <a:pt x="9" y="22"/>
                    <a:pt x="10" y="22"/>
                    <a:pt x="10" y="23"/>
                  </a:cubicBezTo>
                  <a:cubicBezTo>
                    <a:pt x="10" y="24"/>
                    <a:pt x="9" y="24"/>
                    <a:pt x="8" y="25"/>
                  </a:cubicBezTo>
                  <a:cubicBezTo>
                    <a:pt x="8" y="25"/>
                    <a:pt x="8" y="25"/>
                    <a:pt x="8" y="26"/>
                  </a:cubicBezTo>
                  <a:cubicBezTo>
                    <a:pt x="7" y="26"/>
                    <a:pt x="7" y="26"/>
                    <a:pt x="7" y="27"/>
                  </a:cubicBezTo>
                  <a:cubicBezTo>
                    <a:pt x="6" y="27"/>
                    <a:pt x="6" y="28"/>
                    <a:pt x="6" y="29"/>
                  </a:cubicBezTo>
                  <a:cubicBezTo>
                    <a:pt x="6" y="29"/>
                    <a:pt x="6" y="29"/>
                    <a:pt x="7" y="29"/>
                  </a:cubicBezTo>
                  <a:cubicBezTo>
                    <a:pt x="7" y="28"/>
                    <a:pt x="8" y="28"/>
                    <a:pt x="8" y="28"/>
                  </a:cubicBezTo>
                  <a:cubicBezTo>
                    <a:pt x="9" y="28"/>
                    <a:pt x="10" y="28"/>
                    <a:pt x="11" y="28"/>
                  </a:cubicBezTo>
                  <a:cubicBezTo>
                    <a:pt x="11" y="27"/>
                    <a:pt x="11" y="27"/>
                    <a:pt x="11" y="27"/>
                  </a:cubicBezTo>
                  <a:cubicBezTo>
                    <a:pt x="12" y="27"/>
                    <a:pt x="12" y="27"/>
                    <a:pt x="12" y="27"/>
                  </a:cubicBezTo>
                  <a:cubicBezTo>
                    <a:pt x="13" y="26"/>
                    <a:pt x="13" y="26"/>
                    <a:pt x="13" y="25"/>
                  </a:cubicBezTo>
                  <a:cubicBezTo>
                    <a:pt x="13" y="25"/>
                    <a:pt x="14" y="25"/>
                    <a:pt x="14" y="25"/>
                  </a:cubicBezTo>
                  <a:cubicBezTo>
                    <a:pt x="15" y="25"/>
                    <a:pt x="16" y="24"/>
                    <a:pt x="16" y="23"/>
                  </a:cubicBezTo>
                  <a:cubicBezTo>
                    <a:pt x="16" y="22"/>
                    <a:pt x="17" y="21"/>
                    <a:pt x="17" y="20"/>
                  </a:cubicBezTo>
                  <a:cubicBezTo>
                    <a:pt x="17" y="20"/>
                    <a:pt x="17" y="19"/>
                    <a:pt x="17" y="19"/>
                  </a:cubicBezTo>
                  <a:cubicBezTo>
                    <a:pt x="17" y="19"/>
                    <a:pt x="18" y="19"/>
                    <a:pt x="18" y="20"/>
                  </a:cubicBezTo>
                  <a:cubicBezTo>
                    <a:pt x="18" y="20"/>
                    <a:pt x="18" y="20"/>
                    <a:pt x="18" y="21"/>
                  </a:cubicBezTo>
                  <a:cubicBezTo>
                    <a:pt x="18" y="21"/>
                    <a:pt x="18" y="22"/>
                    <a:pt x="18" y="22"/>
                  </a:cubicBezTo>
                  <a:cubicBezTo>
                    <a:pt x="19" y="22"/>
                    <a:pt x="19" y="22"/>
                    <a:pt x="19" y="21"/>
                  </a:cubicBezTo>
                  <a:cubicBezTo>
                    <a:pt x="20" y="21"/>
                    <a:pt x="20" y="21"/>
                    <a:pt x="20" y="21"/>
                  </a:cubicBezTo>
                  <a:cubicBezTo>
                    <a:pt x="20" y="20"/>
                    <a:pt x="20" y="20"/>
                    <a:pt x="20" y="20"/>
                  </a:cubicBezTo>
                  <a:cubicBezTo>
                    <a:pt x="20" y="19"/>
                    <a:pt x="20" y="19"/>
                    <a:pt x="21" y="18"/>
                  </a:cubicBezTo>
                  <a:cubicBezTo>
                    <a:pt x="21" y="18"/>
                    <a:pt x="21" y="18"/>
                    <a:pt x="21" y="18"/>
                  </a:cubicBezTo>
                  <a:cubicBezTo>
                    <a:pt x="21" y="18"/>
                    <a:pt x="21" y="19"/>
                    <a:pt x="21" y="19"/>
                  </a:cubicBezTo>
                  <a:cubicBezTo>
                    <a:pt x="21" y="19"/>
                    <a:pt x="21" y="20"/>
                    <a:pt x="21" y="20"/>
                  </a:cubicBezTo>
                  <a:cubicBezTo>
                    <a:pt x="21" y="20"/>
                    <a:pt x="21" y="20"/>
                    <a:pt x="22" y="21"/>
                  </a:cubicBezTo>
                  <a:cubicBezTo>
                    <a:pt x="22" y="21"/>
                    <a:pt x="22" y="21"/>
                    <a:pt x="22" y="21"/>
                  </a:cubicBezTo>
                  <a:cubicBezTo>
                    <a:pt x="23" y="22"/>
                    <a:pt x="24" y="21"/>
                    <a:pt x="24" y="22"/>
                  </a:cubicBezTo>
                  <a:cubicBezTo>
                    <a:pt x="25" y="23"/>
                    <a:pt x="22" y="23"/>
                    <a:pt x="22" y="24"/>
                  </a:cubicBezTo>
                  <a:cubicBezTo>
                    <a:pt x="21" y="24"/>
                    <a:pt x="21" y="24"/>
                    <a:pt x="20" y="25"/>
                  </a:cubicBezTo>
                  <a:cubicBezTo>
                    <a:pt x="20" y="25"/>
                    <a:pt x="18" y="25"/>
                    <a:pt x="18" y="26"/>
                  </a:cubicBezTo>
                  <a:cubicBezTo>
                    <a:pt x="19" y="26"/>
                    <a:pt x="20" y="26"/>
                    <a:pt x="20" y="26"/>
                  </a:cubicBezTo>
                  <a:cubicBezTo>
                    <a:pt x="21" y="25"/>
                    <a:pt x="22" y="25"/>
                    <a:pt x="23" y="25"/>
                  </a:cubicBezTo>
                  <a:cubicBezTo>
                    <a:pt x="23" y="25"/>
                    <a:pt x="24" y="25"/>
                    <a:pt x="25" y="25"/>
                  </a:cubicBezTo>
                  <a:cubicBezTo>
                    <a:pt x="26" y="25"/>
                    <a:pt x="28" y="25"/>
                    <a:pt x="29" y="25"/>
                  </a:cubicBezTo>
                  <a:cubicBezTo>
                    <a:pt x="31" y="24"/>
                    <a:pt x="33" y="25"/>
                    <a:pt x="35" y="25"/>
                  </a:cubicBezTo>
                  <a:cubicBezTo>
                    <a:pt x="35" y="25"/>
                    <a:pt x="36" y="25"/>
                    <a:pt x="36" y="24"/>
                  </a:cubicBezTo>
                  <a:cubicBezTo>
                    <a:pt x="36" y="24"/>
                    <a:pt x="36" y="24"/>
                    <a:pt x="36" y="24"/>
                  </a:cubicBezTo>
                  <a:cubicBezTo>
                    <a:pt x="36" y="23"/>
                    <a:pt x="36" y="23"/>
                    <a:pt x="37" y="23"/>
                  </a:cubicBezTo>
                  <a:cubicBezTo>
                    <a:pt x="37" y="23"/>
                    <a:pt x="37" y="23"/>
                    <a:pt x="38" y="23"/>
                  </a:cubicBezTo>
                  <a:cubicBezTo>
                    <a:pt x="38" y="22"/>
                    <a:pt x="39" y="22"/>
                    <a:pt x="40" y="21"/>
                  </a:cubicBezTo>
                  <a:cubicBezTo>
                    <a:pt x="40" y="21"/>
                    <a:pt x="41" y="21"/>
                    <a:pt x="42" y="21"/>
                  </a:cubicBezTo>
                  <a:cubicBezTo>
                    <a:pt x="42" y="21"/>
                    <a:pt x="42" y="22"/>
                    <a:pt x="42" y="22"/>
                  </a:cubicBezTo>
                  <a:cubicBezTo>
                    <a:pt x="43" y="22"/>
                    <a:pt x="44" y="22"/>
                    <a:pt x="44" y="22"/>
                  </a:cubicBezTo>
                  <a:cubicBezTo>
                    <a:pt x="45" y="22"/>
                    <a:pt x="45" y="22"/>
                    <a:pt x="46" y="22"/>
                  </a:cubicBezTo>
                  <a:cubicBezTo>
                    <a:pt x="46" y="22"/>
                    <a:pt x="46" y="22"/>
                    <a:pt x="46" y="22"/>
                  </a:cubicBezTo>
                  <a:cubicBezTo>
                    <a:pt x="47" y="22"/>
                    <a:pt x="48" y="22"/>
                    <a:pt x="49" y="21"/>
                  </a:cubicBezTo>
                  <a:cubicBezTo>
                    <a:pt x="49" y="21"/>
                    <a:pt x="49" y="21"/>
                    <a:pt x="49" y="21"/>
                  </a:cubicBezTo>
                  <a:cubicBezTo>
                    <a:pt x="50" y="21"/>
                    <a:pt x="50" y="21"/>
                    <a:pt x="50" y="22"/>
                  </a:cubicBezTo>
                  <a:cubicBezTo>
                    <a:pt x="50" y="22"/>
                    <a:pt x="51" y="23"/>
                    <a:pt x="51" y="23"/>
                  </a:cubicBezTo>
                  <a:cubicBezTo>
                    <a:pt x="52" y="23"/>
                    <a:pt x="52" y="24"/>
                    <a:pt x="52" y="24"/>
                  </a:cubicBezTo>
                  <a:cubicBezTo>
                    <a:pt x="52" y="24"/>
                    <a:pt x="52" y="24"/>
                    <a:pt x="52" y="25"/>
                  </a:cubicBezTo>
                  <a:cubicBezTo>
                    <a:pt x="53" y="25"/>
                    <a:pt x="53" y="25"/>
                    <a:pt x="52" y="25"/>
                  </a:cubicBezTo>
                  <a:cubicBezTo>
                    <a:pt x="51" y="26"/>
                    <a:pt x="51" y="26"/>
                    <a:pt x="50" y="26"/>
                  </a:cubicBezTo>
                  <a:cubicBezTo>
                    <a:pt x="48" y="26"/>
                    <a:pt x="47" y="26"/>
                    <a:pt x="45" y="25"/>
                  </a:cubicBezTo>
                  <a:cubicBezTo>
                    <a:pt x="45" y="25"/>
                    <a:pt x="42" y="25"/>
                    <a:pt x="42" y="25"/>
                  </a:cubicBezTo>
                  <a:cubicBezTo>
                    <a:pt x="43" y="25"/>
                    <a:pt x="45" y="26"/>
                    <a:pt x="46" y="26"/>
                  </a:cubicBezTo>
                  <a:cubicBezTo>
                    <a:pt x="48" y="27"/>
                    <a:pt x="50" y="27"/>
                    <a:pt x="52" y="28"/>
                  </a:cubicBezTo>
                  <a:cubicBezTo>
                    <a:pt x="53" y="29"/>
                    <a:pt x="55" y="29"/>
                    <a:pt x="56" y="30"/>
                  </a:cubicBezTo>
                  <a:cubicBezTo>
                    <a:pt x="58" y="30"/>
                    <a:pt x="59" y="31"/>
                    <a:pt x="60" y="32"/>
                  </a:cubicBezTo>
                  <a:cubicBezTo>
                    <a:pt x="61" y="32"/>
                    <a:pt x="61" y="32"/>
                    <a:pt x="62" y="33"/>
                  </a:cubicBezTo>
                  <a:cubicBezTo>
                    <a:pt x="62" y="33"/>
                    <a:pt x="63" y="33"/>
                    <a:pt x="63" y="33"/>
                  </a:cubicBezTo>
                  <a:cubicBezTo>
                    <a:pt x="63" y="34"/>
                    <a:pt x="64" y="34"/>
                    <a:pt x="65" y="35"/>
                  </a:cubicBezTo>
                  <a:cubicBezTo>
                    <a:pt x="65" y="35"/>
                    <a:pt x="65" y="35"/>
                    <a:pt x="66" y="35"/>
                  </a:cubicBezTo>
                  <a:cubicBezTo>
                    <a:pt x="66" y="35"/>
                    <a:pt x="66" y="35"/>
                    <a:pt x="66" y="34"/>
                  </a:cubicBezTo>
                  <a:cubicBezTo>
                    <a:pt x="67" y="34"/>
                    <a:pt x="67" y="34"/>
                    <a:pt x="68" y="34"/>
                  </a:cubicBezTo>
                  <a:cubicBezTo>
                    <a:pt x="68" y="35"/>
                    <a:pt x="69" y="35"/>
                    <a:pt x="69" y="35"/>
                  </a:cubicBezTo>
                  <a:cubicBezTo>
                    <a:pt x="70" y="35"/>
                    <a:pt x="71" y="35"/>
                    <a:pt x="72" y="35"/>
                  </a:cubicBezTo>
                  <a:cubicBezTo>
                    <a:pt x="72" y="35"/>
                    <a:pt x="72" y="36"/>
                    <a:pt x="72" y="36"/>
                  </a:cubicBezTo>
                  <a:cubicBezTo>
                    <a:pt x="72" y="37"/>
                    <a:pt x="72" y="37"/>
                    <a:pt x="72" y="37"/>
                  </a:cubicBezTo>
                  <a:cubicBezTo>
                    <a:pt x="71" y="37"/>
                    <a:pt x="71" y="37"/>
                    <a:pt x="70" y="37"/>
                  </a:cubicBezTo>
                  <a:cubicBezTo>
                    <a:pt x="70" y="37"/>
                    <a:pt x="69" y="36"/>
                    <a:pt x="69" y="37"/>
                  </a:cubicBezTo>
                  <a:cubicBezTo>
                    <a:pt x="68" y="37"/>
                    <a:pt x="70" y="38"/>
                    <a:pt x="70" y="38"/>
                  </a:cubicBezTo>
                  <a:cubicBezTo>
                    <a:pt x="71" y="38"/>
                    <a:pt x="71" y="39"/>
                    <a:pt x="72" y="40"/>
                  </a:cubicBezTo>
                  <a:cubicBezTo>
                    <a:pt x="73" y="40"/>
                    <a:pt x="73" y="41"/>
                    <a:pt x="74" y="42"/>
                  </a:cubicBezTo>
                  <a:cubicBezTo>
                    <a:pt x="75" y="43"/>
                    <a:pt x="76" y="43"/>
                    <a:pt x="77" y="44"/>
                  </a:cubicBezTo>
                  <a:cubicBezTo>
                    <a:pt x="78" y="44"/>
                    <a:pt x="78" y="44"/>
                    <a:pt x="78" y="45"/>
                  </a:cubicBezTo>
                  <a:cubicBezTo>
                    <a:pt x="78" y="45"/>
                    <a:pt x="78" y="46"/>
                    <a:pt x="79" y="46"/>
                  </a:cubicBezTo>
                  <a:cubicBezTo>
                    <a:pt x="79" y="47"/>
                    <a:pt x="80" y="48"/>
                    <a:pt x="80" y="49"/>
                  </a:cubicBezTo>
                  <a:cubicBezTo>
                    <a:pt x="80" y="50"/>
                    <a:pt x="81" y="50"/>
                    <a:pt x="81" y="51"/>
                  </a:cubicBezTo>
                  <a:cubicBezTo>
                    <a:pt x="81" y="52"/>
                    <a:pt x="80" y="52"/>
                    <a:pt x="81" y="53"/>
                  </a:cubicBezTo>
                  <a:cubicBezTo>
                    <a:pt x="81" y="54"/>
                    <a:pt x="82" y="53"/>
                    <a:pt x="82" y="53"/>
                  </a:cubicBezTo>
                  <a:cubicBezTo>
                    <a:pt x="83" y="53"/>
                    <a:pt x="84" y="53"/>
                    <a:pt x="85" y="53"/>
                  </a:cubicBezTo>
                  <a:cubicBezTo>
                    <a:pt x="85" y="52"/>
                    <a:pt x="85" y="52"/>
                    <a:pt x="86" y="52"/>
                  </a:cubicBezTo>
                  <a:cubicBezTo>
                    <a:pt x="86" y="52"/>
                    <a:pt x="87" y="52"/>
                    <a:pt x="87" y="52"/>
                  </a:cubicBezTo>
                  <a:cubicBezTo>
                    <a:pt x="88" y="52"/>
                    <a:pt x="88" y="52"/>
                    <a:pt x="89" y="52"/>
                  </a:cubicBezTo>
                  <a:cubicBezTo>
                    <a:pt x="90" y="52"/>
                    <a:pt x="91" y="52"/>
                    <a:pt x="91" y="52"/>
                  </a:cubicBezTo>
                  <a:cubicBezTo>
                    <a:pt x="92" y="52"/>
                    <a:pt x="92" y="52"/>
                    <a:pt x="92" y="51"/>
                  </a:cubicBezTo>
                  <a:cubicBezTo>
                    <a:pt x="93" y="51"/>
                    <a:pt x="93" y="51"/>
                    <a:pt x="93" y="51"/>
                  </a:cubicBezTo>
                  <a:cubicBezTo>
                    <a:pt x="94" y="51"/>
                    <a:pt x="94" y="51"/>
                    <a:pt x="94" y="50"/>
                  </a:cubicBezTo>
                  <a:cubicBezTo>
                    <a:pt x="95" y="50"/>
                    <a:pt x="95" y="50"/>
                    <a:pt x="95" y="50"/>
                  </a:cubicBezTo>
                  <a:cubicBezTo>
                    <a:pt x="96" y="50"/>
                    <a:pt x="95" y="50"/>
                    <a:pt x="95" y="51"/>
                  </a:cubicBezTo>
                  <a:cubicBezTo>
                    <a:pt x="95" y="51"/>
                    <a:pt x="95" y="51"/>
                    <a:pt x="96" y="51"/>
                  </a:cubicBezTo>
                  <a:cubicBezTo>
                    <a:pt x="96" y="51"/>
                    <a:pt x="97" y="50"/>
                    <a:pt x="97" y="50"/>
                  </a:cubicBezTo>
                  <a:cubicBezTo>
                    <a:pt x="98" y="50"/>
                    <a:pt x="98" y="49"/>
                    <a:pt x="99" y="49"/>
                  </a:cubicBezTo>
                  <a:cubicBezTo>
                    <a:pt x="99" y="49"/>
                    <a:pt x="100" y="49"/>
                    <a:pt x="100" y="48"/>
                  </a:cubicBezTo>
                  <a:cubicBezTo>
                    <a:pt x="101" y="48"/>
                    <a:pt x="101" y="48"/>
                    <a:pt x="101" y="48"/>
                  </a:cubicBezTo>
                  <a:cubicBezTo>
                    <a:pt x="102" y="47"/>
                    <a:pt x="102" y="47"/>
                    <a:pt x="102" y="47"/>
                  </a:cubicBezTo>
                  <a:cubicBezTo>
                    <a:pt x="103" y="47"/>
                    <a:pt x="104" y="47"/>
                    <a:pt x="104" y="46"/>
                  </a:cubicBezTo>
                  <a:cubicBezTo>
                    <a:pt x="104" y="46"/>
                    <a:pt x="105" y="46"/>
                    <a:pt x="105" y="46"/>
                  </a:cubicBezTo>
                  <a:cubicBezTo>
                    <a:pt x="106" y="45"/>
                    <a:pt x="106" y="44"/>
                    <a:pt x="107" y="44"/>
                  </a:cubicBezTo>
                  <a:cubicBezTo>
                    <a:pt x="108" y="44"/>
                    <a:pt x="110" y="44"/>
                    <a:pt x="111" y="44"/>
                  </a:cubicBezTo>
                  <a:cubicBezTo>
                    <a:pt x="112" y="44"/>
                    <a:pt x="114" y="45"/>
                    <a:pt x="114" y="43"/>
                  </a:cubicBezTo>
                  <a:cubicBezTo>
                    <a:pt x="114" y="43"/>
                    <a:pt x="113" y="43"/>
                    <a:pt x="112" y="43"/>
                  </a:cubicBezTo>
                  <a:cubicBezTo>
                    <a:pt x="112" y="42"/>
                    <a:pt x="113" y="42"/>
                    <a:pt x="113" y="41"/>
                  </a:cubicBezTo>
                  <a:cubicBezTo>
                    <a:pt x="113" y="41"/>
                    <a:pt x="113" y="40"/>
                    <a:pt x="113" y="40"/>
                  </a:cubicBezTo>
                  <a:cubicBezTo>
                    <a:pt x="113" y="39"/>
                    <a:pt x="114" y="39"/>
                    <a:pt x="114" y="38"/>
                  </a:cubicBezTo>
                  <a:cubicBezTo>
                    <a:pt x="115" y="38"/>
                    <a:pt x="115" y="38"/>
                    <a:pt x="116" y="38"/>
                  </a:cubicBezTo>
                  <a:cubicBezTo>
                    <a:pt x="116" y="37"/>
                    <a:pt x="116" y="37"/>
                    <a:pt x="117" y="37"/>
                  </a:cubicBezTo>
                  <a:cubicBezTo>
                    <a:pt x="117" y="37"/>
                    <a:pt x="118" y="37"/>
                    <a:pt x="119" y="37"/>
                  </a:cubicBezTo>
                  <a:cubicBezTo>
                    <a:pt x="119" y="38"/>
                    <a:pt x="120" y="38"/>
                    <a:pt x="120" y="38"/>
                  </a:cubicBezTo>
                  <a:cubicBezTo>
                    <a:pt x="121" y="37"/>
                    <a:pt x="121" y="37"/>
                    <a:pt x="122" y="37"/>
                  </a:cubicBezTo>
                  <a:cubicBezTo>
                    <a:pt x="122" y="37"/>
                    <a:pt x="123" y="37"/>
                    <a:pt x="123" y="37"/>
                  </a:cubicBezTo>
                  <a:cubicBezTo>
                    <a:pt x="124" y="37"/>
                    <a:pt x="124" y="37"/>
                    <a:pt x="125" y="37"/>
                  </a:cubicBezTo>
                  <a:cubicBezTo>
                    <a:pt x="125" y="37"/>
                    <a:pt x="126" y="37"/>
                    <a:pt x="126" y="38"/>
                  </a:cubicBezTo>
                  <a:cubicBezTo>
                    <a:pt x="127" y="39"/>
                    <a:pt x="129" y="39"/>
                    <a:pt x="130" y="40"/>
                  </a:cubicBezTo>
                  <a:cubicBezTo>
                    <a:pt x="131" y="41"/>
                    <a:pt x="132" y="41"/>
                    <a:pt x="133" y="42"/>
                  </a:cubicBezTo>
                  <a:cubicBezTo>
                    <a:pt x="134" y="42"/>
                    <a:pt x="135" y="43"/>
                    <a:pt x="136" y="43"/>
                  </a:cubicBezTo>
                  <a:cubicBezTo>
                    <a:pt x="137" y="45"/>
                    <a:pt x="138" y="46"/>
                    <a:pt x="139" y="47"/>
                  </a:cubicBezTo>
                  <a:cubicBezTo>
                    <a:pt x="140" y="49"/>
                    <a:pt x="140" y="50"/>
                    <a:pt x="141" y="51"/>
                  </a:cubicBezTo>
                  <a:cubicBezTo>
                    <a:pt x="142" y="52"/>
                    <a:pt x="142" y="52"/>
                    <a:pt x="143" y="53"/>
                  </a:cubicBezTo>
                  <a:cubicBezTo>
                    <a:pt x="143" y="53"/>
                    <a:pt x="143" y="53"/>
                    <a:pt x="144" y="53"/>
                  </a:cubicBezTo>
                  <a:cubicBezTo>
                    <a:pt x="144" y="53"/>
                    <a:pt x="145" y="53"/>
                    <a:pt x="145" y="54"/>
                  </a:cubicBezTo>
                  <a:cubicBezTo>
                    <a:pt x="145" y="54"/>
                    <a:pt x="146" y="54"/>
                    <a:pt x="147" y="55"/>
                  </a:cubicBezTo>
                  <a:cubicBezTo>
                    <a:pt x="147" y="57"/>
                    <a:pt x="147" y="58"/>
                    <a:pt x="147" y="60"/>
                  </a:cubicBezTo>
                  <a:cubicBezTo>
                    <a:pt x="147" y="61"/>
                    <a:pt x="149" y="62"/>
                    <a:pt x="150" y="62"/>
                  </a:cubicBezTo>
                  <a:cubicBezTo>
                    <a:pt x="151" y="63"/>
                    <a:pt x="153" y="64"/>
                    <a:pt x="153" y="65"/>
                  </a:cubicBezTo>
                  <a:cubicBezTo>
                    <a:pt x="154" y="65"/>
                    <a:pt x="154" y="66"/>
                    <a:pt x="154" y="66"/>
                  </a:cubicBezTo>
                  <a:cubicBezTo>
                    <a:pt x="154" y="67"/>
                    <a:pt x="154" y="67"/>
                    <a:pt x="154" y="67"/>
                  </a:cubicBezTo>
                  <a:cubicBezTo>
                    <a:pt x="155" y="68"/>
                    <a:pt x="155" y="68"/>
                    <a:pt x="156" y="68"/>
                  </a:cubicBezTo>
                  <a:cubicBezTo>
                    <a:pt x="156" y="67"/>
                    <a:pt x="156" y="67"/>
                    <a:pt x="156" y="67"/>
                  </a:cubicBezTo>
                  <a:cubicBezTo>
                    <a:pt x="157" y="66"/>
                    <a:pt x="157" y="66"/>
                    <a:pt x="157" y="66"/>
                  </a:cubicBezTo>
                  <a:cubicBezTo>
                    <a:pt x="158" y="66"/>
                    <a:pt x="158" y="66"/>
                    <a:pt x="158" y="67"/>
                  </a:cubicBezTo>
                  <a:cubicBezTo>
                    <a:pt x="158" y="67"/>
                    <a:pt x="157" y="67"/>
                    <a:pt x="157" y="68"/>
                  </a:cubicBezTo>
                  <a:cubicBezTo>
                    <a:pt x="157" y="68"/>
                    <a:pt x="157" y="68"/>
                    <a:pt x="157" y="68"/>
                  </a:cubicBezTo>
                  <a:cubicBezTo>
                    <a:pt x="156" y="69"/>
                    <a:pt x="156" y="70"/>
                    <a:pt x="157" y="70"/>
                  </a:cubicBezTo>
                  <a:cubicBezTo>
                    <a:pt x="157" y="71"/>
                    <a:pt x="157" y="71"/>
                    <a:pt x="158" y="72"/>
                  </a:cubicBezTo>
                  <a:cubicBezTo>
                    <a:pt x="158" y="73"/>
                    <a:pt x="158" y="73"/>
                    <a:pt x="159" y="74"/>
                  </a:cubicBezTo>
                  <a:cubicBezTo>
                    <a:pt x="159" y="74"/>
                    <a:pt x="159" y="74"/>
                    <a:pt x="159" y="74"/>
                  </a:cubicBezTo>
                  <a:cubicBezTo>
                    <a:pt x="160" y="74"/>
                    <a:pt x="160" y="74"/>
                    <a:pt x="160" y="74"/>
                  </a:cubicBezTo>
                  <a:cubicBezTo>
                    <a:pt x="161" y="74"/>
                    <a:pt x="162" y="74"/>
                    <a:pt x="163" y="74"/>
                  </a:cubicBezTo>
                  <a:cubicBezTo>
                    <a:pt x="164" y="74"/>
                    <a:pt x="165" y="74"/>
                    <a:pt x="166" y="74"/>
                  </a:cubicBezTo>
                  <a:cubicBezTo>
                    <a:pt x="167" y="74"/>
                    <a:pt x="167" y="74"/>
                    <a:pt x="167" y="75"/>
                  </a:cubicBezTo>
                  <a:cubicBezTo>
                    <a:pt x="167" y="76"/>
                    <a:pt x="167" y="77"/>
                    <a:pt x="168" y="78"/>
                  </a:cubicBezTo>
                  <a:cubicBezTo>
                    <a:pt x="168" y="79"/>
                    <a:pt x="168" y="79"/>
                    <a:pt x="169" y="80"/>
                  </a:cubicBezTo>
                  <a:cubicBezTo>
                    <a:pt x="169" y="80"/>
                    <a:pt x="169" y="80"/>
                    <a:pt x="169" y="81"/>
                  </a:cubicBezTo>
                  <a:cubicBezTo>
                    <a:pt x="169" y="81"/>
                    <a:pt x="170" y="82"/>
                    <a:pt x="170" y="83"/>
                  </a:cubicBezTo>
                  <a:cubicBezTo>
                    <a:pt x="171" y="83"/>
                    <a:pt x="171" y="84"/>
                    <a:pt x="171" y="84"/>
                  </a:cubicBezTo>
                  <a:cubicBezTo>
                    <a:pt x="172" y="85"/>
                    <a:pt x="172" y="85"/>
                    <a:pt x="171" y="85"/>
                  </a:cubicBezTo>
                  <a:cubicBezTo>
                    <a:pt x="171" y="86"/>
                    <a:pt x="171" y="86"/>
                    <a:pt x="171" y="86"/>
                  </a:cubicBezTo>
                  <a:cubicBezTo>
                    <a:pt x="170" y="86"/>
                    <a:pt x="170" y="86"/>
                    <a:pt x="170" y="86"/>
                  </a:cubicBezTo>
                  <a:cubicBezTo>
                    <a:pt x="170" y="86"/>
                    <a:pt x="170" y="87"/>
                    <a:pt x="170" y="87"/>
                  </a:cubicBezTo>
                  <a:cubicBezTo>
                    <a:pt x="170" y="87"/>
                    <a:pt x="171" y="87"/>
                    <a:pt x="171" y="88"/>
                  </a:cubicBezTo>
                  <a:cubicBezTo>
                    <a:pt x="171" y="88"/>
                    <a:pt x="171" y="89"/>
                    <a:pt x="171" y="89"/>
                  </a:cubicBezTo>
                  <a:cubicBezTo>
                    <a:pt x="172" y="90"/>
                    <a:pt x="172" y="90"/>
                    <a:pt x="172" y="91"/>
                  </a:cubicBezTo>
                  <a:cubicBezTo>
                    <a:pt x="172" y="91"/>
                    <a:pt x="172" y="92"/>
                    <a:pt x="172" y="92"/>
                  </a:cubicBezTo>
                  <a:cubicBezTo>
                    <a:pt x="172" y="94"/>
                    <a:pt x="172" y="96"/>
                    <a:pt x="172" y="98"/>
                  </a:cubicBezTo>
                  <a:cubicBezTo>
                    <a:pt x="172" y="99"/>
                    <a:pt x="172" y="99"/>
                    <a:pt x="172" y="100"/>
                  </a:cubicBezTo>
                  <a:cubicBezTo>
                    <a:pt x="171" y="101"/>
                    <a:pt x="171" y="101"/>
                    <a:pt x="171" y="102"/>
                  </a:cubicBezTo>
                  <a:cubicBezTo>
                    <a:pt x="171" y="103"/>
                    <a:pt x="171" y="103"/>
                    <a:pt x="171" y="104"/>
                  </a:cubicBezTo>
                  <a:cubicBezTo>
                    <a:pt x="171" y="105"/>
                    <a:pt x="171" y="106"/>
                    <a:pt x="170" y="107"/>
                  </a:cubicBezTo>
                  <a:cubicBezTo>
                    <a:pt x="170" y="108"/>
                    <a:pt x="169" y="109"/>
                    <a:pt x="169" y="110"/>
                  </a:cubicBezTo>
                  <a:cubicBezTo>
                    <a:pt x="169" y="111"/>
                    <a:pt x="168" y="112"/>
                    <a:pt x="168" y="114"/>
                  </a:cubicBezTo>
                  <a:cubicBezTo>
                    <a:pt x="167" y="115"/>
                    <a:pt x="168" y="116"/>
                    <a:pt x="168" y="117"/>
                  </a:cubicBezTo>
                  <a:cubicBezTo>
                    <a:pt x="168" y="118"/>
                    <a:pt x="168" y="119"/>
                    <a:pt x="167" y="120"/>
                  </a:cubicBezTo>
                  <a:cubicBezTo>
                    <a:pt x="167" y="120"/>
                    <a:pt x="167" y="121"/>
                    <a:pt x="166" y="121"/>
                  </a:cubicBezTo>
                  <a:cubicBezTo>
                    <a:pt x="166" y="121"/>
                    <a:pt x="166" y="122"/>
                    <a:pt x="166" y="122"/>
                  </a:cubicBezTo>
                  <a:cubicBezTo>
                    <a:pt x="166" y="123"/>
                    <a:pt x="165" y="123"/>
                    <a:pt x="165" y="123"/>
                  </a:cubicBezTo>
                  <a:cubicBezTo>
                    <a:pt x="165" y="124"/>
                    <a:pt x="165" y="125"/>
                    <a:pt x="166" y="125"/>
                  </a:cubicBezTo>
                  <a:cubicBezTo>
                    <a:pt x="166" y="126"/>
                    <a:pt x="167" y="127"/>
                    <a:pt x="168" y="127"/>
                  </a:cubicBezTo>
                  <a:cubicBezTo>
                    <a:pt x="168" y="128"/>
                    <a:pt x="169" y="128"/>
                    <a:pt x="169" y="129"/>
                  </a:cubicBezTo>
                  <a:cubicBezTo>
                    <a:pt x="169" y="129"/>
                    <a:pt x="169" y="130"/>
                    <a:pt x="170" y="130"/>
                  </a:cubicBezTo>
                  <a:cubicBezTo>
                    <a:pt x="170" y="131"/>
                    <a:pt x="172" y="131"/>
                    <a:pt x="172" y="131"/>
                  </a:cubicBezTo>
                  <a:cubicBezTo>
                    <a:pt x="173" y="131"/>
                    <a:pt x="173" y="129"/>
                    <a:pt x="173" y="129"/>
                  </a:cubicBezTo>
                  <a:cubicBezTo>
                    <a:pt x="173" y="128"/>
                    <a:pt x="174" y="128"/>
                    <a:pt x="174" y="128"/>
                  </a:cubicBezTo>
                  <a:cubicBezTo>
                    <a:pt x="174" y="127"/>
                    <a:pt x="174" y="127"/>
                    <a:pt x="174" y="126"/>
                  </a:cubicBezTo>
                  <a:cubicBezTo>
                    <a:pt x="174" y="126"/>
                    <a:pt x="174" y="125"/>
                    <a:pt x="173" y="124"/>
                  </a:cubicBezTo>
                  <a:cubicBezTo>
                    <a:pt x="173" y="124"/>
                    <a:pt x="172" y="124"/>
                    <a:pt x="172" y="124"/>
                  </a:cubicBezTo>
                  <a:cubicBezTo>
                    <a:pt x="172" y="123"/>
                    <a:pt x="172" y="123"/>
                    <a:pt x="171" y="123"/>
                  </a:cubicBezTo>
                  <a:cubicBezTo>
                    <a:pt x="171" y="123"/>
                    <a:pt x="171" y="123"/>
                    <a:pt x="171" y="122"/>
                  </a:cubicBezTo>
                  <a:cubicBezTo>
                    <a:pt x="170" y="122"/>
                    <a:pt x="170" y="122"/>
                    <a:pt x="170" y="122"/>
                  </a:cubicBezTo>
                  <a:cubicBezTo>
                    <a:pt x="170" y="122"/>
                    <a:pt x="171" y="122"/>
                    <a:pt x="171" y="121"/>
                  </a:cubicBezTo>
                  <a:cubicBezTo>
                    <a:pt x="171" y="121"/>
                    <a:pt x="171" y="120"/>
                    <a:pt x="172" y="120"/>
                  </a:cubicBezTo>
                  <a:cubicBezTo>
                    <a:pt x="173" y="119"/>
                    <a:pt x="173" y="120"/>
                    <a:pt x="174" y="120"/>
                  </a:cubicBezTo>
                  <a:cubicBezTo>
                    <a:pt x="174" y="121"/>
                    <a:pt x="175" y="121"/>
                    <a:pt x="176" y="122"/>
                  </a:cubicBezTo>
                  <a:cubicBezTo>
                    <a:pt x="176" y="122"/>
                    <a:pt x="176" y="122"/>
                    <a:pt x="176" y="123"/>
                  </a:cubicBezTo>
                  <a:cubicBezTo>
                    <a:pt x="176" y="123"/>
                    <a:pt x="176" y="124"/>
                    <a:pt x="176" y="124"/>
                  </a:cubicBezTo>
                  <a:cubicBezTo>
                    <a:pt x="176" y="125"/>
                    <a:pt x="176" y="126"/>
                    <a:pt x="177" y="126"/>
                  </a:cubicBezTo>
                  <a:cubicBezTo>
                    <a:pt x="177" y="126"/>
                    <a:pt x="178" y="126"/>
                    <a:pt x="178" y="126"/>
                  </a:cubicBezTo>
                  <a:cubicBezTo>
                    <a:pt x="178" y="126"/>
                    <a:pt x="178" y="125"/>
                    <a:pt x="178" y="125"/>
                  </a:cubicBezTo>
                  <a:cubicBezTo>
                    <a:pt x="178" y="125"/>
                    <a:pt x="178" y="124"/>
                    <a:pt x="178" y="124"/>
                  </a:cubicBezTo>
                  <a:cubicBezTo>
                    <a:pt x="178" y="124"/>
                    <a:pt x="178" y="124"/>
                    <a:pt x="177" y="123"/>
                  </a:cubicBezTo>
                  <a:cubicBezTo>
                    <a:pt x="177" y="123"/>
                    <a:pt x="178" y="123"/>
                    <a:pt x="178" y="123"/>
                  </a:cubicBezTo>
                  <a:cubicBezTo>
                    <a:pt x="179" y="123"/>
                    <a:pt x="179" y="122"/>
                    <a:pt x="179" y="122"/>
                  </a:cubicBezTo>
                  <a:cubicBezTo>
                    <a:pt x="179" y="122"/>
                    <a:pt x="180" y="122"/>
                    <a:pt x="180" y="122"/>
                  </a:cubicBezTo>
                  <a:cubicBezTo>
                    <a:pt x="181" y="122"/>
                    <a:pt x="181" y="122"/>
                    <a:pt x="181" y="123"/>
                  </a:cubicBezTo>
                  <a:cubicBezTo>
                    <a:pt x="181" y="124"/>
                    <a:pt x="181" y="124"/>
                    <a:pt x="181" y="125"/>
                  </a:cubicBezTo>
                  <a:cubicBezTo>
                    <a:pt x="181" y="125"/>
                    <a:pt x="181" y="126"/>
                    <a:pt x="181" y="126"/>
                  </a:cubicBezTo>
                  <a:cubicBezTo>
                    <a:pt x="181" y="127"/>
                    <a:pt x="181" y="127"/>
                    <a:pt x="181" y="127"/>
                  </a:cubicBezTo>
                  <a:cubicBezTo>
                    <a:pt x="180" y="128"/>
                    <a:pt x="179" y="128"/>
                    <a:pt x="179" y="129"/>
                  </a:cubicBezTo>
                  <a:cubicBezTo>
                    <a:pt x="179" y="129"/>
                    <a:pt x="178" y="130"/>
                    <a:pt x="178" y="130"/>
                  </a:cubicBezTo>
                  <a:cubicBezTo>
                    <a:pt x="178" y="131"/>
                    <a:pt x="178" y="131"/>
                    <a:pt x="178" y="131"/>
                  </a:cubicBezTo>
                  <a:cubicBezTo>
                    <a:pt x="177" y="131"/>
                    <a:pt x="177" y="132"/>
                    <a:pt x="177" y="132"/>
                  </a:cubicBezTo>
                  <a:cubicBezTo>
                    <a:pt x="177" y="133"/>
                    <a:pt x="177" y="133"/>
                    <a:pt x="176" y="133"/>
                  </a:cubicBezTo>
                  <a:cubicBezTo>
                    <a:pt x="176" y="134"/>
                    <a:pt x="176" y="135"/>
                    <a:pt x="176" y="135"/>
                  </a:cubicBezTo>
                  <a:cubicBezTo>
                    <a:pt x="175" y="135"/>
                    <a:pt x="175" y="135"/>
                    <a:pt x="175" y="136"/>
                  </a:cubicBezTo>
                  <a:cubicBezTo>
                    <a:pt x="175" y="136"/>
                    <a:pt x="175" y="136"/>
                    <a:pt x="175" y="137"/>
                  </a:cubicBezTo>
                  <a:cubicBezTo>
                    <a:pt x="175" y="137"/>
                    <a:pt x="175" y="137"/>
                    <a:pt x="175" y="137"/>
                  </a:cubicBezTo>
                  <a:cubicBezTo>
                    <a:pt x="175" y="138"/>
                    <a:pt x="175" y="138"/>
                    <a:pt x="175" y="138"/>
                  </a:cubicBezTo>
                  <a:cubicBezTo>
                    <a:pt x="175" y="139"/>
                    <a:pt x="176" y="138"/>
                    <a:pt x="176" y="139"/>
                  </a:cubicBezTo>
                  <a:cubicBezTo>
                    <a:pt x="177" y="139"/>
                    <a:pt x="177" y="139"/>
                    <a:pt x="177" y="139"/>
                  </a:cubicBezTo>
                  <a:cubicBezTo>
                    <a:pt x="176" y="139"/>
                    <a:pt x="176" y="139"/>
                    <a:pt x="176" y="139"/>
                  </a:cubicBezTo>
                  <a:cubicBezTo>
                    <a:pt x="175" y="139"/>
                    <a:pt x="175" y="139"/>
                    <a:pt x="174" y="139"/>
                  </a:cubicBezTo>
                  <a:cubicBezTo>
                    <a:pt x="174" y="139"/>
                    <a:pt x="173" y="139"/>
                    <a:pt x="172" y="139"/>
                  </a:cubicBezTo>
                  <a:cubicBezTo>
                    <a:pt x="171" y="140"/>
                    <a:pt x="172" y="141"/>
                    <a:pt x="172" y="141"/>
                  </a:cubicBezTo>
                  <a:cubicBezTo>
                    <a:pt x="173" y="142"/>
                    <a:pt x="173" y="142"/>
                    <a:pt x="173" y="142"/>
                  </a:cubicBezTo>
                  <a:cubicBezTo>
                    <a:pt x="174" y="142"/>
                    <a:pt x="175" y="143"/>
                    <a:pt x="175" y="143"/>
                  </a:cubicBezTo>
                  <a:cubicBezTo>
                    <a:pt x="176" y="144"/>
                    <a:pt x="175" y="145"/>
                    <a:pt x="175" y="146"/>
                  </a:cubicBezTo>
                  <a:cubicBezTo>
                    <a:pt x="175" y="147"/>
                    <a:pt x="176" y="148"/>
                    <a:pt x="176" y="149"/>
                  </a:cubicBezTo>
                  <a:cubicBezTo>
                    <a:pt x="177" y="149"/>
                    <a:pt x="177" y="150"/>
                    <a:pt x="178" y="151"/>
                  </a:cubicBezTo>
                  <a:cubicBezTo>
                    <a:pt x="178" y="152"/>
                    <a:pt x="178" y="153"/>
                    <a:pt x="178" y="154"/>
                  </a:cubicBezTo>
                  <a:cubicBezTo>
                    <a:pt x="179" y="154"/>
                    <a:pt x="179" y="155"/>
                    <a:pt x="179" y="155"/>
                  </a:cubicBezTo>
                  <a:cubicBezTo>
                    <a:pt x="179" y="155"/>
                    <a:pt x="179" y="156"/>
                    <a:pt x="179" y="156"/>
                  </a:cubicBezTo>
                  <a:cubicBezTo>
                    <a:pt x="180" y="157"/>
                    <a:pt x="180" y="157"/>
                    <a:pt x="180" y="158"/>
                  </a:cubicBezTo>
                  <a:cubicBezTo>
                    <a:pt x="181" y="159"/>
                    <a:pt x="181" y="159"/>
                    <a:pt x="182" y="160"/>
                  </a:cubicBezTo>
                  <a:cubicBezTo>
                    <a:pt x="183" y="161"/>
                    <a:pt x="183" y="161"/>
                    <a:pt x="183" y="162"/>
                  </a:cubicBezTo>
                  <a:cubicBezTo>
                    <a:pt x="184" y="163"/>
                    <a:pt x="184" y="163"/>
                    <a:pt x="184" y="163"/>
                  </a:cubicBezTo>
                  <a:cubicBezTo>
                    <a:pt x="185" y="164"/>
                    <a:pt x="185" y="164"/>
                    <a:pt x="185" y="164"/>
                  </a:cubicBezTo>
                  <a:cubicBezTo>
                    <a:pt x="185" y="164"/>
                    <a:pt x="185" y="164"/>
                    <a:pt x="185" y="165"/>
                  </a:cubicBezTo>
                  <a:cubicBezTo>
                    <a:pt x="185" y="165"/>
                    <a:pt x="186" y="166"/>
                    <a:pt x="186" y="166"/>
                  </a:cubicBezTo>
                  <a:cubicBezTo>
                    <a:pt x="187" y="166"/>
                    <a:pt x="187" y="167"/>
                    <a:pt x="188" y="166"/>
                  </a:cubicBezTo>
                  <a:cubicBezTo>
                    <a:pt x="188" y="166"/>
                    <a:pt x="189" y="166"/>
                    <a:pt x="189" y="165"/>
                  </a:cubicBezTo>
                  <a:cubicBezTo>
                    <a:pt x="189" y="165"/>
                    <a:pt x="190" y="165"/>
                    <a:pt x="189" y="165"/>
                  </a:cubicBezTo>
                  <a:cubicBezTo>
                    <a:pt x="189" y="164"/>
                    <a:pt x="189" y="164"/>
                    <a:pt x="189" y="164"/>
                  </a:cubicBezTo>
                  <a:cubicBezTo>
                    <a:pt x="189" y="164"/>
                    <a:pt x="189" y="164"/>
                    <a:pt x="189" y="163"/>
                  </a:cubicBezTo>
                  <a:cubicBezTo>
                    <a:pt x="189" y="163"/>
                    <a:pt x="189" y="162"/>
                    <a:pt x="188" y="162"/>
                  </a:cubicBezTo>
                  <a:cubicBezTo>
                    <a:pt x="188" y="161"/>
                    <a:pt x="187" y="160"/>
                    <a:pt x="187" y="159"/>
                  </a:cubicBezTo>
                  <a:cubicBezTo>
                    <a:pt x="187" y="159"/>
                    <a:pt x="188" y="159"/>
                    <a:pt x="188" y="160"/>
                  </a:cubicBezTo>
                  <a:cubicBezTo>
                    <a:pt x="188" y="160"/>
                    <a:pt x="189" y="161"/>
                    <a:pt x="189" y="161"/>
                  </a:cubicBezTo>
                  <a:cubicBezTo>
                    <a:pt x="190" y="161"/>
                    <a:pt x="191" y="161"/>
                    <a:pt x="192" y="161"/>
                  </a:cubicBezTo>
                  <a:cubicBezTo>
                    <a:pt x="193" y="160"/>
                    <a:pt x="193" y="160"/>
                    <a:pt x="193" y="159"/>
                  </a:cubicBezTo>
                  <a:cubicBezTo>
                    <a:pt x="194" y="159"/>
                    <a:pt x="194" y="159"/>
                    <a:pt x="194" y="159"/>
                  </a:cubicBezTo>
                  <a:cubicBezTo>
                    <a:pt x="194" y="159"/>
                    <a:pt x="195" y="159"/>
                    <a:pt x="195" y="159"/>
                  </a:cubicBezTo>
                  <a:cubicBezTo>
                    <a:pt x="195" y="160"/>
                    <a:pt x="194" y="160"/>
                    <a:pt x="194" y="160"/>
                  </a:cubicBezTo>
                  <a:cubicBezTo>
                    <a:pt x="193" y="160"/>
                    <a:pt x="193" y="161"/>
                    <a:pt x="193" y="161"/>
                  </a:cubicBezTo>
                  <a:cubicBezTo>
                    <a:pt x="193" y="161"/>
                    <a:pt x="193" y="161"/>
                    <a:pt x="193" y="162"/>
                  </a:cubicBezTo>
                  <a:cubicBezTo>
                    <a:pt x="192" y="162"/>
                    <a:pt x="192" y="162"/>
                    <a:pt x="192" y="163"/>
                  </a:cubicBezTo>
                  <a:cubicBezTo>
                    <a:pt x="192" y="163"/>
                    <a:pt x="192" y="164"/>
                    <a:pt x="192" y="164"/>
                  </a:cubicBezTo>
                  <a:cubicBezTo>
                    <a:pt x="192" y="165"/>
                    <a:pt x="192" y="166"/>
                    <a:pt x="192" y="166"/>
                  </a:cubicBezTo>
                  <a:cubicBezTo>
                    <a:pt x="193" y="167"/>
                    <a:pt x="193" y="167"/>
                    <a:pt x="193" y="168"/>
                  </a:cubicBezTo>
                  <a:cubicBezTo>
                    <a:pt x="193" y="168"/>
                    <a:pt x="192" y="168"/>
                    <a:pt x="192" y="169"/>
                  </a:cubicBezTo>
                  <a:cubicBezTo>
                    <a:pt x="192" y="169"/>
                    <a:pt x="192" y="170"/>
                    <a:pt x="192" y="170"/>
                  </a:cubicBezTo>
                  <a:cubicBezTo>
                    <a:pt x="192" y="171"/>
                    <a:pt x="192" y="172"/>
                    <a:pt x="191" y="172"/>
                  </a:cubicBezTo>
                  <a:cubicBezTo>
                    <a:pt x="190" y="172"/>
                    <a:pt x="190" y="171"/>
                    <a:pt x="190" y="170"/>
                  </a:cubicBezTo>
                  <a:cubicBezTo>
                    <a:pt x="190" y="170"/>
                    <a:pt x="188" y="170"/>
                    <a:pt x="189" y="171"/>
                  </a:cubicBezTo>
                  <a:cubicBezTo>
                    <a:pt x="189" y="171"/>
                    <a:pt x="189" y="172"/>
                    <a:pt x="189" y="172"/>
                  </a:cubicBezTo>
                  <a:cubicBezTo>
                    <a:pt x="190" y="172"/>
                    <a:pt x="190" y="173"/>
                    <a:pt x="190" y="173"/>
                  </a:cubicBezTo>
                  <a:cubicBezTo>
                    <a:pt x="190" y="173"/>
                    <a:pt x="191" y="174"/>
                    <a:pt x="191" y="174"/>
                  </a:cubicBezTo>
                  <a:cubicBezTo>
                    <a:pt x="190" y="175"/>
                    <a:pt x="190" y="175"/>
                    <a:pt x="190" y="176"/>
                  </a:cubicBezTo>
                  <a:cubicBezTo>
                    <a:pt x="191" y="176"/>
                    <a:pt x="191" y="176"/>
                    <a:pt x="191" y="176"/>
                  </a:cubicBezTo>
                  <a:cubicBezTo>
                    <a:pt x="191" y="177"/>
                    <a:pt x="191" y="178"/>
                    <a:pt x="192" y="178"/>
                  </a:cubicBezTo>
                  <a:cubicBezTo>
                    <a:pt x="192" y="178"/>
                    <a:pt x="193" y="178"/>
                    <a:pt x="193" y="177"/>
                  </a:cubicBezTo>
                  <a:cubicBezTo>
                    <a:pt x="192" y="177"/>
                    <a:pt x="192" y="177"/>
                    <a:pt x="192" y="177"/>
                  </a:cubicBezTo>
                  <a:cubicBezTo>
                    <a:pt x="192" y="176"/>
                    <a:pt x="192" y="176"/>
                    <a:pt x="193" y="176"/>
                  </a:cubicBezTo>
                  <a:cubicBezTo>
                    <a:pt x="193" y="176"/>
                    <a:pt x="194" y="176"/>
                    <a:pt x="194" y="176"/>
                  </a:cubicBezTo>
                  <a:cubicBezTo>
                    <a:pt x="195" y="177"/>
                    <a:pt x="196" y="176"/>
                    <a:pt x="195" y="177"/>
                  </a:cubicBezTo>
                  <a:cubicBezTo>
                    <a:pt x="195" y="178"/>
                    <a:pt x="194" y="178"/>
                    <a:pt x="195" y="179"/>
                  </a:cubicBezTo>
                  <a:cubicBezTo>
                    <a:pt x="195" y="179"/>
                    <a:pt x="195" y="179"/>
                    <a:pt x="196" y="179"/>
                  </a:cubicBezTo>
                  <a:cubicBezTo>
                    <a:pt x="196" y="179"/>
                    <a:pt x="196" y="180"/>
                    <a:pt x="196" y="180"/>
                  </a:cubicBezTo>
                  <a:cubicBezTo>
                    <a:pt x="197" y="181"/>
                    <a:pt x="198" y="181"/>
                    <a:pt x="198" y="181"/>
                  </a:cubicBezTo>
                  <a:cubicBezTo>
                    <a:pt x="198" y="182"/>
                    <a:pt x="199" y="182"/>
                    <a:pt x="199" y="181"/>
                  </a:cubicBezTo>
                  <a:cubicBezTo>
                    <a:pt x="199" y="181"/>
                    <a:pt x="198" y="181"/>
                    <a:pt x="198" y="181"/>
                  </a:cubicBezTo>
                  <a:cubicBezTo>
                    <a:pt x="198" y="180"/>
                    <a:pt x="198" y="180"/>
                    <a:pt x="199" y="180"/>
                  </a:cubicBezTo>
                  <a:cubicBezTo>
                    <a:pt x="200" y="180"/>
                    <a:pt x="200" y="181"/>
                    <a:pt x="200" y="181"/>
                  </a:cubicBezTo>
                  <a:cubicBezTo>
                    <a:pt x="200" y="182"/>
                    <a:pt x="200" y="182"/>
                    <a:pt x="200" y="183"/>
                  </a:cubicBezTo>
                  <a:cubicBezTo>
                    <a:pt x="200" y="183"/>
                    <a:pt x="200" y="184"/>
                    <a:pt x="200" y="184"/>
                  </a:cubicBezTo>
                  <a:cubicBezTo>
                    <a:pt x="201" y="186"/>
                    <a:pt x="200" y="187"/>
                    <a:pt x="201" y="189"/>
                  </a:cubicBezTo>
                  <a:cubicBezTo>
                    <a:pt x="201" y="190"/>
                    <a:pt x="201" y="191"/>
                    <a:pt x="201" y="193"/>
                  </a:cubicBezTo>
                  <a:cubicBezTo>
                    <a:pt x="201" y="193"/>
                    <a:pt x="202" y="193"/>
                    <a:pt x="202" y="194"/>
                  </a:cubicBezTo>
                  <a:cubicBezTo>
                    <a:pt x="202" y="195"/>
                    <a:pt x="202" y="195"/>
                    <a:pt x="202" y="196"/>
                  </a:cubicBezTo>
                  <a:cubicBezTo>
                    <a:pt x="203" y="196"/>
                    <a:pt x="203" y="196"/>
                    <a:pt x="203" y="197"/>
                  </a:cubicBezTo>
                  <a:cubicBezTo>
                    <a:pt x="204" y="198"/>
                    <a:pt x="204" y="198"/>
                    <a:pt x="204" y="199"/>
                  </a:cubicBezTo>
                  <a:cubicBezTo>
                    <a:pt x="205" y="199"/>
                    <a:pt x="205" y="201"/>
                    <a:pt x="206" y="201"/>
                  </a:cubicBezTo>
                  <a:cubicBezTo>
                    <a:pt x="207" y="201"/>
                    <a:pt x="207" y="199"/>
                    <a:pt x="208" y="200"/>
                  </a:cubicBezTo>
                  <a:cubicBezTo>
                    <a:pt x="208" y="200"/>
                    <a:pt x="208" y="200"/>
                    <a:pt x="209" y="200"/>
                  </a:cubicBezTo>
                  <a:cubicBezTo>
                    <a:pt x="209" y="201"/>
                    <a:pt x="210" y="201"/>
                    <a:pt x="210" y="201"/>
                  </a:cubicBezTo>
                  <a:cubicBezTo>
                    <a:pt x="211" y="202"/>
                    <a:pt x="211" y="203"/>
                    <a:pt x="212" y="204"/>
                  </a:cubicBezTo>
                  <a:cubicBezTo>
                    <a:pt x="212" y="204"/>
                    <a:pt x="213" y="204"/>
                    <a:pt x="213" y="204"/>
                  </a:cubicBezTo>
                  <a:cubicBezTo>
                    <a:pt x="213" y="204"/>
                    <a:pt x="213" y="204"/>
                    <a:pt x="214" y="204"/>
                  </a:cubicBezTo>
                  <a:cubicBezTo>
                    <a:pt x="214" y="203"/>
                    <a:pt x="215" y="202"/>
                    <a:pt x="215" y="202"/>
                  </a:cubicBezTo>
                  <a:cubicBezTo>
                    <a:pt x="216" y="202"/>
                    <a:pt x="216" y="203"/>
                    <a:pt x="217" y="204"/>
                  </a:cubicBezTo>
                  <a:cubicBezTo>
                    <a:pt x="217" y="205"/>
                    <a:pt x="217" y="206"/>
                    <a:pt x="217" y="207"/>
                  </a:cubicBezTo>
                  <a:cubicBezTo>
                    <a:pt x="217" y="207"/>
                    <a:pt x="217" y="208"/>
                    <a:pt x="217" y="208"/>
                  </a:cubicBezTo>
                  <a:cubicBezTo>
                    <a:pt x="217" y="209"/>
                    <a:pt x="218" y="209"/>
                    <a:pt x="219" y="210"/>
                  </a:cubicBezTo>
                  <a:cubicBezTo>
                    <a:pt x="220" y="211"/>
                    <a:pt x="221" y="212"/>
                    <a:pt x="221" y="213"/>
                  </a:cubicBezTo>
                  <a:cubicBezTo>
                    <a:pt x="221" y="214"/>
                    <a:pt x="221" y="214"/>
                    <a:pt x="221" y="215"/>
                  </a:cubicBezTo>
                  <a:cubicBezTo>
                    <a:pt x="221" y="216"/>
                    <a:pt x="222" y="216"/>
                    <a:pt x="222" y="217"/>
                  </a:cubicBezTo>
                  <a:cubicBezTo>
                    <a:pt x="223" y="218"/>
                    <a:pt x="224" y="219"/>
                    <a:pt x="225" y="219"/>
                  </a:cubicBezTo>
                  <a:cubicBezTo>
                    <a:pt x="225" y="219"/>
                    <a:pt x="227" y="219"/>
                    <a:pt x="228" y="219"/>
                  </a:cubicBezTo>
                  <a:cubicBezTo>
                    <a:pt x="228" y="219"/>
                    <a:pt x="228" y="218"/>
                    <a:pt x="229" y="218"/>
                  </a:cubicBezTo>
                  <a:cubicBezTo>
                    <a:pt x="229" y="218"/>
                    <a:pt x="230" y="218"/>
                    <a:pt x="230" y="218"/>
                  </a:cubicBezTo>
                  <a:cubicBezTo>
                    <a:pt x="231" y="218"/>
                    <a:pt x="231" y="219"/>
                    <a:pt x="231" y="219"/>
                  </a:cubicBezTo>
                  <a:cubicBezTo>
                    <a:pt x="230" y="220"/>
                    <a:pt x="229" y="220"/>
                    <a:pt x="229" y="220"/>
                  </a:cubicBezTo>
                  <a:cubicBezTo>
                    <a:pt x="228" y="220"/>
                    <a:pt x="226" y="220"/>
                    <a:pt x="225" y="220"/>
                  </a:cubicBezTo>
                  <a:cubicBezTo>
                    <a:pt x="225" y="220"/>
                    <a:pt x="224" y="220"/>
                    <a:pt x="224" y="220"/>
                  </a:cubicBezTo>
                  <a:cubicBezTo>
                    <a:pt x="224" y="221"/>
                    <a:pt x="224" y="222"/>
                    <a:pt x="224" y="222"/>
                  </a:cubicBezTo>
                  <a:cubicBezTo>
                    <a:pt x="224" y="223"/>
                    <a:pt x="224" y="223"/>
                    <a:pt x="223" y="224"/>
                  </a:cubicBezTo>
                  <a:cubicBezTo>
                    <a:pt x="223" y="224"/>
                    <a:pt x="223" y="225"/>
                    <a:pt x="223" y="225"/>
                  </a:cubicBezTo>
                  <a:cubicBezTo>
                    <a:pt x="223" y="226"/>
                    <a:pt x="223" y="226"/>
                    <a:pt x="223" y="227"/>
                  </a:cubicBezTo>
                  <a:cubicBezTo>
                    <a:pt x="224" y="227"/>
                    <a:pt x="224" y="227"/>
                    <a:pt x="224" y="228"/>
                  </a:cubicBezTo>
                  <a:cubicBezTo>
                    <a:pt x="224" y="228"/>
                    <a:pt x="225" y="229"/>
                    <a:pt x="225" y="230"/>
                  </a:cubicBezTo>
                  <a:cubicBezTo>
                    <a:pt x="226" y="230"/>
                    <a:pt x="227" y="230"/>
                    <a:pt x="228" y="230"/>
                  </a:cubicBezTo>
                  <a:cubicBezTo>
                    <a:pt x="229" y="230"/>
                    <a:pt x="231" y="230"/>
                    <a:pt x="232" y="230"/>
                  </a:cubicBezTo>
                  <a:cubicBezTo>
                    <a:pt x="232" y="230"/>
                    <a:pt x="233" y="230"/>
                    <a:pt x="233" y="229"/>
                  </a:cubicBezTo>
                  <a:cubicBezTo>
                    <a:pt x="233" y="229"/>
                    <a:pt x="233" y="229"/>
                    <a:pt x="234" y="229"/>
                  </a:cubicBezTo>
                  <a:cubicBezTo>
                    <a:pt x="235" y="229"/>
                    <a:pt x="236" y="229"/>
                    <a:pt x="237" y="229"/>
                  </a:cubicBezTo>
                  <a:cubicBezTo>
                    <a:pt x="238" y="229"/>
                    <a:pt x="239" y="229"/>
                    <a:pt x="240" y="229"/>
                  </a:cubicBezTo>
                  <a:cubicBezTo>
                    <a:pt x="240" y="229"/>
                    <a:pt x="241" y="229"/>
                    <a:pt x="242" y="228"/>
                  </a:cubicBezTo>
                  <a:cubicBezTo>
                    <a:pt x="242" y="228"/>
                    <a:pt x="243" y="228"/>
                    <a:pt x="243" y="228"/>
                  </a:cubicBezTo>
                  <a:cubicBezTo>
                    <a:pt x="244" y="227"/>
                    <a:pt x="245" y="226"/>
                    <a:pt x="246" y="227"/>
                  </a:cubicBezTo>
                  <a:cubicBezTo>
                    <a:pt x="247" y="227"/>
                    <a:pt x="247" y="227"/>
                    <a:pt x="247" y="227"/>
                  </a:cubicBezTo>
                  <a:cubicBezTo>
                    <a:pt x="248" y="227"/>
                    <a:pt x="248" y="226"/>
                    <a:pt x="248" y="226"/>
                  </a:cubicBezTo>
                  <a:cubicBezTo>
                    <a:pt x="249" y="225"/>
                    <a:pt x="250" y="224"/>
                    <a:pt x="251" y="224"/>
                  </a:cubicBezTo>
                  <a:cubicBezTo>
                    <a:pt x="251" y="223"/>
                    <a:pt x="252" y="223"/>
                    <a:pt x="252" y="222"/>
                  </a:cubicBezTo>
                  <a:cubicBezTo>
                    <a:pt x="253" y="221"/>
                    <a:pt x="253" y="221"/>
                    <a:pt x="252" y="220"/>
                  </a:cubicBezTo>
                  <a:cubicBezTo>
                    <a:pt x="252" y="219"/>
                    <a:pt x="252" y="219"/>
                    <a:pt x="252" y="218"/>
                  </a:cubicBezTo>
                  <a:cubicBezTo>
                    <a:pt x="252" y="218"/>
                    <a:pt x="252" y="217"/>
                    <a:pt x="253" y="217"/>
                  </a:cubicBezTo>
                  <a:cubicBezTo>
                    <a:pt x="253" y="216"/>
                    <a:pt x="253" y="216"/>
                    <a:pt x="253" y="215"/>
                  </a:cubicBezTo>
                  <a:cubicBezTo>
                    <a:pt x="253" y="215"/>
                    <a:pt x="253" y="214"/>
                    <a:pt x="253" y="214"/>
                  </a:cubicBezTo>
                  <a:cubicBezTo>
                    <a:pt x="253" y="214"/>
                    <a:pt x="253" y="214"/>
                    <a:pt x="253" y="213"/>
                  </a:cubicBezTo>
                  <a:cubicBezTo>
                    <a:pt x="253" y="213"/>
                    <a:pt x="253" y="212"/>
                    <a:pt x="253" y="212"/>
                  </a:cubicBezTo>
                  <a:cubicBezTo>
                    <a:pt x="253" y="212"/>
                    <a:pt x="254" y="211"/>
                    <a:pt x="254" y="211"/>
                  </a:cubicBezTo>
                  <a:cubicBezTo>
                    <a:pt x="254" y="211"/>
                    <a:pt x="255" y="211"/>
                    <a:pt x="255" y="210"/>
                  </a:cubicBezTo>
                  <a:cubicBezTo>
                    <a:pt x="255" y="210"/>
                    <a:pt x="255" y="209"/>
                    <a:pt x="255" y="209"/>
                  </a:cubicBezTo>
                  <a:cubicBezTo>
                    <a:pt x="256" y="209"/>
                    <a:pt x="256" y="208"/>
                    <a:pt x="256" y="208"/>
                  </a:cubicBezTo>
                  <a:cubicBezTo>
                    <a:pt x="257" y="207"/>
                    <a:pt x="257" y="207"/>
                    <a:pt x="257" y="206"/>
                  </a:cubicBezTo>
                  <a:cubicBezTo>
                    <a:pt x="258" y="206"/>
                    <a:pt x="258" y="206"/>
                    <a:pt x="258" y="205"/>
                  </a:cubicBezTo>
                  <a:cubicBezTo>
                    <a:pt x="258" y="205"/>
                    <a:pt x="259" y="205"/>
                    <a:pt x="259" y="204"/>
                  </a:cubicBezTo>
                  <a:cubicBezTo>
                    <a:pt x="259" y="204"/>
                    <a:pt x="260" y="203"/>
                    <a:pt x="259" y="202"/>
                  </a:cubicBezTo>
                  <a:cubicBezTo>
                    <a:pt x="259" y="202"/>
                    <a:pt x="258" y="202"/>
                    <a:pt x="258" y="201"/>
                  </a:cubicBezTo>
                  <a:cubicBezTo>
                    <a:pt x="258" y="201"/>
                    <a:pt x="259" y="201"/>
                    <a:pt x="259" y="201"/>
                  </a:cubicBezTo>
                  <a:cubicBezTo>
                    <a:pt x="259" y="200"/>
                    <a:pt x="259" y="200"/>
                    <a:pt x="259" y="200"/>
                  </a:cubicBezTo>
                  <a:cubicBezTo>
                    <a:pt x="259" y="199"/>
                    <a:pt x="259" y="198"/>
                    <a:pt x="259" y="198"/>
                  </a:cubicBezTo>
                  <a:cubicBezTo>
                    <a:pt x="259" y="197"/>
                    <a:pt x="259" y="195"/>
                    <a:pt x="260" y="195"/>
                  </a:cubicBezTo>
                  <a:cubicBezTo>
                    <a:pt x="260" y="193"/>
                    <a:pt x="260" y="192"/>
                    <a:pt x="260" y="191"/>
                  </a:cubicBezTo>
                  <a:cubicBezTo>
                    <a:pt x="260" y="190"/>
                    <a:pt x="260" y="190"/>
                    <a:pt x="260" y="189"/>
                  </a:cubicBezTo>
                  <a:cubicBezTo>
                    <a:pt x="261" y="188"/>
                    <a:pt x="261" y="188"/>
                    <a:pt x="261" y="188"/>
                  </a:cubicBezTo>
                  <a:cubicBezTo>
                    <a:pt x="261" y="187"/>
                    <a:pt x="261" y="187"/>
                    <a:pt x="261" y="186"/>
                  </a:cubicBezTo>
                  <a:cubicBezTo>
                    <a:pt x="261" y="186"/>
                    <a:pt x="261" y="185"/>
                    <a:pt x="261" y="184"/>
                  </a:cubicBezTo>
                  <a:cubicBezTo>
                    <a:pt x="261" y="183"/>
                    <a:pt x="261" y="182"/>
                    <a:pt x="261" y="182"/>
                  </a:cubicBezTo>
                  <a:cubicBezTo>
                    <a:pt x="262" y="181"/>
                    <a:pt x="262" y="180"/>
                    <a:pt x="262" y="179"/>
                  </a:cubicBezTo>
                  <a:cubicBezTo>
                    <a:pt x="262" y="178"/>
                    <a:pt x="262" y="177"/>
                    <a:pt x="262" y="177"/>
                  </a:cubicBezTo>
                  <a:cubicBezTo>
                    <a:pt x="262" y="176"/>
                    <a:pt x="263" y="176"/>
                    <a:pt x="263" y="175"/>
                  </a:cubicBezTo>
                  <a:cubicBezTo>
                    <a:pt x="263" y="175"/>
                    <a:pt x="263" y="174"/>
                    <a:pt x="263" y="173"/>
                  </a:cubicBezTo>
                  <a:cubicBezTo>
                    <a:pt x="263" y="172"/>
                    <a:pt x="263" y="171"/>
                    <a:pt x="263" y="170"/>
                  </a:cubicBezTo>
                  <a:cubicBezTo>
                    <a:pt x="263" y="169"/>
                    <a:pt x="262" y="168"/>
                    <a:pt x="262" y="168"/>
                  </a:cubicBezTo>
                  <a:cubicBezTo>
                    <a:pt x="262" y="167"/>
                    <a:pt x="262" y="166"/>
                    <a:pt x="262" y="165"/>
                  </a:cubicBezTo>
                  <a:cubicBezTo>
                    <a:pt x="262" y="164"/>
                    <a:pt x="262" y="163"/>
                    <a:pt x="262" y="162"/>
                  </a:cubicBezTo>
                  <a:cubicBezTo>
                    <a:pt x="262" y="162"/>
                    <a:pt x="262" y="162"/>
                    <a:pt x="262" y="161"/>
                  </a:cubicBezTo>
                  <a:cubicBezTo>
                    <a:pt x="262" y="161"/>
                    <a:pt x="261" y="161"/>
                    <a:pt x="261" y="160"/>
                  </a:cubicBezTo>
                  <a:cubicBezTo>
                    <a:pt x="261" y="160"/>
                    <a:pt x="261" y="159"/>
                    <a:pt x="261" y="159"/>
                  </a:cubicBezTo>
                  <a:cubicBezTo>
                    <a:pt x="261" y="158"/>
                    <a:pt x="260" y="158"/>
                    <a:pt x="260" y="158"/>
                  </a:cubicBezTo>
                  <a:cubicBezTo>
                    <a:pt x="260" y="157"/>
                    <a:pt x="260" y="157"/>
                    <a:pt x="260" y="157"/>
                  </a:cubicBezTo>
                  <a:cubicBezTo>
                    <a:pt x="260" y="156"/>
                    <a:pt x="259" y="156"/>
                    <a:pt x="259" y="156"/>
                  </a:cubicBezTo>
                  <a:cubicBezTo>
                    <a:pt x="259" y="155"/>
                    <a:pt x="259" y="155"/>
                    <a:pt x="259" y="155"/>
                  </a:cubicBezTo>
                  <a:cubicBezTo>
                    <a:pt x="259" y="154"/>
                    <a:pt x="258" y="154"/>
                    <a:pt x="258" y="154"/>
                  </a:cubicBezTo>
                  <a:cubicBezTo>
                    <a:pt x="258" y="153"/>
                    <a:pt x="258" y="153"/>
                    <a:pt x="258" y="153"/>
                  </a:cubicBezTo>
                  <a:cubicBezTo>
                    <a:pt x="258" y="152"/>
                    <a:pt x="257" y="152"/>
                    <a:pt x="257" y="151"/>
                  </a:cubicBezTo>
                  <a:cubicBezTo>
                    <a:pt x="256" y="151"/>
                    <a:pt x="256" y="151"/>
                    <a:pt x="256" y="151"/>
                  </a:cubicBezTo>
                  <a:cubicBezTo>
                    <a:pt x="256" y="151"/>
                    <a:pt x="255" y="151"/>
                    <a:pt x="255" y="151"/>
                  </a:cubicBezTo>
                  <a:cubicBezTo>
                    <a:pt x="255" y="152"/>
                    <a:pt x="254" y="151"/>
                    <a:pt x="254" y="150"/>
                  </a:cubicBezTo>
                  <a:cubicBezTo>
                    <a:pt x="254" y="150"/>
                    <a:pt x="254" y="150"/>
                    <a:pt x="253" y="150"/>
                  </a:cubicBezTo>
                  <a:cubicBezTo>
                    <a:pt x="253" y="150"/>
                    <a:pt x="253" y="150"/>
                    <a:pt x="253" y="149"/>
                  </a:cubicBezTo>
                  <a:cubicBezTo>
                    <a:pt x="253" y="149"/>
                    <a:pt x="253" y="149"/>
                    <a:pt x="253" y="149"/>
                  </a:cubicBezTo>
                  <a:cubicBezTo>
                    <a:pt x="254" y="149"/>
                    <a:pt x="254" y="149"/>
                    <a:pt x="254" y="150"/>
                  </a:cubicBezTo>
                  <a:cubicBezTo>
                    <a:pt x="254" y="150"/>
                    <a:pt x="255" y="150"/>
                    <a:pt x="256" y="150"/>
                  </a:cubicBezTo>
                  <a:cubicBezTo>
                    <a:pt x="256" y="149"/>
                    <a:pt x="256" y="149"/>
                    <a:pt x="256" y="149"/>
                  </a:cubicBezTo>
                  <a:cubicBezTo>
                    <a:pt x="255" y="148"/>
                    <a:pt x="255" y="148"/>
                    <a:pt x="255" y="147"/>
                  </a:cubicBezTo>
                  <a:cubicBezTo>
                    <a:pt x="255" y="147"/>
                    <a:pt x="255" y="147"/>
                    <a:pt x="255" y="147"/>
                  </a:cubicBezTo>
                  <a:cubicBezTo>
                    <a:pt x="255" y="146"/>
                    <a:pt x="255" y="146"/>
                    <a:pt x="255" y="146"/>
                  </a:cubicBezTo>
                  <a:cubicBezTo>
                    <a:pt x="254" y="145"/>
                    <a:pt x="254" y="145"/>
                    <a:pt x="254" y="144"/>
                  </a:cubicBezTo>
                  <a:cubicBezTo>
                    <a:pt x="254" y="144"/>
                    <a:pt x="254" y="143"/>
                    <a:pt x="254" y="143"/>
                  </a:cubicBezTo>
                  <a:cubicBezTo>
                    <a:pt x="253" y="142"/>
                    <a:pt x="253" y="142"/>
                    <a:pt x="253" y="142"/>
                  </a:cubicBezTo>
                  <a:cubicBezTo>
                    <a:pt x="253" y="141"/>
                    <a:pt x="253" y="141"/>
                    <a:pt x="253" y="140"/>
                  </a:cubicBezTo>
                  <a:cubicBezTo>
                    <a:pt x="253" y="140"/>
                    <a:pt x="254" y="140"/>
                    <a:pt x="254" y="139"/>
                  </a:cubicBezTo>
                  <a:cubicBezTo>
                    <a:pt x="254" y="139"/>
                    <a:pt x="253" y="139"/>
                    <a:pt x="253" y="139"/>
                  </a:cubicBezTo>
                  <a:cubicBezTo>
                    <a:pt x="252" y="139"/>
                    <a:pt x="253" y="139"/>
                    <a:pt x="252" y="140"/>
                  </a:cubicBezTo>
                  <a:cubicBezTo>
                    <a:pt x="252" y="139"/>
                    <a:pt x="252" y="139"/>
                    <a:pt x="252" y="139"/>
                  </a:cubicBezTo>
                  <a:cubicBezTo>
                    <a:pt x="252" y="138"/>
                    <a:pt x="252" y="138"/>
                    <a:pt x="252" y="137"/>
                  </a:cubicBezTo>
                  <a:cubicBezTo>
                    <a:pt x="252" y="137"/>
                    <a:pt x="253" y="137"/>
                    <a:pt x="253" y="137"/>
                  </a:cubicBezTo>
                  <a:cubicBezTo>
                    <a:pt x="252" y="136"/>
                    <a:pt x="252" y="136"/>
                    <a:pt x="252" y="136"/>
                  </a:cubicBezTo>
                  <a:cubicBezTo>
                    <a:pt x="252" y="136"/>
                    <a:pt x="252" y="135"/>
                    <a:pt x="252" y="135"/>
                  </a:cubicBezTo>
                  <a:cubicBezTo>
                    <a:pt x="252" y="134"/>
                    <a:pt x="252" y="134"/>
                    <a:pt x="251" y="133"/>
                  </a:cubicBezTo>
                  <a:cubicBezTo>
                    <a:pt x="251" y="133"/>
                    <a:pt x="251" y="132"/>
                    <a:pt x="251" y="132"/>
                  </a:cubicBezTo>
                  <a:cubicBezTo>
                    <a:pt x="251" y="132"/>
                    <a:pt x="250" y="132"/>
                    <a:pt x="250" y="131"/>
                  </a:cubicBezTo>
                  <a:cubicBezTo>
                    <a:pt x="250" y="131"/>
                    <a:pt x="250" y="131"/>
                    <a:pt x="250" y="131"/>
                  </a:cubicBezTo>
                  <a:cubicBezTo>
                    <a:pt x="249" y="130"/>
                    <a:pt x="249" y="130"/>
                    <a:pt x="249" y="129"/>
                  </a:cubicBezTo>
                  <a:cubicBezTo>
                    <a:pt x="249" y="129"/>
                    <a:pt x="248" y="128"/>
                    <a:pt x="248" y="127"/>
                  </a:cubicBezTo>
                  <a:cubicBezTo>
                    <a:pt x="248" y="127"/>
                    <a:pt x="247" y="126"/>
                    <a:pt x="247" y="125"/>
                  </a:cubicBezTo>
                  <a:cubicBezTo>
                    <a:pt x="247" y="125"/>
                    <a:pt x="247" y="125"/>
                    <a:pt x="246" y="124"/>
                  </a:cubicBezTo>
                  <a:cubicBezTo>
                    <a:pt x="246" y="124"/>
                    <a:pt x="246" y="124"/>
                    <a:pt x="246" y="123"/>
                  </a:cubicBezTo>
                  <a:cubicBezTo>
                    <a:pt x="246" y="123"/>
                    <a:pt x="246" y="123"/>
                    <a:pt x="246" y="122"/>
                  </a:cubicBezTo>
                  <a:cubicBezTo>
                    <a:pt x="246" y="122"/>
                    <a:pt x="245" y="122"/>
                    <a:pt x="245" y="121"/>
                  </a:cubicBezTo>
                  <a:cubicBezTo>
                    <a:pt x="245" y="121"/>
                    <a:pt x="245" y="121"/>
                    <a:pt x="245" y="121"/>
                  </a:cubicBezTo>
                  <a:cubicBezTo>
                    <a:pt x="245" y="120"/>
                    <a:pt x="245" y="120"/>
                    <a:pt x="245" y="120"/>
                  </a:cubicBezTo>
                  <a:cubicBezTo>
                    <a:pt x="245" y="119"/>
                    <a:pt x="244" y="119"/>
                    <a:pt x="244" y="118"/>
                  </a:cubicBezTo>
                  <a:cubicBezTo>
                    <a:pt x="244" y="118"/>
                    <a:pt x="244" y="118"/>
                    <a:pt x="244" y="117"/>
                  </a:cubicBezTo>
                  <a:cubicBezTo>
                    <a:pt x="243" y="117"/>
                    <a:pt x="243" y="116"/>
                    <a:pt x="243" y="116"/>
                  </a:cubicBezTo>
                  <a:cubicBezTo>
                    <a:pt x="243" y="115"/>
                    <a:pt x="243" y="115"/>
                    <a:pt x="242" y="114"/>
                  </a:cubicBezTo>
                  <a:cubicBezTo>
                    <a:pt x="242" y="114"/>
                    <a:pt x="242" y="114"/>
                    <a:pt x="242" y="113"/>
                  </a:cubicBezTo>
                  <a:cubicBezTo>
                    <a:pt x="242" y="113"/>
                    <a:pt x="242" y="113"/>
                    <a:pt x="242" y="112"/>
                  </a:cubicBezTo>
                  <a:cubicBezTo>
                    <a:pt x="241" y="112"/>
                    <a:pt x="241" y="111"/>
                    <a:pt x="241" y="110"/>
                  </a:cubicBezTo>
                  <a:cubicBezTo>
                    <a:pt x="240" y="110"/>
                    <a:pt x="240" y="109"/>
                    <a:pt x="240" y="109"/>
                  </a:cubicBezTo>
                  <a:cubicBezTo>
                    <a:pt x="240" y="108"/>
                    <a:pt x="240" y="108"/>
                    <a:pt x="239" y="107"/>
                  </a:cubicBezTo>
                  <a:cubicBezTo>
                    <a:pt x="239" y="107"/>
                    <a:pt x="239" y="106"/>
                    <a:pt x="239" y="106"/>
                  </a:cubicBezTo>
                  <a:cubicBezTo>
                    <a:pt x="239" y="106"/>
                    <a:pt x="240" y="106"/>
                    <a:pt x="240" y="106"/>
                  </a:cubicBezTo>
                  <a:cubicBezTo>
                    <a:pt x="240" y="107"/>
                    <a:pt x="240" y="107"/>
                    <a:pt x="240" y="107"/>
                  </a:cubicBezTo>
                  <a:cubicBezTo>
                    <a:pt x="240" y="107"/>
                    <a:pt x="241" y="107"/>
                    <a:pt x="241" y="107"/>
                  </a:cubicBezTo>
                  <a:cubicBezTo>
                    <a:pt x="241" y="106"/>
                    <a:pt x="241" y="106"/>
                    <a:pt x="241" y="105"/>
                  </a:cubicBezTo>
                  <a:cubicBezTo>
                    <a:pt x="241" y="104"/>
                    <a:pt x="241" y="104"/>
                    <a:pt x="241" y="103"/>
                  </a:cubicBezTo>
                  <a:cubicBezTo>
                    <a:pt x="241" y="103"/>
                    <a:pt x="241" y="102"/>
                    <a:pt x="241" y="102"/>
                  </a:cubicBezTo>
                  <a:cubicBezTo>
                    <a:pt x="242" y="101"/>
                    <a:pt x="242" y="101"/>
                    <a:pt x="242" y="101"/>
                  </a:cubicBezTo>
                  <a:cubicBezTo>
                    <a:pt x="242" y="101"/>
                    <a:pt x="242" y="100"/>
                    <a:pt x="242" y="100"/>
                  </a:cubicBezTo>
                  <a:cubicBezTo>
                    <a:pt x="242" y="100"/>
                    <a:pt x="242" y="99"/>
                    <a:pt x="243" y="99"/>
                  </a:cubicBezTo>
                  <a:cubicBezTo>
                    <a:pt x="243" y="100"/>
                    <a:pt x="243" y="100"/>
                    <a:pt x="243" y="101"/>
                  </a:cubicBezTo>
                  <a:cubicBezTo>
                    <a:pt x="243" y="101"/>
                    <a:pt x="243" y="101"/>
                    <a:pt x="243" y="101"/>
                  </a:cubicBezTo>
                  <a:cubicBezTo>
                    <a:pt x="243" y="101"/>
                    <a:pt x="243" y="102"/>
                    <a:pt x="243" y="102"/>
                  </a:cubicBezTo>
                  <a:cubicBezTo>
                    <a:pt x="243" y="102"/>
                    <a:pt x="242" y="102"/>
                    <a:pt x="242" y="103"/>
                  </a:cubicBezTo>
                  <a:cubicBezTo>
                    <a:pt x="242" y="103"/>
                    <a:pt x="242" y="104"/>
                    <a:pt x="243" y="104"/>
                  </a:cubicBezTo>
                  <a:cubicBezTo>
                    <a:pt x="243" y="104"/>
                    <a:pt x="244" y="103"/>
                    <a:pt x="244" y="103"/>
                  </a:cubicBezTo>
                  <a:cubicBezTo>
                    <a:pt x="245" y="103"/>
                    <a:pt x="246" y="102"/>
                    <a:pt x="246" y="102"/>
                  </a:cubicBezTo>
                  <a:cubicBezTo>
                    <a:pt x="246" y="101"/>
                    <a:pt x="245" y="101"/>
                    <a:pt x="245" y="101"/>
                  </a:cubicBezTo>
                  <a:cubicBezTo>
                    <a:pt x="245" y="101"/>
                    <a:pt x="245" y="100"/>
                    <a:pt x="245" y="100"/>
                  </a:cubicBezTo>
                  <a:cubicBezTo>
                    <a:pt x="245" y="99"/>
                    <a:pt x="244" y="99"/>
                    <a:pt x="244" y="98"/>
                  </a:cubicBezTo>
                  <a:cubicBezTo>
                    <a:pt x="244" y="98"/>
                    <a:pt x="244" y="97"/>
                    <a:pt x="244" y="97"/>
                  </a:cubicBezTo>
                  <a:cubicBezTo>
                    <a:pt x="244" y="97"/>
                    <a:pt x="244" y="96"/>
                    <a:pt x="244" y="96"/>
                  </a:cubicBezTo>
                  <a:cubicBezTo>
                    <a:pt x="243" y="96"/>
                    <a:pt x="243" y="96"/>
                    <a:pt x="243" y="95"/>
                  </a:cubicBezTo>
                  <a:cubicBezTo>
                    <a:pt x="243" y="95"/>
                    <a:pt x="242" y="94"/>
                    <a:pt x="241" y="94"/>
                  </a:cubicBezTo>
                  <a:cubicBezTo>
                    <a:pt x="241" y="93"/>
                    <a:pt x="240" y="93"/>
                    <a:pt x="240" y="93"/>
                  </a:cubicBezTo>
                  <a:cubicBezTo>
                    <a:pt x="239" y="92"/>
                    <a:pt x="239" y="92"/>
                    <a:pt x="238" y="91"/>
                  </a:cubicBezTo>
                  <a:cubicBezTo>
                    <a:pt x="237" y="90"/>
                    <a:pt x="236" y="89"/>
                    <a:pt x="236" y="88"/>
                  </a:cubicBezTo>
                  <a:cubicBezTo>
                    <a:pt x="235" y="86"/>
                    <a:pt x="235" y="85"/>
                    <a:pt x="235" y="84"/>
                  </a:cubicBezTo>
                  <a:cubicBezTo>
                    <a:pt x="235" y="83"/>
                    <a:pt x="235" y="83"/>
                    <a:pt x="235" y="82"/>
                  </a:cubicBezTo>
                  <a:cubicBezTo>
                    <a:pt x="234" y="82"/>
                    <a:pt x="234" y="81"/>
                    <a:pt x="234" y="81"/>
                  </a:cubicBezTo>
                  <a:cubicBezTo>
                    <a:pt x="234" y="80"/>
                    <a:pt x="233" y="80"/>
                    <a:pt x="233" y="79"/>
                  </a:cubicBezTo>
                  <a:cubicBezTo>
                    <a:pt x="233" y="79"/>
                    <a:pt x="233" y="79"/>
                    <a:pt x="233" y="79"/>
                  </a:cubicBezTo>
                  <a:cubicBezTo>
                    <a:pt x="233" y="79"/>
                    <a:pt x="233" y="78"/>
                    <a:pt x="233" y="78"/>
                  </a:cubicBezTo>
                  <a:cubicBezTo>
                    <a:pt x="232" y="78"/>
                    <a:pt x="232" y="78"/>
                    <a:pt x="232" y="78"/>
                  </a:cubicBezTo>
                  <a:cubicBezTo>
                    <a:pt x="232" y="77"/>
                    <a:pt x="232" y="77"/>
                    <a:pt x="232" y="77"/>
                  </a:cubicBezTo>
                  <a:cubicBezTo>
                    <a:pt x="232" y="76"/>
                    <a:pt x="231" y="76"/>
                    <a:pt x="231" y="76"/>
                  </a:cubicBezTo>
                  <a:cubicBezTo>
                    <a:pt x="231" y="75"/>
                    <a:pt x="231" y="75"/>
                    <a:pt x="230" y="75"/>
                  </a:cubicBezTo>
                  <a:cubicBezTo>
                    <a:pt x="230" y="75"/>
                    <a:pt x="230" y="74"/>
                    <a:pt x="230" y="74"/>
                  </a:cubicBezTo>
                  <a:cubicBezTo>
                    <a:pt x="230" y="74"/>
                    <a:pt x="230" y="73"/>
                    <a:pt x="230" y="73"/>
                  </a:cubicBezTo>
                  <a:cubicBezTo>
                    <a:pt x="230" y="72"/>
                    <a:pt x="230" y="72"/>
                    <a:pt x="229" y="72"/>
                  </a:cubicBezTo>
                  <a:cubicBezTo>
                    <a:pt x="229" y="72"/>
                    <a:pt x="229" y="72"/>
                    <a:pt x="229" y="71"/>
                  </a:cubicBezTo>
                  <a:cubicBezTo>
                    <a:pt x="229" y="71"/>
                    <a:pt x="228" y="71"/>
                    <a:pt x="228" y="71"/>
                  </a:cubicBezTo>
                  <a:cubicBezTo>
                    <a:pt x="228" y="71"/>
                    <a:pt x="228" y="71"/>
                    <a:pt x="228" y="71"/>
                  </a:cubicBezTo>
                  <a:cubicBezTo>
                    <a:pt x="227" y="70"/>
                    <a:pt x="228" y="70"/>
                    <a:pt x="229" y="69"/>
                  </a:cubicBezTo>
                  <a:cubicBezTo>
                    <a:pt x="229" y="69"/>
                    <a:pt x="228" y="69"/>
                    <a:pt x="228" y="69"/>
                  </a:cubicBezTo>
                  <a:cubicBezTo>
                    <a:pt x="228" y="69"/>
                    <a:pt x="227" y="68"/>
                    <a:pt x="227" y="68"/>
                  </a:cubicBezTo>
                  <a:cubicBezTo>
                    <a:pt x="227" y="68"/>
                    <a:pt x="228" y="68"/>
                    <a:pt x="228" y="68"/>
                  </a:cubicBezTo>
                  <a:cubicBezTo>
                    <a:pt x="228" y="68"/>
                    <a:pt x="228" y="67"/>
                    <a:pt x="228" y="67"/>
                  </a:cubicBezTo>
                  <a:cubicBezTo>
                    <a:pt x="227" y="67"/>
                    <a:pt x="226" y="67"/>
                    <a:pt x="226" y="67"/>
                  </a:cubicBezTo>
                  <a:cubicBezTo>
                    <a:pt x="227" y="67"/>
                    <a:pt x="227" y="66"/>
                    <a:pt x="227" y="66"/>
                  </a:cubicBezTo>
                  <a:cubicBezTo>
                    <a:pt x="227" y="66"/>
                    <a:pt x="227" y="66"/>
                    <a:pt x="227" y="66"/>
                  </a:cubicBezTo>
                  <a:cubicBezTo>
                    <a:pt x="227" y="66"/>
                    <a:pt x="226" y="66"/>
                    <a:pt x="226" y="66"/>
                  </a:cubicBezTo>
                  <a:cubicBezTo>
                    <a:pt x="226" y="65"/>
                    <a:pt x="226" y="65"/>
                    <a:pt x="226" y="65"/>
                  </a:cubicBezTo>
                  <a:cubicBezTo>
                    <a:pt x="226" y="64"/>
                    <a:pt x="225" y="63"/>
                    <a:pt x="225" y="63"/>
                  </a:cubicBezTo>
                  <a:cubicBezTo>
                    <a:pt x="224" y="61"/>
                    <a:pt x="224" y="60"/>
                    <a:pt x="223" y="59"/>
                  </a:cubicBezTo>
                  <a:cubicBezTo>
                    <a:pt x="223" y="58"/>
                    <a:pt x="223" y="57"/>
                    <a:pt x="223" y="57"/>
                  </a:cubicBezTo>
                  <a:cubicBezTo>
                    <a:pt x="223" y="56"/>
                    <a:pt x="222" y="55"/>
                    <a:pt x="222" y="55"/>
                  </a:cubicBezTo>
                  <a:cubicBezTo>
                    <a:pt x="222" y="54"/>
                    <a:pt x="222" y="54"/>
                    <a:pt x="222" y="53"/>
                  </a:cubicBezTo>
                  <a:cubicBezTo>
                    <a:pt x="222" y="53"/>
                    <a:pt x="222" y="53"/>
                    <a:pt x="221" y="52"/>
                  </a:cubicBezTo>
                  <a:cubicBezTo>
                    <a:pt x="221" y="51"/>
                    <a:pt x="220" y="51"/>
                    <a:pt x="220" y="50"/>
                  </a:cubicBezTo>
                  <a:cubicBezTo>
                    <a:pt x="220" y="49"/>
                    <a:pt x="219" y="49"/>
                    <a:pt x="219" y="48"/>
                  </a:cubicBezTo>
                  <a:cubicBezTo>
                    <a:pt x="219" y="48"/>
                    <a:pt x="219" y="47"/>
                    <a:pt x="219" y="47"/>
                  </a:cubicBezTo>
                  <a:cubicBezTo>
                    <a:pt x="219" y="47"/>
                    <a:pt x="219" y="46"/>
                    <a:pt x="219" y="46"/>
                  </a:cubicBezTo>
                  <a:cubicBezTo>
                    <a:pt x="219" y="46"/>
                    <a:pt x="219" y="45"/>
                    <a:pt x="219" y="45"/>
                  </a:cubicBezTo>
                  <a:cubicBezTo>
                    <a:pt x="219" y="44"/>
                    <a:pt x="219" y="44"/>
                    <a:pt x="219" y="43"/>
                  </a:cubicBezTo>
                  <a:cubicBezTo>
                    <a:pt x="219" y="42"/>
                    <a:pt x="219" y="42"/>
                    <a:pt x="218" y="41"/>
                  </a:cubicBezTo>
                  <a:cubicBezTo>
                    <a:pt x="218" y="41"/>
                    <a:pt x="218" y="40"/>
                    <a:pt x="218" y="39"/>
                  </a:cubicBezTo>
                  <a:cubicBezTo>
                    <a:pt x="218" y="39"/>
                    <a:pt x="218" y="38"/>
                    <a:pt x="218" y="38"/>
                  </a:cubicBezTo>
                  <a:cubicBezTo>
                    <a:pt x="218" y="37"/>
                    <a:pt x="218" y="37"/>
                    <a:pt x="217" y="37"/>
                  </a:cubicBezTo>
                  <a:cubicBezTo>
                    <a:pt x="217" y="36"/>
                    <a:pt x="217" y="36"/>
                    <a:pt x="217" y="36"/>
                  </a:cubicBezTo>
                  <a:cubicBezTo>
                    <a:pt x="217" y="36"/>
                    <a:pt x="217" y="36"/>
                    <a:pt x="217" y="35"/>
                  </a:cubicBezTo>
                  <a:cubicBezTo>
                    <a:pt x="217" y="35"/>
                    <a:pt x="217" y="35"/>
                    <a:pt x="217" y="34"/>
                  </a:cubicBezTo>
                  <a:cubicBezTo>
                    <a:pt x="217" y="34"/>
                    <a:pt x="217" y="34"/>
                    <a:pt x="217" y="34"/>
                  </a:cubicBezTo>
                  <a:cubicBezTo>
                    <a:pt x="217" y="34"/>
                    <a:pt x="217" y="34"/>
                    <a:pt x="217" y="34"/>
                  </a:cubicBezTo>
                  <a:cubicBezTo>
                    <a:pt x="217" y="33"/>
                    <a:pt x="217" y="33"/>
                    <a:pt x="217" y="33"/>
                  </a:cubicBezTo>
                  <a:cubicBezTo>
                    <a:pt x="217" y="33"/>
                    <a:pt x="216" y="33"/>
                    <a:pt x="216" y="32"/>
                  </a:cubicBezTo>
                  <a:cubicBezTo>
                    <a:pt x="216" y="32"/>
                    <a:pt x="216" y="31"/>
                    <a:pt x="216" y="30"/>
                  </a:cubicBezTo>
                  <a:cubicBezTo>
                    <a:pt x="216" y="30"/>
                    <a:pt x="216" y="30"/>
                    <a:pt x="216" y="30"/>
                  </a:cubicBezTo>
                  <a:cubicBezTo>
                    <a:pt x="216" y="29"/>
                    <a:pt x="216" y="29"/>
                    <a:pt x="216" y="29"/>
                  </a:cubicBezTo>
                  <a:cubicBezTo>
                    <a:pt x="216" y="29"/>
                    <a:pt x="216" y="28"/>
                    <a:pt x="216" y="28"/>
                  </a:cubicBezTo>
                  <a:cubicBezTo>
                    <a:pt x="216" y="27"/>
                    <a:pt x="216" y="27"/>
                    <a:pt x="216" y="26"/>
                  </a:cubicBezTo>
                  <a:cubicBezTo>
                    <a:pt x="216" y="26"/>
                    <a:pt x="216" y="25"/>
                    <a:pt x="216" y="25"/>
                  </a:cubicBezTo>
                  <a:cubicBezTo>
                    <a:pt x="216" y="25"/>
                    <a:pt x="215" y="25"/>
                    <a:pt x="215" y="25"/>
                  </a:cubicBezTo>
                  <a:cubicBezTo>
                    <a:pt x="215" y="25"/>
                    <a:pt x="214" y="25"/>
                    <a:pt x="214" y="25"/>
                  </a:cubicBezTo>
                  <a:cubicBezTo>
                    <a:pt x="213" y="25"/>
                    <a:pt x="213" y="25"/>
                    <a:pt x="212" y="24"/>
                  </a:cubicBezTo>
                  <a:cubicBezTo>
                    <a:pt x="212" y="24"/>
                    <a:pt x="212" y="24"/>
                    <a:pt x="212" y="24"/>
                  </a:cubicBezTo>
                  <a:cubicBezTo>
                    <a:pt x="212" y="24"/>
                    <a:pt x="212" y="24"/>
                    <a:pt x="212" y="23"/>
                  </a:cubicBezTo>
                  <a:cubicBezTo>
                    <a:pt x="213" y="23"/>
                    <a:pt x="213" y="23"/>
                    <a:pt x="213" y="23"/>
                  </a:cubicBezTo>
                  <a:cubicBezTo>
                    <a:pt x="213" y="23"/>
                    <a:pt x="214" y="23"/>
                    <a:pt x="214" y="23"/>
                  </a:cubicBezTo>
                  <a:cubicBezTo>
                    <a:pt x="214" y="23"/>
                    <a:pt x="214" y="23"/>
                    <a:pt x="214" y="22"/>
                  </a:cubicBezTo>
                  <a:cubicBezTo>
                    <a:pt x="213" y="22"/>
                    <a:pt x="213" y="22"/>
                    <a:pt x="213" y="21"/>
                  </a:cubicBezTo>
                  <a:cubicBezTo>
                    <a:pt x="213" y="21"/>
                    <a:pt x="213" y="20"/>
                    <a:pt x="213" y="20"/>
                  </a:cubicBezTo>
                  <a:cubicBezTo>
                    <a:pt x="212" y="20"/>
                    <a:pt x="212" y="20"/>
                    <a:pt x="212" y="19"/>
                  </a:cubicBezTo>
                  <a:cubicBezTo>
                    <a:pt x="212" y="19"/>
                    <a:pt x="212" y="19"/>
                    <a:pt x="212" y="19"/>
                  </a:cubicBezTo>
                  <a:cubicBezTo>
                    <a:pt x="212" y="19"/>
                    <a:pt x="212" y="19"/>
                    <a:pt x="212" y="19"/>
                  </a:cubicBezTo>
                  <a:cubicBezTo>
                    <a:pt x="212" y="19"/>
                    <a:pt x="212" y="19"/>
                    <a:pt x="213" y="18"/>
                  </a:cubicBezTo>
                  <a:cubicBezTo>
                    <a:pt x="213" y="18"/>
                    <a:pt x="213" y="18"/>
                    <a:pt x="213" y="17"/>
                  </a:cubicBezTo>
                  <a:cubicBezTo>
                    <a:pt x="212" y="17"/>
                    <a:pt x="213" y="16"/>
                    <a:pt x="213" y="16"/>
                  </a:cubicBezTo>
                  <a:cubicBezTo>
                    <a:pt x="213" y="17"/>
                    <a:pt x="213" y="17"/>
                    <a:pt x="213" y="17"/>
                  </a:cubicBezTo>
                  <a:cubicBezTo>
                    <a:pt x="213" y="18"/>
                    <a:pt x="213" y="19"/>
                    <a:pt x="213" y="19"/>
                  </a:cubicBezTo>
                  <a:cubicBezTo>
                    <a:pt x="214" y="20"/>
                    <a:pt x="214" y="19"/>
                    <a:pt x="214" y="18"/>
                  </a:cubicBezTo>
                  <a:cubicBezTo>
                    <a:pt x="214" y="18"/>
                    <a:pt x="214" y="17"/>
                    <a:pt x="214" y="17"/>
                  </a:cubicBezTo>
                  <a:cubicBezTo>
                    <a:pt x="214" y="17"/>
                    <a:pt x="214" y="16"/>
                    <a:pt x="214" y="16"/>
                  </a:cubicBezTo>
                  <a:cubicBezTo>
                    <a:pt x="214" y="15"/>
                    <a:pt x="214" y="15"/>
                    <a:pt x="214" y="14"/>
                  </a:cubicBezTo>
                  <a:cubicBezTo>
                    <a:pt x="214" y="14"/>
                    <a:pt x="214" y="14"/>
                    <a:pt x="214" y="13"/>
                  </a:cubicBezTo>
                  <a:cubicBezTo>
                    <a:pt x="214" y="13"/>
                    <a:pt x="213" y="13"/>
                    <a:pt x="213" y="13"/>
                  </a:cubicBezTo>
                  <a:cubicBezTo>
                    <a:pt x="213" y="13"/>
                    <a:pt x="213" y="13"/>
                    <a:pt x="213" y="13"/>
                  </a:cubicBezTo>
                  <a:cubicBezTo>
                    <a:pt x="212" y="13"/>
                    <a:pt x="213" y="13"/>
                    <a:pt x="212" y="12"/>
                  </a:cubicBezTo>
                  <a:cubicBezTo>
                    <a:pt x="212" y="12"/>
                    <a:pt x="212" y="12"/>
                    <a:pt x="212" y="12"/>
                  </a:cubicBezTo>
                  <a:cubicBezTo>
                    <a:pt x="210" y="12"/>
                    <a:pt x="208" y="12"/>
                    <a:pt x="208" y="12"/>
                  </a:cubicBezTo>
                  <a:cubicBezTo>
                    <a:pt x="208" y="12"/>
                    <a:pt x="205" y="11"/>
                    <a:pt x="204" y="10"/>
                  </a:cubicBezTo>
                  <a:close/>
                </a:path>
              </a:pathLst>
            </a:custGeom>
            <a:pattFill prst="wdUpDiag">
              <a:fgClr>
                <a:srgbClr val="00B050"/>
              </a:fgClr>
              <a:bgClr>
                <a:schemeClr val="bg1">
                  <a:lumMod val="85000"/>
                </a:schemeClr>
              </a:bgClr>
            </a:patt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6" name="Freeform 49">
              <a:extLst>
                <a:ext uri="{FF2B5EF4-FFF2-40B4-BE49-F238E27FC236}">
                  <a16:creationId xmlns:a16="http://schemas.microsoft.com/office/drawing/2014/main" id="{D67EBA7D-E0D0-D008-41BD-5CAC7E418242}"/>
                </a:ext>
              </a:extLst>
            </p:cNvPr>
            <p:cNvSpPr>
              <a:spLocks/>
            </p:cNvSpPr>
            <p:nvPr/>
          </p:nvSpPr>
          <p:spPr bwMode="auto">
            <a:xfrm>
              <a:off x="9214496" y="2721107"/>
              <a:ext cx="102437" cy="242874"/>
            </a:xfrm>
            <a:custGeom>
              <a:avLst/>
              <a:gdLst>
                <a:gd name="T0" fmla="*/ 3 w 26"/>
                <a:gd name="T1" fmla="*/ 61 h 61"/>
                <a:gd name="T2" fmla="*/ 26 w 26"/>
                <a:gd name="T3" fmla="*/ 61 h 61"/>
                <a:gd name="T4" fmla="*/ 26 w 26"/>
                <a:gd name="T5" fmla="*/ 59 h 61"/>
                <a:gd name="T6" fmla="*/ 25 w 26"/>
                <a:gd name="T7" fmla="*/ 57 h 61"/>
                <a:gd name="T8" fmla="*/ 22 w 26"/>
                <a:gd name="T9" fmla="*/ 57 h 61"/>
                <a:gd name="T10" fmla="*/ 22 w 26"/>
                <a:gd name="T11" fmla="*/ 55 h 61"/>
                <a:gd name="T12" fmla="*/ 23 w 26"/>
                <a:gd name="T13" fmla="*/ 52 h 61"/>
                <a:gd name="T14" fmla="*/ 24 w 26"/>
                <a:gd name="T15" fmla="*/ 51 h 61"/>
                <a:gd name="T16" fmla="*/ 23 w 26"/>
                <a:gd name="T17" fmla="*/ 48 h 61"/>
                <a:gd name="T18" fmla="*/ 22 w 26"/>
                <a:gd name="T19" fmla="*/ 47 h 61"/>
                <a:gd name="T20" fmla="*/ 21 w 26"/>
                <a:gd name="T21" fmla="*/ 46 h 61"/>
                <a:gd name="T22" fmla="*/ 19 w 26"/>
                <a:gd name="T23" fmla="*/ 44 h 61"/>
                <a:gd name="T24" fmla="*/ 18 w 26"/>
                <a:gd name="T25" fmla="*/ 43 h 61"/>
                <a:gd name="T26" fmla="*/ 17 w 26"/>
                <a:gd name="T27" fmla="*/ 40 h 61"/>
                <a:gd name="T28" fmla="*/ 15 w 26"/>
                <a:gd name="T29" fmla="*/ 37 h 61"/>
                <a:gd name="T30" fmla="*/ 14 w 26"/>
                <a:gd name="T31" fmla="*/ 35 h 61"/>
                <a:gd name="T32" fmla="*/ 13 w 26"/>
                <a:gd name="T33" fmla="*/ 30 h 61"/>
                <a:gd name="T34" fmla="*/ 13 w 26"/>
                <a:gd name="T35" fmla="*/ 27 h 61"/>
                <a:gd name="T36" fmla="*/ 12 w 26"/>
                <a:gd name="T37" fmla="*/ 27 h 61"/>
                <a:gd name="T38" fmla="*/ 12 w 26"/>
                <a:gd name="T39" fmla="*/ 28 h 61"/>
                <a:gd name="T40" fmla="*/ 10 w 26"/>
                <a:gd name="T41" fmla="*/ 27 h 61"/>
                <a:gd name="T42" fmla="*/ 9 w 26"/>
                <a:gd name="T43" fmla="*/ 26 h 61"/>
                <a:gd name="T44" fmla="*/ 11 w 26"/>
                <a:gd name="T45" fmla="*/ 26 h 61"/>
                <a:gd name="T46" fmla="*/ 11 w 26"/>
                <a:gd name="T47" fmla="*/ 25 h 61"/>
                <a:gd name="T48" fmla="*/ 10 w 26"/>
                <a:gd name="T49" fmla="*/ 23 h 61"/>
                <a:gd name="T50" fmla="*/ 9 w 26"/>
                <a:gd name="T51" fmla="*/ 19 h 61"/>
                <a:gd name="T52" fmla="*/ 7 w 26"/>
                <a:gd name="T53" fmla="*/ 16 h 61"/>
                <a:gd name="T54" fmla="*/ 7 w 26"/>
                <a:gd name="T55" fmla="*/ 12 h 61"/>
                <a:gd name="T56" fmla="*/ 7 w 26"/>
                <a:gd name="T57" fmla="*/ 9 h 61"/>
                <a:gd name="T58" fmla="*/ 10 w 26"/>
                <a:gd name="T59" fmla="*/ 4 h 61"/>
                <a:gd name="T60" fmla="*/ 13 w 26"/>
                <a:gd name="T61" fmla="*/ 1 h 61"/>
                <a:gd name="T62" fmla="*/ 0 w 26"/>
                <a:gd name="T63" fmla="*/ 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61">
                  <a:moveTo>
                    <a:pt x="0" y="5"/>
                  </a:moveTo>
                  <a:cubicBezTo>
                    <a:pt x="3" y="61"/>
                    <a:pt x="3" y="61"/>
                    <a:pt x="3" y="61"/>
                  </a:cubicBezTo>
                  <a:cubicBezTo>
                    <a:pt x="26" y="61"/>
                    <a:pt x="26" y="61"/>
                    <a:pt x="26" y="61"/>
                  </a:cubicBezTo>
                  <a:cubicBezTo>
                    <a:pt x="26" y="61"/>
                    <a:pt x="26" y="61"/>
                    <a:pt x="26" y="61"/>
                  </a:cubicBezTo>
                  <a:cubicBezTo>
                    <a:pt x="26" y="60"/>
                    <a:pt x="26" y="60"/>
                    <a:pt x="26" y="59"/>
                  </a:cubicBezTo>
                  <a:cubicBezTo>
                    <a:pt x="26" y="59"/>
                    <a:pt x="26" y="59"/>
                    <a:pt x="26" y="59"/>
                  </a:cubicBezTo>
                  <a:cubicBezTo>
                    <a:pt x="26" y="58"/>
                    <a:pt x="25" y="58"/>
                    <a:pt x="25" y="58"/>
                  </a:cubicBezTo>
                  <a:cubicBezTo>
                    <a:pt x="25" y="58"/>
                    <a:pt x="25" y="57"/>
                    <a:pt x="25" y="57"/>
                  </a:cubicBezTo>
                  <a:cubicBezTo>
                    <a:pt x="25" y="57"/>
                    <a:pt x="24" y="57"/>
                    <a:pt x="23" y="57"/>
                  </a:cubicBezTo>
                  <a:cubicBezTo>
                    <a:pt x="23" y="56"/>
                    <a:pt x="23" y="57"/>
                    <a:pt x="22" y="57"/>
                  </a:cubicBezTo>
                  <a:cubicBezTo>
                    <a:pt x="22" y="57"/>
                    <a:pt x="21" y="57"/>
                    <a:pt x="21" y="56"/>
                  </a:cubicBezTo>
                  <a:cubicBezTo>
                    <a:pt x="21" y="56"/>
                    <a:pt x="22" y="55"/>
                    <a:pt x="22" y="55"/>
                  </a:cubicBezTo>
                  <a:cubicBezTo>
                    <a:pt x="23" y="55"/>
                    <a:pt x="23" y="54"/>
                    <a:pt x="23" y="54"/>
                  </a:cubicBezTo>
                  <a:cubicBezTo>
                    <a:pt x="23" y="53"/>
                    <a:pt x="23" y="52"/>
                    <a:pt x="23" y="52"/>
                  </a:cubicBezTo>
                  <a:cubicBezTo>
                    <a:pt x="23" y="52"/>
                    <a:pt x="23" y="51"/>
                    <a:pt x="23" y="51"/>
                  </a:cubicBezTo>
                  <a:cubicBezTo>
                    <a:pt x="23" y="51"/>
                    <a:pt x="24" y="51"/>
                    <a:pt x="24" y="51"/>
                  </a:cubicBezTo>
                  <a:cubicBezTo>
                    <a:pt x="24" y="51"/>
                    <a:pt x="24" y="50"/>
                    <a:pt x="24" y="50"/>
                  </a:cubicBezTo>
                  <a:cubicBezTo>
                    <a:pt x="24" y="49"/>
                    <a:pt x="24" y="48"/>
                    <a:pt x="23" y="48"/>
                  </a:cubicBezTo>
                  <a:cubicBezTo>
                    <a:pt x="23" y="48"/>
                    <a:pt x="23" y="48"/>
                    <a:pt x="23" y="48"/>
                  </a:cubicBezTo>
                  <a:cubicBezTo>
                    <a:pt x="23" y="47"/>
                    <a:pt x="23" y="47"/>
                    <a:pt x="22" y="47"/>
                  </a:cubicBezTo>
                  <a:cubicBezTo>
                    <a:pt x="22" y="47"/>
                    <a:pt x="22" y="47"/>
                    <a:pt x="22" y="47"/>
                  </a:cubicBezTo>
                  <a:cubicBezTo>
                    <a:pt x="21" y="47"/>
                    <a:pt x="21" y="47"/>
                    <a:pt x="21" y="46"/>
                  </a:cubicBezTo>
                  <a:cubicBezTo>
                    <a:pt x="20" y="46"/>
                    <a:pt x="20" y="46"/>
                    <a:pt x="20" y="46"/>
                  </a:cubicBezTo>
                  <a:cubicBezTo>
                    <a:pt x="20" y="45"/>
                    <a:pt x="20" y="45"/>
                    <a:pt x="19" y="44"/>
                  </a:cubicBezTo>
                  <a:cubicBezTo>
                    <a:pt x="19" y="44"/>
                    <a:pt x="19" y="44"/>
                    <a:pt x="18" y="44"/>
                  </a:cubicBezTo>
                  <a:cubicBezTo>
                    <a:pt x="18" y="43"/>
                    <a:pt x="18" y="43"/>
                    <a:pt x="18" y="43"/>
                  </a:cubicBezTo>
                  <a:cubicBezTo>
                    <a:pt x="17" y="42"/>
                    <a:pt x="17" y="42"/>
                    <a:pt x="17" y="42"/>
                  </a:cubicBezTo>
                  <a:cubicBezTo>
                    <a:pt x="16" y="41"/>
                    <a:pt x="16" y="41"/>
                    <a:pt x="17" y="40"/>
                  </a:cubicBezTo>
                  <a:cubicBezTo>
                    <a:pt x="17" y="39"/>
                    <a:pt x="17" y="39"/>
                    <a:pt x="16" y="38"/>
                  </a:cubicBezTo>
                  <a:cubicBezTo>
                    <a:pt x="16" y="38"/>
                    <a:pt x="15" y="37"/>
                    <a:pt x="15" y="37"/>
                  </a:cubicBezTo>
                  <a:cubicBezTo>
                    <a:pt x="15" y="37"/>
                    <a:pt x="14" y="36"/>
                    <a:pt x="14" y="36"/>
                  </a:cubicBezTo>
                  <a:cubicBezTo>
                    <a:pt x="14" y="36"/>
                    <a:pt x="14" y="35"/>
                    <a:pt x="14" y="35"/>
                  </a:cubicBezTo>
                  <a:cubicBezTo>
                    <a:pt x="14" y="35"/>
                    <a:pt x="13" y="35"/>
                    <a:pt x="13" y="34"/>
                  </a:cubicBezTo>
                  <a:cubicBezTo>
                    <a:pt x="13" y="33"/>
                    <a:pt x="13" y="31"/>
                    <a:pt x="13" y="30"/>
                  </a:cubicBezTo>
                  <a:cubicBezTo>
                    <a:pt x="13" y="29"/>
                    <a:pt x="13" y="29"/>
                    <a:pt x="13" y="28"/>
                  </a:cubicBezTo>
                  <a:cubicBezTo>
                    <a:pt x="13" y="28"/>
                    <a:pt x="13" y="27"/>
                    <a:pt x="13" y="27"/>
                  </a:cubicBezTo>
                  <a:cubicBezTo>
                    <a:pt x="13" y="26"/>
                    <a:pt x="13" y="26"/>
                    <a:pt x="13" y="26"/>
                  </a:cubicBezTo>
                  <a:cubicBezTo>
                    <a:pt x="13" y="26"/>
                    <a:pt x="12" y="26"/>
                    <a:pt x="12" y="27"/>
                  </a:cubicBezTo>
                  <a:cubicBezTo>
                    <a:pt x="12" y="27"/>
                    <a:pt x="13" y="28"/>
                    <a:pt x="13" y="28"/>
                  </a:cubicBezTo>
                  <a:cubicBezTo>
                    <a:pt x="12" y="29"/>
                    <a:pt x="12" y="28"/>
                    <a:pt x="12" y="28"/>
                  </a:cubicBezTo>
                  <a:cubicBezTo>
                    <a:pt x="11" y="28"/>
                    <a:pt x="11" y="28"/>
                    <a:pt x="11" y="27"/>
                  </a:cubicBezTo>
                  <a:cubicBezTo>
                    <a:pt x="10" y="27"/>
                    <a:pt x="10" y="27"/>
                    <a:pt x="10" y="27"/>
                  </a:cubicBezTo>
                  <a:cubicBezTo>
                    <a:pt x="9" y="27"/>
                    <a:pt x="9" y="27"/>
                    <a:pt x="9" y="27"/>
                  </a:cubicBezTo>
                  <a:cubicBezTo>
                    <a:pt x="9" y="27"/>
                    <a:pt x="8" y="26"/>
                    <a:pt x="9" y="26"/>
                  </a:cubicBezTo>
                  <a:cubicBezTo>
                    <a:pt x="9" y="26"/>
                    <a:pt x="10" y="26"/>
                    <a:pt x="10" y="26"/>
                  </a:cubicBezTo>
                  <a:cubicBezTo>
                    <a:pt x="10" y="26"/>
                    <a:pt x="11" y="26"/>
                    <a:pt x="11" y="26"/>
                  </a:cubicBezTo>
                  <a:cubicBezTo>
                    <a:pt x="11" y="26"/>
                    <a:pt x="12" y="26"/>
                    <a:pt x="12" y="26"/>
                  </a:cubicBezTo>
                  <a:cubicBezTo>
                    <a:pt x="12" y="26"/>
                    <a:pt x="12" y="25"/>
                    <a:pt x="11" y="25"/>
                  </a:cubicBezTo>
                  <a:cubicBezTo>
                    <a:pt x="11" y="25"/>
                    <a:pt x="11" y="24"/>
                    <a:pt x="11" y="24"/>
                  </a:cubicBezTo>
                  <a:cubicBezTo>
                    <a:pt x="10" y="23"/>
                    <a:pt x="10" y="23"/>
                    <a:pt x="10" y="23"/>
                  </a:cubicBezTo>
                  <a:cubicBezTo>
                    <a:pt x="10" y="22"/>
                    <a:pt x="10" y="22"/>
                    <a:pt x="9" y="21"/>
                  </a:cubicBezTo>
                  <a:cubicBezTo>
                    <a:pt x="9" y="20"/>
                    <a:pt x="9" y="19"/>
                    <a:pt x="9" y="19"/>
                  </a:cubicBezTo>
                  <a:cubicBezTo>
                    <a:pt x="8" y="18"/>
                    <a:pt x="7" y="18"/>
                    <a:pt x="7" y="17"/>
                  </a:cubicBezTo>
                  <a:cubicBezTo>
                    <a:pt x="7" y="17"/>
                    <a:pt x="7" y="16"/>
                    <a:pt x="7" y="16"/>
                  </a:cubicBezTo>
                  <a:cubicBezTo>
                    <a:pt x="7" y="15"/>
                    <a:pt x="8" y="14"/>
                    <a:pt x="8" y="13"/>
                  </a:cubicBezTo>
                  <a:cubicBezTo>
                    <a:pt x="8" y="12"/>
                    <a:pt x="7" y="12"/>
                    <a:pt x="7" y="12"/>
                  </a:cubicBezTo>
                  <a:cubicBezTo>
                    <a:pt x="7" y="11"/>
                    <a:pt x="7" y="11"/>
                    <a:pt x="7" y="11"/>
                  </a:cubicBezTo>
                  <a:cubicBezTo>
                    <a:pt x="7" y="10"/>
                    <a:pt x="7" y="9"/>
                    <a:pt x="7" y="9"/>
                  </a:cubicBezTo>
                  <a:cubicBezTo>
                    <a:pt x="8" y="8"/>
                    <a:pt x="8" y="7"/>
                    <a:pt x="9" y="7"/>
                  </a:cubicBezTo>
                  <a:cubicBezTo>
                    <a:pt x="9" y="6"/>
                    <a:pt x="9" y="5"/>
                    <a:pt x="10" y="4"/>
                  </a:cubicBezTo>
                  <a:cubicBezTo>
                    <a:pt x="10" y="3"/>
                    <a:pt x="11" y="2"/>
                    <a:pt x="12" y="1"/>
                  </a:cubicBezTo>
                  <a:cubicBezTo>
                    <a:pt x="12" y="1"/>
                    <a:pt x="12" y="1"/>
                    <a:pt x="13" y="1"/>
                  </a:cubicBezTo>
                  <a:cubicBezTo>
                    <a:pt x="6" y="0"/>
                    <a:pt x="6" y="0"/>
                    <a:pt x="6" y="0"/>
                  </a:cubicBezTo>
                  <a:lnTo>
                    <a:pt x="0" y="5"/>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7" name="Freeform 50">
              <a:extLst>
                <a:ext uri="{FF2B5EF4-FFF2-40B4-BE49-F238E27FC236}">
                  <a16:creationId xmlns:a16="http://schemas.microsoft.com/office/drawing/2014/main" id="{428D461E-28BE-865A-9EF4-E037F49FD350}"/>
                </a:ext>
              </a:extLst>
            </p:cNvPr>
            <p:cNvSpPr>
              <a:spLocks/>
            </p:cNvSpPr>
            <p:nvPr/>
          </p:nvSpPr>
          <p:spPr bwMode="auto">
            <a:xfrm>
              <a:off x="9495371" y="2321273"/>
              <a:ext cx="261048" cy="193307"/>
            </a:xfrm>
            <a:custGeom>
              <a:avLst/>
              <a:gdLst>
                <a:gd name="T0" fmla="*/ 33 w 66"/>
                <a:gd name="T1" fmla="*/ 0 h 49"/>
                <a:gd name="T2" fmla="*/ 33 w 66"/>
                <a:gd name="T3" fmla="*/ 2 h 49"/>
                <a:gd name="T4" fmla="*/ 31 w 66"/>
                <a:gd name="T5" fmla="*/ 2 h 49"/>
                <a:gd name="T6" fmla="*/ 31 w 66"/>
                <a:gd name="T7" fmla="*/ 0 h 49"/>
                <a:gd name="T8" fmla="*/ 8 w 66"/>
                <a:gd name="T9" fmla="*/ 0 h 49"/>
                <a:gd name="T10" fmla="*/ 7 w 66"/>
                <a:gd name="T11" fmla="*/ 19 h 49"/>
                <a:gd name="T12" fmla="*/ 6 w 66"/>
                <a:gd name="T13" fmla="*/ 34 h 49"/>
                <a:gd name="T14" fmla="*/ 7 w 66"/>
                <a:gd name="T15" fmla="*/ 36 h 49"/>
                <a:gd name="T16" fmla="*/ 8 w 66"/>
                <a:gd name="T17" fmla="*/ 39 h 49"/>
                <a:gd name="T18" fmla="*/ 2 w 66"/>
                <a:gd name="T19" fmla="*/ 42 h 49"/>
                <a:gd name="T20" fmla="*/ 0 w 66"/>
                <a:gd name="T21" fmla="*/ 44 h 49"/>
                <a:gd name="T22" fmla="*/ 0 w 66"/>
                <a:gd name="T23" fmla="*/ 46 h 49"/>
                <a:gd name="T24" fmla="*/ 3 w 66"/>
                <a:gd name="T25" fmla="*/ 49 h 49"/>
                <a:gd name="T26" fmla="*/ 3 w 66"/>
                <a:gd name="T27" fmla="*/ 48 h 49"/>
                <a:gd name="T28" fmla="*/ 5 w 66"/>
                <a:gd name="T29" fmla="*/ 48 h 49"/>
                <a:gd name="T30" fmla="*/ 8 w 66"/>
                <a:gd name="T31" fmla="*/ 47 h 49"/>
                <a:gd name="T32" fmla="*/ 9 w 66"/>
                <a:gd name="T33" fmla="*/ 46 h 49"/>
                <a:gd name="T34" fmla="*/ 10 w 66"/>
                <a:gd name="T35" fmla="*/ 45 h 49"/>
                <a:gd name="T36" fmla="*/ 11 w 66"/>
                <a:gd name="T37" fmla="*/ 44 h 49"/>
                <a:gd name="T38" fmla="*/ 12 w 66"/>
                <a:gd name="T39" fmla="*/ 44 h 49"/>
                <a:gd name="T40" fmla="*/ 14 w 66"/>
                <a:gd name="T41" fmla="*/ 43 h 49"/>
                <a:gd name="T42" fmla="*/ 16 w 66"/>
                <a:gd name="T43" fmla="*/ 42 h 49"/>
                <a:gd name="T44" fmla="*/ 17 w 66"/>
                <a:gd name="T45" fmla="*/ 42 h 49"/>
                <a:gd name="T46" fmla="*/ 19 w 66"/>
                <a:gd name="T47" fmla="*/ 42 h 49"/>
                <a:gd name="T48" fmla="*/ 20 w 66"/>
                <a:gd name="T49" fmla="*/ 41 h 49"/>
                <a:gd name="T50" fmla="*/ 21 w 66"/>
                <a:gd name="T51" fmla="*/ 41 h 49"/>
                <a:gd name="T52" fmla="*/ 22 w 66"/>
                <a:gd name="T53" fmla="*/ 40 h 49"/>
                <a:gd name="T54" fmla="*/ 24 w 66"/>
                <a:gd name="T55" fmla="*/ 39 h 49"/>
                <a:gd name="T56" fmla="*/ 25 w 66"/>
                <a:gd name="T57" fmla="*/ 38 h 49"/>
                <a:gd name="T58" fmla="*/ 26 w 66"/>
                <a:gd name="T59" fmla="*/ 37 h 49"/>
                <a:gd name="T60" fmla="*/ 27 w 66"/>
                <a:gd name="T61" fmla="*/ 37 h 49"/>
                <a:gd name="T62" fmla="*/ 27 w 66"/>
                <a:gd name="T63" fmla="*/ 36 h 49"/>
                <a:gd name="T64" fmla="*/ 28 w 66"/>
                <a:gd name="T65" fmla="*/ 35 h 49"/>
                <a:gd name="T66" fmla="*/ 29 w 66"/>
                <a:gd name="T67" fmla="*/ 36 h 49"/>
                <a:gd name="T68" fmla="*/ 30 w 66"/>
                <a:gd name="T69" fmla="*/ 37 h 49"/>
                <a:gd name="T70" fmla="*/ 30 w 66"/>
                <a:gd name="T71" fmla="*/ 37 h 49"/>
                <a:gd name="T72" fmla="*/ 31 w 66"/>
                <a:gd name="T73" fmla="*/ 37 h 49"/>
                <a:gd name="T74" fmla="*/ 33 w 66"/>
                <a:gd name="T75" fmla="*/ 36 h 49"/>
                <a:gd name="T76" fmla="*/ 37 w 66"/>
                <a:gd name="T77" fmla="*/ 36 h 49"/>
                <a:gd name="T78" fmla="*/ 44 w 66"/>
                <a:gd name="T79" fmla="*/ 36 h 49"/>
                <a:gd name="T80" fmla="*/ 45 w 66"/>
                <a:gd name="T81" fmla="*/ 36 h 49"/>
                <a:gd name="T82" fmla="*/ 46 w 66"/>
                <a:gd name="T83" fmla="*/ 36 h 49"/>
                <a:gd name="T84" fmla="*/ 47 w 66"/>
                <a:gd name="T85" fmla="*/ 35 h 49"/>
                <a:gd name="T86" fmla="*/ 48 w 66"/>
                <a:gd name="T87" fmla="*/ 35 h 49"/>
                <a:gd name="T88" fmla="*/ 49 w 66"/>
                <a:gd name="T89" fmla="*/ 35 h 49"/>
                <a:gd name="T90" fmla="*/ 50 w 66"/>
                <a:gd name="T91" fmla="*/ 35 h 49"/>
                <a:gd name="T92" fmla="*/ 51 w 66"/>
                <a:gd name="T93" fmla="*/ 35 h 49"/>
                <a:gd name="T94" fmla="*/ 53 w 66"/>
                <a:gd name="T95" fmla="*/ 35 h 49"/>
                <a:gd name="T96" fmla="*/ 54 w 66"/>
                <a:gd name="T97" fmla="*/ 35 h 49"/>
                <a:gd name="T98" fmla="*/ 55 w 66"/>
                <a:gd name="T99" fmla="*/ 34 h 49"/>
                <a:gd name="T100" fmla="*/ 57 w 66"/>
                <a:gd name="T101" fmla="*/ 34 h 49"/>
                <a:gd name="T102" fmla="*/ 57 w 66"/>
                <a:gd name="T103" fmla="*/ 33 h 49"/>
                <a:gd name="T104" fmla="*/ 57 w 66"/>
                <a:gd name="T105" fmla="*/ 33 h 49"/>
                <a:gd name="T106" fmla="*/ 58 w 66"/>
                <a:gd name="T107" fmla="*/ 33 h 49"/>
                <a:gd name="T108" fmla="*/ 62 w 66"/>
                <a:gd name="T109" fmla="*/ 33 h 49"/>
                <a:gd name="T110" fmla="*/ 64 w 66"/>
                <a:gd name="T111" fmla="*/ 33 h 49"/>
                <a:gd name="T112" fmla="*/ 65 w 66"/>
                <a:gd name="T113" fmla="*/ 33 h 49"/>
                <a:gd name="T114" fmla="*/ 65 w 66"/>
                <a:gd name="T115" fmla="*/ 33 h 49"/>
                <a:gd name="T116" fmla="*/ 65 w 66"/>
                <a:gd name="T117" fmla="*/ 31 h 49"/>
                <a:gd name="T118" fmla="*/ 66 w 66"/>
                <a:gd name="T119" fmla="*/ 27 h 49"/>
                <a:gd name="T120" fmla="*/ 66 w 66"/>
                <a:gd name="T121" fmla="*/ 1 h 49"/>
                <a:gd name="T122" fmla="*/ 33 w 66"/>
                <a:gd name="T1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 h="49">
                  <a:moveTo>
                    <a:pt x="33" y="0"/>
                  </a:moveTo>
                  <a:cubicBezTo>
                    <a:pt x="33" y="2"/>
                    <a:pt x="33" y="2"/>
                    <a:pt x="33" y="2"/>
                  </a:cubicBezTo>
                  <a:cubicBezTo>
                    <a:pt x="31" y="2"/>
                    <a:pt x="31" y="2"/>
                    <a:pt x="31" y="2"/>
                  </a:cubicBezTo>
                  <a:cubicBezTo>
                    <a:pt x="31" y="0"/>
                    <a:pt x="31" y="0"/>
                    <a:pt x="31" y="0"/>
                  </a:cubicBezTo>
                  <a:cubicBezTo>
                    <a:pt x="8" y="0"/>
                    <a:pt x="8" y="0"/>
                    <a:pt x="8" y="0"/>
                  </a:cubicBezTo>
                  <a:cubicBezTo>
                    <a:pt x="7" y="19"/>
                    <a:pt x="7" y="19"/>
                    <a:pt x="7" y="19"/>
                  </a:cubicBezTo>
                  <a:cubicBezTo>
                    <a:pt x="6" y="34"/>
                    <a:pt x="6" y="34"/>
                    <a:pt x="6" y="34"/>
                  </a:cubicBezTo>
                  <a:cubicBezTo>
                    <a:pt x="6" y="34"/>
                    <a:pt x="7" y="36"/>
                    <a:pt x="7" y="36"/>
                  </a:cubicBezTo>
                  <a:cubicBezTo>
                    <a:pt x="7" y="36"/>
                    <a:pt x="8" y="39"/>
                    <a:pt x="8" y="39"/>
                  </a:cubicBezTo>
                  <a:cubicBezTo>
                    <a:pt x="2" y="42"/>
                    <a:pt x="2" y="42"/>
                    <a:pt x="2" y="42"/>
                  </a:cubicBezTo>
                  <a:cubicBezTo>
                    <a:pt x="2" y="42"/>
                    <a:pt x="0" y="44"/>
                    <a:pt x="0" y="44"/>
                  </a:cubicBezTo>
                  <a:cubicBezTo>
                    <a:pt x="0" y="45"/>
                    <a:pt x="0" y="46"/>
                    <a:pt x="0" y="46"/>
                  </a:cubicBezTo>
                  <a:cubicBezTo>
                    <a:pt x="3" y="49"/>
                    <a:pt x="3" y="49"/>
                    <a:pt x="3" y="49"/>
                  </a:cubicBezTo>
                  <a:cubicBezTo>
                    <a:pt x="3" y="48"/>
                    <a:pt x="3" y="48"/>
                    <a:pt x="3" y="48"/>
                  </a:cubicBezTo>
                  <a:cubicBezTo>
                    <a:pt x="4" y="48"/>
                    <a:pt x="4" y="48"/>
                    <a:pt x="5" y="48"/>
                  </a:cubicBezTo>
                  <a:cubicBezTo>
                    <a:pt x="6" y="47"/>
                    <a:pt x="7" y="47"/>
                    <a:pt x="8" y="47"/>
                  </a:cubicBezTo>
                  <a:cubicBezTo>
                    <a:pt x="9" y="46"/>
                    <a:pt x="9" y="46"/>
                    <a:pt x="9" y="46"/>
                  </a:cubicBezTo>
                  <a:cubicBezTo>
                    <a:pt x="10" y="46"/>
                    <a:pt x="10" y="45"/>
                    <a:pt x="10" y="45"/>
                  </a:cubicBezTo>
                  <a:cubicBezTo>
                    <a:pt x="11" y="45"/>
                    <a:pt x="11" y="45"/>
                    <a:pt x="11" y="44"/>
                  </a:cubicBezTo>
                  <a:cubicBezTo>
                    <a:pt x="12" y="44"/>
                    <a:pt x="12" y="44"/>
                    <a:pt x="12" y="44"/>
                  </a:cubicBezTo>
                  <a:cubicBezTo>
                    <a:pt x="13" y="43"/>
                    <a:pt x="14" y="44"/>
                    <a:pt x="14" y="43"/>
                  </a:cubicBezTo>
                  <a:cubicBezTo>
                    <a:pt x="15" y="43"/>
                    <a:pt x="16" y="43"/>
                    <a:pt x="16" y="42"/>
                  </a:cubicBezTo>
                  <a:cubicBezTo>
                    <a:pt x="16" y="42"/>
                    <a:pt x="17" y="42"/>
                    <a:pt x="17" y="42"/>
                  </a:cubicBezTo>
                  <a:cubicBezTo>
                    <a:pt x="18" y="41"/>
                    <a:pt x="19" y="42"/>
                    <a:pt x="19" y="42"/>
                  </a:cubicBezTo>
                  <a:cubicBezTo>
                    <a:pt x="20" y="42"/>
                    <a:pt x="20" y="42"/>
                    <a:pt x="20" y="41"/>
                  </a:cubicBezTo>
                  <a:cubicBezTo>
                    <a:pt x="20" y="41"/>
                    <a:pt x="21" y="41"/>
                    <a:pt x="21" y="41"/>
                  </a:cubicBezTo>
                  <a:cubicBezTo>
                    <a:pt x="21" y="41"/>
                    <a:pt x="22" y="41"/>
                    <a:pt x="22" y="40"/>
                  </a:cubicBezTo>
                  <a:cubicBezTo>
                    <a:pt x="23" y="40"/>
                    <a:pt x="23" y="40"/>
                    <a:pt x="24" y="39"/>
                  </a:cubicBezTo>
                  <a:cubicBezTo>
                    <a:pt x="24" y="39"/>
                    <a:pt x="24" y="39"/>
                    <a:pt x="25" y="38"/>
                  </a:cubicBezTo>
                  <a:cubicBezTo>
                    <a:pt x="25" y="38"/>
                    <a:pt x="25" y="38"/>
                    <a:pt x="26" y="37"/>
                  </a:cubicBezTo>
                  <a:cubicBezTo>
                    <a:pt x="26" y="37"/>
                    <a:pt x="27" y="37"/>
                    <a:pt x="27" y="37"/>
                  </a:cubicBezTo>
                  <a:cubicBezTo>
                    <a:pt x="27" y="37"/>
                    <a:pt x="27" y="36"/>
                    <a:pt x="27" y="36"/>
                  </a:cubicBezTo>
                  <a:cubicBezTo>
                    <a:pt x="28" y="36"/>
                    <a:pt x="28" y="35"/>
                    <a:pt x="28" y="35"/>
                  </a:cubicBezTo>
                  <a:cubicBezTo>
                    <a:pt x="29" y="35"/>
                    <a:pt x="29" y="36"/>
                    <a:pt x="29" y="36"/>
                  </a:cubicBezTo>
                  <a:cubicBezTo>
                    <a:pt x="29" y="36"/>
                    <a:pt x="30" y="36"/>
                    <a:pt x="30" y="37"/>
                  </a:cubicBezTo>
                  <a:cubicBezTo>
                    <a:pt x="30" y="37"/>
                    <a:pt x="30" y="37"/>
                    <a:pt x="30" y="37"/>
                  </a:cubicBezTo>
                  <a:cubicBezTo>
                    <a:pt x="30" y="37"/>
                    <a:pt x="30" y="37"/>
                    <a:pt x="31" y="37"/>
                  </a:cubicBezTo>
                  <a:cubicBezTo>
                    <a:pt x="31" y="36"/>
                    <a:pt x="32" y="36"/>
                    <a:pt x="33" y="36"/>
                  </a:cubicBezTo>
                  <a:cubicBezTo>
                    <a:pt x="34" y="36"/>
                    <a:pt x="35" y="36"/>
                    <a:pt x="37" y="36"/>
                  </a:cubicBezTo>
                  <a:cubicBezTo>
                    <a:pt x="39" y="36"/>
                    <a:pt x="41" y="36"/>
                    <a:pt x="44" y="36"/>
                  </a:cubicBezTo>
                  <a:cubicBezTo>
                    <a:pt x="44" y="36"/>
                    <a:pt x="45" y="36"/>
                    <a:pt x="45" y="36"/>
                  </a:cubicBezTo>
                  <a:cubicBezTo>
                    <a:pt x="45" y="36"/>
                    <a:pt x="45" y="36"/>
                    <a:pt x="46" y="36"/>
                  </a:cubicBezTo>
                  <a:cubicBezTo>
                    <a:pt x="46" y="35"/>
                    <a:pt x="47" y="35"/>
                    <a:pt x="47" y="35"/>
                  </a:cubicBezTo>
                  <a:cubicBezTo>
                    <a:pt x="48" y="35"/>
                    <a:pt x="48" y="35"/>
                    <a:pt x="48" y="35"/>
                  </a:cubicBezTo>
                  <a:cubicBezTo>
                    <a:pt x="49" y="35"/>
                    <a:pt x="49" y="35"/>
                    <a:pt x="49" y="35"/>
                  </a:cubicBezTo>
                  <a:cubicBezTo>
                    <a:pt x="50" y="35"/>
                    <a:pt x="50" y="35"/>
                    <a:pt x="50" y="35"/>
                  </a:cubicBezTo>
                  <a:cubicBezTo>
                    <a:pt x="50" y="35"/>
                    <a:pt x="51" y="35"/>
                    <a:pt x="51" y="35"/>
                  </a:cubicBezTo>
                  <a:cubicBezTo>
                    <a:pt x="52" y="35"/>
                    <a:pt x="52" y="35"/>
                    <a:pt x="53" y="35"/>
                  </a:cubicBezTo>
                  <a:cubicBezTo>
                    <a:pt x="53" y="35"/>
                    <a:pt x="54" y="35"/>
                    <a:pt x="54" y="35"/>
                  </a:cubicBezTo>
                  <a:cubicBezTo>
                    <a:pt x="55" y="35"/>
                    <a:pt x="55" y="35"/>
                    <a:pt x="55" y="34"/>
                  </a:cubicBezTo>
                  <a:cubicBezTo>
                    <a:pt x="56" y="34"/>
                    <a:pt x="56" y="34"/>
                    <a:pt x="57" y="34"/>
                  </a:cubicBezTo>
                  <a:cubicBezTo>
                    <a:pt x="57" y="34"/>
                    <a:pt x="57" y="34"/>
                    <a:pt x="57" y="33"/>
                  </a:cubicBezTo>
                  <a:cubicBezTo>
                    <a:pt x="57" y="33"/>
                    <a:pt x="57" y="33"/>
                    <a:pt x="57" y="33"/>
                  </a:cubicBezTo>
                  <a:cubicBezTo>
                    <a:pt x="58" y="33"/>
                    <a:pt x="58" y="33"/>
                    <a:pt x="58" y="33"/>
                  </a:cubicBezTo>
                  <a:cubicBezTo>
                    <a:pt x="59" y="33"/>
                    <a:pt x="61" y="33"/>
                    <a:pt x="62" y="33"/>
                  </a:cubicBezTo>
                  <a:cubicBezTo>
                    <a:pt x="62" y="33"/>
                    <a:pt x="63" y="33"/>
                    <a:pt x="64" y="33"/>
                  </a:cubicBezTo>
                  <a:cubicBezTo>
                    <a:pt x="64" y="33"/>
                    <a:pt x="64" y="33"/>
                    <a:pt x="65" y="33"/>
                  </a:cubicBezTo>
                  <a:cubicBezTo>
                    <a:pt x="65" y="33"/>
                    <a:pt x="65" y="33"/>
                    <a:pt x="65" y="33"/>
                  </a:cubicBezTo>
                  <a:cubicBezTo>
                    <a:pt x="65" y="31"/>
                    <a:pt x="65" y="31"/>
                    <a:pt x="65" y="31"/>
                  </a:cubicBezTo>
                  <a:cubicBezTo>
                    <a:pt x="66" y="27"/>
                    <a:pt x="66" y="27"/>
                    <a:pt x="66" y="27"/>
                  </a:cubicBezTo>
                  <a:cubicBezTo>
                    <a:pt x="66" y="1"/>
                    <a:pt x="66" y="1"/>
                    <a:pt x="66" y="1"/>
                  </a:cubicBezTo>
                  <a:lnTo>
                    <a:pt x="33" y="0"/>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8" name="Freeform 51">
              <a:extLst>
                <a:ext uri="{FF2B5EF4-FFF2-40B4-BE49-F238E27FC236}">
                  <a16:creationId xmlns:a16="http://schemas.microsoft.com/office/drawing/2014/main" id="{341C640A-FDC2-2667-DA2B-3FCA157E8FEF}"/>
                </a:ext>
              </a:extLst>
            </p:cNvPr>
            <p:cNvSpPr>
              <a:spLocks/>
            </p:cNvSpPr>
            <p:nvPr/>
          </p:nvSpPr>
          <p:spPr bwMode="auto">
            <a:xfrm>
              <a:off x="4662676" y="2511276"/>
              <a:ext cx="958278" cy="705491"/>
            </a:xfrm>
            <a:custGeom>
              <a:avLst/>
              <a:gdLst>
                <a:gd name="T0" fmla="*/ 580 w 580"/>
                <a:gd name="T1" fmla="*/ 0 h 427"/>
                <a:gd name="T2" fmla="*/ 0 w 580"/>
                <a:gd name="T3" fmla="*/ 0 h 427"/>
                <a:gd name="T4" fmla="*/ 2 w 580"/>
                <a:gd name="T5" fmla="*/ 427 h 427"/>
                <a:gd name="T6" fmla="*/ 580 w 580"/>
                <a:gd name="T7" fmla="*/ 427 h 427"/>
                <a:gd name="T8" fmla="*/ 580 w 580"/>
                <a:gd name="T9" fmla="*/ 108 h 427"/>
                <a:gd name="T10" fmla="*/ 580 w 580"/>
                <a:gd name="T11" fmla="*/ 0 h 427"/>
              </a:gdLst>
              <a:ahLst/>
              <a:cxnLst>
                <a:cxn ang="0">
                  <a:pos x="T0" y="T1"/>
                </a:cxn>
                <a:cxn ang="0">
                  <a:pos x="T2" y="T3"/>
                </a:cxn>
                <a:cxn ang="0">
                  <a:pos x="T4" y="T5"/>
                </a:cxn>
                <a:cxn ang="0">
                  <a:pos x="T6" y="T7"/>
                </a:cxn>
                <a:cxn ang="0">
                  <a:pos x="T8" y="T9"/>
                </a:cxn>
                <a:cxn ang="0">
                  <a:pos x="T10" y="T11"/>
                </a:cxn>
              </a:cxnLst>
              <a:rect l="0" t="0" r="r" b="b"/>
              <a:pathLst>
                <a:path w="580" h="427">
                  <a:moveTo>
                    <a:pt x="580" y="0"/>
                  </a:moveTo>
                  <a:lnTo>
                    <a:pt x="0" y="0"/>
                  </a:lnTo>
                  <a:lnTo>
                    <a:pt x="2" y="427"/>
                  </a:lnTo>
                  <a:lnTo>
                    <a:pt x="580" y="427"/>
                  </a:lnTo>
                  <a:lnTo>
                    <a:pt x="580" y="108"/>
                  </a:lnTo>
                  <a:lnTo>
                    <a:pt x="580" y="0"/>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49" name="Freeform 52">
              <a:extLst>
                <a:ext uri="{FF2B5EF4-FFF2-40B4-BE49-F238E27FC236}">
                  <a16:creationId xmlns:a16="http://schemas.microsoft.com/office/drawing/2014/main" id="{8BC36494-D701-5F10-E463-B870F4C38AC7}"/>
                </a:ext>
              </a:extLst>
            </p:cNvPr>
            <p:cNvSpPr>
              <a:spLocks noEditPoints="1"/>
            </p:cNvSpPr>
            <p:nvPr/>
          </p:nvSpPr>
          <p:spPr bwMode="auto">
            <a:xfrm>
              <a:off x="2567681" y="2329534"/>
              <a:ext cx="1397764" cy="1632379"/>
            </a:xfrm>
            <a:custGeom>
              <a:avLst/>
              <a:gdLst>
                <a:gd name="T0" fmla="*/ 207 w 353"/>
                <a:gd name="T1" fmla="*/ 380 h 412"/>
                <a:gd name="T2" fmla="*/ 204 w 353"/>
                <a:gd name="T3" fmla="*/ 377 h 412"/>
                <a:gd name="T4" fmla="*/ 168 w 353"/>
                <a:gd name="T5" fmla="*/ 383 h 412"/>
                <a:gd name="T6" fmla="*/ 145 w 353"/>
                <a:gd name="T7" fmla="*/ 353 h 412"/>
                <a:gd name="T8" fmla="*/ 161 w 353"/>
                <a:gd name="T9" fmla="*/ 353 h 412"/>
                <a:gd name="T10" fmla="*/ 159 w 353"/>
                <a:gd name="T11" fmla="*/ 349 h 412"/>
                <a:gd name="T12" fmla="*/ 161 w 353"/>
                <a:gd name="T13" fmla="*/ 353 h 412"/>
                <a:gd name="T14" fmla="*/ 336 w 353"/>
                <a:gd name="T15" fmla="*/ 383 h 412"/>
                <a:gd name="T16" fmla="*/ 344 w 353"/>
                <a:gd name="T17" fmla="*/ 350 h 412"/>
                <a:gd name="T18" fmla="*/ 337 w 353"/>
                <a:gd name="T19" fmla="*/ 314 h 412"/>
                <a:gd name="T20" fmla="*/ 6 w 353"/>
                <a:gd name="T21" fmla="*/ 5 h 412"/>
                <a:gd name="T22" fmla="*/ 9 w 353"/>
                <a:gd name="T23" fmla="*/ 15 h 412"/>
                <a:gd name="T24" fmla="*/ 11 w 353"/>
                <a:gd name="T25" fmla="*/ 26 h 412"/>
                <a:gd name="T26" fmla="*/ 8 w 353"/>
                <a:gd name="T27" fmla="*/ 39 h 412"/>
                <a:gd name="T28" fmla="*/ 8 w 353"/>
                <a:gd name="T29" fmla="*/ 53 h 412"/>
                <a:gd name="T30" fmla="*/ 7 w 353"/>
                <a:gd name="T31" fmla="*/ 64 h 412"/>
                <a:gd name="T32" fmla="*/ 0 w 353"/>
                <a:gd name="T33" fmla="*/ 73 h 412"/>
                <a:gd name="T34" fmla="*/ 6 w 353"/>
                <a:gd name="T35" fmla="*/ 85 h 412"/>
                <a:gd name="T36" fmla="*/ 19 w 353"/>
                <a:gd name="T37" fmla="*/ 100 h 412"/>
                <a:gd name="T38" fmla="*/ 20 w 353"/>
                <a:gd name="T39" fmla="*/ 120 h 412"/>
                <a:gd name="T40" fmla="*/ 23 w 353"/>
                <a:gd name="T41" fmla="*/ 132 h 412"/>
                <a:gd name="T42" fmla="*/ 34 w 353"/>
                <a:gd name="T43" fmla="*/ 152 h 412"/>
                <a:gd name="T44" fmla="*/ 49 w 353"/>
                <a:gd name="T45" fmla="*/ 169 h 412"/>
                <a:gd name="T46" fmla="*/ 49 w 353"/>
                <a:gd name="T47" fmla="*/ 172 h 412"/>
                <a:gd name="T48" fmla="*/ 53 w 353"/>
                <a:gd name="T49" fmla="*/ 181 h 412"/>
                <a:gd name="T50" fmla="*/ 65 w 353"/>
                <a:gd name="T51" fmla="*/ 188 h 412"/>
                <a:gd name="T52" fmla="*/ 69 w 353"/>
                <a:gd name="T53" fmla="*/ 175 h 412"/>
                <a:gd name="T54" fmla="*/ 83 w 353"/>
                <a:gd name="T55" fmla="*/ 177 h 412"/>
                <a:gd name="T56" fmla="*/ 92 w 353"/>
                <a:gd name="T57" fmla="*/ 178 h 412"/>
                <a:gd name="T58" fmla="*/ 99 w 353"/>
                <a:gd name="T59" fmla="*/ 179 h 412"/>
                <a:gd name="T60" fmla="*/ 87 w 353"/>
                <a:gd name="T61" fmla="*/ 179 h 412"/>
                <a:gd name="T62" fmla="*/ 72 w 353"/>
                <a:gd name="T63" fmla="*/ 180 h 412"/>
                <a:gd name="T64" fmla="*/ 77 w 353"/>
                <a:gd name="T65" fmla="*/ 197 h 412"/>
                <a:gd name="T66" fmla="*/ 70 w 353"/>
                <a:gd name="T67" fmla="*/ 195 h 412"/>
                <a:gd name="T68" fmla="*/ 65 w 353"/>
                <a:gd name="T69" fmla="*/ 200 h 412"/>
                <a:gd name="T70" fmla="*/ 68 w 353"/>
                <a:gd name="T71" fmla="*/ 212 h 412"/>
                <a:gd name="T72" fmla="*/ 72 w 353"/>
                <a:gd name="T73" fmla="*/ 221 h 412"/>
                <a:gd name="T74" fmla="*/ 83 w 353"/>
                <a:gd name="T75" fmla="*/ 226 h 412"/>
                <a:gd name="T76" fmla="*/ 89 w 353"/>
                <a:gd name="T77" fmla="*/ 231 h 412"/>
                <a:gd name="T78" fmla="*/ 84 w 353"/>
                <a:gd name="T79" fmla="*/ 241 h 412"/>
                <a:gd name="T80" fmla="*/ 86 w 353"/>
                <a:gd name="T81" fmla="*/ 253 h 412"/>
                <a:gd name="T82" fmla="*/ 94 w 353"/>
                <a:gd name="T83" fmla="*/ 260 h 412"/>
                <a:gd name="T84" fmla="*/ 99 w 353"/>
                <a:gd name="T85" fmla="*/ 267 h 412"/>
                <a:gd name="T86" fmla="*/ 106 w 353"/>
                <a:gd name="T87" fmla="*/ 278 h 412"/>
                <a:gd name="T88" fmla="*/ 113 w 353"/>
                <a:gd name="T89" fmla="*/ 285 h 412"/>
                <a:gd name="T90" fmla="*/ 121 w 353"/>
                <a:gd name="T91" fmla="*/ 292 h 412"/>
                <a:gd name="T92" fmla="*/ 122 w 353"/>
                <a:gd name="T93" fmla="*/ 300 h 412"/>
                <a:gd name="T94" fmla="*/ 130 w 353"/>
                <a:gd name="T95" fmla="*/ 309 h 412"/>
                <a:gd name="T96" fmla="*/ 130 w 353"/>
                <a:gd name="T97" fmla="*/ 320 h 412"/>
                <a:gd name="T98" fmla="*/ 130 w 353"/>
                <a:gd name="T99" fmla="*/ 326 h 412"/>
                <a:gd name="T100" fmla="*/ 135 w 353"/>
                <a:gd name="T101" fmla="*/ 332 h 412"/>
                <a:gd name="T102" fmla="*/ 142 w 353"/>
                <a:gd name="T103" fmla="*/ 332 h 412"/>
                <a:gd name="T104" fmla="*/ 176 w 353"/>
                <a:gd name="T105" fmla="*/ 341 h 412"/>
                <a:gd name="T106" fmla="*/ 193 w 353"/>
                <a:gd name="T107" fmla="*/ 351 h 412"/>
                <a:gd name="T108" fmla="*/ 204 w 353"/>
                <a:gd name="T109" fmla="*/ 351 h 412"/>
                <a:gd name="T110" fmla="*/ 211 w 353"/>
                <a:gd name="T111" fmla="*/ 363 h 412"/>
                <a:gd name="T112" fmla="*/ 246 w 353"/>
                <a:gd name="T113" fmla="*/ 397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3" h="412">
                  <a:moveTo>
                    <a:pt x="205" y="400"/>
                  </a:moveTo>
                  <a:cubicBezTo>
                    <a:pt x="204" y="399"/>
                    <a:pt x="203" y="398"/>
                    <a:pt x="202" y="397"/>
                  </a:cubicBezTo>
                  <a:cubicBezTo>
                    <a:pt x="202" y="396"/>
                    <a:pt x="201" y="395"/>
                    <a:pt x="201" y="394"/>
                  </a:cubicBezTo>
                  <a:cubicBezTo>
                    <a:pt x="201" y="393"/>
                    <a:pt x="201" y="393"/>
                    <a:pt x="202" y="393"/>
                  </a:cubicBezTo>
                  <a:cubicBezTo>
                    <a:pt x="202" y="394"/>
                    <a:pt x="202" y="394"/>
                    <a:pt x="203" y="394"/>
                  </a:cubicBezTo>
                  <a:cubicBezTo>
                    <a:pt x="203" y="395"/>
                    <a:pt x="203" y="395"/>
                    <a:pt x="204" y="395"/>
                  </a:cubicBezTo>
                  <a:cubicBezTo>
                    <a:pt x="205" y="396"/>
                    <a:pt x="206" y="397"/>
                    <a:pt x="207" y="399"/>
                  </a:cubicBezTo>
                  <a:cubicBezTo>
                    <a:pt x="207" y="399"/>
                    <a:pt x="208" y="400"/>
                    <a:pt x="208" y="400"/>
                  </a:cubicBezTo>
                  <a:cubicBezTo>
                    <a:pt x="208" y="401"/>
                    <a:pt x="206" y="400"/>
                    <a:pt x="205" y="400"/>
                  </a:cubicBezTo>
                  <a:close/>
                  <a:moveTo>
                    <a:pt x="207" y="380"/>
                  </a:moveTo>
                  <a:cubicBezTo>
                    <a:pt x="207" y="380"/>
                    <a:pt x="208" y="380"/>
                    <a:pt x="209" y="380"/>
                  </a:cubicBezTo>
                  <a:cubicBezTo>
                    <a:pt x="211" y="380"/>
                    <a:pt x="209" y="378"/>
                    <a:pt x="209" y="378"/>
                  </a:cubicBezTo>
                  <a:cubicBezTo>
                    <a:pt x="208" y="377"/>
                    <a:pt x="208" y="376"/>
                    <a:pt x="208" y="376"/>
                  </a:cubicBezTo>
                  <a:cubicBezTo>
                    <a:pt x="207" y="376"/>
                    <a:pt x="207" y="375"/>
                    <a:pt x="207" y="375"/>
                  </a:cubicBezTo>
                  <a:cubicBezTo>
                    <a:pt x="206" y="375"/>
                    <a:pt x="206" y="375"/>
                    <a:pt x="205" y="375"/>
                  </a:cubicBezTo>
                  <a:cubicBezTo>
                    <a:pt x="205" y="375"/>
                    <a:pt x="204" y="374"/>
                    <a:pt x="204" y="374"/>
                  </a:cubicBezTo>
                  <a:cubicBezTo>
                    <a:pt x="203" y="373"/>
                    <a:pt x="202" y="373"/>
                    <a:pt x="202" y="374"/>
                  </a:cubicBezTo>
                  <a:cubicBezTo>
                    <a:pt x="202" y="374"/>
                    <a:pt x="202" y="375"/>
                    <a:pt x="202" y="375"/>
                  </a:cubicBezTo>
                  <a:cubicBezTo>
                    <a:pt x="202" y="375"/>
                    <a:pt x="202" y="376"/>
                    <a:pt x="202" y="376"/>
                  </a:cubicBezTo>
                  <a:cubicBezTo>
                    <a:pt x="203" y="376"/>
                    <a:pt x="204" y="376"/>
                    <a:pt x="204" y="377"/>
                  </a:cubicBezTo>
                  <a:cubicBezTo>
                    <a:pt x="204" y="377"/>
                    <a:pt x="204" y="377"/>
                    <a:pt x="204" y="377"/>
                  </a:cubicBezTo>
                  <a:cubicBezTo>
                    <a:pt x="204" y="378"/>
                    <a:pt x="204" y="378"/>
                    <a:pt x="204" y="378"/>
                  </a:cubicBezTo>
                  <a:cubicBezTo>
                    <a:pt x="205" y="378"/>
                    <a:pt x="205" y="379"/>
                    <a:pt x="205" y="380"/>
                  </a:cubicBezTo>
                  <a:cubicBezTo>
                    <a:pt x="205" y="380"/>
                    <a:pt x="206" y="380"/>
                    <a:pt x="207" y="380"/>
                  </a:cubicBezTo>
                  <a:close/>
                  <a:moveTo>
                    <a:pt x="170" y="383"/>
                  </a:moveTo>
                  <a:cubicBezTo>
                    <a:pt x="170" y="382"/>
                    <a:pt x="170" y="382"/>
                    <a:pt x="170" y="382"/>
                  </a:cubicBezTo>
                  <a:cubicBezTo>
                    <a:pt x="170" y="382"/>
                    <a:pt x="169" y="382"/>
                    <a:pt x="169" y="382"/>
                  </a:cubicBezTo>
                  <a:cubicBezTo>
                    <a:pt x="169" y="382"/>
                    <a:pt x="169" y="381"/>
                    <a:pt x="168" y="381"/>
                  </a:cubicBezTo>
                  <a:cubicBezTo>
                    <a:pt x="168" y="381"/>
                    <a:pt x="167" y="382"/>
                    <a:pt x="167" y="382"/>
                  </a:cubicBezTo>
                  <a:cubicBezTo>
                    <a:pt x="167" y="383"/>
                    <a:pt x="168" y="383"/>
                    <a:pt x="168" y="383"/>
                  </a:cubicBezTo>
                  <a:cubicBezTo>
                    <a:pt x="169" y="383"/>
                    <a:pt x="171" y="384"/>
                    <a:pt x="170" y="383"/>
                  </a:cubicBezTo>
                  <a:close/>
                  <a:moveTo>
                    <a:pt x="152" y="353"/>
                  </a:moveTo>
                  <a:cubicBezTo>
                    <a:pt x="152" y="352"/>
                    <a:pt x="151" y="352"/>
                    <a:pt x="150" y="352"/>
                  </a:cubicBezTo>
                  <a:cubicBezTo>
                    <a:pt x="150" y="351"/>
                    <a:pt x="149" y="351"/>
                    <a:pt x="149" y="351"/>
                  </a:cubicBezTo>
                  <a:cubicBezTo>
                    <a:pt x="149" y="350"/>
                    <a:pt x="148" y="350"/>
                    <a:pt x="148" y="350"/>
                  </a:cubicBezTo>
                  <a:cubicBezTo>
                    <a:pt x="147" y="350"/>
                    <a:pt x="147" y="350"/>
                    <a:pt x="146" y="351"/>
                  </a:cubicBezTo>
                  <a:cubicBezTo>
                    <a:pt x="146" y="351"/>
                    <a:pt x="146" y="351"/>
                    <a:pt x="146" y="351"/>
                  </a:cubicBezTo>
                  <a:cubicBezTo>
                    <a:pt x="145" y="351"/>
                    <a:pt x="144" y="351"/>
                    <a:pt x="144" y="352"/>
                  </a:cubicBezTo>
                  <a:cubicBezTo>
                    <a:pt x="144" y="352"/>
                    <a:pt x="145" y="353"/>
                    <a:pt x="145" y="353"/>
                  </a:cubicBezTo>
                  <a:cubicBezTo>
                    <a:pt x="145" y="353"/>
                    <a:pt x="145" y="353"/>
                    <a:pt x="145" y="353"/>
                  </a:cubicBezTo>
                  <a:cubicBezTo>
                    <a:pt x="145" y="354"/>
                    <a:pt x="145" y="354"/>
                    <a:pt x="146" y="354"/>
                  </a:cubicBezTo>
                  <a:cubicBezTo>
                    <a:pt x="146" y="354"/>
                    <a:pt x="146" y="355"/>
                    <a:pt x="146" y="355"/>
                  </a:cubicBezTo>
                  <a:cubicBezTo>
                    <a:pt x="146" y="355"/>
                    <a:pt x="147" y="355"/>
                    <a:pt x="147" y="355"/>
                  </a:cubicBezTo>
                  <a:cubicBezTo>
                    <a:pt x="147" y="355"/>
                    <a:pt x="147" y="356"/>
                    <a:pt x="147" y="356"/>
                  </a:cubicBezTo>
                  <a:cubicBezTo>
                    <a:pt x="148" y="356"/>
                    <a:pt x="148" y="356"/>
                    <a:pt x="148" y="356"/>
                  </a:cubicBezTo>
                  <a:cubicBezTo>
                    <a:pt x="149" y="355"/>
                    <a:pt x="149" y="355"/>
                    <a:pt x="149" y="355"/>
                  </a:cubicBezTo>
                  <a:cubicBezTo>
                    <a:pt x="150" y="355"/>
                    <a:pt x="150" y="354"/>
                    <a:pt x="150" y="354"/>
                  </a:cubicBezTo>
                  <a:cubicBezTo>
                    <a:pt x="151" y="354"/>
                    <a:pt x="151" y="354"/>
                    <a:pt x="152" y="354"/>
                  </a:cubicBezTo>
                  <a:cubicBezTo>
                    <a:pt x="152" y="353"/>
                    <a:pt x="152" y="353"/>
                    <a:pt x="152" y="353"/>
                  </a:cubicBezTo>
                  <a:close/>
                  <a:moveTo>
                    <a:pt x="161" y="353"/>
                  </a:moveTo>
                  <a:cubicBezTo>
                    <a:pt x="162" y="353"/>
                    <a:pt x="162" y="353"/>
                    <a:pt x="163" y="353"/>
                  </a:cubicBezTo>
                  <a:cubicBezTo>
                    <a:pt x="164" y="353"/>
                    <a:pt x="165" y="352"/>
                    <a:pt x="166" y="352"/>
                  </a:cubicBezTo>
                  <a:cubicBezTo>
                    <a:pt x="166" y="352"/>
                    <a:pt x="166" y="352"/>
                    <a:pt x="167" y="352"/>
                  </a:cubicBezTo>
                  <a:cubicBezTo>
                    <a:pt x="167" y="352"/>
                    <a:pt x="167" y="351"/>
                    <a:pt x="167" y="351"/>
                  </a:cubicBezTo>
                  <a:cubicBezTo>
                    <a:pt x="167" y="351"/>
                    <a:pt x="168" y="350"/>
                    <a:pt x="167" y="350"/>
                  </a:cubicBezTo>
                  <a:cubicBezTo>
                    <a:pt x="167" y="349"/>
                    <a:pt x="166" y="350"/>
                    <a:pt x="166" y="350"/>
                  </a:cubicBezTo>
                  <a:cubicBezTo>
                    <a:pt x="165" y="350"/>
                    <a:pt x="165" y="350"/>
                    <a:pt x="164" y="350"/>
                  </a:cubicBezTo>
                  <a:cubicBezTo>
                    <a:pt x="163" y="350"/>
                    <a:pt x="162" y="350"/>
                    <a:pt x="162" y="350"/>
                  </a:cubicBezTo>
                  <a:cubicBezTo>
                    <a:pt x="161" y="350"/>
                    <a:pt x="161" y="350"/>
                    <a:pt x="161" y="350"/>
                  </a:cubicBezTo>
                  <a:cubicBezTo>
                    <a:pt x="160" y="349"/>
                    <a:pt x="160" y="349"/>
                    <a:pt x="159" y="349"/>
                  </a:cubicBezTo>
                  <a:cubicBezTo>
                    <a:pt x="159" y="349"/>
                    <a:pt x="158" y="349"/>
                    <a:pt x="158" y="349"/>
                  </a:cubicBezTo>
                  <a:cubicBezTo>
                    <a:pt x="157" y="349"/>
                    <a:pt x="157" y="349"/>
                    <a:pt x="156" y="349"/>
                  </a:cubicBezTo>
                  <a:cubicBezTo>
                    <a:pt x="156" y="349"/>
                    <a:pt x="156" y="348"/>
                    <a:pt x="156" y="348"/>
                  </a:cubicBezTo>
                  <a:cubicBezTo>
                    <a:pt x="155" y="348"/>
                    <a:pt x="155" y="348"/>
                    <a:pt x="154" y="349"/>
                  </a:cubicBezTo>
                  <a:cubicBezTo>
                    <a:pt x="154" y="349"/>
                    <a:pt x="155" y="349"/>
                    <a:pt x="155" y="350"/>
                  </a:cubicBezTo>
                  <a:cubicBezTo>
                    <a:pt x="155" y="350"/>
                    <a:pt x="155" y="350"/>
                    <a:pt x="155" y="351"/>
                  </a:cubicBezTo>
                  <a:cubicBezTo>
                    <a:pt x="156" y="351"/>
                    <a:pt x="155" y="351"/>
                    <a:pt x="156" y="352"/>
                  </a:cubicBezTo>
                  <a:cubicBezTo>
                    <a:pt x="156" y="352"/>
                    <a:pt x="156" y="353"/>
                    <a:pt x="157" y="353"/>
                  </a:cubicBezTo>
                  <a:cubicBezTo>
                    <a:pt x="158" y="353"/>
                    <a:pt x="158" y="353"/>
                    <a:pt x="158" y="353"/>
                  </a:cubicBezTo>
                  <a:cubicBezTo>
                    <a:pt x="159" y="353"/>
                    <a:pt x="160" y="353"/>
                    <a:pt x="161" y="353"/>
                  </a:cubicBezTo>
                  <a:close/>
                  <a:moveTo>
                    <a:pt x="340" y="403"/>
                  </a:moveTo>
                  <a:cubicBezTo>
                    <a:pt x="340" y="400"/>
                    <a:pt x="340" y="400"/>
                    <a:pt x="340" y="400"/>
                  </a:cubicBezTo>
                  <a:cubicBezTo>
                    <a:pt x="340" y="400"/>
                    <a:pt x="342" y="399"/>
                    <a:pt x="342" y="399"/>
                  </a:cubicBezTo>
                  <a:cubicBezTo>
                    <a:pt x="342" y="399"/>
                    <a:pt x="343" y="394"/>
                    <a:pt x="343" y="394"/>
                  </a:cubicBezTo>
                  <a:cubicBezTo>
                    <a:pt x="341" y="393"/>
                    <a:pt x="341" y="393"/>
                    <a:pt x="341" y="393"/>
                  </a:cubicBezTo>
                  <a:cubicBezTo>
                    <a:pt x="341" y="393"/>
                    <a:pt x="341" y="392"/>
                    <a:pt x="341" y="392"/>
                  </a:cubicBezTo>
                  <a:cubicBezTo>
                    <a:pt x="341" y="391"/>
                    <a:pt x="335" y="392"/>
                    <a:pt x="335" y="392"/>
                  </a:cubicBezTo>
                  <a:cubicBezTo>
                    <a:pt x="335" y="392"/>
                    <a:pt x="335" y="390"/>
                    <a:pt x="335" y="390"/>
                  </a:cubicBezTo>
                  <a:cubicBezTo>
                    <a:pt x="334" y="390"/>
                    <a:pt x="334" y="388"/>
                    <a:pt x="334" y="388"/>
                  </a:cubicBezTo>
                  <a:cubicBezTo>
                    <a:pt x="334" y="387"/>
                    <a:pt x="336" y="383"/>
                    <a:pt x="336" y="383"/>
                  </a:cubicBezTo>
                  <a:cubicBezTo>
                    <a:pt x="336" y="383"/>
                    <a:pt x="336" y="382"/>
                    <a:pt x="335" y="382"/>
                  </a:cubicBezTo>
                  <a:cubicBezTo>
                    <a:pt x="335" y="381"/>
                    <a:pt x="333" y="381"/>
                    <a:pt x="333" y="380"/>
                  </a:cubicBezTo>
                  <a:cubicBezTo>
                    <a:pt x="333" y="380"/>
                    <a:pt x="334" y="379"/>
                    <a:pt x="334" y="379"/>
                  </a:cubicBezTo>
                  <a:cubicBezTo>
                    <a:pt x="334" y="376"/>
                    <a:pt x="334" y="376"/>
                    <a:pt x="334" y="376"/>
                  </a:cubicBezTo>
                  <a:cubicBezTo>
                    <a:pt x="337" y="375"/>
                    <a:pt x="337" y="375"/>
                    <a:pt x="337" y="375"/>
                  </a:cubicBezTo>
                  <a:cubicBezTo>
                    <a:pt x="341" y="370"/>
                    <a:pt x="341" y="370"/>
                    <a:pt x="341" y="370"/>
                  </a:cubicBezTo>
                  <a:cubicBezTo>
                    <a:pt x="340" y="366"/>
                    <a:pt x="340" y="366"/>
                    <a:pt x="340" y="366"/>
                  </a:cubicBezTo>
                  <a:cubicBezTo>
                    <a:pt x="342" y="363"/>
                    <a:pt x="342" y="363"/>
                    <a:pt x="342" y="363"/>
                  </a:cubicBezTo>
                  <a:cubicBezTo>
                    <a:pt x="340" y="353"/>
                    <a:pt x="340" y="353"/>
                    <a:pt x="340" y="353"/>
                  </a:cubicBezTo>
                  <a:cubicBezTo>
                    <a:pt x="344" y="350"/>
                    <a:pt x="344" y="350"/>
                    <a:pt x="344" y="350"/>
                  </a:cubicBezTo>
                  <a:cubicBezTo>
                    <a:pt x="344" y="347"/>
                    <a:pt x="344" y="347"/>
                    <a:pt x="344" y="347"/>
                  </a:cubicBezTo>
                  <a:cubicBezTo>
                    <a:pt x="348" y="345"/>
                    <a:pt x="348" y="345"/>
                    <a:pt x="348" y="345"/>
                  </a:cubicBezTo>
                  <a:cubicBezTo>
                    <a:pt x="353" y="341"/>
                    <a:pt x="353" y="341"/>
                    <a:pt x="353" y="341"/>
                  </a:cubicBezTo>
                  <a:cubicBezTo>
                    <a:pt x="353" y="341"/>
                    <a:pt x="353" y="339"/>
                    <a:pt x="353" y="339"/>
                  </a:cubicBezTo>
                  <a:cubicBezTo>
                    <a:pt x="353" y="339"/>
                    <a:pt x="353" y="337"/>
                    <a:pt x="353" y="337"/>
                  </a:cubicBezTo>
                  <a:cubicBezTo>
                    <a:pt x="353" y="336"/>
                    <a:pt x="348" y="332"/>
                    <a:pt x="348" y="332"/>
                  </a:cubicBezTo>
                  <a:cubicBezTo>
                    <a:pt x="347" y="332"/>
                    <a:pt x="346" y="333"/>
                    <a:pt x="345" y="332"/>
                  </a:cubicBezTo>
                  <a:cubicBezTo>
                    <a:pt x="345" y="332"/>
                    <a:pt x="345" y="328"/>
                    <a:pt x="345" y="328"/>
                  </a:cubicBezTo>
                  <a:cubicBezTo>
                    <a:pt x="341" y="320"/>
                    <a:pt x="341" y="320"/>
                    <a:pt x="341" y="320"/>
                  </a:cubicBezTo>
                  <a:cubicBezTo>
                    <a:pt x="341" y="320"/>
                    <a:pt x="337" y="315"/>
                    <a:pt x="337" y="314"/>
                  </a:cubicBezTo>
                  <a:cubicBezTo>
                    <a:pt x="336" y="314"/>
                    <a:pt x="337" y="309"/>
                    <a:pt x="337" y="309"/>
                  </a:cubicBezTo>
                  <a:cubicBezTo>
                    <a:pt x="191" y="171"/>
                    <a:pt x="191" y="171"/>
                    <a:pt x="191" y="171"/>
                  </a:cubicBezTo>
                  <a:cubicBezTo>
                    <a:pt x="151" y="137"/>
                    <a:pt x="151" y="137"/>
                    <a:pt x="151" y="137"/>
                  </a:cubicBezTo>
                  <a:cubicBezTo>
                    <a:pt x="151" y="0"/>
                    <a:pt x="151" y="0"/>
                    <a:pt x="151" y="0"/>
                  </a:cubicBezTo>
                  <a:cubicBezTo>
                    <a:pt x="6" y="0"/>
                    <a:pt x="6" y="0"/>
                    <a:pt x="6" y="0"/>
                  </a:cubicBezTo>
                  <a:cubicBezTo>
                    <a:pt x="6" y="1"/>
                    <a:pt x="6" y="1"/>
                    <a:pt x="6" y="1"/>
                  </a:cubicBezTo>
                  <a:cubicBezTo>
                    <a:pt x="6" y="1"/>
                    <a:pt x="6" y="2"/>
                    <a:pt x="6" y="2"/>
                  </a:cubicBezTo>
                  <a:cubicBezTo>
                    <a:pt x="6" y="3"/>
                    <a:pt x="6" y="3"/>
                    <a:pt x="6" y="4"/>
                  </a:cubicBezTo>
                  <a:cubicBezTo>
                    <a:pt x="6" y="4"/>
                    <a:pt x="6" y="4"/>
                    <a:pt x="6" y="5"/>
                  </a:cubicBezTo>
                  <a:cubicBezTo>
                    <a:pt x="6" y="5"/>
                    <a:pt x="6" y="5"/>
                    <a:pt x="6" y="5"/>
                  </a:cubicBezTo>
                  <a:cubicBezTo>
                    <a:pt x="6" y="5"/>
                    <a:pt x="6" y="6"/>
                    <a:pt x="6" y="6"/>
                  </a:cubicBezTo>
                  <a:cubicBezTo>
                    <a:pt x="6" y="6"/>
                    <a:pt x="6" y="6"/>
                    <a:pt x="6" y="6"/>
                  </a:cubicBezTo>
                  <a:cubicBezTo>
                    <a:pt x="6" y="7"/>
                    <a:pt x="6" y="8"/>
                    <a:pt x="6" y="8"/>
                  </a:cubicBezTo>
                  <a:cubicBezTo>
                    <a:pt x="6" y="8"/>
                    <a:pt x="6" y="9"/>
                    <a:pt x="6" y="9"/>
                  </a:cubicBezTo>
                  <a:cubicBezTo>
                    <a:pt x="5" y="9"/>
                    <a:pt x="5" y="9"/>
                    <a:pt x="5" y="10"/>
                  </a:cubicBezTo>
                  <a:cubicBezTo>
                    <a:pt x="5" y="10"/>
                    <a:pt x="5" y="11"/>
                    <a:pt x="5" y="11"/>
                  </a:cubicBezTo>
                  <a:cubicBezTo>
                    <a:pt x="5" y="11"/>
                    <a:pt x="6" y="11"/>
                    <a:pt x="7" y="11"/>
                  </a:cubicBezTo>
                  <a:cubicBezTo>
                    <a:pt x="7" y="12"/>
                    <a:pt x="7" y="12"/>
                    <a:pt x="8" y="13"/>
                  </a:cubicBezTo>
                  <a:cubicBezTo>
                    <a:pt x="8" y="13"/>
                    <a:pt x="8" y="13"/>
                    <a:pt x="8" y="14"/>
                  </a:cubicBezTo>
                  <a:cubicBezTo>
                    <a:pt x="8" y="14"/>
                    <a:pt x="9" y="14"/>
                    <a:pt x="9" y="15"/>
                  </a:cubicBezTo>
                  <a:cubicBezTo>
                    <a:pt x="9" y="15"/>
                    <a:pt x="9" y="15"/>
                    <a:pt x="9" y="16"/>
                  </a:cubicBezTo>
                  <a:cubicBezTo>
                    <a:pt x="9" y="16"/>
                    <a:pt x="9" y="17"/>
                    <a:pt x="9" y="17"/>
                  </a:cubicBezTo>
                  <a:cubicBezTo>
                    <a:pt x="9" y="18"/>
                    <a:pt x="9" y="18"/>
                    <a:pt x="9" y="19"/>
                  </a:cubicBezTo>
                  <a:cubicBezTo>
                    <a:pt x="9" y="19"/>
                    <a:pt x="9" y="20"/>
                    <a:pt x="10" y="20"/>
                  </a:cubicBezTo>
                  <a:cubicBezTo>
                    <a:pt x="10" y="20"/>
                    <a:pt x="10" y="20"/>
                    <a:pt x="10" y="21"/>
                  </a:cubicBezTo>
                  <a:cubicBezTo>
                    <a:pt x="11" y="21"/>
                    <a:pt x="11" y="21"/>
                    <a:pt x="11" y="21"/>
                  </a:cubicBezTo>
                  <a:cubicBezTo>
                    <a:pt x="11" y="22"/>
                    <a:pt x="12" y="22"/>
                    <a:pt x="12" y="22"/>
                  </a:cubicBezTo>
                  <a:cubicBezTo>
                    <a:pt x="12" y="23"/>
                    <a:pt x="12" y="24"/>
                    <a:pt x="12" y="24"/>
                  </a:cubicBezTo>
                  <a:cubicBezTo>
                    <a:pt x="11" y="24"/>
                    <a:pt x="11" y="24"/>
                    <a:pt x="11" y="24"/>
                  </a:cubicBezTo>
                  <a:cubicBezTo>
                    <a:pt x="11" y="25"/>
                    <a:pt x="11" y="25"/>
                    <a:pt x="11" y="26"/>
                  </a:cubicBezTo>
                  <a:cubicBezTo>
                    <a:pt x="11" y="26"/>
                    <a:pt x="11" y="27"/>
                    <a:pt x="11" y="27"/>
                  </a:cubicBezTo>
                  <a:cubicBezTo>
                    <a:pt x="11" y="28"/>
                    <a:pt x="11" y="28"/>
                    <a:pt x="11" y="29"/>
                  </a:cubicBezTo>
                  <a:cubicBezTo>
                    <a:pt x="11" y="29"/>
                    <a:pt x="11" y="29"/>
                    <a:pt x="11" y="30"/>
                  </a:cubicBezTo>
                  <a:cubicBezTo>
                    <a:pt x="10" y="31"/>
                    <a:pt x="11" y="32"/>
                    <a:pt x="11" y="32"/>
                  </a:cubicBezTo>
                  <a:cubicBezTo>
                    <a:pt x="11" y="33"/>
                    <a:pt x="11" y="33"/>
                    <a:pt x="10" y="34"/>
                  </a:cubicBezTo>
                  <a:cubicBezTo>
                    <a:pt x="10" y="34"/>
                    <a:pt x="10" y="34"/>
                    <a:pt x="10" y="34"/>
                  </a:cubicBezTo>
                  <a:cubicBezTo>
                    <a:pt x="10" y="35"/>
                    <a:pt x="10" y="35"/>
                    <a:pt x="10" y="35"/>
                  </a:cubicBezTo>
                  <a:cubicBezTo>
                    <a:pt x="10" y="35"/>
                    <a:pt x="10" y="36"/>
                    <a:pt x="10" y="36"/>
                  </a:cubicBezTo>
                  <a:cubicBezTo>
                    <a:pt x="10" y="37"/>
                    <a:pt x="10" y="37"/>
                    <a:pt x="9" y="38"/>
                  </a:cubicBezTo>
                  <a:cubicBezTo>
                    <a:pt x="9" y="39"/>
                    <a:pt x="8" y="39"/>
                    <a:pt x="8" y="39"/>
                  </a:cubicBezTo>
                  <a:cubicBezTo>
                    <a:pt x="8" y="40"/>
                    <a:pt x="8" y="40"/>
                    <a:pt x="8" y="41"/>
                  </a:cubicBezTo>
                  <a:cubicBezTo>
                    <a:pt x="8" y="42"/>
                    <a:pt x="9" y="42"/>
                    <a:pt x="9" y="42"/>
                  </a:cubicBezTo>
                  <a:cubicBezTo>
                    <a:pt x="9" y="43"/>
                    <a:pt x="9" y="43"/>
                    <a:pt x="9" y="44"/>
                  </a:cubicBezTo>
                  <a:cubicBezTo>
                    <a:pt x="9" y="44"/>
                    <a:pt x="9" y="45"/>
                    <a:pt x="9" y="45"/>
                  </a:cubicBezTo>
                  <a:cubicBezTo>
                    <a:pt x="10" y="46"/>
                    <a:pt x="10" y="47"/>
                    <a:pt x="9" y="47"/>
                  </a:cubicBezTo>
                  <a:cubicBezTo>
                    <a:pt x="9" y="48"/>
                    <a:pt x="9" y="48"/>
                    <a:pt x="9" y="48"/>
                  </a:cubicBezTo>
                  <a:cubicBezTo>
                    <a:pt x="9" y="49"/>
                    <a:pt x="9" y="49"/>
                    <a:pt x="9" y="49"/>
                  </a:cubicBezTo>
                  <a:cubicBezTo>
                    <a:pt x="9" y="50"/>
                    <a:pt x="8" y="51"/>
                    <a:pt x="8" y="52"/>
                  </a:cubicBezTo>
                  <a:cubicBezTo>
                    <a:pt x="8" y="52"/>
                    <a:pt x="8" y="52"/>
                    <a:pt x="8" y="53"/>
                  </a:cubicBezTo>
                  <a:cubicBezTo>
                    <a:pt x="8" y="53"/>
                    <a:pt x="8" y="53"/>
                    <a:pt x="8" y="53"/>
                  </a:cubicBezTo>
                  <a:cubicBezTo>
                    <a:pt x="7" y="54"/>
                    <a:pt x="7" y="55"/>
                    <a:pt x="7" y="55"/>
                  </a:cubicBezTo>
                  <a:cubicBezTo>
                    <a:pt x="7" y="55"/>
                    <a:pt x="7" y="56"/>
                    <a:pt x="7" y="56"/>
                  </a:cubicBezTo>
                  <a:cubicBezTo>
                    <a:pt x="7" y="56"/>
                    <a:pt x="7" y="57"/>
                    <a:pt x="7" y="58"/>
                  </a:cubicBezTo>
                  <a:cubicBezTo>
                    <a:pt x="6" y="58"/>
                    <a:pt x="6" y="58"/>
                    <a:pt x="6" y="59"/>
                  </a:cubicBezTo>
                  <a:cubicBezTo>
                    <a:pt x="6" y="59"/>
                    <a:pt x="6" y="60"/>
                    <a:pt x="6" y="60"/>
                  </a:cubicBezTo>
                  <a:cubicBezTo>
                    <a:pt x="6" y="61"/>
                    <a:pt x="4" y="61"/>
                    <a:pt x="3" y="62"/>
                  </a:cubicBezTo>
                  <a:cubicBezTo>
                    <a:pt x="3" y="62"/>
                    <a:pt x="3" y="63"/>
                    <a:pt x="3" y="63"/>
                  </a:cubicBezTo>
                  <a:cubicBezTo>
                    <a:pt x="4" y="63"/>
                    <a:pt x="4" y="63"/>
                    <a:pt x="5" y="63"/>
                  </a:cubicBezTo>
                  <a:cubicBezTo>
                    <a:pt x="5" y="64"/>
                    <a:pt x="6" y="64"/>
                    <a:pt x="6" y="64"/>
                  </a:cubicBezTo>
                  <a:cubicBezTo>
                    <a:pt x="7" y="64"/>
                    <a:pt x="7" y="64"/>
                    <a:pt x="7" y="64"/>
                  </a:cubicBezTo>
                  <a:cubicBezTo>
                    <a:pt x="7" y="64"/>
                    <a:pt x="9" y="64"/>
                    <a:pt x="8" y="65"/>
                  </a:cubicBezTo>
                  <a:cubicBezTo>
                    <a:pt x="8" y="65"/>
                    <a:pt x="7" y="65"/>
                    <a:pt x="7" y="65"/>
                  </a:cubicBezTo>
                  <a:cubicBezTo>
                    <a:pt x="7" y="65"/>
                    <a:pt x="6" y="64"/>
                    <a:pt x="6" y="64"/>
                  </a:cubicBezTo>
                  <a:cubicBezTo>
                    <a:pt x="6" y="64"/>
                    <a:pt x="5" y="64"/>
                    <a:pt x="5" y="64"/>
                  </a:cubicBezTo>
                  <a:cubicBezTo>
                    <a:pt x="4" y="64"/>
                    <a:pt x="3" y="64"/>
                    <a:pt x="3" y="64"/>
                  </a:cubicBezTo>
                  <a:cubicBezTo>
                    <a:pt x="2" y="65"/>
                    <a:pt x="2" y="65"/>
                    <a:pt x="2" y="65"/>
                  </a:cubicBezTo>
                  <a:cubicBezTo>
                    <a:pt x="2" y="67"/>
                    <a:pt x="2" y="67"/>
                    <a:pt x="1" y="68"/>
                  </a:cubicBezTo>
                  <a:cubicBezTo>
                    <a:pt x="1" y="69"/>
                    <a:pt x="0" y="69"/>
                    <a:pt x="0" y="70"/>
                  </a:cubicBezTo>
                  <a:cubicBezTo>
                    <a:pt x="0" y="70"/>
                    <a:pt x="0" y="71"/>
                    <a:pt x="0" y="72"/>
                  </a:cubicBezTo>
                  <a:cubicBezTo>
                    <a:pt x="0" y="72"/>
                    <a:pt x="0" y="73"/>
                    <a:pt x="0" y="73"/>
                  </a:cubicBezTo>
                  <a:cubicBezTo>
                    <a:pt x="0" y="73"/>
                    <a:pt x="0" y="74"/>
                    <a:pt x="0" y="74"/>
                  </a:cubicBezTo>
                  <a:cubicBezTo>
                    <a:pt x="1" y="74"/>
                    <a:pt x="1" y="75"/>
                    <a:pt x="1" y="76"/>
                  </a:cubicBezTo>
                  <a:cubicBezTo>
                    <a:pt x="1" y="76"/>
                    <a:pt x="1" y="77"/>
                    <a:pt x="1" y="77"/>
                  </a:cubicBezTo>
                  <a:cubicBezTo>
                    <a:pt x="1" y="78"/>
                    <a:pt x="1" y="79"/>
                    <a:pt x="1" y="80"/>
                  </a:cubicBezTo>
                  <a:cubicBezTo>
                    <a:pt x="1" y="80"/>
                    <a:pt x="1" y="80"/>
                    <a:pt x="1" y="81"/>
                  </a:cubicBezTo>
                  <a:cubicBezTo>
                    <a:pt x="1" y="81"/>
                    <a:pt x="2" y="81"/>
                    <a:pt x="2" y="82"/>
                  </a:cubicBezTo>
                  <a:cubicBezTo>
                    <a:pt x="2" y="82"/>
                    <a:pt x="3" y="83"/>
                    <a:pt x="3" y="83"/>
                  </a:cubicBezTo>
                  <a:cubicBezTo>
                    <a:pt x="4" y="83"/>
                    <a:pt x="4" y="83"/>
                    <a:pt x="5" y="84"/>
                  </a:cubicBezTo>
                  <a:cubicBezTo>
                    <a:pt x="5" y="84"/>
                    <a:pt x="5" y="84"/>
                    <a:pt x="5" y="84"/>
                  </a:cubicBezTo>
                  <a:cubicBezTo>
                    <a:pt x="5" y="84"/>
                    <a:pt x="6" y="84"/>
                    <a:pt x="6" y="85"/>
                  </a:cubicBezTo>
                  <a:cubicBezTo>
                    <a:pt x="6" y="85"/>
                    <a:pt x="6" y="85"/>
                    <a:pt x="7" y="86"/>
                  </a:cubicBezTo>
                  <a:cubicBezTo>
                    <a:pt x="7" y="87"/>
                    <a:pt x="8" y="86"/>
                    <a:pt x="9" y="87"/>
                  </a:cubicBezTo>
                  <a:cubicBezTo>
                    <a:pt x="9" y="87"/>
                    <a:pt x="10" y="88"/>
                    <a:pt x="10" y="88"/>
                  </a:cubicBezTo>
                  <a:cubicBezTo>
                    <a:pt x="10" y="89"/>
                    <a:pt x="10" y="90"/>
                    <a:pt x="11" y="91"/>
                  </a:cubicBezTo>
                  <a:cubicBezTo>
                    <a:pt x="12" y="92"/>
                    <a:pt x="14" y="93"/>
                    <a:pt x="14" y="94"/>
                  </a:cubicBezTo>
                  <a:cubicBezTo>
                    <a:pt x="14" y="94"/>
                    <a:pt x="15" y="95"/>
                    <a:pt x="15" y="95"/>
                  </a:cubicBezTo>
                  <a:cubicBezTo>
                    <a:pt x="15" y="95"/>
                    <a:pt x="15" y="96"/>
                    <a:pt x="16" y="96"/>
                  </a:cubicBezTo>
                  <a:cubicBezTo>
                    <a:pt x="16" y="96"/>
                    <a:pt x="16" y="96"/>
                    <a:pt x="16" y="97"/>
                  </a:cubicBezTo>
                  <a:cubicBezTo>
                    <a:pt x="16" y="97"/>
                    <a:pt x="16" y="97"/>
                    <a:pt x="16" y="97"/>
                  </a:cubicBezTo>
                  <a:cubicBezTo>
                    <a:pt x="17" y="98"/>
                    <a:pt x="18" y="99"/>
                    <a:pt x="19" y="100"/>
                  </a:cubicBezTo>
                  <a:cubicBezTo>
                    <a:pt x="19" y="100"/>
                    <a:pt x="19" y="101"/>
                    <a:pt x="19" y="101"/>
                  </a:cubicBezTo>
                  <a:cubicBezTo>
                    <a:pt x="19" y="101"/>
                    <a:pt x="19" y="101"/>
                    <a:pt x="19" y="102"/>
                  </a:cubicBezTo>
                  <a:cubicBezTo>
                    <a:pt x="20" y="102"/>
                    <a:pt x="19" y="103"/>
                    <a:pt x="19" y="103"/>
                  </a:cubicBezTo>
                  <a:cubicBezTo>
                    <a:pt x="20" y="104"/>
                    <a:pt x="20" y="105"/>
                    <a:pt x="20" y="106"/>
                  </a:cubicBezTo>
                  <a:cubicBezTo>
                    <a:pt x="20" y="106"/>
                    <a:pt x="20" y="107"/>
                    <a:pt x="20" y="107"/>
                  </a:cubicBezTo>
                  <a:cubicBezTo>
                    <a:pt x="20" y="108"/>
                    <a:pt x="21" y="108"/>
                    <a:pt x="21" y="108"/>
                  </a:cubicBezTo>
                  <a:cubicBezTo>
                    <a:pt x="21" y="109"/>
                    <a:pt x="21" y="110"/>
                    <a:pt x="21" y="110"/>
                  </a:cubicBezTo>
                  <a:cubicBezTo>
                    <a:pt x="21" y="111"/>
                    <a:pt x="21" y="112"/>
                    <a:pt x="21" y="113"/>
                  </a:cubicBezTo>
                  <a:cubicBezTo>
                    <a:pt x="21" y="113"/>
                    <a:pt x="20" y="113"/>
                    <a:pt x="20" y="113"/>
                  </a:cubicBezTo>
                  <a:cubicBezTo>
                    <a:pt x="20" y="120"/>
                    <a:pt x="20" y="120"/>
                    <a:pt x="20" y="120"/>
                  </a:cubicBezTo>
                  <a:cubicBezTo>
                    <a:pt x="20" y="121"/>
                    <a:pt x="20" y="121"/>
                    <a:pt x="20" y="122"/>
                  </a:cubicBezTo>
                  <a:cubicBezTo>
                    <a:pt x="20" y="122"/>
                    <a:pt x="21" y="122"/>
                    <a:pt x="21" y="123"/>
                  </a:cubicBezTo>
                  <a:cubicBezTo>
                    <a:pt x="21" y="123"/>
                    <a:pt x="21" y="123"/>
                    <a:pt x="21" y="123"/>
                  </a:cubicBezTo>
                  <a:cubicBezTo>
                    <a:pt x="21" y="125"/>
                    <a:pt x="21" y="125"/>
                    <a:pt x="21" y="125"/>
                  </a:cubicBezTo>
                  <a:cubicBezTo>
                    <a:pt x="21" y="125"/>
                    <a:pt x="21" y="125"/>
                    <a:pt x="21" y="125"/>
                  </a:cubicBezTo>
                  <a:cubicBezTo>
                    <a:pt x="21" y="127"/>
                    <a:pt x="21" y="127"/>
                    <a:pt x="21" y="127"/>
                  </a:cubicBezTo>
                  <a:cubicBezTo>
                    <a:pt x="21" y="127"/>
                    <a:pt x="21" y="128"/>
                    <a:pt x="22" y="129"/>
                  </a:cubicBezTo>
                  <a:cubicBezTo>
                    <a:pt x="22" y="129"/>
                    <a:pt x="22" y="129"/>
                    <a:pt x="22" y="130"/>
                  </a:cubicBezTo>
                  <a:cubicBezTo>
                    <a:pt x="22" y="130"/>
                    <a:pt x="22" y="130"/>
                    <a:pt x="23" y="131"/>
                  </a:cubicBezTo>
                  <a:cubicBezTo>
                    <a:pt x="23" y="131"/>
                    <a:pt x="23" y="132"/>
                    <a:pt x="23" y="132"/>
                  </a:cubicBezTo>
                  <a:cubicBezTo>
                    <a:pt x="23" y="133"/>
                    <a:pt x="23" y="133"/>
                    <a:pt x="23" y="133"/>
                  </a:cubicBezTo>
                  <a:cubicBezTo>
                    <a:pt x="24" y="134"/>
                    <a:pt x="24" y="134"/>
                    <a:pt x="24" y="134"/>
                  </a:cubicBezTo>
                  <a:cubicBezTo>
                    <a:pt x="24" y="135"/>
                    <a:pt x="24" y="136"/>
                    <a:pt x="24" y="137"/>
                  </a:cubicBezTo>
                  <a:cubicBezTo>
                    <a:pt x="24" y="138"/>
                    <a:pt x="23" y="139"/>
                    <a:pt x="23" y="140"/>
                  </a:cubicBezTo>
                  <a:cubicBezTo>
                    <a:pt x="24" y="141"/>
                    <a:pt x="24" y="141"/>
                    <a:pt x="24" y="142"/>
                  </a:cubicBezTo>
                  <a:cubicBezTo>
                    <a:pt x="25" y="143"/>
                    <a:pt x="26" y="144"/>
                    <a:pt x="27" y="145"/>
                  </a:cubicBezTo>
                  <a:cubicBezTo>
                    <a:pt x="28" y="146"/>
                    <a:pt x="29" y="147"/>
                    <a:pt x="30" y="148"/>
                  </a:cubicBezTo>
                  <a:cubicBezTo>
                    <a:pt x="31" y="148"/>
                    <a:pt x="31" y="149"/>
                    <a:pt x="32" y="149"/>
                  </a:cubicBezTo>
                  <a:cubicBezTo>
                    <a:pt x="32" y="150"/>
                    <a:pt x="33" y="150"/>
                    <a:pt x="33" y="151"/>
                  </a:cubicBezTo>
                  <a:cubicBezTo>
                    <a:pt x="34" y="151"/>
                    <a:pt x="34" y="152"/>
                    <a:pt x="34" y="152"/>
                  </a:cubicBezTo>
                  <a:cubicBezTo>
                    <a:pt x="34" y="153"/>
                    <a:pt x="35" y="153"/>
                    <a:pt x="35" y="154"/>
                  </a:cubicBezTo>
                  <a:cubicBezTo>
                    <a:pt x="36" y="154"/>
                    <a:pt x="36" y="155"/>
                    <a:pt x="36" y="155"/>
                  </a:cubicBezTo>
                  <a:cubicBezTo>
                    <a:pt x="36" y="155"/>
                    <a:pt x="37" y="156"/>
                    <a:pt x="37" y="156"/>
                  </a:cubicBezTo>
                  <a:cubicBezTo>
                    <a:pt x="38" y="157"/>
                    <a:pt x="38" y="158"/>
                    <a:pt x="39" y="158"/>
                  </a:cubicBezTo>
                  <a:cubicBezTo>
                    <a:pt x="41" y="159"/>
                    <a:pt x="42" y="160"/>
                    <a:pt x="43" y="161"/>
                  </a:cubicBezTo>
                  <a:cubicBezTo>
                    <a:pt x="44" y="162"/>
                    <a:pt x="44" y="163"/>
                    <a:pt x="44" y="164"/>
                  </a:cubicBezTo>
                  <a:cubicBezTo>
                    <a:pt x="45" y="164"/>
                    <a:pt x="45" y="165"/>
                    <a:pt x="45" y="166"/>
                  </a:cubicBezTo>
                  <a:cubicBezTo>
                    <a:pt x="45" y="166"/>
                    <a:pt x="45" y="167"/>
                    <a:pt x="45" y="167"/>
                  </a:cubicBezTo>
                  <a:cubicBezTo>
                    <a:pt x="46" y="167"/>
                    <a:pt x="47" y="167"/>
                    <a:pt x="47" y="168"/>
                  </a:cubicBezTo>
                  <a:cubicBezTo>
                    <a:pt x="48" y="168"/>
                    <a:pt x="48" y="168"/>
                    <a:pt x="49" y="169"/>
                  </a:cubicBezTo>
                  <a:cubicBezTo>
                    <a:pt x="49" y="169"/>
                    <a:pt x="49" y="170"/>
                    <a:pt x="50" y="170"/>
                  </a:cubicBezTo>
                  <a:cubicBezTo>
                    <a:pt x="50" y="171"/>
                    <a:pt x="51" y="172"/>
                    <a:pt x="52" y="173"/>
                  </a:cubicBezTo>
                  <a:cubicBezTo>
                    <a:pt x="52" y="174"/>
                    <a:pt x="53" y="174"/>
                    <a:pt x="53" y="174"/>
                  </a:cubicBezTo>
                  <a:cubicBezTo>
                    <a:pt x="53" y="175"/>
                    <a:pt x="53" y="175"/>
                    <a:pt x="53" y="175"/>
                  </a:cubicBezTo>
                  <a:cubicBezTo>
                    <a:pt x="53" y="176"/>
                    <a:pt x="53" y="176"/>
                    <a:pt x="53" y="176"/>
                  </a:cubicBezTo>
                  <a:cubicBezTo>
                    <a:pt x="52" y="175"/>
                    <a:pt x="52" y="175"/>
                    <a:pt x="51" y="174"/>
                  </a:cubicBezTo>
                  <a:cubicBezTo>
                    <a:pt x="51" y="174"/>
                    <a:pt x="50" y="173"/>
                    <a:pt x="50" y="172"/>
                  </a:cubicBezTo>
                  <a:cubicBezTo>
                    <a:pt x="50" y="172"/>
                    <a:pt x="49" y="172"/>
                    <a:pt x="49" y="171"/>
                  </a:cubicBezTo>
                  <a:cubicBezTo>
                    <a:pt x="49" y="171"/>
                    <a:pt x="49" y="171"/>
                    <a:pt x="49" y="171"/>
                  </a:cubicBezTo>
                  <a:cubicBezTo>
                    <a:pt x="48" y="171"/>
                    <a:pt x="49" y="172"/>
                    <a:pt x="49" y="172"/>
                  </a:cubicBezTo>
                  <a:cubicBezTo>
                    <a:pt x="49" y="173"/>
                    <a:pt x="50" y="173"/>
                    <a:pt x="50" y="174"/>
                  </a:cubicBezTo>
                  <a:cubicBezTo>
                    <a:pt x="50" y="174"/>
                    <a:pt x="50" y="175"/>
                    <a:pt x="50" y="175"/>
                  </a:cubicBezTo>
                  <a:cubicBezTo>
                    <a:pt x="50" y="175"/>
                    <a:pt x="49" y="175"/>
                    <a:pt x="49" y="175"/>
                  </a:cubicBezTo>
                  <a:cubicBezTo>
                    <a:pt x="49" y="176"/>
                    <a:pt x="49" y="177"/>
                    <a:pt x="49" y="178"/>
                  </a:cubicBezTo>
                  <a:cubicBezTo>
                    <a:pt x="49" y="178"/>
                    <a:pt x="49" y="179"/>
                    <a:pt x="48" y="179"/>
                  </a:cubicBezTo>
                  <a:cubicBezTo>
                    <a:pt x="48" y="179"/>
                    <a:pt x="48" y="180"/>
                    <a:pt x="48" y="180"/>
                  </a:cubicBezTo>
                  <a:cubicBezTo>
                    <a:pt x="48" y="181"/>
                    <a:pt x="49" y="181"/>
                    <a:pt x="50" y="181"/>
                  </a:cubicBezTo>
                  <a:cubicBezTo>
                    <a:pt x="50" y="180"/>
                    <a:pt x="50" y="180"/>
                    <a:pt x="51" y="180"/>
                  </a:cubicBezTo>
                  <a:cubicBezTo>
                    <a:pt x="51" y="180"/>
                    <a:pt x="51" y="180"/>
                    <a:pt x="52" y="180"/>
                  </a:cubicBezTo>
                  <a:cubicBezTo>
                    <a:pt x="52" y="180"/>
                    <a:pt x="53" y="180"/>
                    <a:pt x="53" y="181"/>
                  </a:cubicBezTo>
                  <a:cubicBezTo>
                    <a:pt x="53" y="181"/>
                    <a:pt x="54" y="181"/>
                    <a:pt x="54" y="182"/>
                  </a:cubicBezTo>
                  <a:cubicBezTo>
                    <a:pt x="55" y="182"/>
                    <a:pt x="55" y="183"/>
                    <a:pt x="55" y="183"/>
                  </a:cubicBezTo>
                  <a:cubicBezTo>
                    <a:pt x="56" y="184"/>
                    <a:pt x="57" y="184"/>
                    <a:pt x="57" y="185"/>
                  </a:cubicBezTo>
                  <a:cubicBezTo>
                    <a:pt x="58" y="185"/>
                    <a:pt x="58" y="185"/>
                    <a:pt x="58" y="185"/>
                  </a:cubicBezTo>
                  <a:cubicBezTo>
                    <a:pt x="58" y="185"/>
                    <a:pt x="59" y="185"/>
                    <a:pt x="59" y="185"/>
                  </a:cubicBezTo>
                  <a:cubicBezTo>
                    <a:pt x="60" y="185"/>
                    <a:pt x="60" y="185"/>
                    <a:pt x="61" y="185"/>
                  </a:cubicBezTo>
                  <a:cubicBezTo>
                    <a:pt x="61" y="185"/>
                    <a:pt x="61" y="186"/>
                    <a:pt x="62" y="186"/>
                  </a:cubicBezTo>
                  <a:cubicBezTo>
                    <a:pt x="62" y="186"/>
                    <a:pt x="63" y="187"/>
                    <a:pt x="63" y="187"/>
                  </a:cubicBezTo>
                  <a:cubicBezTo>
                    <a:pt x="64" y="188"/>
                    <a:pt x="64" y="188"/>
                    <a:pt x="64" y="188"/>
                  </a:cubicBezTo>
                  <a:cubicBezTo>
                    <a:pt x="65" y="188"/>
                    <a:pt x="65" y="188"/>
                    <a:pt x="65" y="188"/>
                  </a:cubicBezTo>
                  <a:cubicBezTo>
                    <a:pt x="66" y="187"/>
                    <a:pt x="67" y="187"/>
                    <a:pt x="67" y="186"/>
                  </a:cubicBezTo>
                  <a:cubicBezTo>
                    <a:pt x="67" y="185"/>
                    <a:pt x="66" y="184"/>
                    <a:pt x="66" y="184"/>
                  </a:cubicBezTo>
                  <a:cubicBezTo>
                    <a:pt x="65" y="183"/>
                    <a:pt x="65" y="182"/>
                    <a:pt x="65" y="181"/>
                  </a:cubicBezTo>
                  <a:cubicBezTo>
                    <a:pt x="65" y="181"/>
                    <a:pt x="65" y="180"/>
                    <a:pt x="65" y="180"/>
                  </a:cubicBezTo>
                  <a:cubicBezTo>
                    <a:pt x="66" y="179"/>
                    <a:pt x="66" y="179"/>
                    <a:pt x="66" y="178"/>
                  </a:cubicBezTo>
                  <a:cubicBezTo>
                    <a:pt x="65" y="178"/>
                    <a:pt x="65" y="177"/>
                    <a:pt x="65" y="177"/>
                  </a:cubicBezTo>
                  <a:cubicBezTo>
                    <a:pt x="65" y="177"/>
                    <a:pt x="65" y="177"/>
                    <a:pt x="65" y="177"/>
                  </a:cubicBezTo>
                  <a:cubicBezTo>
                    <a:pt x="65" y="176"/>
                    <a:pt x="65" y="176"/>
                    <a:pt x="65" y="176"/>
                  </a:cubicBezTo>
                  <a:cubicBezTo>
                    <a:pt x="66" y="175"/>
                    <a:pt x="67" y="175"/>
                    <a:pt x="67" y="176"/>
                  </a:cubicBezTo>
                  <a:cubicBezTo>
                    <a:pt x="68" y="176"/>
                    <a:pt x="68" y="176"/>
                    <a:pt x="69" y="175"/>
                  </a:cubicBezTo>
                  <a:cubicBezTo>
                    <a:pt x="69" y="175"/>
                    <a:pt x="70" y="176"/>
                    <a:pt x="70" y="176"/>
                  </a:cubicBezTo>
                  <a:cubicBezTo>
                    <a:pt x="71" y="176"/>
                    <a:pt x="71" y="177"/>
                    <a:pt x="72" y="177"/>
                  </a:cubicBezTo>
                  <a:cubicBezTo>
                    <a:pt x="72" y="177"/>
                    <a:pt x="73" y="177"/>
                    <a:pt x="73" y="177"/>
                  </a:cubicBezTo>
                  <a:cubicBezTo>
                    <a:pt x="73" y="177"/>
                    <a:pt x="74" y="177"/>
                    <a:pt x="74" y="177"/>
                  </a:cubicBezTo>
                  <a:cubicBezTo>
                    <a:pt x="75" y="177"/>
                    <a:pt x="75" y="177"/>
                    <a:pt x="76" y="177"/>
                  </a:cubicBezTo>
                  <a:cubicBezTo>
                    <a:pt x="77" y="177"/>
                    <a:pt x="78" y="177"/>
                    <a:pt x="79" y="176"/>
                  </a:cubicBezTo>
                  <a:cubicBezTo>
                    <a:pt x="79" y="176"/>
                    <a:pt x="81" y="174"/>
                    <a:pt x="81" y="175"/>
                  </a:cubicBezTo>
                  <a:cubicBezTo>
                    <a:pt x="81" y="176"/>
                    <a:pt x="81" y="176"/>
                    <a:pt x="82" y="176"/>
                  </a:cubicBezTo>
                  <a:cubicBezTo>
                    <a:pt x="82" y="177"/>
                    <a:pt x="82" y="177"/>
                    <a:pt x="83" y="177"/>
                  </a:cubicBezTo>
                  <a:cubicBezTo>
                    <a:pt x="83" y="177"/>
                    <a:pt x="83" y="177"/>
                    <a:pt x="83" y="177"/>
                  </a:cubicBezTo>
                  <a:cubicBezTo>
                    <a:pt x="83" y="177"/>
                    <a:pt x="83" y="177"/>
                    <a:pt x="84" y="177"/>
                  </a:cubicBezTo>
                  <a:cubicBezTo>
                    <a:pt x="84" y="178"/>
                    <a:pt x="84" y="178"/>
                    <a:pt x="85" y="178"/>
                  </a:cubicBezTo>
                  <a:cubicBezTo>
                    <a:pt x="85" y="178"/>
                    <a:pt x="86" y="178"/>
                    <a:pt x="87" y="178"/>
                  </a:cubicBezTo>
                  <a:cubicBezTo>
                    <a:pt x="88" y="178"/>
                    <a:pt x="88" y="178"/>
                    <a:pt x="89" y="177"/>
                  </a:cubicBezTo>
                  <a:cubicBezTo>
                    <a:pt x="89" y="177"/>
                    <a:pt x="90" y="177"/>
                    <a:pt x="91" y="177"/>
                  </a:cubicBezTo>
                  <a:cubicBezTo>
                    <a:pt x="91" y="176"/>
                    <a:pt x="92" y="176"/>
                    <a:pt x="92" y="176"/>
                  </a:cubicBezTo>
                  <a:cubicBezTo>
                    <a:pt x="92" y="177"/>
                    <a:pt x="92" y="177"/>
                    <a:pt x="92" y="177"/>
                  </a:cubicBezTo>
                  <a:cubicBezTo>
                    <a:pt x="92" y="177"/>
                    <a:pt x="92" y="177"/>
                    <a:pt x="92" y="178"/>
                  </a:cubicBezTo>
                  <a:cubicBezTo>
                    <a:pt x="91" y="178"/>
                    <a:pt x="91" y="178"/>
                    <a:pt x="91" y="178"/>
                  </a:cubicBezTo>
                  <a:cubicBezTo>
                    <a:pt x="91" y="179"/>
                    <a:pt x="92" y="179"/>
                    <a:pt x="92" y="178"/>
                  </a:cubicBezTo>
                  <a:cubicBezTo>
                    <a:pt x="93" y="178"/>
                    <a:pt x="93" y="177"/>
                    <a:pt x="94" y="176"/>
                  </a:cubicBezTo>
                  <a:cubicBezTo>
                    <a:pt x="94" y="176"/>
                    <a:pt x="95" y="176"/>
                    <a:pt x="95" y="176"/>
                  </a:cubicBezTo>
                  <a:cubicBezTo>
                    <a:pt x="96" y="176"/>
                    <a:pt x="97" y="176"/>
                    <a:pt x="97" y="176"/>
                  </a:cubicBezTo>
                  <a:cubicBezTo>
                    <a:pt x="98" y="176"/>
                    <a:pt x="98" y="176"/>
                    <a:pt x="99" y="177"/>
                  </a:cubicBezTo>
                  <a:cubicBezTo>
                    <a:pt x="100" y="178"/>
                    <a:pt x="101" y="178"/>
                    <a:pt x="103" y="179"/>
                  </a:cubicBezTo>
                  <a:cubicBezTo>
                    <a:pt x="103" y="179"/>
                    <a:pt x="105" y="181"/>
                    <a:pt x="103" y="181"/>
                  </a:cubicBezTo>
                  <a:cubicBezTo>
                    <a:pt x="103" y="181"/>
                    <a:pt x="103" y="181"/>
                    <a:pt x="102" y="181"/>
                  </a:cubicBezTo>
                  <a:cubicBezTo>
                    <a:pt x="102" y="181"/>
                    <a:pt x="102" y="181"/>
                    <a:pt x="101" y="181"/>
                  </a:cubicBezTo>
                  <a:cubicBezTo>
                    <a:pt x="101" y="180"/>
                    <a:pt x="101" y="180"/>
                    <a:pt x="100" y="180"/>
                  </a:cubicBezTo>
                  <a:cubicBezTo>
                    <a:pt x="100" y="180"/>
                    <a:pt x="99" y="179"/>
                    <a:pt x="99" y="179"/>
                  </a:cubicBezTo>
                  <a:cubicBezTo>
                    <a:pt x="98" y="179"/>
                    <a:pt x="98" y="178"/>
                    <a:pt x="97" y="178"/>
                  </a:cubicBezTo>
                  <a:cubicBezTo>
                    <a:pt x="97" y="178"/>
                    <a:pt x="96" y="178"/>
                    <a:pt x="96" y="177"/>
                  </a:cubicBezTo>
                  <a:cubicBezTo>
                    <a:pt x="95" y="177"/>
                    <a:pt x="95" y="177"/>
                    <a:pt x="95" y="177"/>
                  </a:cubicBezTo>
                  <a:cubicBezTo>
                    <a:pt x="94" y="176"/>
                    <a:pt x="94" y="178"/>
                    <a:pt x="94" y="178"/>
                  </a:cubicBezTo>
                  <a:cubicBezTo>
                    <a:pt x="94" y="179"/>
                    <a:pt x="94" y="179"/>
                    <a:pt x="94" y="180"/>
                  </a:cubicBezTo>
                  <a:cubicBezTo>
                    <a:pt x="94" y="180"/>
                    <a:pt x="93" y="180"/>
                    <a:pt x="93" y="180"/>
                  </a:cubicBezTo>
                  <a:cubicBezTo>
                    <a:pt x="92" y="180"/>
                    <a:pt x="92" y="180"/>
                    <a:pt x="92" y="180"/>
                  </a:cubicBezTo>
                  <a:cubicBezTo>
                    <a:pt x="91" y="180"/>
                    <a:pt x="91" y="180"/>
                    <a:pt x="91" y="180"/>
                  </a:cubicBezTo>
                  <a:cubicBezTo>
                    <a:pt x="90" y="180"/>
                    <a:pt x="89" y="180"/>
                    <a:pt x="89" y="180"/>
                  </a:cubicBezTo>
                  <a:cubicBezTo>
                    <a:pt x="88" y="180"/>
                    <a:pt x="87" y="179"/>
                    <a:pt x="87" y="179"/>
                  </a:cubicBezTo>
                  <a:cubicBezTo>
                    <a:pt x="86" y="179"/>
                    <a:pt x="86" y="179"/>
                    <a:pt x="85" y="179"/>
                  </a:cubicBezTo>
                  <a:cubicBezTo>
                    <a:pt x="84" y="179"/>
                    <a:pt x="84" y="179"/>
                    <a:pt x="83" y="179"/>
                  </a:cubicBezTo>
                  <a:cubicBezTo>
                    <a:pt x="83" y="178"/>
                    <a:pt x="83" y="178"/>
                    <a:pt x="82" y="178"/>
                  </a:cubicBezTo>
                  <a:cubicBezTo>
                    <a:pt x="82" y="178"/>
                    <a:pt x="82" y="178"/>
                    <a:pt x="81" y="178"/>
                  </a:cubicBezTo>
                  <a:cubicBezTo>
                    <a:pt x="81" y="178"/>
                    <a:pt x="80" y="179"/>
                    <a:pt x="80" y="179"/>
                  </a:cubicBezTo>
                  <a:cubicBezTo>
                    <a:pt x="79" y="179"/>
                    <a:pt x="79" y="179"/>
                    <a:pt x="78" y="179"/>
                  </a:cubicBezTo>
                  <a:cubicBezTo>
                    <a:pt x="78" y="180"/>
                    <a:pt x="77" y="180"/>
                    <a:pt x="77" y="179"/>
                  </a:cubicBezTo>
                  <a:cubicBezTo>
                    <a:pt x="76" y="179"/>
                    <a:pt x="76" y="179"/>
                    <a:pt x="75" y="179"/>
                  </a:cubicBezTo>
                  <a:cubicBezTo>
                    <a:pt x="75" y="179"/>
                    <a:pt x="74" y="179"/>
                    <a:pt x="74" y="179"/>
                  </a:cubicBezTo>
                  <a:cubicBezTo>
                    <a:pt x="73" y="180"/>
                    <a:pt x="73" y="180"/>
                    <a:pt x="72" y="180"/>
                  </a:cubicBezTo>
                  <a:cubicBezTo>
                    <a:pt x="72" y="180"/>
                    <a:pt x="71" y="181"/>
                    <a:pt x="71" y="181"/>
                  </a:cubicBezTo>
                  <a:cubicBezTo>
                    <a:pt x="70" y="181"/>
                    <a:pt x="69" y="181"/>
                    <a:pt x="69" y="182"/>
                  </a:cubicBezTo>
                  <a:cubicBezTo>
                    <a:pt x="68" y="183"/>
                    <a:pt x="69" y="183"/>
                    <a:pt x="70" y="184"/>
                  </a:cubicBezTo>
                  <a:cubicBezTo>
                    <a:pt x="70" y="184"/>
                    <a:pt x="70" y="184"/>
                    <a:pt x="70" y="185"/>
                  </a:cubicBezTo>
                  <a:cubicBezTo>
                    <a:pt x="71" y="186"/>
                    <a:pt x="71" y="187"/>
                    <a:pt x="71" y="188"/>
                  </a:cubicBezTo>
                  <a:cubicBezTo>
                    <a:pt x="71" y="189"/>
                    <a:pt x="72" y="190"/>
                    <a:pt x="73" y="191"/>
                  </a:cubicBezTo>
                  <a:cubicBezTo>
                    <a:pt x="73" y="192"/>
                    <a:pt x="74" y="192"/>
                    <a:pt x="75" y="193"/>
                  </a:cubicBezTo>
                  <a:cubicBezTo>
                    <a:pt x="75" y="193"/>
                    <a:pt x="76" y="194"/>
                    <a:pt x="76" y="194"/>
                  </a:cubicBezTo>
                  <a:cubicBezTo>
                    <a:pt x="77" y="195"/>
                    <a:pt x="76" y="196"/>
                    <a:pt x="77" y="196"/>
                  </a:cubicBezTo>
                  <a:cubicBezTo>
                    <a:pt x="77" y="196"/>
                    <a:pt x="77" y="197"/>
                    <a:pt x="77" y="197"/>
                  </a:cubicBezTo>
                  <a:cubicBezTo>
                    <a:pt x="77" y="197"/>
                    <a:pt x="77" y="198"/>
                    <a:pt x="77" y="198"/>
                  </a:cubicBezTo>
                  <a:cubicBezTo>
                    <a:pt x="77" y="198"/>
                    <a:pt x="78" y="199"/>
                    <a:pt x="78" y="199"/>
                  </a:cubicBezTo>
                  <a:cubicBezTo>
                    <a:pt x="78" y="200"/>
                    <a:pt x="78" y="200"/>
                    <a:pt x="78" y="201"/>
                  </a:cubicBezTo>
                  <a:cubicBezTo>
                    <a:pt x="79" y="201"/>
                    <a:pt x="79" y="202"/>
                    <a:pt x="79" y="202"/>
                  </a:cubicBezTo>
                  <a:cubicBezTo>
                    <a:pt x="79" y="203"/>
                    <a:pt x="79" y="203"/>
                    <a:pt x="78" y="203"/>
                  </a:cubicBezTo>
                  <a:cubicBezTo>
                    <a:pt x="78" y="203"/>
                    <a:pt x="77" y="203"/>
                    <a:pt x="77" y="203"/>
                  </a:cubicBezTo>
                  <a:cubicBezTo>
                    <a:pt x="77" y="203"/>
                    <a:pt x="76" y="202"/>
                    <a:pt x="76" y="202"/>
                  </a:cubicBezTo>
                  <a:cubicBezTo>
                    <a:pt x="76" y="202"/>
                    <a:pt x="75" y="201"/>
                    <a:pt x="75" y="201"/>
                  </a:cubicBezTo>
                  <a:cubicBezTo>
                    <a:pt x="74" y="200"/>
                    <a:pt x="73" y="200"/>
                    <a:pt x="72" y="199"/>
                  </a:cubicBezTo>
                  <a:cubicBezTo>
                    <a:pt x="70" y="199"/>
                    <a:pt x="70" y="196"/>
                    <a:pt x="70" y="195"/>
                  </a:cubicBezTo>
                  <a:cubicBezTo>
                    <a:pt x="70" y="194"/>
                    <a:pt x="70" y="193"/>
                    <a:pt x="70" y="193"/>
                  </a:cubicBezTo>
                  <a:cubicBezTo>
                    <a:pt x="70" y="192"/>
                    <a:pt x="70" y="191"/>
                    <a:pt x="70" y="191"/>
                  </a:cubicBezTo>
                  <a:cubicBezTo>
                    <a:pt x="70" y="190"/>
                    <a:pt x="70" y="190"/>
                    <a:pt x="69" y="190"/>
                  </a:cubicBezTo>
                  <a:cubicBezTo>
                    <a:pt x="69" y="190"/>
                    <a:pt x="69" y="190"/>
                    <a:pt x="68" y="190"/>
                  </a:cubicBezTo>
                  <a:cubicBezTo>
                    <a:pt x="68" y="190"/>
                    <a:pt x="67" y="189"/>
                    <a:pt x="67" y="189"/>
                  </a:cubicBezTo>
                  <a:cubicBezTo>
                    <a:pt x="66" y="189"/>
                    <a:pt x="66" y="190"/>
                    <a:pt x="66" y="191"/>
                  </a:cubicBezTo>
                  <a:cubicBezTo>
                    <a:pt x="66" y="191"/>
                    <a:pt x="66" y="191"/>
                    <a:pt x="66" y="192"/>
                  </a:cubicBezTo>
                  <a:cubicBezTo>
                    <a:pt x="66" y="192"/>
                    <a:pt x="65" y="192"/>
                    <a:pt x="65" y="193"/>
                  </a:cubicBezTo>
                  <a:cubicBezTo>
                    <a:pt x="65" y="193"/>
                    <a:pt x="65" y="193"/>
                    <a:pt x="65" y="193"/>
                  </a:cubicBezTo>
                  <a:cubicBezTo>
                    <a:pt x="65" y="200"/>
                    <a:pt x="65" y="200"/>
                    <a:pt x="65" y="200"/>
                  </a:cubicBezTo>
                  <a:cubicBezTo>
                    <a:pt x="65" y="201"/>
                    <a:pt x="65" y="201"/>
                    <a:pt x="65" y="201"/>
                  </a:cubicBezTo>
                  <a:cubicBezTo>
                    <a:pt x="65" y="202"/>
                    <a:pt x="66" y="202"/>
                    <a:pt x="66" y="203"/>
                  </a:cubicBezTo>
                  <a:cubicBezTo>
                    <a:pt x="66" y="203"/>
                    <a:pt x="66" y="204"/>
                    <a:pt x="67" y="204"/>
                  </a:cubicBezTo>
                  <a:cubicBezTo>
                    <a:pt x="67" y="204"/>
                    <a:pt x="67" y="205"/>
                    <a:pt x="67" y="205"/>
                  </a:cubicBezTo>
                  <a:cubicBezTo>
                    <a:pt x="67" y="205"/>
                    <a:pt x="67" y="206"/>
                    <a:pt x="68" y="206"/>
                  </a:cubicBezTo>
                  <a:cubicBezTo>
                    <a:pt x="68" y="206"/>
                    <a:pt x="68" y="206"/>
                    <a:pt x="68" y="206"/>
                  </a:cubicBezTo>
                  <a:cubicBezTo>
                    <a:pt x="68" y="207"/>
                    <a:pt x="68" y="207"/>
                    <a:pt x="68" y="208"/>
                  </a:cubicBezTo>
                  <a:cubicBezTo>
                    <a:pt x="68" y="208"/>
                    <a:pt x="68" y="209"/>
                    <a:pt x="69" y="209"/>
                  </a:cubicBezTo>
                  <a:cubicBezTo>
                    <a:pt x="69" y="210"/>
                    <a:pt x="69" y="210"/>
                    <a:pt x="69" y="210"/>
                  </a:cubicBezTo>
                  <a:cubicBezTo>
                    <a:pt x="69" y="211"/>
                    <a:pt x="69" y="211"/>
                    <a:pt x="68" y="212"/>
                  </a:cubicBezTo>
                  <a:cubicBezTo>
                    <a:pt x="68" y="212"/>
                    <a:pt x="68" y="212"/>
                    <a:pt x="68" y="213"/>
                  </a:cubicBezTo>
                  <a:cubicBezTo>
                    <a:pt x="68" y="213"/>
                    <a:pt x="68" y="213"/>
                    <a:pt x="68" y="214"/>
                  </a:cubicBezTo>
                  <a:cubicBezTo>
                    <a:pt x="68" y="214"/>
                    <a:pt x="68" y="214"/>
                    <a:pt x="68" y="215"/>
                  </a:cubicBezTo>
                  <a:cubicBezTo>
                    <a:pt x="69" y="215"/>
                    <a:pt x="69" y="215"/>
                    <a:pt x="69" y="215"/>
                  </a:cubicBezTo>
                  <a:cubicBezTo>
                    <a:pt x="69" y="215"/>
                    <a:pt x="69" y="215"/>
                    <a:pt x="69" y="216"/>
                  </a:cubicBezTo>
                  <a:cubicBezTo>
                    <a:pt x="69" y="216"/>
                    <a:pt x="69" y="216"/>
                    <a:pt x="69" y="217"/>
                  </a:cubicBezTo>
                  <a:cubicBezTo>
                    <a:pt x="70" y="217"/>
                    <a:pt x="69" y="217"/>
                    <a:pt x="70" y="217"/>
                  </a:cubicBezTo>
                  <a:cubicBezTo>
                    <a:pt x="70" y="218"/>
                    <a:pt x="70" y="218"/>
                    <a:pt x="70" y="218"/>
                  </a:cubicBezTo>
                  <a:cubicBezTo>
                    <a:pt x="70" y="219"/>
                    <a:pt x="70" y="219"/>
                    <a:pt x="71" y="219"/>
                  </a:cubicBezTo>
                  <a:cubicBezTo>
                    <a:pt x="71" y="220"/>
                    <a:pt x="72" y="220"/>
                    <a:pt x="72" y="221"/>
                  </a:cubicBezTo>
                  <a:cubicBezTo>
                    <a:pt x="72" y="221"/>
                    <a:pt x="73" y="221"/>
                    <a:pt x="73" y="222"/>
                  </a:cubicBezTo>
                  <a:cubicBezTo>
                    <a:pt x="74" y="222"/>
                    <a:pt x="74" y="222"/>
                    <a:pt x="74" y="223"/>
                  </a:cubicBezTo>
                  <a:cubicBezTo>
                    <a:pt x="74" y="223"/>
                    <a:pt x="75" y="223"/>
                    <a:pt x="75" y="223"/>
                  </a:cubicBezTo>
                  <a:cubicBezTo>
                    <a:pt x="75" y="223"/>
                    <a:pt x="76" y="223"/>
                    <a:pt x="76" y="224"/>
                  </a:cubicBezTo>
                  <a:cubicBezTo>
                    <a:pt x="76" y="224"/>
                    <a:pt x="76" y="224"/>
                    <a:pt x="77" y="225"/>
                  </a:cubicBezTo>
                  <a:cubicBezTo>
                    <a:pt x="77" y="225"/>
                    <a:pt x="78" y="225"/>
                    <a:pt x="78" y="225"/>
                  </a:cubicBezTo>
                  <a:cubicBezTo>
                    <a:pt x="78" y="225"/>
                    <a:pt x="78" y="226"/>
                    <a:pt x="78" y="226"/>
                  </a:cubicBezTo>
                  <a:cubicBezTo>
                    <a:pt x="79" y="226"/>
                    <a:pt x="79" y="226"/>
                    <a:pt x="79" y="226"/>
                  </a:cubicBezTo>
                  <a:cubicBezTo>
                    <a:pt x="80" y="226"/>
                    <a:pt x="81" y="226"/>
                    <a:pt x="82" y="226"/>
                  </a:cubicBezTo>
                  <a:cubicBezTo>
                    <a:pt x="82" y="226"/>
                    <a:pt x="83" y="226"/>
                    <a:pt x="83" y="226"/>
                  </a:cubicBezTo>
                  <a:cubicBezTo>
                    <a:pt x="84" y="226"/>
                    <a:pt x="84" y="226"/>
                    <a:pt x="84" y="226"/>
                  </a:cubicBezTo>
                  <a:cubicBezTo>
                    <a:pt x="85" y="225"/>
                    <a:pt x="85" y="226"/>
                    <a:pt x="86" y="226"/>
                  </a:cubicBezTo>
                  <a:cubicBezTo>
                    <a:pt x="86" y="226"/>
                    <a:pt x="86" y="226"/>
                    <a:pt x="86" y="226"/>
                  </a:cubicBezTo>
                  <a:cubicBezTo>
                    <a:pt x="86" y="227"/>
                    <a:pt x="87" y="227"/>
                    <a:pt x="87" y="227"/>
                  </a:cubicBezTo>
                  <a:cubicBezTo>
                    <a:pt x="87" y="227"/>
                    <a:pt x="88" y="227"/>
                    <a:pt x="88" y="227"/>
                  </a:cubicBezTo>
                  <a:cubicBezTo>
                    <a:pt x="88" y="228"/>
                    <a:pt x="88" y="228"/>
                    <a:pt x="88" y="228"/>
                  </a:cubicBezTo>
                  <a:cubicBezTo>
                    <a:pt x="88" y="228"/>
                    <a:pt x="89" y="229"/>
                    <a:pt x="89" y="229"/>
                  </a:cubicBezTo>
                  <a:cubicBezTo>
                    <a:pt x="89" y="229"/>
                    <a:pt x="89" y="229"/>
                    <a:pt x="89" y="229"/>
                  </a:cubicBezTo>
                  <a:cubicBezTo>
                    <a:pt x="89" y="230"/>
                    <a:pt x="89" y="230"/>
                    <a:pt x="89" y="230"/>
                  </a:cubicBezTo>
                  <a:cubicBezTo>
                    <a:pt x="89" y="231"/>
                    <a:pt x="89" y="231"/>
                    <a:pt x="89" y="231"/>
                  </a:cubicBezTo>
                  <a:cubicBezTo>
                    <a:pt x="89" y="231"/>
                    <a:pt x="90" y="231"/>
                    <a:pt x="90" y="232"/>
                  </a:cubicBezTo>
                  <a:cubicBezTo>
                    <a:pt x="90" y="232"/>
                    <a:pt x="90" y="232"/>
                    <a:pt x="90" y="233"/>
                  </a:cubicBezTo>
                  <a:cubicBezTo>
                    <a:pt x="90" y="233"/>
                    <a:pt x="90" y="233"/>
                    <a:pt x="90" y="234"/>
                  </a:cubicBezTo>
                  <a:cubicBezTo>
                    <a:pt x="90" y="234"/>
                    <a:pt x="90" y="234"/>
                    <a:pt x="89" y="234"/>
                  </a:cubicBezTo>
                  <a:cubicBezTo>
                    <a:pt x="89" y="237"/>
                    <a:pt x="89" y="237"/>
                    <a:pt x="89" y="237"/>
                  </a:cubicBezTo>
                  <a:cubicBezTo>
                    <a:pt x="89" y="237"/>
                    <a:pt x="89" y="237"/>
                    <a:pt x="89" y="238"/>
                  </a:cubicBezTo>
                  <a:cubicBezTo>
                    <a:pt x="89" y="238"/>
                    <a:pt x="89" y="238"/>
                    <a:pt x="89" y="239"/>
                  </a:cubicBezTo>
                  <a:cubicBezTo>
                    <a:pt x="88" y="239"/>
                    <a:pt x="88" y="240"/>
                    <a:pt x="88" y="241"/>
                  </a:cubicBezTo>
                  <a:cubicBezTo>
                    <a:pt x="88" y="241"/>
                    <a:pt x="88" y="241"/>
                    <a:pt x="88" y="241"/>
                  </a:cubicBezTo>
                  <a:cubicBezTo>
                    <a:pt x="84" y="241"/>
                    <a:pt x="84" y="241"/>
                    <a:pt x="84" y="241"/>
                  </a:cubicBezTo>
                  <a:cubicBezTo>
                    <a:pt x="84" y="242"/>
                    <a:pt x="84" y="242"/>
                    <a:pt x="84" y="242"/>
                  </a:cubicBezTo>
                  <a:cubicBezTo>
                    <a:pt x="84" y="243"/>
                    <a:pt x="84" y="243"/>
                    <a:pt x="84" y="244"/>
                  </a:cubicBezTo>
                  <a:cubicBezTo>
                    <a:pt x="84" y="244"/>
                    <a:pt x="84" y="244"/>
                    <a:pt x="84" y="245"/>
                  </a:cubicBezTo>
                  <a:cubicBezTo>
                    <a:pt x="84" y="245"/>
                    <a:pt x="85" y="245"/>
                    <a:pt x="85" y="245"/>
                  </a:cubicBezTo>
                  <a:cubicBezTo>
                    <a:pt x="85" y="246"/>
                    <a:pt x="85" y="247"/>
                    <a:pt x="85" y="247"/>
                  </a:cubicBezTo>
                  <a:cubicBezTo>
                    <a:pt x="85" y="248"/>
                    <a:pt x="85" y="248"/>
                    <a:pt x="85" y="248"/>
                  </a:cubicBezTo>
                  <a:cubicBezTo>
                    <a:pt x="85" y="249"/>
                    <a:pt x="85" y="249"/>
                    <a:pt x="85" y="249"/>
                  </a:cubicBezTo>
                  <a:cubicBezTo>
                    <a:pt x="85" y="249"/>
                    <a:pt x="85" y="250"/>
                    <a:pt x="86" y="251"/>
                  </a:cubicBezTo>
                  <a:cubicBezTo>
                    <a:pt x="86" y="253"/>
                    <a:pt x="86" y="253"/>
                    <a:pt x="86" y="253"/>
                  </a:cubicBezTo>
                  <a:cubicBezTo>
                    <a:pt x="86" y="253"/>
                    <a:pt x="86" y="253"/>
                    <a:pt x="86" y="253"/>
                  </a:cubicBezTo>
                  <a:cubicBezTo>
                    <a:pt x="86" y="253"/>
                    <a:pt x="86" y="253"/>
                    <a:pt x="86" y="254"/>
                  </a:cubicBezTo>
                  <a:cubicBezTo>
                    <a:pt x="86" y="254"/>
                    <a:pt x="86" y="255"/>
                    <a:pt x="87" y="255"/>
                  </a:cubicBezTo>
                  <a:cubicBezTo>
                    <a:pt x="87" y="255"/>
                    <a:pt x="87" y="255"/>
                    <a:pt x="87" y="255"/>
                  </a:cubicBezTo>
                  <a:cubicBezTo>
                    <a:pt x="88" y="255"/>
                    <a:pt x="88" y="255"/>
                    <a:pt x="88" y="256"/>
                  </a:cubicBezTo>
                  <a:cubicBezTo>
                    <a:pt x="88" y="256"/>
                    <a:pt x="89" y="256"/>
                    <a:pt x="89" y="257"/>
                  </a:cubicBezTo>
                  <a:cubicBezTo>
                    <a:pt x="90" y="257"/>
                    <a:pt x="90" y="258"/>
                    <a:pt x="90" y="258"/>
                  </a:cubicBezTo>
                  <a:cubicBezTo>
                    <a:pt x="91" y="258"/>
                    <a:pt x="91" y="259"/>
                    <a:pt x="91" y="259"/>
                  </a:cubicBezTo>
                  <a:cubicBezTo>
                    <a:pt x="91" y="259"/>
                    <a:pt x="92" y="259"/>
                    <a:pt x="92" y="259"/>
                  </a:cubicBezTo>
                  <a:cubicBezTo>
                    <a:pt x="92" y="260"/>
                    <a:pt x="93" y="260"/>
                    <a:pt x="93" y="260"/>
                  </a:cubicBezTo>
                  <a:cubicBezTo>
                    <a:pt x="93" y="260"/>
                    <a:pt x="93" y="260"/>
                    <a:pt x="94" y="260"/>
                  </a:cubicBezTo>
                  <a:cubicBezTo>
                    <a:pt x="94" y="261"/>
                    <a:pt x="95" y="262"/>
                    <a:pt x="95" y="262"/>
                  </a:cubicBezTo>
                  <a:cubicBezTo>
                    <a:pt x="95" y="263"/>
                    <a:pt x="96" y="263"/>
                    <a:pt x="96" y="263"/>
                  </a:cubicBezTo>
                  <a:cubicBezTo>
                    <a:pt x="96" y="264"/>
                    <a:pt x="96" y="264"/>
                    <a:pt x="96" y="264"/>
                  </a:cubicBezTo>
                  <a:cubicBezTo>
                    <a:pt x="96" y="264"/>
                    <a:pt x="96" y="265"/>
                    <a:pt x="97" y="265"/>
                  </a:cubicBezTo>
                  <a:cubicBezTo>
                    <a:pt x="97" y="265"/>
                    <a:pt x="97" y="265"/>
                    <a:pt x="97" y="266"/>
                  </a:cubicBezTo>
                  <a:cubicBezTo>
                    <a:pt x="97" y="266"/>
                    <a:pt x="97" y="266"/>
                    <a:pt x="97" y="266"/>
                  </a:cubicBezTo>
                  <a:cubicBezTo>
                    <a:pt x="97" y="266"/>
                    <a:pt x="97" y="266"/>
                    <a:pt x="97" y="266"/>
                  </a:cubicBezTo>
                  <a:cubicBezTo>
                    <a:pt x="97" y="266"/>
                    <a:pt x="98" y="266"/>
                    <a:pt x="98" y="267"/>
                  </a:cubicBezTo>
                  <a:cubicBezTo>
                    <a:pt x="98" y="267"/>
                    <a:pt x="98" y="267"/>
                    <a:pt x="99" y="267"/>
                  </a:cubicBezTo>
                  <a:cubicBezTo>
                    <a:pt x="99" y="267"/>
                    <a:pt x="99" y="267"/>
                    <a:pt x="99" y="267"/>
                  </a:cubicBezTo>
                  <a:cubicBezTo>
                    <a:pt x="99" y="267"/>
                    <a:pt x="99" y="267"/>
                    <a:pt x="100" y="267"/>
                  </a:cubicBezTo>
                  <a:cubicBezTo>
                    <a:pt x="100" y="268"/>
                    <a:pt x="100" y="268"/>
                    <a:pt x="100" y="268"/>
                  </a:cubicBezTo>
                  <a:cubicBezTo>
                    <a:pt x="100" y="268"/>
                    <a:pt x="100" y="268"/>
                    <a:pt x="100" y="269"/>
                  </a:cubicBezTo>
                  <a:cubicBezTo>
                    <a:pt x="101" y="269"/>
                    <a:pt x="101" y="270"/>
                    <a:pt x="101" y="270"/>
                  </a:cubicBezTo>
                  <a:cubicBezTo>
                    <a:pt x="101" y="271"/>
                    <a:pt x="101" y="271"/>
                    <a:pt x="101" y="271"/>
                  </a:cubicBezTo>
                  <a:cubicBezTo>
                    <a:pt x="101" y="272"/>
                    <a:pt x="101" y="272"/>
                    <a:pt x="101" y="273"/>
                  </a:cubicBezTo>
                  <a:cubicBezTo>
                    <a:pt x="102" y="273"/>
                    <a:pt x="102" y="273"/>
                    <a:pt x="102" y="274"/>
                  </a:cubicBezTo>
                  <a:cubicBezTo>
                    <a:pt x="103" y="274"/>
                    <a:pt x="103" y="275"/>
                    <a:pt x="103" y="275"/>
                  </a:cubicBezTo>
                  <a:cubicBezTo>
                    <a:pt x="104" y="275"/>
                    <a:pt x="104" y="276"/>
                    <a:pt x="105" y="276"/>
                  </a:cubicBezTo>
                  <a:cubicBezTo>
                    <a:pt x="105" y="276"/>
                    <a:pt x="106" y="277"/>
                    <a:pt x="106" y="278"/>
                  </a:cubicBezTo>
                  <a:cubicBezTo>
                    <a:pt x="106" y="278"/>
                    <a:pt x="106" y="278"/>
                    <a:pt x="106" y="278"/>
                  </a:cubicBezTo>
                  <a:cubicBezTo>
                    <a:pt x="106" y="279"/>
                    <a:pt x="106" y="279"/>
                    <a:pt x="106" y="279"/>
                  </a:cubicBezTo>
                  <a:cubicBezTo>
                    <a:pt x="107" y="279"/>
                    <a:pt x="107" y="280"/>
                    <a:pt x="107" y="280"/>
                  </a:cubicBezTo>
                  <a:cubicBezTo>
                    <a:pt x="107" y="281"/>
                    <a:pt x="107" y="281"/>
                    <a:pt x="107" y="281"/>
                  </a:cubicBezTo>
                  <a:cubicBezTo>
                    <a:pt x="108" y="282"/>
                    <a:pt x="108" y="282"/>
                    <a:pt x="109" y="282"/>
                  </a:cubicBezTo>
                  <a:cubicBezTo>
                    <a:pt x="109" y="283"/>
                    <a:pt x="110" y="282"/>
                    <a:pt x="110" y="283"/>
                  </a:cubicBezTo>
                  <a:cubicBezTo>
                    <a:pt x="111" y="283"/>
                    <a:pt x="111" y="283"/>
                    <a:pt x="111" y="283"/>
                  </a:cubicBezTo>
                  <a:cubicBezTo>
                    <a:pt x="111" y="283"/>
                    <a:pt x="111" y="283"/>
                    <a:pt x="112" y="283"/>
                  </a:cubicBezTo>
                  <a:cubicBezTo>
                    <a:pt x="112" y="284"/>
                    <a:pt x="112" y="284"/>
                    <a:pt x="113" y="284"/>
                  </a:cubicBezTo>
                  <a:cubicBezTo>
                    <a:pt x="113" y="285"/>
                    <a:pt x="113" y="285"/>
                    <a:pt x="113" y="285"/>
                  </a:cubicBezTo>
                  <a:cubicBezTo>
                    <a:pt x="113" y="286"/>
                    <a:pt x="114" y="286"/>
                    <a:pt x="114" y="286"/>
                  </a:cubicBezTo>
                  <a:cubicBezTo>
                    <a:pt x="114" y="287"/>
                    <a:pt x="114" y="287"/>
                    <a:pt x="114" y="287"/>
                  </a:cubicBezTo>
                  <a:cubicBezTo>
                    <a:pt x="115" y="288"/>
                    <a:pt x="115" y="288"/>
                    <a:pt x="115" y="288"/>
                  </a:cubicBezTo>
                  <a:cubicBezTo>
                    <a:pt x="116" y="288"/>
                    <a:pt x="116" y="288"/>
                    <a:pt x="116" y="289"/>
                  </a:cubicBezTo>
                  <a:cubicBezTo>
                    <a:pt x="117" y="289"/>
                    <a:pt x="117" y="289"/>
                    <a:pt x="117" y="289"/>
                  </a:cubicBezTo>
                  <a:cubicBezTo>
                    <a:pt x="117" y="289"/>
                    <a:pt x="117" y="289"/>
                    <a:pt x="117" y="290"/>
                  </a:cubicBezTo>
                  <a:cubicBezTo>
                    <a:pt x="118" y="290"/>
                    <a:pt x="118" y="290"/>
                    <a:pt x="118" y="290"/>
                  </a:cubicBezTo>
                  <a:cubicBezTo>
                    <a:pt x="119" y="290"/>
                    <a:pt x="119" y="290"/>
                    <a:pt x="119" y="290"/>
                  </a:cubicBezTo>
                  <a:cubicBezTo>
                    <a:pt x="119" y="291"/>
                    <a:pt x="120" y="291"/>
                    <a:pt x="120" y="291"/>
                  </a:cubicBezTo>
                  <a:cubicBezTo>
                    <a:pt x="121" y="291"/>
                    <a:pt x="121" y="291"/>
                    <a:pt x="121" y="292"/>
                  </a:cubicBezTo>
                  <a:cubicBezTo>
                    <a:pt x="121" y="292"/>
                    <a:pt x="121" y="292"/>
                    <a:pt x="121" y="292"/>
                  </a:cubicBezTo>
                  <a:cubicBezTo>
                    <a:pt x="121" y="292"/>
                    <a:pt x="121" y="293"/>
                    <a:pt x="121" y="293"/>
                  </a:cubicBezTo>
                  <a:cubicBezTo>
                    <a:pt x="122" y="293"/>
                    <a:pt x="122" y="293"/>
                    <a:pt x="122" y="293"/>
                  </a:cubicBezTo>
                  <a:cubicBezTo>
                    <a:pt x="122" y="295"/>
                    <a:pt x="122" y="295"/>
                    <a:pt x="122" y="295"/>
                  </a:cubicBezTo>
                  <a:cubicBezTo>
                    <a:pt x="122" y="296"/>
                    <a:pt x="121" y="296"/>
                    <a:pt x="121" y="296"/>
                  </a:cubicBezTo>
                  <a:cubicBezTo>
                    <a:pt x="121" y="296"/>
                    <a:pt x="121" y="297"/>
                    <a:pt x="121" y="297"/>
                  </a:cubicBezTo>
                  <a:cubicBezTo>
                    <a:pt x="121" y="298"/>
                    <a:pt x="121" y="298"/>
                    <a:pt x="121" y="299"/>
                  </a:cubicBezTo>
                  <a:cubicBezTo>
                    <a:pt x="121" y="299"/>
                    <a:pt x="121" y="299"/>
                    <a:pt x="121" y="299"/>
                  </a:cubicBezTo>
                  <a:cubicBezTo>
                    <a:pt x="121" y="299"/>
                    <a:pt x="121" y="300"/>
                    <a:pt x="121" y="300"/>
                  </a:cubicBezTo>
                  <a:cubicBezTo>
                    <a:pt x="121" y="300"/>
                    <a:pt x="122" y="300"/>
                    <a:pt x="122" y="300"/>
                  </a:cubicBezTo>
                  <a:cubicBezTo>
                    <a:pt x="122" y="300"/>
                    <a:pt x="122" y="300"/>
                    <a:pt x="122" y="300"/>
                  </a:cubicBezTo>
                  <a:cubicBezTo>
                    <a:pt x="123" y="300"/>
                    <a:pt x="123" y="301"/>
                    <a:pt x="123" y="301"/>
                  </a:cubicBezTo>
                  <a:cubicBezTo>
                    <a:pt x="123" y="301"/>
                    <a:pt x="123" y="301"/>
                    <a:pt x="124" y="301"/>
                  </a:cubicBezTo>
                  <a:cubicBezTo>
                    <a:pt x="124" y="301"/>
                    <a:pt x="124" y="302"/>
                    <a:pt x="124" y="302"/>
                  </a:cubicBezTo>
                  <a:cubicBezTo>
                    <a:pt x="124" y="302"/>
                    <a:pt x="125" y="302"/>
                    <a:pt x="125" y="302"/>
                  </a:cubicBezTo>
                  <a:cubicBezTo>
                    <a:pt x="125" y="302"/>
                    <a:pt x="126" y="303"/>
                    <a:pt x="126" y="303"/>
                  </a:cubicBezTo>
                  <a:cubicBezTo>
                    <a:pt x="127" y="303"/>
                    <a:pt x="127" y="303"/>
                    <a:pt x="128" y="304"/>
                  </a:cubicBezTo>
                  <a:cubicBezTo>
                    <a:pt x="128" y="304"/>
                    <a:pt x="129" y="304"/>
                    <a:pt x="129" y="304"/>
                  </a:cubicBezTo>
                  <a:cubicBezTo>
                    <a:pt x="129" y="309"/>
                    <a:pt x="129" y="309"/>
                    <a:pt x="129" y="309"/>
                  </a:cubicBezTo>
                  <a:cubicBezTo>
                    <a:pt x="129" y="309"/>
                    <a:pt x="129" y="309"/>
                    <a:pt x="130" y="309"/>
                  </a:cubicBezTo>
                  <a:cubicBezTo>
                    <a:pt x="129" y="310"/>
                    <a:pt x="129" y="310"/>
                    <a:pt x="129" y="310"/>
                  </a:cubicBezTo>
                  <a:cubicBezTo>
                    <a:pt x="129" y="312"/>
                    <a:pt x="129" y="312"/>
                    <a:pt x="129" y="312"/>
                  </a:cubicBezTo>
                  <a:cubicBezTo>
                    <a:pt x="129" y="313"/>
                    <a:pt x="129" y="313"/>
                    <a:pt x="129" y="313"/>
                  </a:cubicBezTo>
                  <a:cubicBezTo>
                    <a:pt x="129" y="313"/>
                    <a:pt x="129" y="314"/>
                    <a:pt x="129" y="314"/>
                  </a:cubicBezTo>
                  <a:cubicBezTo>
                    <a:pt x="129" y="314"/>
                    <a:pt x="130" y="314"/>
                    <a:pt x="130" y="315"/>
                  </a:cubicBezTo>
                  <a:cubicBezTo>
                    <a:pt x="130" y="315"/>
                    <a:pt x="130" y="316"/>
                    <a:pt x="130" y="317"/>
                  </a:cubicBezTo>
                  <a:cubicBezTo>
                    <a:pt x="131" y="317"/>
                    <a:pt x="131" y="318"/>
                    <a:pt x="130" y="318"/>
                  </a:cubicBezTo>
                  <a:cubicBezTo>
                    <a:pt x="130" y="319"/>
                    <a:pt x="129" y="319"/>
                    <a:pt x="130" y="319"/>
                  </a:cubicBezTo>
                  <a:cubicBezTo>
                    <a:pt x="130" y="319"/>
                    <a:pt x="130" y="319"/>
                    <a:pt x="130" y="319"/>
                  </a:cubicBezTo>
                  <a:cubicBezTo>
                    <a:pt x="130" y="320"/>
                    <a:pt x="130" y="320"/>
                    <a:pt x="130" y="320"/>
                  </a:cubicBezTo>
                  <a:cubicBezTo>
                    <a:pt x="130" y="320"/>
                    <a:pt x="130" y="321"/>
                    <a:pt x="130" y="321"/>
                  </a:cubicBezTo>
                  <a:cubicBezTo>
                    <a:pt x="131" y="321"/>
                    <a:pt x="131" y="321"/>
                    <a:pt x="131" y="322"/>
                  </a:cubicBezTo>
                  <a:cubicBezTo>
                    <a:pt x="131" y="322"/>
                    <a:pt x="131" y="322"/>
                    <a:pt x="131" y="322"/>
                  </a:cubicBezTo>
                  <a:cubicBezTo>
                    <a:pt x="131" y="323"/>
                    <a:pt x="130" y="322"/>
                    <a:pt x="130" y="323"/>
                  </a:cubicBezTo>
                  <a:cubicBezTo>
                    <a:pt x="130" y="323"/>
                    <a:pt x="130" y="324"/>
                    <a:pt x="130" y="324"/>
                  </a:cubicBezTo>
                  <a:cubicBezTo>
                    <a:pt x="130" y="324"/>
                    <a:pt x="131" y="325"/>
                    <a:pt x="130" y="325"/>
                  </a:cubicBezTo>
                  <a:cubicBezTo>
                    <a:pt x="130" y="325"/>
                    <a:pt x="130" y="326"/>
                    <a:pt x="130" y="326"/>
                  </a:cubicBezTo>
                  <a:cubicBezTo>
                    <a:pt x="130" y="326"/>
                    <a:pt x="130" y="326"/>
                    <a:pt x="130" y="326"/>
                  </a:cubicBezTo>
                  <a:cubicBezTo>
                    <a:pt x="130" y="326"/>
                    <a:pt x="130" y="326"/>
                    <a:pt x="130" y="326"/>
                  </a:cubicBezTo>
                  <a:cubicBezTo>
                    <a:pt x="130" y="326"/>
                    <a:pt x="130" y="326"/>
                    <a:pt x="130" y="326"/>
                  </a:cubicBezTo>
                  <a:cubicBezTo>
                    <a:pt x="129" y="327"/>
                    <a:pt x="129" y="327"/>
                    <a:pt x="129" y="327"/>
                  </a:cubicBezTo>
                  <a:cubicBezTo>
                    <a:pt x="129" y="328"/>
                    <a:pt x="129" y="328"/>
                    <a:pt x="130" y="328"/>
                  </a:cubicBezTo>
                  <a:cubicBezTo>
                    <a:pt x="130" y="328"/>
                    <a:pt x="131" y="328"/>
                    <a:pt x="131" y="328"/>
                  </a:cubicBezTo>
                  <a:cubicBezTo>
                    <a:pt x="131" y="329"/>
                    <a:pt x="131" y="329"/>
                    <a:pt x="131" y="329"/>
                  </a:cubicBezTo>
                  <a:cubicBezTo>
                    <a:pt x="131" y="329"/>
                    <a:pt x="132" y="329"/>
                    <a:pt x="132" y="329"/>
                  </a:cubicBezTo>
                  <a:cubicBezTo>
                    <a:pt x="132" y="329"/>
                    <a:pt x="132" y="329"/>
                    <a:pt x="132" y="329"/>
                  </a:cubicBezTo>
                  <a:cubicBezTo>
                    <a:pt x="132" y="329"/>
                    <a:pt x="132" y="329"/>
                    <a:pt x="132" y="329"/>
                  </a:cubicBezTo>
                  <a:cubicBezTo>
                    <a:pt x="133" y="329"/>
                    <a:pt x="133" y="329"/>
                    <a:pt x="133" y="329"/>
                  </a:cubicBezTo>
                  <a:cubicBezTo>
                    <a:pt x="134" y="330"/>
                    <a:pt x="134" y="330"/>
                    <a:pt x="134" y="331"/>
                  </a:cubicBezTo>
                  <a:cubicBezTo>
                    <a:pt x="134" y="331"/>
                    <a:pt x="135" y="331"/>
                    <a:pt x="135" y="332"/>
                  </a:cubicBezTo>
                  <a:cubicBezTo>
                    <a:pt x="134" y="332"/>
                    <a:pt x="134" y="332"/>
                    <a:pt x="134" y="332"/>
                  </a:cubicBezTo>
                  <a:cubicBezTo>
                    <a:pt x="135" y="332"/>
                    <a:pt x="135" y="332"/>
                    <a:pt x="135" y="332"/>
                  </a:cubicBezTo>
                  <a:cubicBezTo>
                    <a:pt x="135" y="332"/>
                    <a:pt x="135" y="332"/>
                    <a:pt x="135" y="333"/>
                  </a:cubicBezTo>
                  <a:cubicBezTo>
                    <a:pt x="135" y="333"/>
                    <a:pt x="136" y="333"/>
                    <a:pt x="136" y="333"/>
                  </a:cubicBezTo>
                  <a:cubicBezTo>
                    <a:pt x="136" y="333"/>
                    <a:pt x="136" y="333"/>
                    <a:pt x="136" y="332"/>
                  </a:cubicBezTo>
                  <a:cubicBezTo>
                    <a:pt x="137" y="332"/>
                    <a:pt x="137" y="332"/>
                    <a:pt x="138" y="332"/>
                  </a:cubicBezTo>
                  <a:cubicBezTo>
                    <a:pt x="138" y="332"/>
                    <a:pt x="139" y="332"/>
                    <a:pt x="139" y="332"/>
                  </a:cubicBezTo>
                  <a:cubicBezTo>
                    <a:pt x="140" y="332"/>
                    <a:pt x="140" y="332"/>
                    <a:pt x="140" y="332"/>
                  </a:cubicBezTo>
                  <a:cubicBezTo>
                    <a:pt x="141" y="332"/>
                    <a:pt x="141" y="332"/>
                    <a:pt x="141" y="332"/>
                  </a:cubicBezTo>
                  <a:cubicBezTo>
                    <a:pt x="141" y="332"/>
                    <a:pt x="142" y="332"/>
                    <a:pt x="142" y="332"/>
                  </a:cubicBezTo>
                  <a:cubicBezTo>
                    <a:pt x="151" y="332"/>
                    <a:pt x="151" y="332"/>
                    <a:pt x="151" y="332"/>
                  </a:cubicBezTo>
                  <a:cubicBezTo>
                    <a:pt x="151" y="332"/>
                    <a:pt x="152" y="332"/>
                    <a:pt x="152" y="332"/>
                  </a:cubicBezTo>
                  <a:cubicBezTo>
                    <a:pt x="152" y="333"/>
                    <a:pt x="152" y="333"/>
                    <a:pt x="152" y="333"/>
                  </a:cubicBezTo>
                  <a:cubicBezTo>
                    <a:pt x="153" y="334"/>
                    <a:pt x="154" y="334"/>
                    <a:pt x="155" y="334"/>
                  </a:cubicBezTo>
                  <a:cubicBezTo>
                    <a:pt x="155" y="334"/>
                    <a:pt x="156" y="335"/>
                    <a:pt x="157" y="334"/>
                  </a:cubicBezTo>
                  <a:cubicBezTo>
                    <a:pt x="159" y="334"/>
                    <a:pt x="162" y="334"/>
                    <a:pt x="164" y="334"/>
                  </a:cubicBezTo>
                  <a:cubicBezTo>
                    <a:pt x="165" y="334"/>
                    <a:pt x="167" y="334"/>
                    <a:pt x="169" y="335"/>
                  </a:cubicBezTo>
                  <a:cubicBezTo>
                    <a:pt x="169" y="336"/>
                    <a:pt x="170" y="336"/>
                    <a:pt x="171" y="337"/>
                  </a:cubicBezTo>
                  <a:cubicBezTo>
                    <a:pt x="171" y="337"/>
                    <a:pt x="172" y="337"/>
                    <a:pt x="173" y="338"/>
                  </a:cubicBezTo>
                  <a:cubicBezTo>
                    <a:pt x="174" y="338"/>
                    <a:pt x="175" y="339"/>
                    <a:pt x="176" y="341"/>
                  </a:cubicBezTo>
                  <a:cubicBezTo>
                    <a:pt x="177" y="342"/>
                    <a:pt x="177" y="343"/>
                    <a:pt x="177" y="343"/>
                  </a:cubicBezTo>
                  <a:cubicBezTo>
                    <a:pt x="178" y="344"/>
                    <a:pt x="178" y="345"/>
                    <a:pt x="179" y="345"/>
                  </a:cubicBezTo>
                  <a:cubicBezTo>
                    <a:pt x="180" y="346"/>
                    <a:pt x="181" y="347"/>
                    <a:pt x="182" y="347"/>
                  </a:cubicBezTo>
                  <a:cubicBezTo>
                    <a:pt x="183" y="348"/>
                    <a:pt x="184" y="348"/>
                    <a:pt x="185" y="348"/>
                  </a:cubicBezTo>
                  <a:cubicBezTo>
                    <a:pt x="186" y="349"/>
                    <a:pt x="187" y="349"/>
                    <a:pt x="188" y="350"/>
                  </a:cubicBezTo>
                  <a:cubicBezTo>
                    <a:pt x="188" y="350"/>
                    <a:pt x="188" y="350"/>
                    <a:pt x="188" y="350"/>
                  </a:cubicBezTo>
                  <a:cubicBezTo>
                    <a:pt x="189" y="350"/>
                    <a:pt x="189" y="350"/>
                    <a:pt x="189" y="350"/>
                  </a:cubicBezTo>
                  <a:cubicBezTo>
                    <a:pt x="190" y="351"/>
                    <a:pt x="190" y="351"/>
                    <a:pt x="191" y="351"/>
                  </a:cubicBezTo>
                  <a:cubicBezTo>
                    <a:pt x="191" y="351"/>
                    <a:pt x="192" y="351"/>
                    <a:pt x="192" y="351"/>
                  </a:cubicBezTo>
                  <a:cubicBezTo>
                    <a:pt x="193" y="351"/>
                    <a:pt x="193" y="351"/>
                    <a:pt x="193" y="351"/>
                  </a:cubicBezTo>
                  <a:cubicBezTo>
                    <a:pt x="193" y="351"/>
                    <a:pt x="193" y="351"/>
                    <a:pt x="194" y="351"/>
                  </a:cubicBezTo>
                  <a:cubicBezTo>
                    <a:pt x="194" y="350"/>
                    <a:pt x="195" y="351"/>
                    <a:pt x="195" y="351"/>
                  </a:cubicBezTo>
                  <a:cubicBezTo>
                    <a:pt x="195" y="351"/>
                    <a:pt x="196" y="351"/>
                    <a:pt x="196" y="351"/>
                  </a:cubicBezTo>
                  <a:cubicBezTo>
                    <a:pt x="196" y="351"/>
                    <a:pt x="197" y="351"/>
                    <a:pt x="197" y="351"/>
                  </a:cubicBezTo>
                  <a:cubicBezTo>
                    <a:pt x="197" y="350"/>
                    <a:pt x="198" y="350"/>
                    <a:pt x="198" y="350"/>
                  </a:cubicBezTo>
                  <a:cubicBezTo>
                    <a:pt x="199" y="350"/>
                    <a:pt x="199" y="350"/>
                    <a:pt x="199" y="350"/>
                  </a:cubicBezTo>
                  <a:cubicBezTo>
                    <a:pt x="199" y="349"/>
                    <a:pt x="200" y="350"/>
                    <a:pt x="200" y="350"/>
                  </a:cubicBezTo>
                  <a:cubicBezTo>
                    <a:pt x="201" y="350"/>
                    <a:pt x="201" y="350"/>
                    <a:pt x="202" y="350"/>
                  </a:cubicBezTo>
                  <a:cubicBezTo>
                    <a:pt x="202" y="350"/>
                    <a:pt x="202" y="350"/>
                    <a:pt x="203" y="350"/>
                  </a:cubicBezTo>
                  <a:cubicBezTo>
                    <a:pt x="203" y="351"/>
                    <a:pt x="203" y="351"/>
                    <a:pt x="204" y="351"/>
                  </a:cubicBezTo>
                  <a:cubicBezTo>
                    <a:pt x="204" y="352"/>
                    <a:pt x="204" y="352"/>
                    <a:pt x="205" y="352"/>
                  </a:cubicBezTo>
                  <a:cubicBezTo>
                    <a:pt x="205" y="353"/>
                    <a:pt x="205" y="354"/>
                    <a:pt x="205" y="354"/>
                  </a:cubicBezTo>
                  <a:cubicBezTo>
                    <a:pt x="206" y="355"/>
                    <a:pt x="206" y="355"/>
                    <a:pt x="206" y="355"/>
                  </a:cubicBezTo>
                  <a:cubicBezTo>
                    <a:pt x="206" y="355"/>
                    <a:pt x="206" y="356"/>
                    <a:pt x="206" y="356"/>
                  </a:cubicBezTo>
                  <a:cubicBezTo>
                    <a:pt x="206" y="357"/>
                    <a:pt x="207" y="357"/>
                    <a:pt x="207" y="357"/>
                  </a:cubicBezTo>
                  <a:cubicBezTo>
                    <a:pt x="207" y="359"/>
                    <a:pt x="206" y="360"/>
                    <a:pt x="207" y="361"/>
                  </a:cubicBezTo>
                  <a:cubicBezTo>
                    <a:pt x="207" y="362"/>
                    <a:pt x="207" y="362"/>
                    <a:pt x="207" y="362"/>
                  </a:cubicBezTo>
                  <a:cubicBezTo>
                    <a:pt x="208" y="363"/>
                    <a:pt x="208" y="362"/>
                    <a:pt x="209" y="363"/>
                  </a:cubicBezTo>
                  <a:cubicBezTo>
                    <a:pt x="209" y="363"/>
                    <a:pt x="209" y="363"/>
                    <a:pt x="210" y="363"/>
                  </a:cubicBezTo>
                  <a:cubicBezTo>
                    <a:pt x="210" y="363"/>
                    <a:pt x="211" y="363"/>
                    <a:pt x="211" y="363"/>
                  </a:cubicBezTo>
                  <a:cubicBezTo>
                    <a:pt x="212" y="363"/>
                    <a:pt x="212" y="362"/>
                    <a:pt x="213" y="362"/>
                  </a:cubicBezTo>
                  <a:cubicBezTo>
                    <a:pt x="214" y="362"/>
                    <a:pt x="215" y="362"/>
                    <a:pt x="216" y="362"/>
                  </a:cubicBezTo>
                  <a:cubicBezTo>
                    <a:pt x="216" y="363"/>
                    <a:pt x="217" y="363"/>
                    <a:pt x="217" y="363"/>
                  </a:cubicBezTo>
                  <a:cubicBezTo>
                    <a:pt x="218" y="363"/>
                    <a:pt x="218" y="363"/>
                    <a:pt x="219" y="363"/>
                  </a:cubicBezTo>
                  <a:cubicBezTo>
                    <a:pt x="219" y="363"/>
                    <a:pt x="220" y="365"/>
                    <a:pt x="220" y="366"/>
                  </a:cubicBezTo>
                  <a:cubicBezTo>
                    <a:pt x="221" y="366"/>
                    <a:pt x="225" y="369"/>
                    <a:pt x="226" y="370"/>
                  </a:cubicBezTo>
                  <a:cubicBezTo>
                    <a:pt x="228" y="371"/>
                    <a:pt x="239" y="381"/>
                    <a:pt x="239" y="381"/>
                  </a:cubicBezTo>
                  <a:cubicBezTo>
                    <a:pt x="241" y="383"/>
                    <a:pt x="243" y="387"/>
                    <a:pt x="244" y="388"/>
                  </a:cubicBezTo>
                  <a:cubicBezTo>
                    <a:pt x="244" y="390"/>
                    <a:pt x="245" y="392"/>
                    <a:pt x="245" y="393"/>
                  </a:cubicBezTo>
                  <a:cubicBezTo>
                    <a:pt x="246" y="395"/>
                    <a:pt x="246" y="397"/>
                    <a:pt x="246" y="397"/>
                  </a:cubicBezTo>
                  <a:cubicBezTo>
                    <a:pt x="246" y="398"/>
                    <a:pt x="246" y="401"/>
                    <a:pt x="246" y="402"/>
                  </a:cubicBezTo>
                  <a:cubicBezTo>
                    <a:pt x="246" y="402"/>
                    <a:pt x="246" y="404"/>
                    <a:pt x="246" y="404"/>
                  </a:cubicBezTo>
                  <a:cubicBezTo>
                    <a:pt x="247" y="405"/>
                    <a:pt x="248" y="404"/>
                    <a:pt x="249" y="405"/>
                  </a:cubicBezTo>
                  <a:cubicBezTo>
                    <a:pt x="250" y="405"/>
                    <a:pt x="250" y="406"/>
                    <a:pt x="250" y="406"/>
                  </a:cubicBezTo>
                  <a:cubicBezTo>
                    <a:pt x="251" y="406"/>
                    <a:pt x="251" y="408"/>
                    <a:pt x="251" y="409"/>
                  </a:cubicBezTo>
                  <a:cubicBezTo>
                    <a:pt x="251" y="410"/>
                    <a:pt x="251" y="412"/>
                    <a:pt x="251" y="412"/>
                  </a:cubicBezTo>
                  <a:cubicBezTo>
                    <a:pt x="334" y="404"/>
                    <a:pt x="334" y="404"/>
                    <a:pt x="334" y="404"/>
                  </a:cubicBezTo>
                  <a:cubicBezTo>
                    <a:pt x="339" y="404"/>
                    <a:pt x="339" y="404"/>
                    <a:pt x="339" y="404"/>
                  </a:cubicBezTo>
                  <a:lnTo>
                    <a:pt x="340" y="403"/>
                  </a:lnTo>
                  <a:close/>
                </a:path>
              </a:pathLst>
            </a:custGeom>
            <a:solidFill>
              <a:srgbClr val="FF0000"/>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0" name="Freeform 53">
              <a:extLst>
                <a:ext uri="{FF2B5EF4-FFF2-40B4-BE49-F238E27FC236}">
                  <a16:creationId xmlns:a16="http://schemas.microsoft.com/office/drawing/2014/main" id="{5550DF91-B5C3-2279-357A-DC944F855F3F}"/>
                </a:ext>
              </a:extLst>
            </p:cNvPr>
            <p:cNvSpPr>
              <a:spLocks/>
            </p:cNvSpPr>
            <p:nvPr/>
          </p:nvSpPr>
          <p:spPr bwMode="auto">
            <a:xfrm>
              <a:off x="6638711" y="3304335"/>
              <a:ext cx="682361" cy="578272"/>
            </a:xfrm>
            <a:custGeom>
              <a:avLst/>
              <a:gdLst>
                <a:gd name="T0" fmla="*/ 118 w 172"/>
                <a:gd name="T1" fmla="*/ 142 h 146"/>
                <a:gd name="T2" fmla="*/ 121 w 172"/>
                <a:gd name="T3" fmla="*/ 139 h 146"/>
                <a:gd name="T4" fmla="*/ 121 w 172"/>
                <a:gd name="T5" fmla="*/ 135 h 146"/>
                <a:gd name="T6" fmla="*/ 120 w 172"/>
                <a:gd name="T7" fmla="*/ 132 h 146"/>
                <a:gd name="T8" fmla="*/ 121 w 172"/>
                <a:gd name="T9" fmla="*/ 130 h 146"/>
                <a:gd name="T10" fmla="*/ 119 w 172"/>
                <a:gd name="T11" fmla="*/ 129 h 146"/>
                <a:gd name="T12" fmla="*/ 118 w 172"/>
                <a:gd name="T13" fmla="*/ 127 h 146"/>
                <a:gd name="T14" fmla="*/ 117 w 172"/>
                <a:gd name="T15" fmla="*/ 123 h 146"/>
                <a:gd name="T16" fmla="*/ 118 w 172"/>
                <a:gd name="T17" fmla="*/ 119 h 146"/>
                <a:gd name="T18" fmla="*/ 122 w 172"/>
                <a:gd name="T19" fmla="*/ 119 h 146"/>
                <a:gd name="T20" fmla="*/ 120 w 172"/>
                <a:gd name="T21" fmla="*/ 117 h 146"/>
                <a:gd name="T22" fmla="*/ 124 w 172"/>
                <a:gd name="T23" fmla="*/ 115 h 146"/>
                <a:gd name="T24" fmla="*/ 123 w 172"/>
                <a:gd name="T25" fmla="*/ 113 h 146"/>
                <a:gd name="T26" fmla="*/ 124 w 172"/>
                <a:gd name="T27" fmla="*/ 109 h 146"/>
                <a:gd name="T28" fmla="*/ 122 w 172"/>
                <a:gd name="T29" fmla="*/ 107 h 146"/>
                <a:gd name="T30" fmla="*/ 125 w 172"/>
                <a:gd name="T31" fmla="*/ 106 h 146"/>
                <a:gd name="T32" fmla="*/ 126 w 172"/>
                <a:gd name="T33" fmla="*/ 105 h 146"/>
                <a:gd name="T34" fmla="*/ 127 w 172"/>
                <a:gd name="T35" fmla="*/ 99 h 146"/>
                <a:gd name="T36" fmla="*/ 129 w 172"/>
                <a:gd name="T37" fmla="*/ 98 h 146"/>
                <a:gd name="T38" fmla="*/ 131 w 172"/>
                <a:gd name="T39" fmla="*/ 95 h 146"/>
                <a:gd name="T40" fmla="*/ 133 w 172"/>
                <a:gd name="T41" fmla="*/ 91 h 146"/>
                <a:gd name="T42" fmla="*/ 137 w 172"/>
                <a:gd name="T43" fmla="*/ 91 h 146"/>
                <a:gd name="T44" fmla="*/ 139 w 172"/>
                <a:gd name="T45" fmla="*/ 84 h 146"/>
                <a:gd name="T46" fmla="*/ 139 w 172"/>
                <a:gd name="T47" fmla="*/ 78 h 146"/>
                <a:gd name="T48" fmla="*/ 142 w 172"/>
                <a:gd name="T49" fmla="*/ 79 h 146"/>
                <a:gd name="T50" fmla="*/ 140 w 172"/>
                <a:gd name="T51" fmla="*/ 73 h 146"/>
                <a:gd name="T52" fmla="*/ 144 w 172"/>
                <a:gd name="T53" fmla="*/ 74 h 146"/>
                <a:gd name="T54" fmla="*/ 144 w 172"/>
                <a:gd name="T55" fmla="*/ 70 h 146"/>
                <a:gd name="T56" fmla="*/ 150 w 172"/>
                <a:gd name="T57" fmla="*/ 67 h 146"/>
                <a:gd name="T58" fmla="*/ 154 w 172"/>
                <a:gd name="T59" fmla="*/ 58 h 146"/>
                <a:gd name="T60" fmla="*/ 156 w 172"/>
                <a:gd name="T61" fmla="*/ 55 h 146"/>
                <a:gd name="T62" fmla="*/ 154 w 172"/>
                <a:gd name="T63" fmla="*/ 51 h 146"/>
                <a:gd name="T64" fmla="*/ 157 w 172"/>
                <a:gd name="T65" fmla="*/ 48 h 146"/>
                <a:gd name="T66" fmla="*/ 153 w 172"/>
                <a:gd name="T67" fmla="*/ 47 h 146"/>
                <a:gd name="T68" fmla="*/ 157 w 172"/>
                <a:gd name="T69" fmla="*/ 45 h 146"/>
                <a:gd name="T70" fmla="*/ 158 w 172"/>
                <a:gd name="T71" fmla="*/ 41 h 146"/>
                <a:gd name="T72" fmla="*/ 162 w 172"/>
                <a:gd name="T73" fmla="*/ 40 h 146"/>
                <a:gd name="T74" fmla="*/ 164 w 172"/>
                <a:gd name="T75" fmla="*/ 35 h 146"/>
                <a:gd name="T76" fmla="*/ 163 w 172"/>
                <a:gd name="T77" fmla="*/ 32 h 146"/>
                <a:gd name="T78" fmla="*/ 168 w 172"/>
                <a:gd name="T79" fmla="*/ 29 h 146"/>
                <a:gd name="T80" fmla="*/ 169 w 172"/>
                <a:gd name="T81" fmla="*/ 25 h 146"/>
                <a:gd name="T82" fmla="*/ 169 w 172"/>
                <a:gd name="T83" fmla="*/ 21 h 146"/>
                <a:gd name="T84" fmla="*/ 153 w 172"/>
                <a:gd name="T85" fmla="*/ 12 h 146"/>
                <a:gd name="T86" fmla="*/ 154 w 172"/>
                <a:gd name="T87" fmla="*/ 0 h 146"/>
                <a:gd name="T88" fmla="*/ 5 w 172"/>
                <a:gd name="T89" fmla="*/ 120 h 146"/>
                <a:gd name="T90" fmla="*/ 8 w 172"/>
                <a:gd name="T91" fmla="*/ 123 h 146"/>
                <a:gd name="T92" fmla="*/ 9 w 172"/>
                <a:gd name="T93" fmla="*/ 124 h 146"/>
                <a:gd name="T94" fmla="*/ 12 w 172"/>
                <a:gd name="T95" fmla="*/ 123 h 146"/>
                <a:gd name="T96" fmla="*/ 16 w 172"/>
                <a:gd name="T97" fmla="*/ 123 h 146"/>
                <a:gd name="T98" fmla="*/ 19 w 172"/>
                <a:gd name="T99" fmla="*/ 124 h 146"/>
                <a:gd name="T100" fmla="*/ 120 w 172"/>
                <a:gd name="T101" fmla="*/ 14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2" h="146">
                  <a:moveTo>
                    <a:pt x="120" y="144"/>
                  </a:moveTo>
                  <a:cubicBezTo>
                    <a:pt x="120" y="144"/>
                    <a:pt x="119" y="144"/>
                    <a:pt x="119" y="144"/>
                  </a:cubicBezTo>
                  <a:cubicBezTo>
                    <a:pt x="119" y="143"/>
                    <a:pt x="119" y="143"/>
                    <a:pt x="118" y="143"/>
                  </a:cubicBezTo>
                  <a:cubicBezTo>
                    <a:pt x="118" y="143"/>
                    <a:pt x="118" y="142"/>
                    <a:pt x="118" y="142"/>
                  </a:cubicBezTo>
                  <a:cubicBezTo>
                    <a:pt x="118" y="142"/>
                    <a:pt x="119" y="141"/>
                    <a:pt x="120" y="141"/>
                  </a:cubicBezTo>
                  <a:cubicBezTo>
                    <a:pt x="120" y="141"/>
                    <a:pt x="121" y="141"/>
                    <a:pt x="122" y="141"/>
                  </a:cubicBezTo>
                  <a:cubicBezTo>
                    <a:pt x="122" y="141"/>
                    <a:pt x="122" y="140"/>
                    <a:pt x="122" y="140"/>
                  </a:cubicBezTo>
                  <a:cubicBezTo>
                    <a:pt x="122" y="140"/>
                    <a:pt x="122" y="139"/>
                    <a:pt x="121" y="139"/>
                  </a:cubicBezTo>
                  <a:cubicBezTo>
                    <a:pt x="121" y="138"/>
                    <a:pt x="121" y="138"/>
                    <a:pt x="122" y="137"/>
                  </a:cubicBezTo>
                  <a:cubicBezTo>
                    <a:pt x="122" y="137"/>
                    <a:pt x="123" y="137"/>
                    <a:pt x="123" y="136"/>
                  </a:cubicBezTo>
                  <a:cubicBezTo>
                    <a:pt x="123" y="136"/>
                    <a:pt x="123" y="136"/>
                    <a:pt x="122" y="135"/>
                  </a:cubicBezTo>
                  <a:cubicBezTo>
                    <a:pt x="122" y="135"/>
                    <a:pt x="122" y="135"/>
                    <a:pt x="121" y="135"/>
                  </a:cubicBezTo>
                  <a:cubicBezTo>
                    <a:pt x="121" y="135"/>
                    <a:pt x="121" y="136"/>
                    <a:pt x="121" y="136"/>
                  </a:cubicBezTo>
                  <a:cubicBezTo>
                    <a:pt x="121" y="136"/>
                    <a:pt x="120" y="136"/>
                    <a:pt x="120" y="136"/>
                  </a:cubicBezTo>
                  <a:cubicBezTo>
                    <a:pt x="120" y="135"/>
                    <a:pt x="120" y="134"/>
                    <a:pt x="120" y="133"/>
                  </a:cubicBezTo>
                  <a:cubicBezTo>
                    <a:pt x="120" y="132"/>
                    <a:pt x="120" y="132"/>
                    <a:pt x="120" y="132"/>
                  </a:cubicBezTo>
                  <a:cubicBezTo>
                    <a:pt x="121" y="131"/>
                    <a:pt x="122" y="130"/>
                    <a:pt x="122" y="129"/>
                  </a:cubicBezTo>
                  <a:cubicBezTo>
                    <a:pt x="122" y="129"/>
                    <a:pt x="122" y="128"/>
                    <a:pt x="122" y="128"/>
                  </a:cubicBezTo>
                  <a:cubicBezTo>
                    <a:pt x="122" y="128"/>
                    <a:pt x="121" y="128"/>
                    <a:pt x="121" y="129"/>
                  </a:cubicBezTo>
                  <a:cubicBezTo>
                    <a:pt x="121" y="129"/>
                    <a:pt x="121" y="129"/>
                    <a:pt x="121" y="130"/>
                  </a:cubicBezTo>
                  <a:cubicBezTo>
                    <a:pt x="121" y="130"/>
                    <a:pt x="120" y="130"/>
                    <a:pt x="120" y="131"/>
                  </a:cubicBezTo>
                  <a:cubicBezTo>
                    <a:pt x="120" y="131"/>
                    <a:pt x="120" y="131"/>
                    <a:pt x="119" y="131"/>
                  </a:cubicBezTo>
                  <a:cubicBezTo>
                    <a:pt x="119" y="131"/>
                    <a:pt x="118" y="131"/>
                    <a:pt x="118" y="130"/>
                  </a:cubicBezTo>
                  <a:cubicBezTo>
                    <a:pt x="118" y="130"/>
                    <a:pt x="119" y="130"/>
                    <a:pt x="119" y="129"/>
                  </a:cubicBezTo>
                  <a:cubicBezTo>
                    <a:pt x="119" y="129"/>
                    <a:pt x="120" y="129"/>
                    <a:pt x="120" y="128"/>
                  </a:cubicBezTo>
                  <a:cubicBezTo>
                    <a:pt x="120" y="128"/>
                    <a:pt x="119" y="128"/>
                    <a:pt x="119" y="128"/>
                  </a:cubicBezTo>
                  <a:cubicBezTo>
                    <a:pt x="118" y="128"/>
                    <a:pt x="117" y="129"/>
                    <a:pt x="117" y="128"/>
                  </a:cubicBezTo>
                  <a:cubicBezTo>
                    <a:pt x="116" y="128"/>
                    <a:pt x="117" y="127"/>
                    <a:pt x="118" y="127"/>
                  </a:cubicBezTo>
                  <a:cubicBezTo>
                    <a:pt x="118" y="127"/>
                    <a:pt x="119" y="127"/>
                    <a:pt x="118" y="126"/>
                  </a:cubicBezTo>
                  <a:cubicBezTo>
                    <a:pt x="118" y="126"/>
                    <a:pt x="118" y="126"/>
                    <a:pt x="118" y="125"/>
                  </a:cubicBezTo>
                  <a:cubicBezTo>
                    <a:pt x="118" y="125"/>
                    <a:pt x="117" y="125"/>
                    <a:pt x="117" y="125"/>
                  </a:cubicBezTo>
                  <a:cubicBezTo>
                    <a:pt x="117" y="124"/>
                    <a:pt x="117" y="124"/>
                    <a:pt x="117" y="123"/>
                  </a:cubicBezTo>
                  <a:cubicBezTo>
                    <a:pt x="118" y="123"/>
                    <a:pt x="118" y="123"/>
                    <a:pt x="119" y="123"/>
                  </a:cubicBezTo>
                  <a:cubicBezTo>
                    <a:pt x="119" y="122"/>
                    <a:pt x="120" y="122"/>
                    <a:pt x="120" y="122"/>
                  </a:cubicBezTo>
                  <a:cubicBezTo>
                    <a:pt x="120" y="121"/>
                    <a:pt x="119" y="121"/>
                    <a:pt x="119" y="121"/>
                  </a:cubicBezTo>
                  <a:cubicBezTo>
                    <a:pt x="119" y="120"/>
                    <a:pt x="118" y="120"/>
                    <a:pt x="118" y="119"/>
                  </a:cubicBezTo>
                  <a:cubicBezTo>
                    <a:pt x="117" y="119"/>
                    <a:pt x="118" y="117"/>
                    <a:pt x="119" y="117"/>
                  </a:cubicBezTo>
                  <a:cubicBezTo>
                    <a:pt x="120" y="117"/>
                    <a:pt x="120" y="118"/>
                    <a:pt x="120" y="118"/>
                  </a:cubicBezTo>
                  <a:cubicBezTo>
                    <a:pt x="121" y="119"/>
                    <a:pt x="121" y="119"/>
                    <a:pt x="121" y="119"/>
                  </a:cubicBezTo>
                  <a:cubicBezTo>
                    <a:pt x="122" y="119"/>
                    <a:pt x="122" y="119"/>
                    <a:pt x="122" y="119"/>
                  </a:cubicBezTo>
                  <a:cubicBezTo>
                    <a:pt x="123" y="120"/>
                    <a:pt x="124" y="119"/>
                    <a:pt x="124" y="119"/>
                  </a:cubicBezTo>
                  <a:cubicBezTo>
                    <a:pt x="124" y="118"/>
                    <a:pt x="123" y="118"/>
                    <a:pt x="123" y="118"/>
                  </a:cubicBezTo>
                  <a:cubicBezTo>
                    <a:pt x="122" y="117"/>
                    <a:pt x="122" y="117"/>
                    <a:pt x="121" y="117"/>
                  </a:cubicBezTo>
                  <a:cubicBezTo>
                    <a:pt x="121" y="117"/>
                    <a:pt x="121" y="117"/>
                    <a:pt x="120" y="117"/>
                  </a:cubicBezTo>
                  <a:cubicBezTo>
                    <a:pt x="120" y="117"/>
                    <a:pt x="120" y="116"/>
                    <a:pt x="120" y="116"/>
                  </a:cubicBezTo>
                  <a:cubicBezTo>
                    <a:pt x="120" y="116"/>
                    <a:pt x="120" y="115"/>
                    <a:pt x="120" y="115"/>
                  </a:cubicBezTo>
                  <a:cubicBezTo>
                    <a:pt x="121" y="115"/>
                    <a:pt x="122" y="114"/>
                    <a:pt x="123" y="115"/>
                  </a:cubicBezTo>
                  <a:cubicBezTo>
                    <a:pt x="123" y="115"/>
                    <a:pt x="123" y="115"/>
                    <a:pt x="124" y="115"/>
                  </a:cubicBezTo>
                  <a:cubicBezTo>
                    <a:pt x="124" y="115"/>
                    <a:pt x="124" y="115"/>
                    <a:pt x="125" y="115"/>
                  </a:cubicBezTo>
                  <a:cubicBezTo>
                    <a:pt x="125" y="115"/>
                    <a:pt x="125" y="115"/>
                    <a:pt x="125" y="114"/>
                  </a:cubicBezTo>
                  <a:cubicBezTo>
                    <a:pt x="124" y="114"/>
                    <a:pt x="124" y="114"/>
                    <a:pt x="124" y="113"/>
                  </a:cubicBezTo>
                  <a:cubicBezTo>
                    <a:pt x="124" y="113"/>
                    <a:pt x="123" y="113"/>
                    <a:pt x="123" y="113"/>
                  </a:cubicBezTo>
                  <a:cubicBezTo>
                    <a:pt x="123" y="112"/>
                    <a:pt x="123" y="112"/>
                    <a:pt x="123" y="112"/>
                  </a:cubicBezTo>
                  <a:cubicBezTo>
                    <a:pt x="123" y="111"/>
                    <a:pt x="123" y="111"/>
                    <a:pt x="123" y="111"/>
                  </a:cubicBezTo>
                  <a:cubicBezTo>
                    <a:pt x="123" y="110"/>
                    <a:pt x="124" y="110"/>
                    <a:pt x="124" y="110"/>
                  </a:cubicBezTo>
                  <a:cubicBezTo>
                    <a:pt x="124" y="109"/>
                    <a:pt x="124" y="109"/>
                    <a:pt x="124" y="109"/>
                  </a:cubicBezTo>
                  <a:cubicBezTo>
                    <a:pt x="124" y="108"/>
                    <a:pt x="124" y="108"/>
                    <a:pt x="124" y="108"/>
                  </a:cubicBezTo>
                  <a:cubicBezTo>
                    <a:pt x="124" y="108"/>
                    <a:pt x="124" y="108"/>
                    <a:pt x="123" y="108"/>
                  </a:cubicBezTo>
                  <a:cubicBezTo>
                    <a:pt x="123" y="108"/>
                    <a:pt x="123" y="108"/>
                    <a:pt x="123" y="108"/>
                  </a:cubicBezTo>
                  <a:cubicBezTo>
                    <a:pt x="122" y="107"/>
                    <a:pt x="122" y="107"/>
                    <a:pt x="122" y="107"/>
                  </a:cubicBezTo>
                  <a:cubicBezTo>
                    <a:pt x="122" y="107"/>
                    <a:pt x="122" y="107"/>
                    <a:pt x="122" y="106"/>
                  </a:cubicBezTo>
                  <a:cubicBezTo>
                    <a:pt x="122" y="106"/>
                    <a:pt x="122" y="106"/>
                    <a:pt x="122" y="105"/>
                  </a:cubicBezTo>
                  <a:cubicBezTo>
                    <a:pt x="123" y="105"/>
                    <a:pt x="124" y="106"/>
                    <a:pt x="125" y="106"/>
                  </a:cubicBezTo>
                  <a:cubicBezTo>
                    <a:pt x="125" y="106"/>
                    <a:pt x="125" y="106"/>
                    <a:pt x="125" y="106"/>
                  </a:cubicBezTo>
                  <a:cubicBezTo>
                    <a:pt x="125" y="106"/>
                    <a:pt x="125" y="106"/>
                    <a:pt x="125" y="106"/>
                  </a:cubicBezTo>
                  <a:cubicBezTo>
                    <a:pt x="126" y="107"/>
                    <a:pt x="126" y="107"/>
                    <a:pt x="126" y="106"/>
                  </a:cubicBezTo>
                  <a:cubicBezTo>
                    <a:pt x="126" y="106"/>
                    <a:pt x="126" y="106"/>
                    <a:pt x="126" y="105"/>
                  </a:cubicBezTo>
                  <a:cubicBezTo>
                    <a:pt x="125" y="105"/>
                    <a:pt x="126" y="105"/>
                    <a:pt x="126" y="105"/>
                  </a:cubicBezTo>
                  <a:cubicBezTo>
                    <a:pt x="127" y="104"/>
                    <a:pt x="128" y="105"/>
                    <a:pt x="129" y="104"/>
                  </a:cubicBezTo>
                  <a:cubicBezTo>
                    <a:pt x="129" y="104"/>
                    <a:pt x="129" y="102"/>
                    <a:pt x="129" y="102"/>
                  </a:cubicBezTo>
                  <a:cubicBezTo>
                    <a:pt x="128" y="101"/>
                    <a:pt x="127" y="101"/>
                    <a:pt x="127" y="100"/>
                  </a:cubicBezTo>
                  <a:cubicBezTo>
                    <a:pt x="126" y="100"/>
                    <a:pt x="127" y="99"/>
                    <a:pt x="127" y="99"/>
                  </a:cubicBezTo>
                  <a:cubicBezTo>
                    <a:pt x="128" y="99"/>
                    <a:pt x="128" y="99"/>
                    <a:pt x="129" y="99"/>
                  </a:cubicBezTo>
                  <a:cubicBezTo>
                    <a:pt x="129" y="99"/>
                    <a:pt x="130" y="99"/>
                    <a:pt x="130" y="99"/>
                  </a:cubicBezTo>
                  <a:cubicBezTo>
                    <a:pt x="131" y="99"/>
                    <a:pt x="131" y="99"/>
                    <a:pt x="131" y="98"/>
                  </a:cubicBezTo>
                  <a:cubicBezTo>
                    <a:pt x="131" y="98"/>
                    <a:pt x="130" y="98"/>
                    <a:pt x="129" y="98"/>
                  </a:cubicBezTo>
                  <a:cubicBezTo>
                    <a:pt x="129" y="98"/>
                    <a:pt x="127" y="97"/>
                    <a:pt x="127" y="96"/>
                  </a:cubicBezTo>
                  <a:cubicBezTo>
                    <a:pt x="127" y="96"/>
                    <a:pt x="127" y="96"/>
                    <a:pt x="127" y="95"/>
                  </a:cubicBezTo>
                  <a:cubicBezTo>
                    <a:pt x="128" y="95"/>
                    <a:pt x="128" y="96"/>
                    <a:pt x="129" y="96"/>
                  </a:cubicBezTo>
                  <a:cubicBezTo>
                    <a:pt x="130" y="96"/>
                    <a:pt x="131" y="97"/>
                    <a:pt x="131" y="95"/>
                  </a:cubicBezTo>
                  <a:cubicBezTo>
                    <a:pt x="131" y="95"/>
                    <a:pt x="131" y="95"/>
                    <a:pt x="131" y="94"/>
                  </a:cubicBezTo>
                  <a:cubicBezTo>
                    <a:pt x="131" y="94"/>
                    <a:pt x="132" y="93"/>
                    <a:pt x="132" y="93"/>
                  </a:cubicBezTo>
                  <a:cubicBezTo>
                    <a:pt x="132" y="93"/>
                    <a:pt x="133" y="93"/>
                    <a:pt x="133" y="93"/>
                  </a:cubicBezTo>
                  <a:cubicBezTo>
                    <a:pt x="134" y="92"/>
                    <a:pt x="133" y="92"/>
                    <a:pt x="133" y="91"/>
                  </a:cubicBezTo>
                  <a:cubicBezTo>
                    <a:pt x="133" y="90"/>
                    <a:pt x="135" y="90"/>
                    <a:pt x="135" y="90"/>
                  </a:cubicBezTo>
                  <a:cubicBezTo>
                    <a:pt x="136" y="90"/>
                    <a:pt x="135" y="91"/>
                    <a:pt x="136" y="92"/>
                  </a:cubicBezTo>
                  <a:cubicBezTo>
                    <a:pt x="136" y="92"/>
                    <a:pt x="136" y="93"/>
                    <a:pt x="137" y="92"/>
                  </a:cubicBezTo>
                  <a:cubicBezTo>
                    <a:pt x="137" y="92"/>
                    <a:pt x="137" y="91"/>
                    <a:pt x="137" y="91"/>
                  </a:cubicBezTo>
                  <a:cubicBezTo>
                    <a:pt x="137" y="91"/>
                    <a:pt x="137" y="90"/>
                    <a:pt x="137" y="90"/>
                  </a:cubicBezTo>
                  <a:cubicBezTo>
                    <a:pt x="137" y="90"/>
                    <a:pt x="138" y="89"/>
                    <a:pt x="138" y="89"/>
                  </a:cubicBezTo>
                  <a:cubicBezTo>
                    <a:pt x="139" y="88"/>
                    <a:pt x="140" y="88"/>
                    <a:pt x="139" y="87"/>
                  </a:cubicBezTo>
                  <a:cubicBezTo>
                    <a:pt x="139" y="86"/>
                    <a:pt x="139" y="85"/>
                    <a:pt x="139" y="84"/>
                  </a:cubicBezTo>
                  <a:cubicBezTo>
                    <a:pt x="140" y="84"/>
                    <a:pt x="140" y="83"/>
                    <a:pt x="140" y="83"/>
                  </a:cubicBezTo>
                  <a:cubicBezTo>
                    <a:pt x="140" y="83"/>
                    <a:pt x="140" y="82"/>
                    <a:pt x="140" y="82"/>
                  </a:cubicBezTo>
                  <a:cubicBezTo>
                    <a:pt x="140" y="81"/>
                    <a:pt x="140" y="81"/>
                    <a:pt x="140" y="80"/>
                  </a:cubicBezTo>
                  <a:cubicBezTo>
                    <a:pt x="139" y="79"/>
                    <a:pt x="139" y="79"/>
                    <a:pt x="139" y="78"/>
                  </a:cubicBezTo>
                  <a:cubicBezTo>
                    <a:pt x="139" y="78"/>
                    <a:pt x="139" y="77"/>
                    <a:pt x="140" y="77"/>
                  </a:cubicBezTo>
                  <a:cubicBezTo>
                    <a:pt x="140" y="77"/>
                    <a:pt x="140" y="78"/>
                    <a:pt x="140" y="78"/>
                  </a:cubicBezTo>
                  <a:cubicBezTo>
                    <a:pt x="140" y="79"/>
                    <a:pt x="141" y="79"/>
                    <a:pt x="141" y="79"/>
                  </a:cubicBezTo>
                  <a:cubicBezTo>
                    <a:pt x="142" y="79"/>
                    <a:pt x="142" y="79"/>
                    <a:pt x="142" y="79"/>
                  </a:cubicBezTo>
                  <a:cubicBezTo>
                    <a:pt x="143" y="78"/>
                    <a:pt x="143" y="78"/>
                    <a:pt x="143" y="78"/>
                  </a:cubicBezTo>
                  <a:cubicBezTo>
                    <a:pt x="143" y="78"/>
                    <a:pt x="143" y="77"/>
                    <a:pt x="143" y="77"/>
                  </a:cubicBezTo>
                  <a:cubicBezTo>
                    <a:pt x="142" y="76"/>
                    <a:pt x="141" y="76"/>
                    <a:pt x="140" y="75"/>
                  </a:cubicBezTo>
                  <a:cubicBezTo>
                    <a:pt x="140" y="74"/>
                    <a:pt x="140" y="73"/>
                    <a:pt x="140" y="73"/>
                  </a:cubicBezTo>
                  <a:cubicBezTo>
                    <a:pt x="140" y="72"/>
                    <a:pt x="140" y="72"/>
                    <a:pt x="141" y="71"/>
                  </a:cubicBezTo>
                  <a:cubicBezTo>
                    <a:pt x="141" y="72"/>
                    <a:pt x="141" y="73"/>
                    <a:pt x="141" y="73"/>
                  </a:cubicBezTo>
                  <a:cubicBezTo>
                    <a:pt x="141" y="73"/>
                    <a:pt x="141" y="74"/>
                    <a:pt x="142" y="74"/>
                  </a:cubicBezTo>
                  <a:cubicBezTo>
                    <a:pt x="142" y="75"/>
                    <a:pt x="143" y="75"/>
                    <a:pt x="144" y="74"/>
                  </a:cubicBezTo>
                  <a:cubicBezTo>
                    <a:pt x="144" y="72"/>
                    <a:pt x="143" y="71"/>
                    <a:pt x="143" y="70"/>
                  </a:cubicBezTo>
                  <a:cubicBezTo>
                    <a:pt x="143" y="70"/>
                    <a:pt x="143" y="69"/>
                    <a:pt x="143" y="69"/>
                  </a:cubicBezTo>
                  <a:cubicBezTo>
                    <a:pt x="143" y="69"/>
                    <a:pt x="143" y="68"/>
                    <a:pt x="144" y="68"/>
                  </a:cubicBezTo>
                  <a:cubicBezTo>
                    <a:pt x="144" y="69"/>
                    <a:pt x="144" y="69"/>
                    <a:pt x="144" y="70"/>
                  </a:cubicBezTo>
                  <a:cubicBezTo>
                    <a:pt x="145" y="70"/>
                    <a:pt x="145" y="70"/>
                    <a:pt x="146" y="70"/>
                  </a:cubicBezTo>
                  <a:cubicBezTo>
                    <a:pt x="147" y="70"/>
                    <a:pt x="148" y="70"/>
                    <a:pt x="149" y="69"/>
                  </a:cubicBezTo>
                  <a:cubicBezTo>
                    <a:pt x="149" y="69"/>
                    <a:pt x="149" y="69"/>
                    <a:pt x="150" y="69"/>
                  </a:cubicBezTo>
                  <a:cubicBezTo>
                    <a:pt x="150" y="68"/>
                    <a:pt x="150" y="68"/>
                    <a:pt x="150" y="67"/>
                  </a:cubicBezTo>
                  <a:cubicBezTo>
                    <a:pt x="151" y="66"/>
                    <a:pt x="151" y="66"/>
                    <a:pt x="150" y="65"/>
                  </a:cubicBezTo>
                  <a:cubicBezTo>
                    <a:pt x="150" y="64"/>
                    <a:pt x="149" y="63"/>
                    <a:pt x="149" y="62"/>
                  </a:cubicBezTo>
                  <a:cubicBezTo>
                    <a:pt x="150" y="61"/>
                    <a:pt x="152" y="62"/>
                    <a:pt x="153" y="61"/>
                  </a:cubicBezTo>
                  <a:cubicBezTo>
                    <a:pt x="153" y="61"/>
                    <a:pt x="153" y="59"/>
                    <a:pt x="154" y="58"/>
                  </a:cubicBezTo>
                  <a:cubicBezTo>
                    <a:pt x="154" y="58"/>
                    <a:pt x="155" y="58"/>
                    <a:pt x="156" y="58"/>
                  </a:cubicBezTo>
                  <a:cubicBezTo>
                    <a:pt x="156" y="58"/>
                    <a:pt x="156" y="57"/>
                    <a:pt x="156" y="57"/>
                  </a:cubicBezTo>
                  <a:cubicBezTo>
                    <a:pt x="156" y="57"/>
                    <a:pt x="156" y="56"/>
                    <a:pt x="156" y="56"/>
                  </a:cubicBezTo>
                  <a:cubicBezTo>
                    <a:pt x="156" y="56"/>
                    <a:pt x="156" y="56"/>
                    <a:pt x="156" y="55"/>
                  </a:cubicBezTo>
                  <a:cubicBezTo>
                    <a:pt x="156" y="55"/>
                    <a:pt x="156" y="55"/>
                    <a:pt x="156" y="54"/>
                  </a:cubicBezTo>
                  <a:cubicBezTo>
                    <a:pt x="156" y="54"/>
                    <a:pt x="156" y="54"/>
                    <a:pt x="155" y="54"/>
                  </a:cubicBezTo>
                  <a:cubicBezTo>
                    <a:pt x="155" y="53"/>
                    <a:pt x="154" y="53"/>
                    <a:pt x="154" y="52"/>
                  </a:cubicBezTo>
                  <a:cubicBezTo>
                    <a:pt x="154" y="52"/>
                    <a:pt x="154" y="52"/>
                    <a:pt x="154" y="51"/>
                  </a:cubicBezTo>
                  <a:cubicBezTo>
                    <a:pt x="154" y="51"/>
                    <a:pt x="155" y="51"/>
                    <a:pt x="155" y="51"/>
                  </a:cubicBezTo>
                  <a:cubicBezTo>
                    <a:pt x="155" y="51"/>
                    <a:pt x="156" y="50"/>
                    <a:pt x="156" y="50"/>
                  </a:cubicBezTo>
                  <a:cubicBezTo>
                    <a:pt x="156" y="50"/>
                    <a:pt x="156" y="49"/>
                    <a:pt x="156" y="49"/>
                  </a:cubicBezTo>
                  <a:cubicBezTo>
                    <a:pt x="156" y="49"/>
                    <a:pt x="157" y="48"/>
                    <a:pt x="157" y="48"/>
                  </a:cubicBezTo>
                  <a:cubicBezTo>
                    <a:pt x="156" y="47"/>
                    <a:pt x="156" y="47"/>
                    <a:pt x="156" y="47"/>
                  </a:cubicBezTo>
                  <a:cubicBezTo>
                    <a:pt x="156" y="47"/>
                    <a:pt x="156" y="47"/>
                    <a:pt x="156" y="46"/>
                  </a:cubicBezTo>
                  <a:cubicBezTo>
                    <a:pt x="155" y="46"/>
                    <a:pt x="155" y="47"/>
                    <a:pt x="155" y="47"/>
                  </a:cubicBezTo>
                  <a:cubicBezTo>
                    <a:pt x="154" y="47"/>
                    <a:pt x="154" y="47"/>
                    <a:pt x="153" y="47"/>
                  </a:cubicBezTo>
                  <a:cubicBezTo>
                    <a:pt x="153" y="46"/>
                    <a:pt x="154" y="46"/>
                    <a:pt x="155" y="45"/>
                  </a:cubicBezTo>
                  <a:cubicBezTo>
                    <a:pt x="155" y="44"/>
                    <a:pt x="155" y="43"/>
                    <a:pt x="157" y="43"/>
                  </a:cubicBezTo>
                  <a:cubicBezTo>
                    <a:pt x="157" y="44"/>
                    <a:pt x="157" y="44"/>
                    <a:pt x="157" y="44"/>
                  </a:cubicBezTo>
                  <a:cubicBezTo>
                    <a:pt x="157" y="45"/>
                    <a:pt x="157" y="45"/>
                    <a:pt x="157" y="45"/>
                  </a:cubicBezTo>
                  <a:cubicBezTo>
                    <a:pt x="157" y="46"/>
                    <a:pt x="157" y="46"/>
                    <a:pt x="157" y="46"/>
                  </a:cubicBezTo>
                  <a:cubicBezTo>
                    <a:pt x="157" y="46"/>
                    <a:pt x="158" y="45"/>
                    <a:pt x="158" y="45"/>
                  </a:cubicBezTo>
                  <a:cubicBezTo>
                    <a:pt x="159" y="44"/>
                    <a:pt x="159" y="44"/>
                    <a:pt x="158" y="43"/>
                  </a:cubicBezTo>
                  <a:cubicBezTo>
                    <a:pt x="158" y="42"/>
                    <a:pt x="158" y="41"/>
                    <a:pt x="158" y="41"/>
                  </a:cubicBezTo>
                  <a:cubicBezTo>
                    <a:pt x="159" y="40"/>
                    <a:pt x="159" y="40"/>
                    <a:pt x="160" y="40"/>
                  </a:cubicBezTo>
                  <a:cubicBezTo>
                    <a:pt x="160" y="40"/>
                    <a:pt x="161" y="41"/>
                    <a:pt x="161" y="41"/>
                  </a:cubicBezTo>
                  <a:cubicBezTo>
                    <a:pt x="161" y="41"/>
                    <a:pt x="162" y="41"/>
                    <a:pt x="162" y="41"/>
                  </a:cubicBezTo>
                  <a:cubicBezTo>
                    <a:pt x="162" y="41"/>
                    <a:pt x="162" y="40"/>
                    <a:pt x="162" y="40"/>
                  </a:cubicBezTo>
                  <a:cubicBezTo>
                    <a:pt x="162" y="40"/>
                    <a:pt x="161" y="40"/>
                    <a:pt x="161" y="39"/>
                  </a:cubicBezTo>
                  <a:cubicBezTo>
                    <a:pt x="161" y="38"/>
                    <a:pt x="162" y="38"/>
                    <a:pt x="163" y="38"/>
                  </a:cubicBezTo>
                  <a:cubicBezTo>
                    <a:pt x="163" y="37"/>
                    <a:pt x="164" y="37"/>
                    <a:pt x="164" y="37"/>
                  </a:cubicBezTo>
                  <a:cubicBezTo>
                    <a:pt x="164" y="36"/>
                    <a:pt x="164" y="36"/>
                    <a:pt x="164" y="35"/>
                  </a:cubicBezTo>
                  <a:cubicBezTo>
                    <a:pt x="163" y="35"/>
                    <a:pt x="163" y="35"/>
                    <a:pt x="162" y="35"/>
                  </a:cubicBezTo>
                  <a:cubicBezTo>
                    <a:pt x="162" y="35"/>
                    <a:pt x="162" y="35"/>
                    <a:pt x="161" y="34"/>
                  </a:cubicBezTo>
                  <a:cubicBezTo>
                    <a:pt x="161" y="34"/>
                    <a:pt x="161" y="33"/>
                    <a:pt x="161" y="32"/>
                  </a:cubicBezTo>
                  <a:cubicBezTo>
                    <a:pt x="162" y="31"/>
                    <a:pt x="162" y="32"/>
                    <a:pt x="163" y="32"/>
                  </a:cubicBezTo>
                  <a:cubicBezTo>
                    <a:pt x="163" y="32"/>
                    <a:pt x="164" y="32"/>
                    <a:pt x="164" y="32"/>
                  </a:cubicBezTo>
                  <a:cubicBezTo>
                    <a:pt x="165" y="32"/>
                    <a:pt x="165" y="31"/>
                    <a:pt x="165" y="31"/>
                  </a:cubicBezTo>
                  <a:cubicBezTo>
                    <a:pt x="166" y="30"/>
                    <a:pt x="166" y="30"/>
                    <a:pt x="166" y="30"/>
                  </a:cubicBezTo>
                  <a:cubicBezTo>
                    <a:pt x="167" y="29"/>
                    <a:pt x="167" y="29"/>
                    <a:pt x="168" y="29"/>
                  </a:cubicBezTo>
                  <a:cubicBezTo>
                    <a:pt x="168" y="29"/>
                    <a:pt x="169" y="29"/>
                    <a:pt x="169" y="28"/>
                  </a:cubicBezTo>
                  <a:cubicBezTo>
                    <a:pt x="169" y="28"/>
                    <a:pt x="168" y="28"/>
                    <a:pt x="168" y="28"/>
                  </a:cubicBezTo>
                  <a:cubicBezTo>
                    <a:pt x="167" y="27"/>
                    <a:pt x="167" y="26"/>
                    <a:pt x="167" y="26"/>
                  </a:cubicBezTo>
                  <a:cubicBezTo>
                    <a:pt x="168" y="25"/>
                    <a:pt x="169" y="25"/>
                    <a:pt x="169" y="25"/>
                  </a:cubicBezTo>
                  <a:cubicBezTo>
                    <a:pt x="170" y="25"/>
                    <a:pt x="170" y="25"/>
                    <a:pt x="170" y="26"/>
                  </a:cubicBezTo>
                  <a:cubicBezTo>
                    <a:pt x="171" y="26"/>
                    <a:pt x="171" y="26"/>
                    <a:pt x="171" y="26"/>
                  </a:cubicBezTo>
                  <a:cubicBezTo>
                    <a:pt x="172" y="25"/>
                    <a:pt x="171" y="25"/>
                    <a:pt x="171" y="25"/>
                  </a:cubicBezTo>
                  <a:cubicBezTo>
                    <a:pt x="171" y="24"/>
                    <a:pt x="169" y="21"/>
                    <a:pt x="169" y="21"/>
                  </a:cubicBezTo>
                  <a:cubicBezTo>
                    <a:pt x="147" y="21"/>
                    <a:pt x="147" y="21"/>
                    <a:pt x="147" y="21"/>
                  </a:cubicBezTo>
                  <a:cubicBezTo>
                    <a:pt x="147" y="20"/>
                    <a:pt x="147" y="20"/>
                    <a:pt x="147" y="20"/>
                  </a:cubicBezTo>
                  <a:cubicBezTo>
                    <a:pt x="147" y="20"/>
                    <a:pt x="150" y="16"/>
                    <a:pt x="150" y="15"/>
                  </a:cubicBezTo>
                  <a:cubicBezTo>
                    <a:pt x="150" y="15"/>
                    <a:pt x="153" y="12"/>
                    <a:pt x="153" y="12"/>
                  </a:cubicBezTo>
                  <a:cubicBezTo>
                    <a:pt x="153" y="12"/>
                    <a:pt x="157" y="9"/>
                    <a:pt x="157" y="9"/>
                  </a:cubicBezTo>
                  <a:cubicBezTo>
                    <a:pt x="157" y="4"/>
                    <a:pt x="157" y="4"/>
                    <a:pt x="157" y="4"/>
                  </a:cubicBezTo>
                  <a:cubicBezTo>
                    <a:pt x="154" y="2"/>
                    <a:pt x="154" y="2"/>
                    <a:pt x="154" y="2"/>
                  </a:cubicBezTo>
                  <a:cubicBezTo>
                    <a:pt x="154" y="0"/>
                    <a:pt x="154" y="0"/>
                    <a:pt x="154" y="0"/>
                  </a:cubicBezTo>
                  <a:cubicBezTo>
                    <a:pt x="0" y="0"/>
                    <a:pt x="0" y="0"/>
                    <a:pt x="0" y="0"/>
                  </a:cubicBezTo>
                  <a:cubicBezTo>
                    <a:pt x="6" y="43"/>
                    <a:pt x="6" y="43"/>
                    <a:pt x="6" y="43"/>
                  </a:cubicBezTo>
                  <a:cubicBezTo>
                    <a:pt x="6" y="50"/>
                    <a:pt x="6" y="50"/>
                    <a:pt x="6" y="50"/>
                  </a:cubicBezTo>
                  <a:cubicBezTo>
                    <a:pt x="5" y="120"/>
                    <a:pt x="5" y="120"/>
                    <a:pt x="5" y="120"/>
                  </a:cubicBezTo>
                  <a:cubicBezTo>
                    <a:pt x="5" y="120"/>
                    <a:pt x="6" y="121"/>
                    <a:pt x="6" y="121"/>
                  </a:cubicBezTo>
                  <a:cubicBezTo>
                    <a:pt x="5" y="122"/>
                    <a:pt x="5" y="122"/>
                    <a:pt x="5" y="122"/>
                  </a:cubicBezTo>
                  <a:cubicBezTo>
                    <a:pt x="5" y="122"/>
                    <a:pt x="6" y="123"/>
                    <a:pt x="6" y="123"/>
                  </a:cubicBezTo>
                  <a:cubicBezTo>
                    <a:pt x="7" y="123"/>
                    <a:pt x="8" y="122"/>
                    <a:pt x="8" y="123"/>
                  </a:cubicBezTo>
                  <a:cubicBezTo>
                    <a:pt x="8" y="124"/>
                    <a:pt x="7" y="124"/>
                    <a:pt x="8" y="124"/>
                  </a:cubicBezTo>
                  <a:cubicBezTo>
                    <a:pt x="8" y="124"/>
                    <a:pt x="8" y="125"/>
                    <a:pt x="9" y="124"/>
                  </a:cubicBezTo>
                  <a:cubicBezTo>
                    <a:pt x="9" y="124"/>
                    <a:pt x="9" y="124"/>
                    <a:pt x="9" y="124"/>
                  </a:cubicBezTo>
                  <a:cubicBezTo>
                    <a:pt x="9" y="124"/>
                    <a:pt x="9" y="124"/>
                    <a:pt x="9" y="124"/>
                  </a:cubicBezTo>
                  <a:cubicBezTo>
                    <a:pt x="10" y="124"/>
                    <a:pt x="10" y="123"/>
                    <a:pt x="10" y="124"/>
                  </a:cubicBezTo>
                  <a:cubicBezTo>
                    <a:pt x="11" y="123"/>
                    <a:pt x="11" y="123"/>
                    <a:pt x="11" y="123"/>
                  </a:cubicBezTo>
                  <a:cubicBezTo>
                    <a:pt x="11" y="124"/>
                    <a:pt x="12" y="124"/>
                    <a:pt x="12" y="124"/>
                  </a:cubicBezTo>
                  <a:cubicBezTo>
                    <a:pt x="12" y="124"/>
                    <a:pt x="12" y="123"/>
                    <a:pt x="12" y="123"/>
                  </a:cubicBezTo>
                  <a:cubicBezTo>
                    <a:pt x="13" y="123"/>
                    <a:pt x="13" y="123"/>
                    <a:pt x="13" y="124"/>
                  </a:cubicBezTo>
                  <a:cubicBezTo>
                    <a:pt x="13" y="124"/>
                    <a:pt x="14" y="124"/>
                    <a:pt x="14" y="124"/>
                  </a:cubicBezTo>
                  <a:cubicBezTo>
                    <a:pt x="14" y="123"/>
                    <a:pt x="14" y="122"/>
                    <a:pt x="15" y="123"/>
                  </a:cubicBezTo>
                  <a:cubicBezTo>
                    <a:pt x="16" y="123"/>
                    <a:pt x="16" y="123"/>
                    <a:pt x="16" y="123"/>
                  </a:cubicBezTo>
                  <a:cubicBezTo>
                    <a:pt x="16" y="123"/>
                    <a:pt x="16" y="123"/>
                    <a:pt x="16" y="124"/>
                  </a:cubicBezTo>
                  <a:cubicBezTo>
                    <a:pt x="17" y="124"/>
                    <a:pt x="17" y="124"/>
                    <a:pt x="18" y="123"/>
                  </a:cubicBezTo>
                  <a:cubicBezTo>
                    <a:pt x="18" y="123"/>
                    <a:pt x="19" y="122"/>
                    <a:pt x="19" y="123"/>
                  </a:cubicBezTo>
                  <a:cubicBezTo>
                    <a:pt x="19" y="123"/>
                    <a:pt x="19" y="124"/>
                    <a:pt x="19" y="124"/>
                  </a:cubicBezTo>
                  <a:cubicBezTo>
                    <a:pt x="19" y="125"/>
                    <a:pt x="20" y="125"/>
                    <a:pt x="20" y="126"/>
                  </a:cubicBezTo>
                  <a:cubicBezTo>
                    <a:pt x="20" y="146"/>
                    <a:pt x="20" y="146"/>
                    <a:pt x="20" y="146"/>
                  </a:cubicBezTo>
                  <a:cubicBezTo>
                    <a:pt x="119" y="146"/>
                    <a:pt x="119" y="146"/>
                    <a:pt x="119" y="146"/>
                  </a:cubicBezTo>
                  <a:cubicBezTo>
                    <a:pt x="120" y="146"/>
                    <a:pt x="121" y="145"/>
                    <a:pt x="120" y="144"/>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1" name="Freeform 54">
              <a:extLst>
                <a:ext uri="{FF2B5EF4-FFF2-40B4-BE49-F238E27FC236}">
                  <a16:creationId xmlns:a16="http://schemas.microsoft.com/office/drawing/2014/main" id="{320B1C65-CC70-7FF4-5935-15E501036E28}"/>
                </a:ext>
              </a:extLst>
            </p:cNvPr>
            <p:cNvSpPr>
              <a:spLocks/>
            </p:cNvSpPr>
            <p:nvPr/>
          </p:nvSpPr>
          <p:spPr bwMode="auto">
            <a:xfrm>
              <a:off x="3874574" y="3216769"/>
              <a:ext cx="791406" cy="935148"/>
            </a:xfrm>
            <a:custGeom>
              <a:avLst/>
              <a:gdLst>
                <a:gd name="T0" fmla="*/ 27 w 200"/>
                <a:gd name="T1" fmla="*/ 35 h 236"/>
                <a:gd name="T2" fmla="*/ 24 w 200"/>
                <a:gd name="T3" fmla="*/ 38 h 236"/>
                <a:gd name="T4" fmla="*/ 22 w 200"/>
                <a:gd name="T5" fmla="*/ 42 h 236"/>
                <a:gd name="T6" fmla="*/ 16 w 200"/>
                <a:gd name="T7" fmla="*/ 39 h 236"/>
                <a:gd name="T8" fmla="*/ 12 w 200"/>
                <a:gd name="T9" fmla="*/ 38 h 236"/>
                <a:gd name="T10" fmla="*/ 9 w 200"/>
                <a:gd name="T11" fmla="*/ 37 h 236"/>
                <a:gd name="T12" fmla="*/ 4 w 200"/>
                <a:gd name="T13" fmla="*/ 38 h 236"/>
                <a:gd name="T14" fmla="*/ 4 w 200"/>
                <a:gd name="T15" fmla="*/ 41 h 236"/>
                <a:gd name="T16" fmla="*/ 4 w 200"/>
                <a:gd name="T17" fmla="*/ 47 h 236"/>
                <a:gd name="T18" fmla="*/ 4 w 200"/>
                <a:gd name="T19" fmla="*/ 50 h 236"/>
                <a:gd name="T20" fmla="*/ 4 w 200"/>
                <a:gd name="T21" fmla="*/ 55 h 236"/>
                <a:gd name="T22" fmla="*/ 5 w 200"/>
                <a:gd name="T23" fmla="*/ 62 h 236"/>
                <a:gd name="T24" fmla="*/ 7 w 200"/>
                <a:gd name="T25" fmla="*/ 68 h 236"/>
                <a:gd name="T26" fmla="*/ 8 w 200"/>
                <a:gd name="T27" fmla="*/ 74 h 236"/>
                <a:gd name="T28" fmla="*/ 8 w 200"/>
                <a:gd name="T29" fmla="*/ 80 h 236"/>
                <a:gd name="T30" fmla="*/ 7 w 200"/>
                <a:gd name="T31" fmla="*/ 81 h 236"/>
                <a:gd name="T32" fmla="*/ 7 w 200"/>
                <a:gd name="T33" fmla="*/ 85 h 236"/>
                <a:gd name="T34" fmla="*/ 11 w 200"/>
                <a:gd name="T35" fmla="*/ 96 h 236"/>
                <a:gd name="T36" fmla="*/ 15 w 200"/>
                <a:gd name="T37" fmla="*/ 108 h 236"/>
                <a:gd name="T38" fmla="*/ 23 w 200"/>
                <a:gd name="T39" fmla="*/ 113 h 236"/>
                <a:gd name="T40" fmla="*/ 23 w 200"/>
                <a:gd name="T41" fmla="*/ 117 h 236"/>
                <a:gd name="T42" fmla="*/ 14 w 200"/>
                <a:gd name="T43" fmla="*/ 123 h 236"/>
                <a:gd name="T44" fmla="*/ 10 w 200"/>
                <a:gd name="T45" fmla="*/ 129 h 236"/>
                <a:gd name="T46" fmla="*/ 10 w 200"/>
                <a:gd name="T47" fmla="*/ 142 h 236"/>
                <a:gd name="T48" fmla="*/ 7 w 200"/>
                <a:gd name="T49" fmla="*/ 151 h 236"/>
                <a:gd name="T50" fmla="*/ 4 w 200"/>
                <a:gd name="T51" fmla="*/ 155 h 236"/>
                <a:gd name="T52" fmla="*/ 5 w 200"/>
                <a:gd name="T53" fmla="*/ 158 h 236"/>
                <a:gd name="T54" fmla="*/ 4 w 200"/>
                <a:gd name="T55" fmla="*/ 164 h 236"/>
                <a:gd name="T56" fmla="*/ 5 w 200"/>
                <a:gd name="T57" fmla="*/ 168 h 236"/>
                <a:gd name="T58" fmla="*/ 11 w 200"/>
                <a:gd name="T59" fmla="*/ 169 h 236"/>
                <a:gd name="T60" fmla="*/ 12 w 200"/>
                <a:gd name="T61" fmla="*/ 175 h 236"/>
                <a:gd name="T62" fmla="*/ 10 w 200"/>
                <a:gd name="T63" fmla="*/ 179 h 236"/>
                <a:gd name="T64" fmla="*/ 4 w 200"/>
                <a:gd name="T65" fmla="*/ 180 h 236"/>
                <a:gd name="T66" fmla="*/ 0 w 200"/>
                <a:gd name="T67" fmla="*/ 189 h 236"/>
                <a:gd name="T68" fmla="*/ 199 w 200"/>
                <a:gd name="T69" fmla="*/ 236 h 236"/>
                <a:gd name="T70" fmla="*/ 27 w 200"/>
                <a:gd name="T71"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 h="236">
                  <a:moveTo>
                    <a:pt x="27" y="0"/>
                  </a:moveTo>
                  <a:cubicBezTo>
                    <a:pt x="27" y="35"/>
                    <a:pt x="27" y="35"/>
                    <a:pt x="27" y="35"/>
                  </a:cubicBezTo>
                  <a:cubicBezTo>
                    <a:pt x="27" y="35"/>
                    <a:pt x="26" y="35"/>
                    <a:pt x="25" y="36"/>
                  </a:cubicBezTo>
                  <a:cubicBezTo>
                    <a:pt x="25" y="37"/>
                    <a:pt x="25" y="38"/>
                    <a:pt x="24" y="38"/>
                  </a:cubicBezTo>
                  <a:cubicBezTo>
                    <a:pt x="24" y="39"/>
                    <a:pt x="24" y="40"/>
                    <a:pt x="24" y="41"/>
                  </a:cubicBezTo>
                  <a:cubicBezTo>
                    <a:pt x="23" y="42"/>
                    <a:pt x="23" y="42"/>
                    <a:pt x="22" y="42"/>
                  </a:cubicBezTo>
                  <a:cubicBezTo>
                    <a:pt x="21" y="43"/>
                    <a:pt x="20" y="42"/>
                    <a:pt x="19" y="41"/>
                  </a:cubicBezTo>
                  <a:cubicBezTo>
                    <a:pt x="18" y="41"/>
                    <a:pt x="17" y="39"/>
                    <a:pt x="16" y="39"/>
                  </a:cubicBezTo>
                  <a:cubicBezTo>
                    <a:pt x="16" y="38"/>
                    <a:pt x="14" y="37"/>
                    <a:pt x="14" y="37"/>
                  </a:cubicBezTo>
                  <a:cubicBezTo>
                    <a:pt x="14" y="37"/>
                    <a:pt x="13" y="38"/>
                    <a:pt x="12" y="38"/>
                  </a:cubicBezTo>
                  <a:cubicBezTo>
                    <a:pt x="11" y="38"/>
                    <a:pt x="11" y="37"/>
                    <a:pt x="11" y="37"/>
                  </a:cubicBezTo>
                  <a:cubicBezTo>
                    <a:pt x="10" y="36"/>
                    <a:pt x="9" y="37"/>
                    <a:pt x="9" y="37"/>
                  </a:cubicBezTo>
                  <a:cubicBezTo>
                    <a:pt x="8" y="37"/>
                    <a:pt x="7" y="37"/>
                    <a:pt x="6" y="38"/>
                  </a:cubicBezTo>
                  <a:cubicBezTo>
                    <a:pt x="6" y="38"/>
                    <a:pt x="5" y="38"/>
                    <a:pt x="4" y="38"/>
                  </a:cubicBezTo>
                  <a:cubicBezTo>
                    <a:pt x="3" y="39"/>
                    <a:pt x="3" y="39"/>
                    <a:pt x="3" y="39"/>
                  </a:cubicBezTo>
                  <a:cubicBezTo>
                    <a:pt x="3" y="39"/>
                    <a:pt x="3" y="40"/>
                    <a:pt x="4" y="41"/>
                  </a:cubicBezTo>
                  <a:cubicBezTo>
                    <a:pt x="4" y="42"/>
                    <a:pt x="4" y="44"/>
                    <a:pt x="4" y="45"/>
                  </a:cubicBezTo>
                  <a:cubicBezTo>
                    <a:pt x="4" y="46"/>
                    <a:pt x="4" y="46"/>
                    <a:pt x="4" y="47"/>
                  </a:cubicBezTo>
                  <a:cubicBezTo>
                    <a:pt x="4" y="47"/>
                    <a:pt x="6" y="48"/>
                    <a:pt x="6" y="48"/>
                  </a:cubicBezTo>
                  <a:cubicBezTo>
                    <a:pt x="6" y="48"/>
                    <a:pt x="4" y="50"/>
                    <a:pt x="4" y="50"/>
                  </a:cubicBezTo>
                  <a:cubicBezTo>
                    <a:pt x="3" y="51"/>
                    <a:pt x="4" y="52"/>
                    <a:pt x="4" y="53"/>
                  </a:cubicBezTo>
                  <a:cubicBezTo>
                    <a:pt x="4" y="54"/>
                    <a:pt x="4" y="54"/>
                    <a:pt x="4" y="55"/>
                  </a:cubicBezTo>
                  <a:cubicBezTo>
                    <a:pt x="4" y="56"/>
                    <a:pt x="5" y="59"/>
                    <a:pt x="6" y="59"/>
                  </a:cubicBezTo>
                  <a:cubicBezTo>
                    <a:pt x="6" y="60"/>
                    <a:pt x="6" y="61"/>
                    <a:pt x="5" y="62"/>
                  </a:cubicBezTo>
                  <a:cubicBezTo>
                    <a:pt x="5" y="63"/>
                    <a:pt x="5" y="64"/>
                    <a:pt x="5" y="65"/>
                  </a:cubicBezTo>
                  <a:cubicBezTo>
                    <a:pt x="5" y="66"/>
                    <a:pt x="6" y="67"/>
                    <a:pt x="7" y="68"/>
                  </a:cubicBezTo>
                  <a:cubicBezTo>
                    <a:pt x="7" y="69"/>
                    <a:pt x="8" y="71"/>
                    <a:pt x="8" y="71"/>
                  </a:cubicBezTo>
                  <a:cubicBezTo>
                    <a:pt x="8" y="72"/>
                    <a:pt x="9" y="74"/>
                    <a:pt x="8" y="74"/>
                  </a:cubicBezTo>
                  <a:cubicBezTo>
                    <a:pt x="8" y="75"/>
                    <a:pt x="9" y="77"/>
                    <a:pt x="9" y="78"/>
                  </a:cubicBezTo>
                  <a:cubicBezTo>
                    <a:pt x="10" y="78"/>
                    <a:pt x="8" y="80"/>
                    <a:pt x="8" y="80"/>
                  </a:cubicBezTo>
                  <a:cubicBezTo>
                    <a:pt x="8" y="80"/>
                    <a:pt x="7" y="81"/>
                    <a:pt x="6" y="81"/>
                  </a:cubicBezTo>
                  <a:cubicBezTo>
                    <a:pt x="6" y="81"/>
                    <a:pt x="7" y="81"/>
                    <a:pt x="7" y="81"/>
                  </a:cubicBezTo>
                  <a:cubicBezTo>
                    <a:pt x="8" y="82"/>
                    <a:pt x="7" y="83"/>
                    <a:pt x="7" y="83"/>
                  </a:cubicBezTo>
                  <a:cubicBezTo>
                    <a:pt x="7" y="83"/>
                    <a:pt x="7" y="85"/>
                    <a:pt x="7" y="85"/>
                  </a:cubicBezTo>
                  <a:cubicBezTo>
                    <a:pt x="7" y="85"/>
                    <a:pt x="6" y="90"/>
                    <a:pt x="7" y="90"/>
                  </a:cubicBezTo>
                  <a:cubicBezTo>
                    <a:pt x="7" y="91"/>
                    <a:pt x="11" y="96"/>
                    <a:pt x="11" y="96"/>
                  </a:cubicBezTo>
                  <a:cubicBezTo>
                    <a:pt x="15" y="104"/>
                    <a:pt x="15" y="104"/>
                    <a:pt x="15" y="104"/>
                  </a:cubicBezTo>
                  <a:cubicBezTo>
                    <a:pt x="15" y="104"/>
                    <a:pt x="15" y="108"/>
                    <a:pt x="15" y="108"/>
                  </a:cubicBezTo>
                  <a:cubicBezTo>
                    <a:pt x="16" y="109"/>
                    <a:pt x="17" y="108"/>
                    <a:pt x="18" y="108"/>
                  </a:cubicBezTo>
                  <a:cubicBezTo>
                    <a:pt x="18" y="108"/>
                    <a:pt x="23" y="112"/>
                    <a:pt x="23" y="113"/>
                  </a:cubicBezTo>
                  <a:cubicBezTo>
                    <a:pt x="23" y="113"/>
                    <a:pt x="23" y="115"/>
                    <a:pt x="23" y="115"/>
                  </a:cubicBezTo>
                  <a:cubicBezTo>
                    <a:pt x="23" y="115"/>
                    <a:pt x="23" y="117"/>
                    <a:pt x="23" y="117"/>
                  </a:cubicBezTo>
                  <a:cubicBezTo>
                    <a:pt x="18" y="121"/>
                    <a:pt x="18" y="121"/>
                    <a:pt x="18" y="121"/>
                  </a:cubicBezTo>
                  <a:cubicBezTo>
                    <a:pt x="14" y="123"/>
                    <a:pt x="14" y="123"/>
                    <a:pt x="14" y="123"/>
                  </a:cubicBezTo>
                  <a:cubicBezTo>
                    <a:pt x="14" y="126"/>
                    <a:pt x="14" y="126"/>
                    <a:pt x="14" y="126"/>
                  </a:cubicBezTo>
                  <a:cubicBezTo>
                    <a:pt x="10" y="129"/>
                    <a:pt x="10" y="129"/>
                    <a:pt x="10" y="129"/>
                  </a:cubicBezTo>
                  <a:cubicBezTo>
                    <a:pt x="12" y="139"/>
                    <a:pt x="12" y="139"/>
                    <a:pt x="12" y="139"/>
                  </a:cubicBezTo>
                  <a:cubicBezTo>
                    <a:pt x="10" y="142"/>
                    <a:pt x="10" y="142"/>
                    <a:pt x="10" y="142"/>
                  </a:cubicBezTo>
                  <a:cubicBezTo>
                    <a:pt x="11" y="146"/>
                    <a:pt x="11" y="146"/>
                    <a:pt x="11" y="146"/>
                  </a:cubicBezTo>
                  <a:cubicBezTo>
                    <a:pt x="7" y="151"/>
                    <a:pt x="7" y="151"/>
                    <a:pt x="7" y="151"/>
                  </a:cubicBezTo>
                  <a:cubicBezTo>
                    <a:pt x="4" y="152"/>
                    <a:pt x="4" y="152"/>
                    <a:pt x="4" y="152"/>
                  </a:cubicBezTo>
                  <a:cubicBezTo>
                    <a:pt x="4" y="155"/>
                    <a:pt x="4" y="155"/>
                    <a:pt x="4" y="155"/>
                  </a:cubicBezTo>
                  <a:cubicBezTo>
                    <a:pt x="4" y="155"/>
                    <a:pt x="3" y="156"/>
                    <a:pt x="3" y="156"/>
                  </a:cubicBezTo>
                  <a:cubicBezTo>
                    <a:pt x="3" y="157"/>
                    <a:pt x="5" y="157"/>
                    <a:pt x="5" y="158"/>
                  </a:cubicBezTo>
                  <a:cubicBezTo>
                    <a:pt x="6" y="158"/>
                    <a:pt x="6" y="159"/>
                    <a:pt x="6" y="159"/>
                  </a:cubicBezTo>
                  <a:cubicBezTo>
                    <a:pt x="6" y="159"/>
                    <a:pt x="4" y="163"/>
                    <a:pt x="4" y="164"/>
                  </a:cubicBezTo>
                  <a:cubicBezTo>
                    <a:pt x="4" y="164"/>
                    <a:pt x="4" y="166"/>
                    <a:pt x="5" y="166"/>
                  </a:cubicBezTo>
                  <a:cubicBezTo>
                    <a:pt x="5" y="166"/>
                    <a:pt x="5" y="168"/>
                    <a:pt x="5" y="168"/>
                  </a:cubicBezTo>
                  <a:cubicBezTo>
                    <a:pt x="5" y="168"/>
                    <a:pt x="11" y="167"/>
                    <a:pt x="11" y="168"/>
                  </a:cubicBezTo>
                  <a:cubicBezTo>
                    <a:pt x="11" y="168"/>
                    <a:pt x="11" y="169"/>
                    <a:pt x="11" y="169"/>
                  </a:cubicBezTo>
                  <a:cubicBezTo>
                    <a:pt x="13" y="170"/>
                    <a:pt x="13" y="170"/>
                    <a:pt x="13" y="170"/>
                  </a:cubicBezTo>
                  <a:cubicBezTo>
                    <a:pt x="13" y="170"/>
                    <a:pt x="12" y="175"/>
                    <a:pt x="12" y="175"/>
                  </a:cubicBezTo>
                  <a:cubicBezTo>
                    <a:pt x="12" y="175"/>
                    <a:pt x="10" y="176"/>
                    <a:pt x="10" y="176"/>
                  </a:cubicBezTo>
                  <a:cubicBezTo>
                    <a:pt x="10" y="179"/>
                    <a:pt x="10" y="179"/>
                    <a:pt x="10" y="179"/>
                  </a:cubicBezTo>
                  <a:cubicBezTo>
                    <a:pt x="9" y="180"/>
                    <a:pt x="9" y="180"/>
                    <a:pt x="9" y="180"/>
                  </a:cubicBezTo>
                  <a:cubicBezTo>
                    <a:pt x="4" y="180"/>
                    <a:pt x="4" y="180"/>
                    <a:pt x="4" y="180"/>
                  </a:cubicBezTo>
                  <a:cubicBezTo>
                    <a:pt x="0" y="184"/>
                    <a:pt x="0" y="184"/>
                    <a:pt x="0" y="184"/>
                  </a:cubicBezTo>
                  <a:cubicBezTo>
                    <a:pt x="0" y="189"/>
                    <a:pt x="0" y="189"/>
                    <a:pt x="0" y="189"/>
                  </a:cubicBezTo>
                  <a:cubicBezTo>
                    <a:pt x="129" y="236"/>
                    <a:pt x="129" y="236"/>
                    <a:pt x="129" y="236"/>
                  </a:cubicBezTo>
                  <a:cubicBezTo>
                    <a:pt x="199" y="236"/>
                    <a:pt x="199" y="236"/>
                    <a:pt x="199" y="236"/>
                  </a:cubicBezTo>
                  <a:cubicBezTo>
                    <a:pt x="200" y="0"/>
                    <a:pt x="200" y="0"/>
                    <a:pt x="200" y="0"/>
                  </a:cubicBezTo>
                  <a:lnTo>
                    <a:pt x="27" y="0"/>
                  </a:ln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2" name="Freeform 55">
              <a:extLst>
                <a:ext uri="{FF2B5EF4-FFF2-40B4-BE49-F238E27FC236}">
                  <a16:creationId xmlns:a16="http://schemas.microsoft.com/office/drawing/2014/main" id="{71D50BAA-CDDE-1356-E2B8-035E0D619A69}"/>
                </a:ext>
              </a:extLst>
            </p:cNvPr>
            <p:cNvSpPr>
              <a:spLocks/>
            </p:cNvSpPr>
            <p:nvPr/>
          </p:nvSpPr>
          <p:spPr bwMode="auto">
            <a:xfrm>
              <a:off x="7479682" y="3557123"/>
              <a:ext cx="485748" cy="773232"/>
            </a:xfrm>
            <a:custGeom>
              <a:avLst/>
              <a:gdLst>
                <a:gd name="T0" fmla="*/ 37 w 123"/>
                <a:gd name="T1" fmla="*/ 179 h 195"/>
                <a:gd name="T2" fmla="*/ 34 w 123"/>
                <a:gd name="T3" fmla="*/ 176 h 195"/>
                <a:gd name="T4" fmla="*/ 31 w 123"/>
                <a:gd name="T5" fmla="*/ 172 h 195"/>
                <a:gd name="T6" fmla="*/ 30 w 123"/>
                <a:gd name="T7" fmla="*/ 167 h 195"/>
                <a:gd name="T8" fmla="*/ 120 w 123"/>
                <a:gd name="T9" fmla="*/ 164 h 195"/>
                <a:gd name="T10" fmla="*/ 117 w 123"/>
                <a:gd name="T11" fmla="*/ 158 h 195"/>
                <a:gd name="T12" fmla="*/ 116 w 123"/>
                <a:gd name="T13" fmla="*/ 152 h 195"/>
                <a:gd name="T14" fmla="*/ 118 w 123"/>
                <a:gd name="T15" fmla="*/ 144 h 195"/>
                <a:gd name="T16" fmla="*/ 115 w 123"/>
                <a:gd name="T17" fmla="*/ 133 h 195"/>
                <a:gd name="T18" fmla="*/ 117 w 123"/>
                <a:gd name="T19" fmla="*/ 125 h 195"/>
                <a:gd name="T20" fmla="*/ 118 w 123"/>
                <a:gd name="T21" fmla="*/ 119 h 195"/>
                <a:gd name="T22" fmla="*/ 123 w 123"/>
                <a:gd name="T23" fmla="*/ 113 h 195"/>
                <a:gd name="T24" fmla="*/ 120 w 123"/>
                <a:gd name="T25" fmla="*/ 110 h 195"/>
                <a:gd name="T26" fmla="*/ 120 w 123"/>
                <a:gd name="T27" fmla="*/ 105 h 195"/>
                <a:gd name="T28" fmla="*/ 116 w 123"/>
                <a:gd name="T29" fmla="*/ 96 h 195"/>
                <a:gd name="T30" fmla="*/ 115 w 123"/>
                <a:gd name="T31" fmla="*/ 92 h 195"/>
                <a:gd name="T32" fmla="*/ 99 w 123"/>
                <a:gd name="T33" fmla="*/ 0 h 195"/>
                <a:gd name="T34" fmla="*/ 11 w 123"/>
                <a:gd name="T35" fmla="*/ 3 h 195"/>
                <a:gd name="T36" fmla="*/ 0 w 123"/>
                <a:gd name="T37" fmla="*/ 126 h 195"/>
                <a:gd name="T38" fmla="*/ 4 w 123"/>
                <a:gd name="T39" fmla="*/ 189 h 195"/>
                <a:gd name="T40" fmla="*/ 11 w 123"/>
                <a:gd name="T41" fmla="*/ 189 h 195"/>
                <a:gd name="T42" fmla="*/ 13 w 123"/>
                <a:gd name="T43" fmla="*/ 187 h 195"/>
                <a:gd name="T44" fmla="*/ 14 w 123"/>
                <a:gd name="T45" fmla="*/ 181 h 195"/>
                <a:gd name="T46" fmla="*/ 15 w 123"/>
                <a:gd name="T47" fmla="*/ 179 h 195"/>
                <a:gd name="T48" fmla="*/ 17 w 123"/>
                <a:gd name="T49" fmla="*/ 177 h 195"/>
                <a:gd name="T50" fmla="*/ 19 w 123"/>
                <a:gd name="T51" fmla="*/ 180 h 195"/>
                <a:gd name="T52" fmla="*/ 20 w 123"/>
                <a:gd name="T53" fmla="*/ 188 h 195"/>
                <a:gd name="T54" fmla="*/ 22 w 123"/>
                <a:gd name="T55" fmla="*/ 190 h 195"/>
                <a:gd name="T56" fmla="*/ 25 w 123"/>
                <a:gd name="T57" fmla="*/ 194 h 195"/>
                <a:gd name="T58" fmla="*/ 20 w 123"/>
                <a:gd name="T59" fmla="*/ 195 h 195"/>
                <a:gd name="T60" fmla="*/ 25 w 123"/>
                <a:gd name="T61" fmla="*/ 195 h 195"/>
                <a:gd name="T62" fmla="*/ 28 w 123"/>
                <a:gd name="T63" fmla="*/ 195 h 195"/>
                <a:gd name="T64" fmla="*/ 31 w 123"/>
                <a:gd name="T65" fmla="*/ 193 h 195"/>
                <a:gd name="T66" fmla="*/ 36 w 123"/>
                <a:gd name="T67" fmla="*/ 189 h 195"/>
                <a:gd name="T68" fmla="*/ 36 w 123"/>
                <a:gd name="T69" fmla="*/ 185 h 195"/>
                <a:gd name="T70" fmla="*/ 36 w 123"/>
                <a:gd name="T71" fmla="*/ 18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3" h="195">
                  <a:moveTo>
                    <a:pt x="36" y="181"/>
                  </a:moveTo>
                  <a:cubicBezTo>
                    <a:pt x="36" y="181"/>
                    <a:pt x="37" y="179"/>
                    <a:pt x="37" y="179"/>
                  </a:cubicBezTo>
                  <a:cubicBezTo>
                    <a:pt x="37" y="179"/>
                    <a:pt x="37" y="177"/>
                    <a:pt x="37" y="177"/>
                  </a:cubicBezTo>
                  <a:cubicBezTo>
                    <a:pt x="37" y="177"/>
                    <a:pt x="34" y="176"/>
                    <a:pt x="34" y="176"/>
                  </a:cubicBezTo>
                  <a:cubicBezTo>
                    <a:pt x="33" y="176"/>
                    <a:pt x="33" y="175"/>
                    <a:pt x="33" y="174"/>
                  </a:cubicBezTo>
                  <a:cubicBezTo>
                    <a:pt x="33" y="174"/>
                    <a:pt x="31" y="173"/>
                    <a:pt x="31" y="172"/>
                  </a:cubicBezTo>
                  <a:cubicBezTo>
                    <a:pt x="31" y="172"/>
                    <a:pt x="29" y="170"/>
                    <a:pt x="29" y="170"/>
                  </a:cubicBezTo>
                  <a:cubicBezTo>
                    <a:pt x="30" y="167"/>
                    <a:pt x="30" y="167"/>
                    <a:pt x="30" y="167"/>
                  </a:cubicBezTo>
                  <a:cubicBezTo>
                    <a:pt x="31" y="164"/>
                    <a:pt x="31" y="164"/>
                    <a:pt x="31" y="164"/>
                  </a:cubicBezTo>
                  <a:cubicBezTo>
                    <a:pt x="120" y="164"/>
                    <a:pt x="120" y="164"/>
                    <a:pt x="120" y="164"/>
                  </a:cubicBezTo>
                  <a:cubicBezTo>
                    <a:pt x="120" y="164"/>
                    <a:pt x="119" y="161"/>
                    <a:pt x="119" y="160"/>
                  </a:cubicBezTo>
                  <a:cubicBezTo>
                    <a:pt x="119" y="160"/>
                    <a:pt x="118" y="159"/>
                    <a:pt x="117" y="158"/>
                  </a:cubicBezTo>
                  <a:cubicBezTo>
                    <a:pt x="117" y="157"/>
                    <a:pt x="116" y="156"/>
                    <a:pt x="116" y="156"/>
                  </a:cubicBezTo>
                  <a:cubicBezTo>
                    <a:pt x="116" y="155"/>
                    <a:pt x="116" y="152"/>
                    <a:pt x="116" y="152"/>
                  </a:cubicBezTo>
                  <a:cubicBezTo>
                    <a:pt x="116" y="152"/>
                    <a:pt x="117" y="149"/>
                    <a:pt x="117" y="149"/>
                  </a:cubicBezTo>
                  <a:cubicBezTo>
                    <a:pt x="118" y="148"/>
                    <a:pt x="118" y="144"/>
                    <a:pt x="118" y="144"/>
                  </a:cubicBezTo>
                  <a:cubicBezTo>
                    <a:pt x="118" y="143"/>
                    <a:pt x="117" y="138"/>
                    <a:pt x="117" y="137"/>
                  </a:cubicBezTo>
                  <a:cubicBezTo>
                    <a:pt x="116" y="137"/>
                    <a:pt x="115" y="134"/>
                    <a:pt x="115" y="133"/>
                  </a:cubicBezTo>
                  <a:cubicBezTo>
                    <a:pt x="115" y="132"/>
                    <a:pt x="115" y="129"/>
                    <a:pt x="115" y="129"/>
                  </a:cubicBezTo>
                  <a:cubicBezTo>
                    <a:pt x="115" y="128"/>
                    <a:pt x="116" y="126"/>
                    <a:pt x="117" y="125"/>
                  </a:cubicBezTo>
                  <a:cubicBezTo>
                    <a:pt x="117" y="124"/>
                    <a:pt x="118" y="123"/>
                    <a:pt x="118" y="122"/>
                  </a:cubicBezTo>
                  <a:cubicBezTo>
                    <a:pt x="118" y="121"/>
                    <a:pt x="118" y="120"/>
                    <a:pt x="118" y="119"/>
                  </a:cubicBezTo>
                  <a:cubicBezTo>
                    <a:pt x="118" y="118"/>
                    <a:pt x="121" y="116"/>
                    <a:pt x="121" y="115"/>
                  </a:cubicBezTo>
                  <a:cubicBezTo>
                    <a:pt x="121" y="115"/>
                    <a:pt x="123" y="113"/>
                    <a:pt x="123" y="113"/>
                  </a:cubicBezTo>
                  <a:cubicBezTo>
                    <a:pt x="123" y="113"/>
                    <a:pt x="122" y="112"/>
                    <a:pt x="122" y="112"/>
                  </a:cubicBezTo>
                  <a:cubicBezTo>
                    <a:pt x="121" y="111"/>
                    <a:pt x="120" y="111"/>
                    <a:pt x="120" y="110"/>
                  </a:cubicBezTo>
                  <a:cubicBezTo>
                    <a:pt x="120" y="109"/>
                    <a:pt x="120" y="108"/>
                    <a:pt x="120" y="108"/>
                  </a:cubicBezTo>
                  <a:cubicBezTo>
                    <a:pt x="121" y="107"/>
                    <a:pt x="121" y="105"/>
                    <a:pt x="120" y="105"/>
                  </a:cubicBezTo>
                  <a:cubicBezTo>
                    <a:pt x="120" y="105"/>
                    <a:pt x="117" y="100"/>
                    <a:pt x="117" y="99"/>
                  </a:cubicBezTo>
                  <a:cubicBezTo>
                    <a:pt x="117" y="98"/>
                    <a:pt x="116" y="97"/>
                    <a:pt x="116" y="96"/>
                  </a:cubicBezTo>
                  <a:cubicBezTo>
                    <a:pt x="116" y="95"/>
                    <a:pt x="116" y="94"/>
                    <a:pt x="115" y="93"/>
                  </a:cubicBezTo>
                  <a:cubicBezTo>
                    <a:pt x="115" y="93"/>
                    <a:pt x="115" y="92"/>
                    <a:pt x="115" y="92"/>
                  </a:cubicBezTo>
                  <a:cubicBezTo>
                    <a:pt x="115" y="91"/>
                    <a:pt x="114" y="89"/>
                    <a:pt x="114" y="89"/>
                  </a:cubicBezTo>
                  <a:cubicBezTo>
                    <a:pt x="114" y="88"/>
                    <a:pt x="99" y="0"/>
                    <a:pt x="99" y="0"/>
                  </a:cubicBezTo>
                  <a:cubicBezTo>
                    <a:pt x="10" y="0"/>
                    <a:pt x="10" y="0"/>
                    <a:pt x="10" y="0"/>
                  </a:cubicBezTo>
                  <a:cubicBezTo>
                    <a:pt x="11" y="3"/>
                    <a:pt x="11" y="3"/>
                    <a:pt x="11" y="3"/>
                  </a:cubicBezTo>
                  <a:cubicBezTo>
                    <a:pt x="13" y="4"/>
                    <a:pt x="13" y="4"/>
                    <a:pt x="13" y="4"/>
                  </a:cubicBezTo>
                  <a:cubicBezTo>
                    <a:pt x="0" y="126"/>
                    <a:pt x="0" y="126"/>
                    <a:pt x="0" y="126"/>
                  </a:cubicBezTo>
                  <a:cubicBezTo>
                    <a:pt x="3" y="189"/>
                    <a:pt x="3" y="189"/>
                    <a:pt x="3" y="189"/>
                  </a:cubicBezTo>
                  <a:cubicBezTo>
                    <a:pt x="3" y="189"/>
                    <a:pt x="3" y="189"/>
                    <a:pt x="4" y="189"/>
                  </a:cubicBezTo>
                  <a:cubicBezTo>
                    <a:pt x="5" y="189"/>
                    <a:pt x="6" y="189"/>
                    <a:pt x="6" y="189"/>
                  </a:cubicBezTo>
                  <a:cubicBezTo>
                    <a:pt x="8" y="189"/>
                    <a:pt x="10" y="189"/>
                    <a:pt x="11" y="189"/>
                  </a:cubicBezTo>
                  <a:cubicBezTo>
                    <a:pt x="12" y="189"/>
                    <a:pt x="13" y="189"/>
                    <a:pt x="13" y="189"/>
                  </a:cubicBezTo>
                  <a:cubicBezTo>
                    <a:pt x="13" y="189"/>
                    <a:pt x="13" y="188"/>
                    <a:pt x="13" y="187"/>
                  </a:cubicBezTo>
                  <a:cubicBezTo>
                    <a:pt x="13" y="186"/>
                    <a:pt x="13" y="185"/>
                    <a:pt x="13" y="184"/>
                  </a:cubicBezTo>
                  <a:cubicBezTo>
                    <a:pt x="14" y="183"/>
                    <a:pt x="14" y="182"/>
                    <a:pt x="14" y="181"/>
                  </a:cubicBezTo>
                  <a:cubicBezTo>
                    <a:pt x="14" y="181"/>
                    <a:pt x="14" y="181"/>
                    <a:pt x="14" y="180"/>
                  </a:cubicBezTo>
                  <a:cubicBezTo>
                    <a:pt x="14" y="180"/>
                    <a:pt x="15" y="179"/>
                    <a:pt x="15" y="179"/>
                  </a:cubicBezTo>
                  <a:cubicBezTo>
                    <a:pt x="15" y="178"/>
                    <a:pt x="15" y="177"/>
                    <a:pt x="16" y="177"/>
                  </a:cubicBezTo>
                  <a:cubicBezTo>
                    <a:pt x="17" y="177"/>
                    <a:pt x="17" y="177"/>
                    <a:pt x="17" y="177"/>
                  </a:cubicBezTo>
                  <a:cubicBezTo>
                    <a:pt x="18" y="177"/>
                    <a:pt x="18" y="177"/>
                    <a:pt x="19" y="178"/>
                  </a:cubicBezTo>
                  <a:cubicBezTo>
                    <a:pt x="19" y="178"/>
                    <a:pt x="19" y="179"/>
                    <a:pt x="19" y="180"/>
                  </a:cubicBezTo>
                  <a:cubicBezTo>
                    <a:pt x="19" y="180"/>
                    <a:pt x="19" y="181"/>
                    <a:pt x="19" y="182"/>
                  </a:cubicBezTo>
                  <a:cubicBezTo>
                    <a:pt x="19" y="184"/>
                    <a:pt x="19" y="186"/>
                    <a:pt x="20" y="188"/>
                  </a:cubicBezTo>
                  <a:cubicBezTo>
                    <a:pt x="20" y="189"/>
                    <a:pt x="20" y="189"/>
                    <a:pt x="21" y="189"/>
                  </a:cubicBezTo>
                  <a:cubicBezTo>
                    <a:pt x="21" y="190"/>
                    <a:pt x="21" y="190"/>
                    <a:pt x="22" y="190"/>
                  </a:cubicBezTo>
                  <a:cubicBezTo>
                    <a:pt x="22" y="191"/>
                    <a:pt x="23" y="191"/>
                    <a:pt x="24" y="192"/>
                  </a:cubicBezTo>
                  <a:cubicBezTo>
                    <a:pt x="24" y="192"/>
                    <a:pt x="25" y="193"/>
                    <a:pt x="25" y="194"/>
                  </a:cubicBezTo>
                  <a:cubicBezTo>
                    <a:pt x="25" y="195"/>
                    <a:pt x="23" y="194"/>
                    <a:pt x="22" y="194"/>
                  </a:cubicBezTo>
                  <a:cubicBezTo>
                    <a:pt x="22" y="194"/>
                    <a:pt x="20" y="194"/>
                    <a:pt x="20" y="195"/>
                  </a:cubicBezTo>
                  <a:cubicBezTo>
                    <a:pt x="21" y="195"/>
                    <a:pt x="22" y="195"/>
                    <a:pt x="23" y="195"/>
                  </a:cubicBezTo>
                  <a:cubicBezTo>
                    <a:pt x="23" y="195"/>
                    <a:pt x="24" y="195"/>
                    <a:pt x="25" y="195"/>
                  </a:cubicBezTo>
                  <a:cubicBezTo>
                    <a:pt x="25" y="195"/>
                    <a:pt x="26" y="195"/>
                    <a:pt x="27" y="195"/>
                  </a:cubicBezTo>
                  <a:cubicBezTo>
                    <a:pt x="27" y="195"/>
                    <a:pt x="28" y="195"/>
                    <a:pt x="28" y="195"/>
                  </a:cubicBezTo>
                  <a:cubicBezTo>
                    <a:pt x="29" y="195"/>
                    <a:pt x="29" y="194"/>
                    <a:pt x="30" y="194"/>
                  </a:cubicBezTo>
                  <a:cubicBezTo>
                    <a:pt x="30" y="194"/>
                    <a:pt x="31" y="194"/>
                    <a:pt x="31" y="193"/>
                  </a:cubicBezTo>
                  <a:cubicBezTo>
                    <a:pt x="32" y="193"/>
                    <a:pt x="32" y="192"/>
                    <a:pt x="32" y="192"/>
                  </a:cubicBezTo>
                  <a:cubicBezTo>
                    <a:pt x="33" y="191"/>
                    <a:pt x="34" y="190"/>
                    <a:pt x="36" y="189"/>
                  </a:cubicBezTo>
                  <a:cubicBezTo>
                    <a:pt x="36" y="189"/>
                    <a:pt x="37" y="188"/>
                    <a:pt x="37" y="187"/>
                  </a:cubicBezTo>
                  <a:cubicBezTo>
                    <a:pt x="37" y="187"/>
                    <a:pt x="35" y="185"/>
                    <a:pt x="36" y="185"/>
                  </a:cubicBezTo>
                  <a:cubicBezTo>
                    <a:pt x="36" y="184"/>
                    <a:pt x="36" y="183"/>
                    <a:pt x="36" y="183"/>
                  </a:cubicBezTo>
                  <a:cubicBezTo>
                    <a:pt x="36" y="183"/>
                    <a:pt x="36" y="182"/>
                    <a:pt x="36" y="181"/>
                  </a:cubicBezTo>
                  <a:close/>
                </a:path>
              </a:pathLst>
            </a:custGeom>
            <a:grp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solidFill>
                  <a:schemeClr val="bg1"/>
                </a:solidFill>
              </a:endParaRPr>
            </a:p>
          </p:txBody>
        </p:sp>
        <p:sp>
          <p:nvSpPr>
            <p:cNvPr id="54" name="Freeform 53">
              <a:extLst>
                <a:ext uri="{FF2B5EF4-FFF2-40B4-BE49-F238E27FC236}">
                  <a16:creationId xmlns:a16="http://schemas.microsoft.com/office/drawing/2014/main" id="{B3C4E04C-2443-62BF-BBAA-537FE90C1D8D}"/>
                </a:ext>
              </a:extLst>
            </p:cNvPr>
            <p:cNvSpPr/>
            <p:nvPr/>
          </p:nvSpPr>
          <p:spPr>
            <a:xfrm>
              <a:off x="9059974" y="5365513"/>
              <a:ext cx="411480" cy="151208"/>
            </a:xfrm>
            <a:custGeom>
              <a:avLst/>
              <a:gdLst>
                <a:gd name="connsiteX0" fmla="*/ 48986 w 411480"/>
                <a:gd name="connsiteY0" fmla="*/ 985 h 151208"/>
                <a:gd name="connsiteX1" fmla="*/ 71846 w 411480"/>
                <a:gd name="connsiteY1" fmla="*/ 10782 h 151208"/>
                <a:gd name="connsiteX2" fmla="*/ 124097 w 411480"/>
                <a:gd name="connsiteY2" fmla="*/ 17314 h 151208"/>
                <a:gd name="connsiteX3" fmla="*/ 251460 w 411480"/>
                <a:gd name="connsiteY3" fmla="*/ 14048 h 151208"/>
                <a:gd name="connsiteX4" fmla="*/ 293915 w 411480"/>
                <a:gd name="connsiteY4" fmla="*/ 17314 h 151208"/>
                <a:gd name="connsiteX5" fmla="*/ 352697 w 411480"/>
                <a:gd name="connsiteY5" fmla="*/ 20579 h 151208"/>
                <a:gd name="connsiteX6" fmla="*/ 382089 w 411480"/>
                <a:gd name="connsiteY6" fmla="*/ 27111 h 151208"/>
                <a:gd name="connsiteX7" fmla="*/ 401683 w 411480"/>
                <a:gd name="connsiteY7" fmla="*/ 33642 h 151208"/>
                <a:gd name="connsiteX8" fmla="*/ 408215 w 411480"/>
                <a:gd name="connsiteY8" fmla="*/ 69565 h 151208"/>
                <a:gd name="connsiteX9" fmla="*/ 411480 w 411480"/>
                <a:gd name="connsiteY9" fmla="*/ 82628 h 151208"/>
                <a:gd name="connsiteX10" fmla="*/ 391886 w 411480"/>
                <a:gd name="connsiteY10" fmla="*/ 89159 h 151208"/>
                <a:gd name="connsiteX11" fmla="*/ 369026 w 411480"/>
                <a:gd name="connsiteY11" fmla="*/ 95691 h 151208"/>
                <a:gd name="connsiteX12" fmla="*/ 362495 w 411480"/>
                <a:gd name="connsiteY12" fmla="*/ 105488 h 151208"/>
                <a:gd name="connsiteX13" fmla="*/ 349432 w 411480"/>
                <a:gd name="connsiteY13" fmla="*/ 131614 h 151208"/>
                <a:gd name="connsiteX14" fmla="*/ 346166 w 411480"/>
                <a:gd name="connsiteY14" fmla="*/ 141411 h 151208"/>
                <a:gd name="connsiteX15" fmla="*/ 287383 w 411480"/>
                <a:gd name="connsiteY15" fmla="*/ 151208 h 151208"/>
                <a:gd name="connsiteX16" fmla="*/ 228600 w 411480"/>
                <a:gd name="connsiteY16" fmla="*/ 147942 h 151208"/>
                <a:gd name="connsiteX17" fmla="*/ 202475 w 411480"/>
                <a:gd name="connsiteY17" fmla="*/ 144676 h 151208"/>
                <a:gd name="connsiteX18" fmla="*/ 169817 w 411480"/>
                <a:gd name="connsiteY18" fmla="*/ 141411 h 151208"/>
                <a:gd name="connsiteX19" fmla="*/ 101237 w 411480"/>
                <a:gd name="connsiteY19" fmla="*/ 144676 h 151208"/>
                <a:gd name="connsiteX20" fmla="*/ 91440 w 411480"/>
                <a:gd name="connsiteY20" fmla="*/ 147942 h 151208"/>
                <a:gd name="connsiteX21" fmla="*/ 75112 w 411480"/>
                <a:gd name="connsiteY21" fmla="*/ 151208 h 151208"/>
                <a:gd name="connsiteX22" fmla="*/ 55517 w 411480"/>
                <a:gd name="connsiteY22" fmla="*/ 141411 h 151208"/>
                <a:gd name="connsiteX23" fmla="*/ 45720 w 411480"/>
                <a:gd name="connsiteY23" fmla="*/ 144676 h 151208"/>
                <a:gd name="connsiteX24" fmla="*/ 16329 w 411480"/>
                <a:gd name="connsiteY24" fmla="*/ 131614 h 151208"/>
                <a:gd name="connsiteX25" fmla="*/ 19595 w 411480"/>
                <a:gd name="connsiteY25" fmla="*/ 118551 h 151208"/>
                <a:gd name="connsiteX26" fmla="*/ 16329 w 411480"/>
                <a:gd name="connsiteY26" fmla="*/ 89159 h 151208"/>
                <a:gd name="connsiteX27" fmla="*/ 3266 w 411480"/>
                <a:gd name="connsiteY27" fmla="*/ 59768 h 151208"/>
                <a:gd name="connsiteX28" fmla="*/ 0 w 411480"/>
                <a:gd name="connsiteY28" fmla="*/ 49971 h 151208"/>
                <a:gd name="connsiteX29" fmla="*/ 13063 w 411480"/>
                <a:gd name="connsiteY29" fmla="*/ 36908 h 151208"/>
                <a:gd name="connsiteX30" fmla="*/ 48986 w 411480"/>
                <a:gd name="connsiteY30" fmla="*/ 985 h 151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11480" h="151208">
                  <a:moveTo>
                    <a:pt x="48986" y="985"/>
                  </a:moveTo>
                  <a:cubicBezTo>
                    <a:pt x="58783" y="-3369"/>
                    <a:pt x="64055" y="7949"/>
                    <a:pt x="71846" y="10782"/>
                  </a:cubicBezTo>
                  <a:cubicBezTo>
                    <a:pt x="87176" y="16356"/>
                    <a:pt x="110954" y="16219"/>
                    <a:pt x="124097" y="17314"/>
                  </a:cubicBezTo>
                  <a:cubicBezTo>
                    <a:pt x="166551" y="16225"/>
                    <a:pt x="208992" y="14048"/>
                    <a:pt x="251460" y="14048"/>
                  </a:cubicBezTo>
                  <a:cubicBezTo>
                    <a:pt x="265653" y="14048"/>
                    <a:pt x="279751" y="16400"/>
                    <a:pt x="293915" y="17314"/>
                  </a:cubicBezTo>
                  <a:lnTo>
                    <a:pt x="352697" y="20579"/>
                  </a:lnTo>
                  <a:cubicBezTo>
                    <a:pt x="362023" y="22444"/>
                    <a:pt x="372862" y="24343"/>
                    <a:pt x="382089" y="27111"/>
                  </a:cubicBezTo>
                  <a:cubicBezTo>
                    <a:pt x="388683" y="29089"/>
                    <a:pt x="401683" y="33642"/>
                    <a:pt x="401683" y="33642"/>
                  </a:cubicBezTo>
                  <a:cubicBezTo>
                    <a:pt x="408690" y="54659"/>
                    <a:pt x="402062" y="32644"/>
                    <a:pt x="408215" y="69565"/>
                  </a:cubicBezTo>
                  <a:cubicBezTo>
                    <a:pt x="408953" y="73992"/>
                    <a:pt x="410392" y="78274"/>
                    <a:pt x="411480" y="82628"/>
                  </a:cubicBezTo>
                  <a:cubicBezTo>
                    <a:pt x="404949" y="84805"/>
                    <a:pt x="398565" y="87489"/>
                    <a:pt x="391886" y="89159"/>
                  </a:cubicBezTo>
                  <a:cubicBezTo>
                    <a:pt x="375483" y="93260"/>
                    <a:pt x="383081" y="91006"/>
                    <a:pt x="369026" y="95691"/>
                  </a:cubicBezTo>
                  <a:cubicBezTo>
                    <a:pt x="366849" y="98957"/>
                    <a:pt x="364089" y="101902"/>
                    <a:pt x="362495" y="105488"/>
                  </a:cubicBezTo>
                  <a:cubicBezTo>
                    <a:pt x="350487" y="132506"/>
                    <a:pt x="362845" y="118199"/>
                    <a:pt x="349432" y="131614"/>
                  </a:cubicBezTo>
                  <a:cubicBezTo>
                    <a:pt x="348343" y="134880"/>
                    <a:pt x="348967" y="139410"/>
                    <a:pt x="346166" y="141411"/>
                  </a:cubicBezTo>
                  <a:cubicBezTo>
                    <a:pt x="333476" y="150475"/>
                    <a:pt x="296611" y="150439"/>
                    <a:pt x="287383" y="151208"/>
                  </a:cubicBezTo>
                  <a:cubicBezTo>
                    <a:pt x="267789" y="150119"/>
                    <a:pt x="248167" y="149447"/>
                    <a:pt x="228600" y="147942"/>
                  </a:cubicBezTo>
                  <a:cubicBezTo>
                    <a:pt x="219850" y="147269"/>
                    <a:pt x="211197" y="145645"/>
                    <a:pt x="202475" y="144676"/>
                  </a:cubicBezTo>
                  <a:cubicBezTo>
                    <a:pt x="191602" y="143468"/>
                    <a:pt x="180703" y="142499"/>
                    <a:pt x="169817" y="141411"/>
                  </a:cubicBezTo>
                  <a:cubicBezTo>
                    <a:pt x="146957" y="142499"/>
                    <a:pt x="124044" y="142776"/>
                    <a:pt x="101237" y="144676"/>
                  </a:cubicBezTo>
                  <a:cubicBezTo>
                    <a:pt x="97807" y="144962"/>
                    <a:pt x="94780" y="147107"/>
                    <a:pt x="91440" y="147942"/>
                  </a:cubicBezTo>
                  <a:cubicBezTo>
                    <a:pt x="86055" y="149288"/>
                    <a:pt x="80555" y="150119"/>
                    <a:pt x="75112" y="151208"/>
                  </a:cubicBezTo>
                  <a:cubicBezTo>
                    <a:pt x="70156" y="147904"/>
                    <a:pt x="62281" y="141411"/>
                    <a:pt x="55517" y="141411"/>
                  </a:cubicBezTo>
                  <a:cubicBezTo>
                    <a:pt x="52075" y="141411"/>
                    <a:pt x="48986" y="143588"/>
                    <a:pt x="45720" y="144676"/>
                  </a:cubicBezTo>
                  <a:cubicBezTo>
                    <a:pt x="31582" y="142909"/>
                    <a:pt x="16329" y="148982"/>
                    <a:pt x="16329" y="131614"/>
                  </a:cubicBezTo>
                  <a:cubicBezTo>
                    <a:pt x="16329" y="127126"/>
                    <a:pt x="18506" y="122905"/>
                    <a:pt x="19595" y="118551"/>
                  </a:cubicBezTo>
                  <a:cubicBezTo>
                    <a:pt x="18506" y="108754"/>
                    <a:pt x="18262" y="98825"/>
                    <a:pt x="16329" y="89159"/>
                  </a:cubicBezTo>
                  <a:cubicBezTo>
                    <a:pt x="10713" y="61079"/>
                    <a:pt x="12386" y="78009"/>
                    <a:pt x="3266" y="59768"/>
                  </a:cubicBezTo>
                  <a:cubicBezTo>
                    <a:pt x="1727" y="56689"/>
                    <a:pt x="1089" y="53237"/>
                    <a:pt x="0" y="49971"/>
                  </a:cubicBezTo>
                  <a:cubicBezTo>
                    <a:pt x="6774" y="29651"/>
                    <a:pt x="-2419" y="48520"/>
                    <a:pt x="13063" y="36908"/>
                  </a:cubicBezTo>
                  <a:cubicBezTo>
                    <a:pt x="19221" y="32289"/>
                    <a:pt x="39189" y="5339"/>
                    <a:pt x="48986" y="985"/>
                  </a:cubicBezTo>
                  <a:close/>
                </a:path>
              </a:pathLst>
            </a:custGeom>
            <a:grpFill/>
            <a:ln w="254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solidFill>
                  <a:schemeClr val="bg1"/>
                </a:solidFill>
              </a:endParaRPr>
            </a:p>
          </p:txBody>
        </p:sp>
      </p:grpSp>
      <p:sp>
        <p:nvSpPr>
          <p:cNvPr id="66" name="Title 65"/>
          <p:cNvSpPr>
            <a:spLocks noGrp="1"/>
          </p:cNvSpPr>
          <p:nvPr>
            <p:ph type="title"/>
          </p:nvPr>
        </p:nvSpPr>
        <p:spPr/>
        <p:txBody>
          <a:bodyPr/>
          <a:lstStyle/>
          <a:p>
            <a:r>
              <a:rPr lang="en-US" dirty="0" smtClean="0"/>
              <a:t>Recent change in tort law</a:t>
            </a:r>
            <a:endParaRPr lang="en-US" dirty="0"/>
          </a:p>
        </p:txBody>
      </p:sp>
      <p:sp>
        <p:nvSpPr>
          <p:cNvPr id="2" name="Slide Number Placeholder 1">
            <a:extLst>
              <a:ext uri="{FF2B5EF4-FFF2-40B4-BE49-F238E27FC236}">
                <a16:creationId xmlns:a16="http://schemas.microsoft.com/office/drawing/2014/main" id="{2BF9AD12-F58A-2B4A-A760-E6A417F6255A}"/>
              </a:ext>
            </a:extLst>
          </p:cNvPr>
          <p:cNvSpPr>
            <a:spLocks noGrp="1"/>
          </p:cNvSpPr>
          <p:nvPr>
            <p:ph type="sldNum" sz="quarter" idx="14"/>
          </p:nvPr>
        </p:nvSpPr>
        <p:spPr/>
        <p:txBody>
          <a:bodyPr/>
          <a:lstStyle/>
          <a:p>
            <a:fld id="{DA135043-C596-1A48-8BDA-03EB29A64DF4}" type="slidenum">
              <a:rPr lang="en-US" smtClean="0"/>
              <a:t>16</a:t>
            </a:fld>
            <a:endParaRPr lang="en-US" dirty="0"/>
          </a:p>
        </p:txBody>
      </p:sp>
      <p:sp>
        <p:nvSpPr>
          <p:cNvPr id="69" name="Text Placeholder 68"/>
          <p:cNvSpPr>
            <a:spLocks noGrp="1"/>
          </p:cNvSpPr>
          <p:nvPr>
            <p:ph type="body" sz="quarter" idx="15"/>
          </p:nvPr>
        </p:nvSpPr>
        <p:spPr/>
        <p:txBody>
          <a:bodyPr/>
          <a:lstStyle/>
          <a:p>
            <a:r>
              <a:rPr lang="en-US" dirty="0"/>
              <a:t>Note: CA, IL, NY &amp; PA ~35% of US HCL market (4 of top 6 states based on </a:t>
            </a:r>
            <a:r>
              <a:rPr lang="en-US" dirty="0" smtClean="0"/>
              <a:t>2022 </a:t>
            </a:r>
            <a:r>
              <a:rPr lang="en-US" dirty="0"/>
              <a:t>DWP)</a:t>
            </a:r>
          </a:p>
        </p:txBody>
      </p:sp>
      <p:sp>
        <p:nvSpPr>
          <p:cNvPr id="53" name="Oval 52"/>
          <p:cNvSpPr>
            <a:spLocks noChangeAspect="1"/>
          </p:cNvSpPr>
          <p:nvPr/>
        </p:nvSpPr>
        <p:spPr>
          <a:xfrm>
            <a:off x="8629227" y="3500617"/>
            <a:ext cx="91440" cy="91440"/>
          </a:xfrm>
          <a:prstGeom prst="ellipse">
            <a:avLst/>
          </a:prstGeom>
          <a:solidFill>
            <a:schemeClr val="bg1">
              <a:lumMod val="8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3" name="Hawaii">
            <a:extLst>
              <a:ext uri="{FF2B5EF4-FFF2-40B4-BE49-F238E27FC236}">
                <a16:creationId xmlns:a16="http://schemas.microsoft.com/office/drawing/2014/main" id="{6B065A8D-F612-98E0-0F9D-291317D4CB1B}"/>
              </a:ext>
            </a:extLst>
          </p:cNvPr>
          <p:cNvSpPr>
            <a:spLocks noChangeAspect="1" noEditPoints="1"/>
          </p:cNvSpPr>
          <p:nvPr/>
        </p:nvSpPr>
        <p:spPr bwMode="auto">
          <a:xfrm>
            <a:off x="3570211" y="5347421"/>
            <a:ext cx="1650552" cy="829407"/>
          </a:xfrm>
          <a:custGeom>
            <a:avLst/>
            <a:gdLst>
              <a:gd name="T0" fmla="*/ 371 w 417"/>
              <a:gd name="T1" fmla="*/ 181 h 209"/>
              <a:gd name="T2" fmla="*/ 360 w 417"/>
              <a:gd name="T3" fmla="*/ 165 h 209"/>
              <a:gd name="T4" fmla="*/ 367 w 417"/>
              <a:gd name="T5" fmla="*/ 158 h 209"/>
              <a:gd name="T6" fmla="*/ 107 w 417"/>
              <a:gd name="T7" fmla="*/ 12 h 209"/>
              <a:gd name="T8" fmla="*/ 101 w 417"/>
              <a:gd name="T9" fmla="*/ 34 h 209"/>
              <a:gd name="T10" fmla="*/ 97 w 417"/>
              <a:gd name="T11" fmla="*/ 38 h 209"/>
              <a:gd name="T12" fmla="*/ 85 w 417"/>
              <a:gd name="T13" fmla="*/ 42 h 209"/>
              <a:gd name="T14" fmla="*/ 61 w 417"/>
              <a:gd name="T15" fmla="*/ 33 h 209"/>
              <a:gd name="T16" fmla="*/ 57 w 417"/>
              <a:gd name="T17" fmla="*/ 16 h 209"/>
              <a:gd name="T18" fmla="*/ 61 w 417"/>
              <a:gd name="T19" fmla="*/ 10 h 209"/>
              <a:gd name="T20" fmla="*/ 71 w 417"/>
              <a:gd name="T21" fmla="*/ 4 h 209"/>
              <a:gd name="T22" fmla="*/ 84 w 417"/>
              <a:gd name="T23" fmla="*/ 3 h 209"/>
              <a:gd name="T24" fmla="*/ 92 w 417"/>
              <a:gd name="T25" fmla="*/ 2 h 209"/>
              <a:gd name="T26" fmla="*/ 103 w 417"/>
              <a:gd name="T27" fmla="*/ 4 h 209"/>
              <a:gd name="T28" fmla="*/ 397 w 417"/>
              <a:gd name="T29" fmla="*/ 131 h 209"/>
              <a:gd name="T30" fmla="*/ 381 w 417"/>
              <a:gd name="T31" fmla="*/ 142 h 209"/>
              <a:gd name="T32" fmla="*/ 349 w 417"/>
              <a:gd name="T33" fmla="*/ 137 h 209"/>
              <a:gd name="T34" fmla="*/ 335 w 417"/>
              <a:gd name="T35" fmla="*/ 129 h 209"/>
              <a:gd name="T36" fmla="*/ 344 w 417"/>
              <a:gd name="T37" fmla="*/ 124 h 209"/>
              <a:gd name="T38" fmla="*/ 362 w 417"/>
              <a:gd name="T39" fmla="*/ 127 h 209"/>
              <a:gd name="T40" fmla="*/ 371 w 417"/>
              <a:gd name="T41" fmla="*/ 128 h 209"/>
              <a:gd name="T42" fmla="*/ 375 w 417"/>
              <a:gd name="T43" fmla="*/ 129 h 209"/>
              <a:gd name="T44" fmla="*/ 394 w 417"/>
              <a:gd name="T45" fmla="*/ 129 h 209"/>
              <a:gd name="T46" fmla="*/ 11 w 417"/>
              <a:gd name="T47" fmla="*/ 35 h 209"/>
              <a:gd name="T48" fmla="*/ 4 w 417"/>
              <a:gd name="T49" fmla="*/ 55 h 209"/>
              <a:gd name="T50" fmla="*/ 19 w 417"/>
              <a:gd name="T51" fmla="*/ 39 h 209"/>
              <a:gd name="T52" fmla="*/ 416 w 417"/>
              <a:gd name="T53" fmla="*/ 199 h 209"/>
              <a:gd name="T54" fmla="*/ 400 w 417"/>
              <a:gd name="T55" fmla="*/ 208 h 209"/>
              <a:gd name="T56" fmla="*/ 415 w 417"/>
              <a:gd name="T57" fmla="*/ 207 h 209"/>
              <a:gd name="T58" fmla="*/ 291 w 417"/>
              <a:gd name="T59" fmla="*/ 113 h 209"/>
              <a:gd name="T60" fmla="*/ 279 w 417"/>
              <a:gd name="T61" fmla="*/ 116 h 209"/>
              <a:gd name="T62" fmla="*/ 274 w 417"/>
              <a:gd name="T63" fmla="*/ 118 h 209"/>
              <a:gd name="T64" fmla="*/ 271 w 417"/>
              <a:gd name="T65" fmla="*/ 116 h 209"/>
              <a:gd name="T66" fmla="*/ 265 w 417"/>
              <a:gd name="T67" fmla="*/ 111 h 209"/>
              <a:gd name="T68" fmla="*/ 264 w 417"/>
              <a:gd name="T69" fmla="*/ 111 h 209"/>
              <a:gd name="T70" fmla="*/ 259 w 417"/>
              <a:gd name="T71" fmla="*/ 112 h 209"/>
              <a:gd name="T72" fmla="*/ 259 w 417"/>
              <a:gd name="T73" fmla="*/ 104 h 209"/>
              <a:gd name="T74" fmla="*/ 259 w 417"/>
              <a:gd name="T75" fmla="*/ 104 h 209"/>
              <a:gd name="T76" fmla="*/ 255 w 417"/>
              <a:gd name="T77" fmla="*/ 104 h 209"/>
              <a:gd name="T78" fmla="*/ 250 w 417"/>
              <a:gd name="T79" fmla="*/ 104 h 209"/>
              <a:gd name="T80" fmla="*/ 253 w 417"/>
              <a:gd name="T81" fmla="*/ 111 h 209"/>
              <a:gd name="T82" fmla="*/ 239 w 417"/>
              <a:gd name="T83" fmla="*/ 110 h 209"/>
              <a:gd name="T84" fmla="*/ 233 w 417"/>
              <a:gd name="T85" fmla="*/ 100 h 209"/>
              <a:gd name="T86" fmla="*/ 229 w 417"/>
              <a:gd name="T87" fmla="*/ 94 h 209"/>
              <a:gd name="T88" fmla="*/ 221 w 417"/>
              <a:gd name="T89" fmla="*/ 80 h 209"/>
              <a:gd name="T90" fmla="*/ 231 w 417"/>
              <a:gd name="T91" fmla="*/ 79 h 209"/>
              <a:gd name="T92" fmla="*/ 236 w 417"/>
              <a:gd name="T93" fmla="*/ 79 h 209"/>
              <a:gd name="T94" fmla="*/ 251 w 417"/>
              <a:gd name="T95" fmla="*/ 64 h 209"/>
              <a:gd name="T96" fmla="*/ 267 w 417"/>
              <a:gd name="T97" fmla="*/ 82 h 209"/>
              <a:gd name="T98" fmla="*/ 273 w 417"/>
              <a:gd name="T99" fmla="*/ 94 h 209"/>
              <a:gd name="T100" fmla="*/ 279 w 417"/>
              <a:gd name="T101" fmla="*/ 96 h 209"/>
              <a:gd name="T102" fmla="*/ 281 w 417"/>
              <a:gd name="T103" fmla="*/ 99 h 209"/>
              <a:gd name="T104" fmla="*/ 285 w 417"/>
              <a:gd name="T105" fmla="*/ 103 h 209"/>
              <a:gd name="T106" fmla="*/ 18 w 417"/>
              <a:gd name="T107" fmla="*/ 26 h 209"/>
              <a:gd name="T108" fmla="*/ 257 w 417"/>
              <a:gd name="T109" fmla="*/ 105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7" h="209">
                <a:moveTo>
                  <a:pt x="386" y="170"/>
                </a:moveTo>
                <a:cubicBezTo>
                  <a:pt x="386" y="171"/>
                  <a:pt x="386" y="172"/>
                  <a:pt x="386" y="173"/>
                </a:cubicBezTo>
                <a:cubicBezTo>
                  <a:pt x="385" y="174"/>
                  <a:pt x="384" y="174"/>
                  <a:pt x="384" y="175"/>
                </a:cubicBezTo>
                <a:cubicBezTo>
                  <a:pt x="384" y="176"/>
                  <a:pt x="383" y="177"/>
                  <a:pt x="382" y="178"/>
                </a:cubicBezTo>
                <a:cubicBezTo>
                  <a:pt x="380" y="178"/>
                  <a:pt x="379" y="179"/>
                  <a:pt x="377" y="180"/>
                </a:cubicBezTo>
                <a:cubicBezTo>
                  <a:pt x="375" y="181"/>
                  <a:pt x="373" y="181"/>
                  <a:pt x="371" y="181"/>
                </a:cubicBezTo>
                <a:cubicBezTo>
                  <a:pt x="371" y="181"/>
                  <a:pt x="371" y="180"/>
                  <a:pt x="370" y="181"/>
                </a:cubicBezTo>
                <a:cubicBezTo>
                  <a:pt x="369" y="181"/>
                  <a:pt x="368" y="181"/>
                  <a:pt x="368" y="180"/>
                </a:cubicBezTo>
                <a:cubicBezTo>
                  <a:pt x="367" y="179"/>
                  <a:pt x="366" y="178"/>
                  <a:pt x="366" y="177"/>
                </a:cubicBezTo>
                <a:cubicBezTo>
                  <a:pt x="365" y="175"/>
                  <a:pt x="365" y="173"/>
                  <a:pt x="366" y="172"/>
                </a:cubicBezTo>
                <a:cubicBezTo>
                  <a:pt x="366" y="170"/>
                  <a:pt x="364" y="167"/>
                  <a:pt x="362" y="166"/>
                </a:cubicBezTo>
                <a:cubicBezTo>
                  <a:pt x="362" y="166"/>
                  <a:pt x="361" y="165"/>
                  <a:pt x="360" y="165"/>
                </a:cubicBezTo>
                <a:cubicBezTo>
                  <a:pt x="358" y="164"/>
                  <a:pt x="357" y="162"/>
                  <a:pt x="358" y="160"/>
                </a:cubicBezTo>
                <a:cubicBezTo>
                  <a:pt x="358" y="160"/>
                  <a:pt x="358" y="159"/>
                  <a:pt x="358" y="159"/>
                </a:cubicBezTo>
                <a:cubicBezTo>
                  <a:pt x="359" y="159"/>
                  <a:pt x="360" y="158"/>
                  <a:pt x="361" y="158"/>
                </a:cubicBezTo>
                <a:cubicBezTo>
                  <a:pt x="361" y="158"/>
                  <a:pt x="361" y="158"/>
                  <a:pt x="361" y="158"/>
                </a:cubicBezTo>
                <a:cubicBezTo>
                  <a:pt x="363" y="157"/>
                  <a:pt x="364" y="158"/>
                  <a:pt x="365" y="157"/>
                </a:cubicBezTo>
                <a:cubicBezTo>
                  <a:pt x="366" y="157"/>
                  <a:pt x="366" y="158"/>
                  <a:pt x="367" y="158"/>
                </a:cubicBezTo>
                <a:cubicBezTo>
                  <a:pt x="367" y="158"/>
                  <a:pt x="367" y="158"/>
                  <a:pt x="367" y="158"/>
                </a:cubicBezTo>
                <a:cubicBezTo>
                  <a:pt x="368" y="158"/>
                  <a:pt x="370" y="157"/>
                  <a:pt x="372" y="158"/>
                </a:cubicBezTo>
                <a:cubicBezTo>
                  <a:pt x="372" y="158"/>
                  <a:pt x="372" y="158"/>
                  <a:pt x="373" y="158"/>
                </a:cubicBezTo>
                <a:cubicBezTo>
                  <a:pt x="375" y="159"/>
                  <a:pt x="377" y="160"/>
                  <a:pt x="379" y="162"/>
                </a:cubicBezTo>
                <a:cubicBezTo>
                  <a:pt x="381" y="164"/>
                  <a:pt x="384" y="166"/>
                  <a:pt x="386" y="170"/>
                </a:cubicBezTo>
                <a:close/>
                <a:moveTo>
                  <a:pt x="107" y="12"/>
                </a:moveTo>
                <a:cubicBezTo>
                  <a:pt x="107" y="13"/>
                  <a:pt x="108" y="16"/>
                  <a:pt x="106" y="17"/>
                </a:cubicBezTo>
                <a:cubicBezTo>
                  <a:pt x="106" y="17"/>
                  <a:pt x="106" y="17"/>
                  <a:pt x="106" y="17"/>
                </a:cubicBezTo>
                <a:cubicBezTo>
                  <a:pt x="105" y="18"/>
                  <a:pt x="104" y="20"/>
                  <a:pt x="104" y="21"/>
                </a:cubicBezTo>
                <a:cubicBezTo>
                  <a:pt x="104" y="22"/>
                  <a:pt x="103" y="22"/>
                  <a:pt x="102" y="23"/>
                </a:cubicBezTo>
                <a:cubicBezTo>
                  <a:pt x="102" y="26"/>
                  <a:pt x="103" y="29"/>
                  <a:pt x="103" y="32"/>
                </a:cubicBezTo>
                <a:cubicBezTo>
                  <a:pt x="103" y="33"/>
                  <a:pt x="103" y="34"/>
                  <a:pt x="101" y="34"/>
                </a:cubicBezTo>
                <a:cubicBezTo>
                  <a:pt x="101" y="34"/>
                  <a:pt x="100" y="34"/>
                  <a:pt x="100" y="34"/>
                </a:cubicBezTo>
                <a:cubicBezTo>
                  <a:pt x="101" y="36"/>
                  <a:pt x="101" y="36"/>
                  <a:pt x="99" y="37"/>
                </a:cubicBezTo>
                <a:cubicBezTo>
                  <a:pt x="99" y="37"/>
                  <a:pt x="99" y="37"/>
                  <a:pt x="99" y="37"/>
                </a:cubicBezTo>
                <a:cubicBezTo>
                  <a:pt x="99" y="37"/>
                  <a:pt x="99" y="37"/>
                  <a:pt x="99" y="37"/>
                </a:cubicBezTo>
                <a:cubicBezTo>
                  <a:pt x="98" y="37"/>
                  <a:pt x="98" y="37"/>
                  <a:pt x="98" y="38"/>
                </a:cubicBezTo>
                <a:cubicBezTo>
                  <a:pt x="97" y="38"/>
                  <a:pt x="97" y="38"/>
                  <a:pt x="97" y="38"/>
                </a:cubicBezTo>
                <a:cubicBezTo>
                  <a:pt x="95" y="41"/>
                  <a:pt x="93" y="43"/>
                  <a:pt x="90" y="44"/>
                </a:cubicBezTo>
                <a:cubicBezTo>
                  <a:pt x="90" y="44"/>
                  <a:pt x="90" y="44"/>
                  <a:pt x="90" y="44"/>
                </a:cubicBezTo>
                <a:cubicBezTo>
                  <a:pt x="90" y="44"/>
                  <a:pt x="90" y="44"/>
                  <a:pt x="90" y="44"/>
                </a:cubicBezTo>
                <a:cubicBezTo>
                  <a:pt x="90" y="44"/>
                  <a:pt x="90" y="44"/>
                  <a:pt x="90" y="44"/>
                </a:cubicBezTo>
                <a:cubicBezTo>
                  <a:pt x="88" y="43"/>
                  <a:pt x="87" y="43"/>
                  <a:pt x="85" y="42"/>
                </a:cubicBezTo>
                <a:cubicBezTo>
                  <a:pt x="85" y="42"/>
                  <a:pt x="85" y="42"/>
                  <a:pt x="85" y="42"/>
                </a:cubicBezTo>
                <a:cubicBezTo>
                  <a:pt x="85" y="42"/>
                  <a:pt x="85" y="42"/>
                  <a:pt x="85" y="42"/>
                </a:cubicBezTo>
                <a:cubicBezTo>
                  <a:pt x="81" y="42"/>
                  <a:pt x="77" y="42"/>
                  <a:pt x="74" y="40"/>
                </a:cubicBezTo>
                <a:cubicBezTo>
                  <a:pt x="74" y="40"/>
                  <a:pt x="73" y="40"/>
                  <a:pt x="73" y="40"/>
                </a:cubicBezTo>
                <a:cubicBezTo>
                  <a:pt x="71" y="40"/>
                  <a:pt x="69" y="40"/>
                  <a:pt x="68" y="37"/>
                </a:cubicBezTo>
                <a:cubicBezTo>
                  <a:pt x="68" y="37"/>
                  <a:pt x="67" y="37"/>
                  <a:pt x="67" y="36"/>
                </a:cubicBezTo>
                <a:cubicBezTo>
                  <a:pt x="66" y="34"/>
                  <a:pt x="63" y="34"/>
                  <a:pt x="61" y="33"/>
                </a:cubicBezTo>
                <a:cubicBezTo>
                  <a:pt x="59" y="32"/>
                  <a:pt x="57" y="31"/>
                  <a:pt x="55" y="31"/>
                </a:cubicBezTo>
                <a:cubicBezTo>
                  <a:pt x="55" y="31"/>
                  <a:pt x="55" y="31"/>
                  <a:pt x="55" y="31"/>
                </a:cubicBezTo>
                <a:cubicBezTo>
                  <a:pt x="53" y="28"/>
                  <a:pt x="51" y="25"/>
                  <a:pt x="52" y="22"/>
                </a:cubicBezTo>
                <a:cubicBezTo>
                  <a:pt x="52" y="20"/>
                  <a:pt x="53" y="19"/>
                  <a:pt x="54" y="18"/>
                </a:cubicBezTo>
                <a:cubicBezTo>
                  <a:pt x="55" y="18"/>
                  <a:pt x="56" y="17"/>
                  <a:pt x="57" y="16"/>
                </a:cubicBezTo>
                <a:cubicBezTo>
                  <a:pt x="57" y="16"/>
                  <a:pt x="57" y="16"/>
                  <a:pt x="57" y="16"/>
                </a:cubicBezTo>
                <a:cubicBezTo>
                  <a:pt x="57" y="16"/>
                  <a:pt x="57" y="16"/>
                  <a:pt x="57" y="16"/>
                </a:cubicBezTo>
                <a:cubicBezTo>
                  <a:pt x="57" y="15"/>
                  <a:pt x="57" y="14"/>
                  <a:pt x="58" y="13"/>
                </a:cubicBezTo>
                <a:cubicBezTo>
                  <a:pt x="58" y="13"/>
                  <a:pt x="58" y="13"/>
                  <a:pt x="58" y="13"/>
                </a:cubicBezTo>
                <a:cubicBezTo>
                  <a:pt x="58" y="12"/>
                  <a:pt x="58" y="12"/>
                  <a:pt x="58" y="12"/>
                </a:cubicBezTo>
                <a:cubicBezTo>
                  <a:pt x="59" y="11"/>
                  <a:pt x="59" y="10"/>
                  <a:pt x="60" y="10"/>
                </a:cubicBezTo>
                <a:cubicBezTo>
                  <a:pt x="60" y="10"/>
                  <a:pt x="60" y="10"/>
                  <a:pt x="61" y="10"/>
                </a:cubicBezTo>
                <a:cubicBezTo>
                  <a:pt x="61" y="9"/>
                  <a:pt x="61" y="9"/>
                  <a:pt x="61" y="9"/>
                </a:cubicBezTo>
                <a:cubicBezTo>
                  <a:pt x="64" y="9"/>
                  <a:pt x="67" y="7"/>
                  <a:pt x="69" y="5"/>
                </a:cubicBezTo>
                <a:cubicBezTo>
                  <a:pt x="70" y="5"/>
                  <a:pt x="70" y="5"/>
                  <a:pt x="71" y="4"/>
                </a:cubicBezTo>
                <a:cubicBezTo>
                  <a:pt x="71" y="4"/>
                  <a:pt x="71" y="4"/>
                  <a:pt x="71" y="4"/>
                </a:cubicBezTo>
                <a:cubicBezTo>
                  <a:pt x="71" y="4"/>
                  <a:pt x="71" y="4"/>
                  <a:pt x="71" y="4"/>
                </a:cubicBezTo>
                <a:cubicBezTo>
                  <a:pt x="71" y="4"/>
                  <a:pt x="71" y="4"/>
                  <a:pt x="71" y="4"/>
                </a:cubicBezTo>
                <a:cubicBezTo>
                  <a:pt x="72" y="4"/>
                  <a:pt x="73" y="3"/>
                  <a:pt x="73" y="3"/>
                </a:cubicBezTo>
                <a:cubicBezTo>
                  <a:pt x="75" y="1"/>
                  <a:pt x="76" y="1"/>
                  <a:pt x="78" y="1"/>
                </a:cubicBezTo>
                <a:cubicBezTo>
                  <a:pt x="78" y="1"/>
                  <a:pt x="79" y="1"/>
                  <a:pt x="79" y="2"/>
                </a:cubicBezTo>
                <a:cubicBezTo>
                  <a:pt x="79" y="2"/>
                  <a:pt x="80" y="2"/>
                  <a:pt x="80" y="2"/>
                </a:cubicBezTo>
                <a:cubicBezTo>
                  <a:pt x="81" y="2"/>
                  <a:pt x="82" y="2"/>
                  <a:pt x="82" y="3"/>
                </a:cubicBezTo>
                <a:cubicBezTo>
                  <a:pt x="83" y="4"/>
                  <a:pt x="83" y="3"/>
                  <a:pt x="84" y="3"/>
                </a:cubicBezTo>
                <a:cubicBezTo>
                  <a:pt x="84" y="3"/>
                  <a:pt x="84" y="3"/>
                  <a:pt x="84" y="3"/>
                </a:cubicBezTo>
                <a:cubicBezTo>
                  <a:pt x="84" y="3"/>
                  <a:pt x="84" y="3"/>
                  <a:pt x="84" y="3"/>
                </a:cubicBezTo>
                <a:cubicBezTo>
                  <a:pt x="85" y="0"/>
                  <a:pt x="85" y="0"/>
                  <a:pt x="87" y="1"/>
                </a:cubicBezTo>
                <a:cubicBezTo>
                  <a:pt x="88" y="1"/>
                  <a:pt x="89" y="1"/>
                  <a:pt x="90" y="1"/>
                </a:cubicBezTo>
                <a:cubicBezTo>
                  <a:pt x="91" y="1"/>
                  <a:pt x="91" y="1"/>
                  <a:pt x="92" y="2"/>
                </a:cubicBezTo>
                <a:cubicBezTo>
                  <a:pt x="92" y="2"/>
                  <a:pt x="92" y="2"/>
                  <a:pt x="92" y="2"/>
                </a:cubicBezTo>
                <a:cubicBezTo>
                  <a:pt x="92" y="2"/>
                  <a:pt x="92" y="2"/>
                  <a:pt x="92" y="2"/>
                </a:cubicBezTo>
                <a:cubicBezTo>
                  <a:pt x="92" y="2"/>
                  <a:pt x="92" y="2"/>
                  <a:pt x="92" y="2"/>
                </a:cubicBezTo>
                <a:cubicBezTo>
                  <a:pt x="93" y="1"/>
                  <a:pt x="94" y="1"/>
                  <a:pt x="95" y="1"/>
                </a:cubicBezTo>
                <a:cubicBezTo>
                  <a:pt x="97" y="0"/>
                  <a:pt x="97" y="2"/>
                  <a:pt x="98" y="2"/>
                </a:cubicBezTo>
                <a:cubicBezTo>
                  <a:pt x="98" y="2"/>
                  <a:pt x="99" y="3"/>
                  <a:pt x="100" y="3"/>
                </a:cubicBezTo>
                <a:cubicBezTo>
                  <a:pt x="101" y="2"/>
                  <a:pt x="102" y="3"/>
                  <a:pt x="103" y="4"/>
                </a:cubicBezTo>
                <a:cubicBezTo>
                  <a:pt x="103" y="4"/>
                  <a:pt x="103" y="5"/>
                  <a:pt x="103" y="5"/>
                </a:cubicBezTo>
                <a:cubicBezTo>
                  <a:pt x="106" y="6"/>
                  <a:pt x="105" y="8"/>
                  <a:pt x="106" y="10"/>
                </a:cubicBezTo>
                <a:cubicBezTo>
                  <a:pt x="106" y="10"/>
                  <a:pt x="106" y="10"/>
                  <a:pt x="106" y="11"/>
                </a:cubicBezTo>
                <a:cubicBezTo>
                  <a:pt x="106" y="11"/>
                  <a:pt x="107" y="11"/>
                  <a:pt x="107" y="12"/>
                </a:cubicBezTo>
                <a:close/>
                <a:moveTo>
                  <a:pt x="397" y="130"/>
                </a:moveTo>
                <a:cubicBezTo>
                  <a:pt x="397" y="130"/>
                  <a:pt x="397" y="131"/>
                  <a:pt x="397" y="131"/>
                </a:cubicBezTo>
                <a:cubicBezTo>
                  <a:pt x="395" y="133"/>
                  <a:pt x="395" y="134"/>
                  <a:pt x="393" y="136"/>
                </a:cubicBezTo>
                <a:cubicBezTo>
                  <a:pt x="393" y="136"/>
                  <a:pt x="393" y="136"/>
                  <a:pt x="393" y="136"/>
                </a:cubicBezTo>
                <a:cubicBezTo>
                  <a:pt x="393" y="136"/>
                  <a:pt x="393" y="136"/>
                  <a:pt x="393" y="136"/>
                </a:cubicBezTo>
                <a:cubicBezTo>
                  <a:pt x="391" y="138"/>
                  <a:pt x="389" y="139"/>
                  <a:pt x="387" y="141"/>
                </a:cubicBezTo>
                <a:cubicBezTo>
                  <a:pt x="385" y="140"/>
                  <a:pt x="383" y="143"/>
                  <a:pt x="381" y="142"/>
                </a:cubicBezTo>
                <a:cubicBezTo>
                  <a:pt x="381" y="142"/>
                  <a:pt x="381" y="142"/>
                  <a:pt x="381" y="142"/>
                </a:cubicBezTo>
                <a:cubicBezTo>
                  <a:pt x="378" y="144"/>
                  <a:pt x="375" y="142"/>
                  <a:pt x="373" y="142"/>
                </a:cubicBezTo>
                <a:cubicBezTo>
                  <a:pt x="371" y="141"/>
                  <a:pt x="368" y="141"/>
                  <a:pt x="366" y="140"/>
                </a:cubicBezTo>
                <a:cubicBezTo>
                  <a:pt x="364" y="139"/>
                  <a:pt x="362" y="139"/>
                  <a:pt x="360" y="137"/>
                </a:cubicBezTo>
                <a:cubicBezTo>
                  <a:pt x="360" y="137"/>
                  <a:pt x="360" y="137"/>
                  <a:pt x="360" y="137"/>
                </a:cubicBezTo>
                <a:cubicBezTo>
                  <a:pt x="359" y="137"/>
                  <a:pt x="357" y="137"/>
                  <a:pt x="355" y="137"/>
                </a:cubicBezTo>
                <a:cubicBezTo>
                  <a:pt x="353" y="136"/>
                  <a:pt x="351" y="137"/>
                  <a:pt x="349" y="137"/>
                </a:cubicBezTo>
                <a:cubicBezTo>
                  <a:pt x="347" y="138"/>
                  <a:pt x="345" y="138"/>
                  <a:pt x="343" y="138"/>
                </a:cubicBezTo>
                <a:cubicBezTo>
                  <a:pt x="341" y="138"/>
                  <a:pt x="339" y="138"/>
                  <a:pt x="337" y="138"/>
                </a:cubicBezTo>
                <a:cubicBezTo>
                  <a:pt x="335" y="138"/>
                  <a:pt x="333" y="138"/>
                  <a:pt x="331" y="137"/>
                </a:cubicBezTo>
                <a:cubicBezTo>
                  <a:pt x="330" y="137"/>
                  <a:pt x="329" y="137"/>
                  <a:pt x="330" y="136"/>
                </a:cubicBezTo>
                <a:cubicBezTo>
                  <a:pt x="331" y="135"/>
                  <a:pt x="331" y="134"/>
                  <a:pt x="331" y="133"/>
                </a:cubicBezTo>
                <a:cubicBezTo>
                  <a:pt x="332" y="131"/>
                  <a:pt x="334" y="130"/>
                  <a:pt x="335" y="129"/>
                </a:cubicBezTo>
                <a:cubicBezTo>
                  <a:pt x="336" y="128"/>
                  <a:pt x="337" y="126"/>
                  <a:pt x="336" y="125"/>
                </a:cubicBezTo>
                <a:cubicBezTo>
                  <a:pt x="336" y="124"/>
                  <a:pt x="336" y="124"/>
                  <a:pt x="336" y="123"/>
                </a:cubicBezTo>
                <a:cubicBezTo>
                  <a:pt x="336" y="123"/>
                  <a:pt x="335" y="123"/>
                  <a:pt x="336" y="122"/>
                </a:cubicBezTo>
                <a:cubicBezTo>
                  <a:pt x="336" y="122"/>
                  <a:pt x="336" y="122"/>
                  <a:pt x="337" y="122"/>
                </a:cubicBezTo>
                <a:cubicBezTo>
                  <a:pt x="337" y="123"/>
                  <a:pt x="338" y="123"/>
                  <a:pt x="339" y="123"/>
                </a:cubicBezTo>
                <a:cubicBezTo>
                  <a:pt x="341" y="123"/>
                  <a:pt x="342" y="124"/>
                  <a:pt x="344" y="124"/>
                </a:cubicBezTo>
                <a:cubicBezTo>
                  <a:pt x="346" y="125"/>
                  <a:pt x="349" y="125"/>
                  <a:pt x="352" y="125"/>
                </a:cubicBezTo>
                <a:cubicBezTo>
                  <a:pt x="352" y="125"/>
                  <a:pt x="353" y="125"/>
                  <a:pt x="354" y="126"/>
                </a:cubicBezTo>
                <a:cubicBezTo>
                  <a:pt x="354" y="126"/>
                  <a:pt x="354" y="126"/>
                  <a:pt x="354" y="126"/>
                </a:cubicBezTo>
                <a:cubicBezTo>
                  <a:pt x="356" y="126"/>
                  <a:pt x="359" y="126"/>
                  <a:pt x="362" y="127"/>
                </a:cubicBezTo>
                <a:cubicBezTo>
                  <a:pt x="362" y="127"/>
                  <a:pt x="362" y="127"/>
                  <a:pt x="362" y="127"/>
                </a:cubicBezTo>
                <a:cubicBezTo>
                  <a:pt x="362" y="127"/>
                  <a:pt x="362" y="127"/>
                  <a:pt x="362" y="127"/>
                </a:cubicBezTo>
                <a:cubicBezTo>
                  <a:pt x="363" y="127"/>
                  <a:pt x="364" y="127"/>
                  <a:pt x="364" y="127"/>
                </a:cubicBezTo>
                <a:cubicBezTo>
                  <a:pt x="365" y="127"/>
                  <a:pt x="365" y="127"/>
                  <a:pt x="365" y="126"/>
                </a:cubicBezTo>
                <a:cubicBezTo>
                  <a:pt x="366" y="126"/>
                  <a:pt x="366" y="125"/>
                  <a:pt x="366" y="125"/>
                </a:cubicBezTo>
                <a:cubicBezTo>
                  <a:pt x="366" y="124"/>
                  <a:pt x="366" y="123"/>
                  <a:pt x="367" y="123"/>
                </a:cubicBezTo>
                <a:cubicBezTo>
                  <a:pt x="368" y="123"/>
                  <a:pt x="369" y="124"/>
                  <a:pt x="369" y="125"/>
                </a:cubicBezTo>
                <a:cubicBezTo>
                  <a:pt x="370" y="126"/>
                  <a:pt x="370" y="127"/>
                  <a:pt x="371" y="128"/>
                </a:cubicBezTo>
                <a:cubicBezTo>
                  <a:pt x="371" y="128"/>
                  <a:pt x="371" y="128"/>
                  <a:pt x="371" y="128"/>
                </a:cubicBezTo>
                <a:cubicBezTo>
                  <a:pt x="372" y="128"/>
                  <a:pt x="372" y="128"/>
                  <a:pt x="373" y="128"/>
                </a:cubicBezTo>
                <a:cubicBezTo>
                  <a:pt x="373" y="129"/>
                  <a:pt x="373" y="129"/>
                  <a:pt x="373" y="129"/>
                </a:cubicBezTo>
                <a:cubicBezTo>
                  <a:pt x="373" y="129"/>
                  <a:pt x="373" y="129"/>
                  <a:pt x="373" y="129"/>
                </a:cubicBezTo>
                <a:cubicBezTo>
                  <a:pt x="374" y="129"/>
                  <a:pt x="375" y="129"/>
                  <a:pt x="375" y="129"/>
                </a:cubicBezTo>
                <a:cubicBezTo>
                  <a:pt x="375" y="129"/>
                  <a:pt x="375" y="129"/>
                  <a:pt x="375" y="129"/>
                </a:cubicBezTo>
                <a:cubicBezTo>
                  <a:pt x="376" y="129"/>
                  <a:pt x="377" y="128"/>
                  <a:pt x="378" y="130"/>
                </a:cubicBezTo>
                <a:cubicBezTo>
                  <a:pt x="378" y="130"/>
                  <a:pt x="378" y="130"/>
                  <a:pt x="379" y="130"/>
                </a:cubicBezTo>
                <a:cubicBezTo>
                  <a:pt x="381" y="129"/>
                  <a:pt x="383" y="129"/>
                  <a:pt x="386" y="128"/>
                </a:cubicBezTo>
                <a:cubicBezTo>
                  <a:pt x="387" y="128"/>
                  <a:pt x="388" y="129"/>
                  <a:pt x="389" y="128"/>
                </a:cubicBezTo>
                <a:cubicBezTo>
                  <a:pt x="390" y="128"/>
                  <a:pt x="391" y="128"/>
                  <a:pt x="392" y="128"/>
                </a:cubicBezTo>
                <a:cubicBezTo>
                  <a:pt x="393" y="128"/>
                  <a:pt x="394" y="128"/>
                  <a:pt x="394" y="129"/>
                </a:cubicBezTo>
                <a:cubicBezTo>
                  <a:pt x="394" y="130"/>
                  <a:pt x="395" y="130"/>
                  <a:pt x="396" y="130"/>
                </a:cubicBezTo>
                <a:cubicBezTo>
                  <a:pt x="396" y="130"/>
                  <a:pt x="396" y="130"/>
                  <a:pt x="397" y="130"/>
                </a:cubicBezTo>
                <a:close/>
                <a:moveTo>
                  <a:pt x="21" y="29"/>
                </a:moveTo>
                <a:cubicBezTo>
                  <a:pt x="20" y="28"/>
                  <a:pt x="19" y="28"/>
                  <a:pt x="18" y="28"/>
                </a:cubicBezTo>
                <a:cubicBezTo>
                  <a:pt x="16" y="29"/>
                  <a:pt x="15" y="29"/>
                  <a:pt x="15" y="31"/>
                </a:cubicBezTo>
                <a:cubicBezTo>
                  <a:pt x="15" y="33"/>
                  <a:pt x="14" y="35"/>
                  <a:pt x="11" y="35"/>
                </a:cubicBezTo>
                <a:cubicBezTo>
                  <a:pt x="10" y="36"/>
                  <a:pt x="8" y="37"/>
                  <a:pt x="7" y="38"/>
                </a:cubicBezTo>
                <a:cubicBezTo>
                  <a:pt x="5" y="40"/>
                  <a:pt x="2" y="41"/>
                  <a:pt x="2" y="45"/>
                </a:cubicBezTo>
                <a:cubicBezTo>
                  <a:pt x="2" y="45"/>
                  <a:pt x="2" y="45"/>
                  <a:pt x="2" y="45"/>
                </a:cubicBezTo>
                <a:cubicBezTo>
                  <a:pt x="1" y="46"/>
                  <a:pt x="0" y="47"/>
                  <a:pt x="1" y="49"/>
                </a:cubicBezTo>
                <a:cubicBezTo>
                  <a:pt x="1" y="50"/>
                  <a:pt x="0" y="50"/>
                  <a:pt x="1" y="51"/>
                </a:cubicBezTo>
                <a:cubicBezTo>
                  <a:pt x="2" y="52"/>
                  <a:pt x="3" y="54"/>
                  <a:pt x="4" y="55"/>
                </a:cubicBezTo>
                <a:cubicBezTo>
                  <a:pt x="4" y="55"/>
                  <a:pt x="5" y="55"/>
                  <a:pt x="5" y="54"/>
                </a:cubicBezTo>
                <a:cubicBezTo>
                  <a:pt x="5" y="53"/>
                  <a:pt x="6" y="52"/>
                  <a:pt x="7" y="51"/>
                </a:cubicBezTo>
                <a:cubicBezTo>
                  <a:pt x="7" y="49"/>
                  <a:pt x="9" y="47"/>
                  <a:pt x="10" y="45"/>
                </a:cubicBezTo>
                <a:cubicBezTo>
                  <a:pt x="10" y="44"/>
                  <a:pt x="12" y="44"/>
                  <a:pt x="13" y="44"/>
                </a:cubicBezTo>
                <a:cubicBezTo>
                  <a:pt x="15" y="43"/>
                  <a:pt x="17" y="42"/>
                  <a:pt x="18" y="41"/>
                </a:cubicBezTo>
                <a:cubicBezTo>
                  <a:pt x="19" y="41"/>
                  <a:pt x="20" y="40"/>
                  <a:pt x="19" y="39"/>
                </a:cubicBezTo>
                <a:cubicBezTo>
                  <a:pt x="18" y="36"/>
                  <a:pt x="19" y="33"/>
                  <a:pt x="21" y="31"/>
                </a:cubicBezTo>
                <a:cubicBezTo>
                  <a:pt x="22" y="30"/>
                  <a:pt x="22" y="29"/>
                  <a:pt x="21" y="29"/>
                </a:cubicBezTo>
                <a:close/>
                <a:moveTo>
                  <a:pt x="415" y="205"/>
                </a:moveTo>
                <a:cubicBezTo>
                  <a:pt x="414" y="204"/>
                  <a:pt x="414" y="204"/>
                  <a:pt x="415" y="203"/>
                </a:cubicBezTo>
                <a:cubicBezTo>
                  <a:pt x="415" y="202"/>
                  <a:pt x="415" y="201"/>
                  <a:pt x="416" y="200"/>
                </a:cubicBezTo>
                <a:cubicBezTo>
                  <a:pt x="416" y="200"/>
                  <a:pt x="416" y="199"/>
                  <a:pt x="416" y="199"/>
                </a:cubicBezTo>
                <a:cubicBezTo>
                  <a:pt x="415" y="197"/>
                  <a:pt x="412" y="196"/>
                  <a:pt x="410" y="197"/>
                </a:cubicBezTo>
                <a:cubicBezTo>
                  <a:pt x="409" y="197"/>
                  <a:pt x="408" y="198"/>
                  <a:pt x="408" y="198"/>
                </a:cubicBezTo>
                <a:cubicBezTo>
                  <a:pt x="406" y="200"/>
                  <a:pt x="404" y="202"/>
                  <a:pt x="401" y="202"/>
                </a:cubicBezTo>
                <a:cubicBezTo>
                  <a:pt x="399" y="202"/>
                  <a:pt x="399" y="204"/>
                  <a:pt x="398" y="205"/>
                </a:cubicBezTo>
                <a:cubicBezTo>
                  <a:pt x="398" y="206"/>
                  <a:pt x="399" y="206"/>
                  <a:pt x="399" y="207"/>
                </a:cubicBezTo>
                <a:cubicBezTo>
                  <a:pt x="400" y="207"/>
                  <a:pt x="400" y="207"/>
                  <a:pt x="400" y="208"/>
                </a:cubicBezTo>
                <a:cubicBezTo>
                  <a:pt x="401" y="209"/>
                  <a:pt x="401" y="209"/>
                  <a:pt x="402" y="208"/>
                </a:cubicBezTo>
                <a:cubicBezTo>
                  <a:pt x="403" y="208"/>
                  <a:pt x="403" y="207"/>
                  <a:pt x="404" y="207"/>
                </a:cubicBezTo>
                <a:cubicBezTo>
                  <a:pt x="406" y="208"/>
                  <a:pt x="407" y="207"/>
                  <a:pt x="408" y="206"/>
                </a:cubicBezTo>
                <a:cubicBezTo>
                  <a:pt x="409" y="206"/>
                  <a:pt x="409" y="206"/>
                  <a:pt x="410" y="207"/>
                </a:cubicBezTo>
                <a:cubicBezTo>
                  <a:pt x="410" y="208"/>
                  <a:pt x="411" y="208"/>
                  <a:pt x="412" y="207"/>
                </a:cubicBezTo>
                <a:cubicBezTo>
                  <a:pt x="413" y="207"/>
                  <a:pt x="414" y="206"/>
                  <a:pt x="415" y="207"/>
                </a:cubicBezTo>
                <a:cubicBezTo>
                  <a:pt x="415" y="207"/>
                  <a:pt x="416" y="206"/>
                  <a:pt x="416" y="205"/>
                </a:cubicBezTo>
                <a:cubicBezTo>
                  <a:pt x="417" y="205"/>
                  <a:pt x="416" y="205"/>
                  <a:pt x="415" y="205"/>
                </a:cubicBezTo>
                <a:close/>
                <a:moveTo>
                  <a:pt x="259" y="104"/>
                </a:moveTo>
                <a:cubicBezTo>
                  <a:pt x="259" y="104"/>
                  <a:pt x="259" y="104"/>
                  <a:pt x="259" y="104"/>
                </a:cubicBezTo>
                <a:cubicBezTo>
                  <a:pt x="259" y="104"/>
                  <a:pt x="259" y="104"/>
                  <a:pt x="259" y="104"/>
                </a:cubicBezTo>
                <a:close/>
                <a:moveTo>
                  <a:pt x="291" y="113"/>
                </a:moveTo>
                <a:cubicBezTo>
                  <a:pt x="290" y="114"/>
                  <a:pt x="288" y="116"/>
                  <a:pt x="286" y="116"/>
                </a:cubicBezTo>
                <a:cubicBezTo>
                  <a:pt x="286" y="116"/>
                  <a:pt x="286" y="116"/>
                  <a:pt x="286" y="116"/>
                </a:cubicBezTo>
                <a:cubicBezTo>
                  <a:pt x="287" y="117"/>
                  <a:pt x="286" y="117"/>
                  <a:pt x="286" y="117"/>
                </a:cubicBezTo>
                <a:cubicBezTo>
                  <a:pt x="284" y="117"/>
                  <a:pt x="285" y="116"/>
                  <a:pt x="285" y="116"/>
                </a:cubicBezTo>
                <a:cubicBezTo>
                  <a:pt x="284" y="114"/>
                  <a:pt x="282" y="115"/>
                  <a:pt x="281" y="115"/>
                </a:cubicBezTo>
                <a:cubicBezTo>
                  <a:pt x="281" y="115"/>
                  <a:pt x="280" y="116"/>
                  <a:pt x="279" y="116"/>
                </a:cubicBezTo>
                <a:cubicBezTo>
                  <a:pt x="279" y="116"/>
                  <a:pt x="279" y="116"/>
                  <a:pt x="279" y="116"/>
                </a:cubicBezTo>
                <a:cubicBezTo>
                  <a:pt x="279" y="116"/>
                  <a:pt x="279" y="116"/>
                  <a:pt x="279" y="116"/>
                </a:cubicBezTo>
                <a:cubicBezTo>
                  <a:pt x="279" y="116"/>
                  <a:pt x="279" y="116"/>
                  <a:pt x="279" y="116"/>
                </a:cubicBezTo>
                <a:cubicBezTo>
                  <a:pt x="279" y="116"/>
                  <a:pt x="279" y="116"/>
                  <a:pt x="279" y="116"/>
                </a:cubicBezTo>
                <a:cubicBezTo>
                  <a:pt x="278" y="116"/>
                  <a:pt x="277" y="116"/>
                  <a:pt x="276" y="118"/>
                </a:cubicBezTo>
                <a:cubicBezTo>
                  <a:pt x="276" y="118"/>
                  <a:pt x="275" y="118"/>
                  <a:pt x="274" y="118"/>
                </a:cubicBezTo>
                <a:cubicBezTo>
                  <a:pt x="274" y="118"/>
                  <a:pt x="274" y="118"/>
                  <a:pt x="274" y="118"/>
                </a:cubicBezTo>
                <a:cubicBezTo>
                  <a:pt x="274" y="118"/>
                  <a:pt x="274" y="118"/>
                  <a:pt x="274" y="118"/>
                </a:cubicBezTo>
                <a:cubicBezTo>
                  <a:pt x="273" y="118"/>
                  <a:pt x="273" y="118"/>
                  <a:pt x="273" y="117"/>
                </a:cubicBezTo>
                <a:cubicBezTo>
                  <a:pt x="273" y="117"/>
                  <a:pt x="272" y="117"/>
                  <a:pt x="272" y="116"/>
                </a:cubicBezTo>
                <a:cubicBezTo>
                  <a:pt x="272" y="116"/>
                  <a:pt x="272" y="116"/>
                  <a:pt x="272" y="116"/>
                </a:cubicBezTo>
                <a:cubicBezTo>
                  <a:pt x="272" y="116"/>
                  <a:pt x="272" y="116"/>
                  <a:pt x="271" y="116"/>
                </a:cubicBezTo>
                <a:cubicBezTo>
                  <a:pt x="270" y="115"/>
                  <a:pt x="269" y="114"/>
                  <a:pt x="268" y="114"/>
                </a:cubicBezTo>
                <a:cubicBezTo>
                  <a:pt x="267" y="113"/>
                  <a:pt x="267" y="113"/>
                  <a:pt x="267" y="112"/>
                </a:cubicBezTo>
                <a:cubicBezTo>
                  <a:pt x="267" y="111"/>
                  <a:pt x="267" y="111"/>
                  <a:pt x="266" y="111"/>
                </a:cubicBezTo>
                <a:cubicBezTo>
                  <a:pt x="266" y="111"/>
                  <a:pt x="266" y="111"/>
                  <a:pt x="266" y="111"/>
                </a:cubicBezTo>
                <a:cubicBezTo>
                  <a:pt x="266" y="111"/>
                  <a:pt x="266" y="111"/>
                  <a:pt x="266" y="111"/>
                </a:cubicBezTo>
                <a:cubicBezTo>
                  <a:pt x="266" y="111"/>
                  <a:pt x="265" y="111"/>
                  <a:pt x="265" y="111"/>
                </a:cubicBezTo>
                <a:cubicBezTo>
                  <a:pt x="265" y="111"/>
                  <a:pt x="266" y="111"/>
                  <a:pt x="266" y="112"/>
                </a:cubicBezTo>
                <a:cubicBezTo>
                  <a:pt x="266" y="112"/>
                  <a:pt x="266" y="112"/>
                  <a:pt x="266" y="112"/>
                </a:cubicBezTo>
                <a:cubicBezTo>
                  <a:pt x="266" y="112"/>
                  <a:pt x="266" y="113"/>
                  <a:pt x="266" y="113"/>
                </a:cubicBezTo>
                <a:cubicBezTo>
                  <a:pt x="265" y="113"/>
                  <a:pt x="265" y="112"/>
                  <a:pt x="265" y="112"/>
                </a:cubicBezTo>
                <a:cubicBezTo>
                  <a:pt x="265" y="112"/>
                  <a:pt x="264" y="111"/>
                  <a:pt x="264" y="111"/>
                </a:cubicBezTo>
                <a:cubicBezTo>
                  <a:pt x="264" y="111"/>
                  <a:pt x="264" y="111"/>
                  <a:pt x="264" y="111"/>
                </a:cubicBezTo>
                <a:cubicBezTo>
                  <a:pt x="264" y="111"/>
                  <a:pt x="264" y="111"/>
                  <a:pt x="264" y="111"/>
                </a:cubicBezTo>
                <a:cubicBezTo>
                  <a:pt x="264" y="111"/>
                  <a:pt x="264" y="111"/>
                  <a:pt x="264" y="111"/>
                </a:cubicBezTo>
                <a:cubicBezTo>
                  <a:pt x="264" y="109"/>
                  <a:pt x="263" y="109"/>
                  <a:pt x="262" y="111"/>
                </a:cubicBezTo>
                <a:cubicBezTo>
                  <a:pt x="262" y="111"/>
                  <a:pt x="262" y="111"/>
                  <a:pt x="262" y="111"/>
                </a:cubicBezTo>
                <a:cubicBezTo>
                  <a:pt x="263" y="113"/>
                  <a:pt x="262" y="112"/>
                  <a:pt x="261" y="112"/>
                </a:cubicBezTo>
                <a:cubicBezTo>
                  <a:pt x="261" y="112"/>
                  <a:pt x="260" y="112"/>
                  <a:pt x="259" y="112"/>
                </a:cubicBezTo>
                <a:cubicBezTo>
                  <a:pt x="258" y="112"/>
                  <a:pt x="258" y="112"/>
                  <a:pt x="258" y="112"/>
                </a:cubicBezTo>
                <a:cubicBezTo>
                  <a:pt x="258" y="112"/>
                  <a:pt x="258" y="112"/>
                  <a:pt x="258" y="112"/>
                </a:cubicBezTo>
                <a:cubicBezTo>
                  <a:pt x="258" y="111"/>
                  <a:pt x="257" y="110"/>
                  <a:pt x="257" y="110"/>
                </a:cubicBezTo>
                <a:cubicBezTo>
                  <a:pt x="256" y="109"/>
                  <a:pt x="256" y="107"/>
                  <a:pt x="257" y="106"/>
                </a:cubicBezTo>
                <a:cubicBezTo>
                  <a:pt x="258" y="105"/>
                  <a:pt x="259" y="105"/>
                  <a:pt x="259" y="104"/>
                </a:cubicBezTo>
                <a:cubicBezTo>
                  <a:pt x="259" y="104"/>
                  <a:pt x="259" y="104"/>
                  <a:pt x="259" y="104"/>
                </a:cubicBezTo>
                <a:cubicBezTo>
                  <a:pt x="259" y="104"/>
                  <a:pt x="259" y="104"/>
                  <a:pt x="259" y="104"/>
                </a:cubicBezTo>
                <a:cubicBezTo>
                  <a:pt x="259" y="104"/>
                  <a:pt x="259" y="104"/>
                  <a:pt x="259" y="104"/>
                </a:cubicBezTo>
                <a:cubicBezTo>
                  <a:pt x="259" y="104"/>
                  <a:pt x="259" y="104"/>
                  <a:pt x="259" y="104"/>
                </a:cubicBezTo>
                <a:cubicBezTo>
                  <a:pt x="259" y="104"/>
                  <a:pt x="259" y="104"/>
                  <a:pt x="259" y="104"/>
                </a:cubicBezTo>
                <a:cubicBezTo>
                  <a:pt x="259" y="104"/>
                  <a:pt x="259" y="104"/>
                  <a:pt x="259" y="104"/>
                </a:cubicBezTo>
                <a:cubicBezTo>
                  <a:pt x="259" y="104"/>
                  <a:pt x="259" y="104"/>
                  <a:pt x="259" y="104"/>
                </a:cubicBezTo>
                <a:cubicBezTo>
                  <a:pt x="259" y="104"/>
                  <a:pt x="259" y="103"/>
                  <a:pt x="259" y="103"/>
                </a:cubicBezTo>
                <a:cubicBezTo>
                  <a:pt x="258" y="102"/>
                  <a:pt x="257" y="102"/>
                  <a:pt x="256" y="102"/>
                </a:cubicBezTo>
                <a:cubicBezTo>
                  <a:pt x="256" y="102"/>
                  <a:pt x="256" y="102"/>
                  <a:pt x="256" y="102"/>
                </a:cubicBezTo>
                <a:cubicBezTo>
                  <a:pt x="256" y="102"/>
                  <a:pt x="256" y="102"/>
                  <a:pt x="256" y="102"/>
                </a:cubicBezTo>
                <a:cubicBezTo>
                  <a:pt x="256" y="103"/>
                  <a:pt x="256" y="103"/>
                  <a:pt x="256" y="103"/>
                </a:cubicBezTo>
                <a:cubicBezTo>
                  <a:pt x="256" y="104"/>
                  <a:pt x="256" y="104"/>
                  <a:pt x="255" y="104"/>
                </a:cubicBezTo>
                <a:cubicBezTo>
                  <a:pt x="255" y="104"/>
                  <a:pt x="255" y="104"/>
                  <a:pt x="255" y="104"/>
                </a:cubicBezTo>
                <a:cubicBezTo>
                  <a:pt x="255" y="103"/>
                  <a:pt x="254" y="102"/>
                  <a:pt x="254" y="103"/>
                </a:cubicBezTo>
                <a:cubicBezTo>
                  <a:pt x="253" y="104"/>
                  <a:pt x="254" y="105"/>
                  <a:pt x="254" y="105"/>
                </a:cubicBezTo>
                <a:cubicBezTo>
                  <a:pt x="255" y="105"/>
                  <a:pt x="255" y="106"/>
                  <a:pt x="255" y="107"/>
                </a:cubicBezTo>
                <a:cubicBezTo>
                  <a:pt x="254" y="106"/>
                  <a:pt x="252" y="106"/>
                  <a:pt x="252" y="105"/>
                </a:cubicBezTo>
                <a:cubicBezTo>
                  <a:pt x="252" y="104"/>
                  <a:pt x="251" y="104"/>
                  <a:pt x="250" y="104"/>
                </a:cubicBezTo>
                <a:cubicBezTo>
                  <a:pt x="250" y="104"/>
                  <a:pt x="250" y="105"/>
                  <a:pt x="250" y="105"/>
                </a:cubicBezTo>
                <a:cubicBezTo>
                  <a:pt x="250" y="106"/>
                  <a:pt x="250" y="106"/>
                  <a:pt x="251" y="106"/>
                </a:cubicBezTo>
                <a:cubicBezTo>
                  <a:pt x="252" y="106"/>
                  <a:pt x="252" y="106"/>
                  <a:pt x="253" y="107"/>
                </a:cubicBezTo>
                <a:cubicBezTo>
                  <a:pt x="255" y="107"/>
                  <a:pt x="255" y="108"/>
                  <a:pt x="255" y="109"/>
                </a:cubicBezTo>
                <a:cubicBezTo>
                  <a:pt x="255" y="111"/>
                  <a:pt x="254" y="111"/>
                  <a:pt x="253" y="111"/>
                </a:cubicBezTo>
                <a:cubicBezTo>
                  <a:pt x="253" y="111"/>
                  <a:pt x="253" y="111"/>
                  <a:pt x="253" y="111"/>
                </a:cubicBezTo>
                <a:cubicBezTo>
                  <a:pt x="252" y="112"/>
                  <a:pt x="250" y="112"/>
                  <a:pt x="249" y="112"/>
                </a:cubicBezTo>
                <a:cubicBezTo>
                  <a:pt x="249" y="112"/>
                  <a:pt x="249" y="112"/>
                  <a:pt x="249" y="112"/>
                </a:cubicBezTo>
                <a:cubicBezTo>
                  <a:pt x="247" y="113"/>
                  <a:pt x="245" y="113"/>
                  <a:pt x="243" y="113"/>
                </a:cubicBezTo>
                <a:cubicBezTo>
                  <a:pt x="243" y="113"/>
                  <a:pt x="243" y="113"/>
                  <a:pt x="243" y="113"/>
                </a:cubicBezTo>
                <a:cubicBezTo>
                  <a:pt x="242" y="113"/>
                  <a:pt x="241" y="114"/>
                  <a:pt x="240" y="113"/>
                </a:cubicBezTo>
                <a:cubicBezTo>
                  <a:pt x="239" y="112"/>
                  <a:pt x="239" y="111"/>
                  <a:pt x="239" y="110"/>
                </a:cubicBezTo>
                <a:cubicBezTo>
                  <a:pt x="238" y="107"/>
                  <a:pt x="237" y="105"/>
                  <a:pt x="235" y="103"/>
                </a:cubicBezTo>
                <a:cubicBezTo>
                  <a:pt x="235" y="103"/>
                  <a:pt x="235" y="103"/>
                  <a:pt x="235" y="103"/>
                </a:cubicBezTo>
                <a:cubicBezTo>
                  <a:pt x="235" y="103"/>
                  <a:pt x="235" y="103"/>
                  <a:pt x="235" y="102"/>
                </a:cubicBezTo>
                <a:cubicBezTo>
                  <a:pt x="235" y="102"/>
                  <a:pt x="234" y="102"/>
                  <a:pt x="234" y="101"/>
                </a:cubicBezTo>
                <a:cubicBezTo>
                  <a:pt x="234" y="101"/>
                  <a:pt x="234" y="101"/>
                  <a:pt x="233" y="101"/>
                </a:cubicBezTo>
                <a:cubicBezTo>
                  <a:pt x="233" y="101"/>
                  <a:pt x="233" y="101"/>
                  <a:pt x="233" y="100"/>
                </a:cubicBezTo>
                <a:cubicBezTo>
                  <a:pt x="233" y="100"/>
                  <a:pt x="233" y="100"/>
                  <a:pt x="233" y="100"/>
                </a:cubicBezTo>
                <a:cubicBezTo>
                  <a:pt x="233" y="100"/>
                  <a:pt x="233" y="100"/>
                  <a:pt x="233" y="100"/>
                </a:cubicBezTo>
                <a:cubicBezTo>
                  <a:pt x="233" y="100"/>
                  <a:pt x="233" y="99"/>
                  <a:pt x="233" y="99"/>
                </a:cubicBezTo>
                <a:cubicBezTo>
                  <a:pt x="233" y="99"/>
                  <a:pt x="232" y="99"/>
                  <a:pt x="232" y="99"/>
                </a:cubicBezTo>
                <a:cubicBezTo>
                  <a:pt x="232" y="98"/>
                  <a:pt x="232" y="98"/>
                  <a:pt x="232" y="97"/>
                </a:cubicBezTo>
                <a:cubicBezTo>
                  <a:pt x="231" y="96"/>
                  <a:pt x="231" y="95"/>
                  <a:pt x="229" y="94"/>
                </a:cubicBezTo>
                <a:cubicBezTo>
                  <a:pt x="228" y="93"/>
                  <a:pt x="228" y="92"/>
                  <a:pt x="227" y="91"/>
                </a:cubicBezTo>
                <a:cubicBezTo>
                  <a:pt x="226" y="91"/>
                  <a:pt x="226" y="90"/>
                  <a:pt x="226" y="90"/>
                </a:cubicBezTo>
                <a:cubicBezTo>
                  <a:pt x="226" y="89"/>
                  <a:pt x="226" y="88"/>
                  <a:pt x="226" y="87"/>
                </a:cubicBezTo>
                <a:cubicBezTo>
                  <a:pt x="227" y="85"/>
                  <a:pt x="226" y="83"/>
                  <a:pt x="224" y="82"/>
                </a:cubicBezTo>
                <a:cubicBezTo>
                  <a:pt x="223" y="81"/>
                  <a:pt x="223" y="81"/>
                  <a:pt x="222" y="81"/>
                </a:cubicBezTo>
                <a:cubicBezTo>
                  <a:pt x="222" y="80"/>
                  <a:pt x="221" y="80"/>
                  <a:pt x="221" y="80"/>
                </a:cubicBezTo>
                <a:cubicBezTo>
                  <a:pt x="222" y="79"/>
                  <a:pt x="222" y="80"/>
                  <a:pt x="222" y="79"/>
                </a:cubicBezTo>
                <a:cubicBezTo>
                  <a:pt x="222" y="79"/>
                  <a:pt x="223" y="79"/>
                  <a:pt x="223" y="79"/>
                </a:cubicBezTo>
                <a:cubicBezTo>
                  <a:pt x="223" y="79"/>
                  <a:pt x="223" y="79"/>
                  <a:pt x="223" y="79"/>
                </a:cubicBezTo>
                <a:cubicBezTo>
                  <a:pt x="224" y="79"/>
                  <a:pt x="224" y="79"/>
                  <a:pt x="225" y="79"/>
                </a:cubicBezTo>
                <a:cubicBezTo>
                  <a:pt x="225" y="79"/>
                  <a:pt x="225" y="79"/>
                  <a:pt x="225" y="79"/>
                </a:cubicBezTo>
                <a:cubicBezTo>
                  <a:pt x="227" y="78"/>
                  <a:pt x="229" y="79"/>
                  <a:pt x="231" y="79"/>
                </a:cubicBezTo>
                <a:cubicBezTo>
                  <a:pt x="231" y="79"/>
                  <a:pt x="231" y="79"/>
                  <a:pt x="231" y="79"/>
                </a:cubicBezTo>
                <a:cubicBezTo>
                  <a:pt x="231" y="79"/>
                  <a:pt x="231" y="79"/>
                  <a:pt x="231" y="79"/>
                </a:cubicBezTo>
                <a:cubicBezTo>
                  <a:pt x="232" y="79"/>
                  <a:pt x="232" y="79"/>
                  <a:pt x="232" y="79"/>
                </a:cubicBezTo>
                <a:cubicBezTo>
                  <a:pt x="232" y="79"/>
                  <a:pt x="232" y="79"/>
                  <a:pt x="232" y="79"/>
                </a:cubicBezTo>
                <a:cubicBezTo>
                  <a:pt x="233" y="79"/>
                  <a:pt x="234" y="79"/>
                  <a:pt x="235" y="79"/>
                </a:cubicBezTo>
                <a:cubicBezTo>
                  <a:pt x="235" y="79"/>
                  <a:pt x="235" y="79"/>
                  <a:pt x="236" y="79"/>
                </a:cubicBezTo>
                <a:cubicBezTo>
                  <a:pt x="238" y="79"/>
                  <a:pt x="239" y="79"/>
                  <a:pt x="240" y="77"/>
                </a:cubicBezTo>
                <a:cubicBezTo>
                  <a:pt x="240" y="76"/>
                  <a:pt x="241" y="75"/>
                  <a:pt x="241" y="75"/>
                </a:cubicBezTo>
                <a:cubicBezTo>
                  <a:pt x="243" y="73"/>
                  <a:pt x="244" y="71"/>
                  <a:pt x="245" y="70"/>
                </a:cubicBezTo>
                <a:cubicBezTo>
                  <a:pt x="247" y="67"/>
                  <a:pt x="248" y="65"/>
                  <a:pt x="251" y="64"/>
                </a:cubicBezTo>
                <a:cubicBezTo>
                  <a:pt x="251" y="64"/>
                  <a:pt x="251" y="64"/>
                  <a:pt x="251" y="64"/>
                </a:cubicBezTo>
                <a:cubicBezTo>
                  <a:pt x="251" y="64"/>
                  <a:pt x="251" y="64"/>
                  <a:pt x="251" y="64"/>
                </a:cubicBezTo>
                <a:cubicBezTo>
                  <a:pt x="254" y="63"/>
                  <a:pt x="256" y="63"/>
                  <a:pt x="258" y="66"/>
                </a:cubicBezTo>
                <a:cubicBezTo>
                  <a:pt x="259" y="67"/>
                  <a:pt x="260" y="69"/>
                  <a:pt x="261" y="71"/>
                </a:cubicBezTo>
                <a:cubicBezTo>
                  <a:pt x="261" y="71"/>
                  <a:pt x="261" y="72"/>
                  <a:pt x="261" y="72"/>
                </a:cubicBezTo>
                <a:cubicBezTo>
                  <a:pt x="262" y="74"/>
                  <a:pt x="262" y="75"/>
                  <a:pt x="263" y="76"/>
                </a:cubicBezTo>
                <a:cubicBezTo>
                  <a:pt x="264" y="76"/>
                  <a:pt x="264" y="77"/>
                  <a:pt x="264" y="77"/>
                </a:cubicBezTo>
                <a:cubicBezTo>
                  <a:pt x="265" y="79"/>
                  <a:pt x="266" y="80"/>
                  <a:pt x="267" y="82"/>
                </a:cubicBezTo>
                <a:cubicBezTo>
                  <a:pt x="267" y="81"/>
                  <a:pt x="268" y="81"/>
                  <a:pt x="268" y="82"/>
                </a:cubicBezTo>
                <a:cubicBezTo>
                  <a:pt x="270" y="82"/>
                  <a:pt x="271" y="86"/>
                  <a:pt x="271" y="87"/>
                </a:cubicBezTo>
                <a:cubicBezTo>
                  <a:pt x="271" y="87"/>
                  <a:pt x="270" y="88"/>
                  <a:pt x="270" y="88"/>
                </a:cubicBezTo>
                <a:cubicBezTo>
                  <a:pt x="269" y="88"/>
                  <a:pt x="269" y="88"/>
                  <a:pt x="269" y="89"/>
                </a:cubicBezTo>
                <a:cubicBezTo>
                  <a:pt x="269" y="91"/>
                  <a:pt x="271" y="93"/>
                  <a:pt x="273" y="94"/>
                </a:cubicBezTo>
                <a:cubicBezTo>
                  <a:pt x="273" y="94"/>
                  <a:pt x="273" y="94"/>
                  <a:pt x="273" y="94"/>
                </a:cubicBezTo>
                <a:cubicBezTo>
                  <a:pt x="273" y="94"/>
                  <a:pt x="273" y="94"/>
                  <a:pt x="273" y="94"/>
                </a:cubicBezTo>
                <a:cubicBezTo>
                  <a:pt x="274" y="95"/>
                  <a:pt x="274" y="97"/>
                  <a:pt x="274" y="98"/>
                </a:cubicBezTo>
                <a:cubicBezTo>
                  <a:pt x="275" y="98"/>
                  <a:pt x="276" y="98"/>
                  <a:pt x="276" y="99"/>
                </a:cubicBezTo>
                <a:cubicBezTo>
                  <a:pt x="277" y="99"/>
                  <a:pt x="277" y="99"/>
                  <a:pt x="278" y="99"/>
                </a:cubicBezTo>
                <a:cubicBezTo>
                  <a:pt x="278" y="99"/>
                  <a:pt x="278" y="99"/>
                  <a:pt x="278" y="99"/>
                </a:cubicBezTo>
                <a:cubicBezTo>
                  <a:pt x="278" y="98"/>
                  <a:pt x="278" y="97"/>
                  <a:pt x="279" y="96"/>
                </a:cubicBezTo>
                <a:cubicBezTo>
                  <a:pt x="279" y="96"/>
                  <a:pt x="279" y="96"/>
                  <a:pt x="279" y="96"/>
                </a:cubicBezTo>
                <a:cubicBezTo>
                  <a:pt x="279" y="96"/>
                  <a:pt x="279" y="96"/>
                  <a:pt x="279" y="96"/>
                </a:cubicBezTo>
                <a:cubicBezTo>
                  <a:pt x="278" y="96"/>
                  <a:pt x="277" y="96"/>
                  <a:pt x="277" y="94"/>
                </a:cubicBezTo>
                <a:cubicBezTo>
                  <a:pt x="278" y="94"/>
                  <a:pt x="279" y="93"/>
                  <a:pt x="279" y="94"/>
                </a:cubicBezTo>
                <a:cubicBezTo>
                  <a:pt x="281" y="94"/>
                  <a:pt x="282" y="94"/>
                  <a:pt x="283" y="94"/>
                </a:cubicBezTo>
                <a:cubicBezTo>
                  <a:pt x="282" y="95"/>
                  <a:pt x="281" y="97"/>
                  <a:pt x="281" y="99"/>
                </a:cubicBezTo>
                <a:cubicBezTo>
                  <a:pt x="281" y="99"/>
                  <a:pt x="281" y="99"/>
                  <a:pt x="281" y="99"/>
                </a:cubicBezTo>
                <a:cubicBezTo>
                  <a:pt x="282" y="100"/>
                  <a:pt x="282" y="101"/>
                  <a:pt x="283" y="101"/>
                </a:cubicBezTo>
                <a:cubicBezTo>
                  <a:pt x="283" y="101"/>
                  <a:pt x="283" y="101"/>
                  <a:pt x="283" y="101"/>
                </a:cubicBezTo>
                <a:cubicBezTo>
                  <a:pt x="283" y="101"/>
                  <a:pt x="283" y="101"/>
                  <a:pt x="283" y="101"/>
                </a:cubicBezTo>
                <a:cubicBezTo>
                  <a:pt x="284" y="102"/>
                  <a:pt x="285" y="102"/>
                  <a:pt x="285" y="103"/>
                </a:cubicBezTo>
                <a:cubicBezTo>
                  <a:pt x="285" y="103"/>
                  <a:pt x="285" y="103"/>
                  <a:pt x="285" y="103"/>
                </a:cubicBezTo>
                <a:cubicBezTo>
                  <a:pt x="285" y="105"/>
                  <a:pt x="285" y="106"/>
                  <a:pt x="286" y="108"/>
                </a:cubicBezTo>
                <a:cubicBezTo>
                  <a:pt x="286" y="108"/>
                  <a:pt x="286" y="108"/>
                  <a:pt x="286" y="108"/>
                </a:cubicBezTo>
                <a:cubicBezTo>
                  <a:pt x="287" y="109"/>
                  <a:pt x="289" y="110"/>
                  <a:pt x="290" y="111"/>
                </a:cubicBezTo>
                <a:cubicBezTo>
                  <a:pt x="291" y="111"/>
                  <a:pt x="291" y="112"/>
                  <a:pt x="291" y="113"/>
                </a:cubicBezTo>
                <a:close/>
                <a:moveTo>
                  <a:pt x="17" y="26"/>
                </a:moveTo>
                <a:cubicBezTo>
                  <a:pt x="17" y="26"/>
                  <a:pt x="18" y="26"/>
                  <a:pt x="18" y="26"/>
                </a:cubicBezTo>
                <a:cubicBezTo>
                  <a:pt x="18" y="25"/>
                  <a:pt x="17" y="25"/>
                  <a:pt x="17" y="25"/>
                </a:cubicBezTo>
                <a:cubicBezTo>
                  <a:pt x="17" y="25"/>
                  <a:pt x="17" y="25"/>
                  <a:pt x="17" y="26"/>
                </a:cubicBezTo>
                <a:cubicBezTo>
                  <a:pt x="17" y="26"/>
                  <a:pt x="17" y="26"/>
                  <a:pt x="17" y="26"/>
                </a:cubicBezTo>
                <a:close/>
                <a:moveTo>
                  <a:pt x="257" y="105"/>
                </a:moveTo>
                <a:cubicBezTo>
                  <a:pt x="256" y="105"/>
                  <a:pt x="256" y="105"/>
                  <a:pt x="256" y="106"/>
                </a:cubicBezTo>
                <a:cubicBezTo>
                  <a:pt x="257" y="106"/>
                  <a:pt x="257" y="105"/>
                  <a:pt x="257" y="105"/>
                </a:cubicBezTo>
                <a:close/>
              </a:path>
            </a:pathLst>
          </a:custGeom>
          <a:solidFill>
            <a:schemeClr val="bg1">
              <a:lumMod val="85000"/>
            </a:schemeClr>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4" name="Alaska">
            <a:extLst>
              <a:ext uri="{FF2B5EF4-FFF2-40B4-BE49-F238E27FC236}">
                <a16:creationId xmlns:a16="http://schemas.microsoft.com/office/drawing/2014/main" id="{FFA80805-B5D8-6E8D-6104-00F1EF5AA035}"/>
              </a:ext>
            </a:extLst>
          </p:cNvPr>
          <p:cNvSpPr>
            <a:spLocks noChangeAspect="1" noEditPoints="1"/>
          </p:cNvSpPr>
          <p:nvPr/>
        </p:nvSpPr>
        <p:spPr bwMode="auto">
          <a:xfrm>
            <a:off x="723900" y="4323757"/>
            <a:ext cx="2491358" cy="1890288"/>
          </a:xfrm>
          <a:custGeom>
            <a:avLst/>
            <a:gdLst>
              <a:gd name="T0" fmla="*/ 425 w 740"/>
              <a:gd name="T1" fmla="*/ 445 h 561"/>
              <a:gd name="T2" fmla="*/ 442 w 740"/>
              <a:gd name="T3" fmla="*/ 430 h 561"/>
              <a:gd name="T4" fmla="*/ 433 w 740"/>
              <a:gd name="T5" fmla="*/ 438 h 561"/>
              <a:gd name="T6" fmla="*/ 425 w 740"/>
              <a:gd name="T7" fmla="*/ 434 h 561"/>
              <a:gd name="T8" fmla="*/ 435 w 740"/>
              <a:gd name="T9" fmla="*/ 413 h 561"/>
              <a:gd name="T10" fmla="*/ 452 w 740"/>
              <a:gd name="T11" fmla="*/ 413 h 561"/>
              <a:gd name="T12" fmla="*/ 448 w 740"/>
              <a:gd name="T13" fmla="*/ 409 h 561"/>
              <a:gd name="T14" fmla="*/ 456 w 740"/>
              <a:gd name="T15" fmla="*/ 403 h 561"/>
              <a:gd name="T16" fmla="*/ 433 w 740"/>
              <a:gd name="T17" fmla="*/ 422 h 561"/>
              <a:gd name="T18" fmla="*/ 309 w 740"/>
              <a:gd name="T19" fmla="*/ 488 h 561"/>
              <a:gd name="T20" fmla="*/ 267 w 740"/>
              <a:gd name="T21" fmla="*/ 513 h 561"/>
              <a:gd name="T22" fmla="*/ 269 w 740"/>
              <a:gd name="T23" fmla="*/ 506 h 561"/>
              <a:gd name="T24" fmla="*/ 168 w 740"/>
              <a:gd name="T25" fmla="*/ 544 h 561"/>
              <a:gd name="T26" fmla="*/ 4 w 740"/>
              <a:gd name="T27" fmla="*/ 527 h 561"/>
              <a:gd name="T28" fmla="*/ 229 w 740"/>
              <a:gd name="T29" fmla="*/ 529 h 561"/>
              <a:gd name="T30" fmla="*/ 273 w 740"/>
              <a:gd name="T31" fmla="*/ 507 h 561"/>
              <a:gd name="T32" fmla="*/ 45 w 740"/>
              <a:gd name="T33" fmla="*/ 538 h 561"/>
              <a:gd name="T34" fmla="*/ 86 w 740"/>
              <a:gd name="T35" fmla="*/ 556 h 561"/>
              <a:gd name="T36" fmla="*/ 346 w 740"/>
              <a:gd name="T37" fmla="*/ 472 h 561"/>
              <a:gd name="T38" fmla="*/ 274 w 740"/>
              <a:gd name="T39" fmla="*/ 364 h 561"/>
              <a:gd name="T40" fmla="*/ 532 w 740"/>
              <a:gd name="T41" fmla="*/ 349 h 561"/>
              <a:gd name="T42" fmla="*/ 702 w 740"/>
              <a:gd name="T43" fmla="*/ 445 h 561"/>
              <a:gd name="T44" fmla="*/ 685 w 740"/>
              <a:gd name="T45" fmla="*/ 442 h 561"/>
              <a:gd name="T46" fmla="*/ 699 w 740"/>
              <a:gd name="T47" fmla="*/ 476 h 561"/>
              <a:gd name="T48" fmla="*/ 679 w 740"/>
              <a:gd name="T49" fmla="*/ 452 h 561"/>
              <a:gd name="T50" fmla="*/ 669 w 740"/>
              <a:gd name="T51" fmla="*/ 426 h 561"/>
              <a:gd name="T52" fmla="*/ 667 w 740"/>
              <a:gd name="T53" fmla="*/ 409 h 561"/>
              <a:gd name="T54" fmla="*/ 666 w 740"/>
              <a:gd name="T55" fmla="*/ 417 h 561"/>
              <a:gd name="T56" fmla="*/ 694 w 740"/>
              <a:gd name="T57" fmla="*/ 471 h 561"/>
              <a:gd name="T58" fmla="*/ 702 w 740"/>
              <a:gd name="T59" fmla="*/ 456 h 561"/>
              <a:gd name="T60" fmla="*/ 707 w 740"/>
              <a:gd name="T61" fmla="*/ 460 h 561"/>
              <a:gd name="T62" fmla="*/ 700 w 740"/>
              <a:gd name="T63" fmla="*/ 469 h 561"/>
              <a:gd name="T64" fmla="*/ 702 w 740"/>
              <a:gd name="T65" fmla="*/ 452 h 561"/>
              <a:gd name="T66" fmla="*/ 685 w 740"/>
              <a:gd name="T67" fmla="*/ 414 h 561"/>
              <a:gd name="T68" fmla="*/ 680 w 740"/>
              <a:gd name="T69" fmla="*/ 406 h 561"/>
              <a:gd name="T70" fmla="*/ 720 w 740"/>
              <a:gd name="T71" fmla="*/ 443 h 561"/>
              <a:gd name="T72" fmla="*/ 564 w 740"/>
              <a:gd name="T73" fmla="*/ 48 h 561"/>
              <a:gd name="T74" fmla="*/ 483 w 740"/>
              <a:gd name="T75" fmla="*/ 34 h 561"/>
              <a:gd name="T76" fmla="*/ 406 w 740"/>
              <a:gd name="T77" fmla="*/ 20 h 561"/>
              <a:gd name="T78" fmla="*/ 331 w 740"/>
              <a:gd name="T79" fmla="*/ 44 h 561"/>
              <a:gd name="T80" fmla="*/ 323 w 740"/>
              <a:gd name="T81" fmla="*/ 153 h 561"/>
              <a:gd name="T82" fmla="*/ 336 w 740"/>
              <a:gd name="T83" fmla="*/ 181 h 561"/>
              <a:gd name="T84" fmla="*/ 269 w 740"/>
              <a:gd name="T85" fmla="*/ 210 h 561"/>
              <a:gd name="T86" fmla="*/ 335 w 740"/>
              <a:gd name="T87" fmla="*/ 236 h 561"/>
              <a:gd name="T88" fmla="*/ 292 w 740"/>
              <a:gd name="T89" fmla="*/ 282 h 561"/>
              <a:gd name="T90" fmla="*/ 294 w 740"/>
              <a:gd name="T91" fmla="*/ 336 h 561"/>
              <a:gd name="T92" fmla="*/ 324 w 740"/>
              <a:gd name="T93" fmla="*/ 345 h 561"/>
              <a:gd name="T94" fmla="*/ 357 w 740"/>
              <a:gd name="T95" fmla="*/ 388 h 561"/>
              <a:gd name="T96" fmla="*/ 371 w 740"/>
              <a:gd name="T97" fmla="*/ 439 h 561"/>
              <a:gd name="T98" fmla="*/ 337 w 740"/>
              <a:gd name="T99" fmla="*/ 466 h 561"/>
              <a:gd name="T100" fmla="*/ 401 w 740"/>
              <a:gd name="T101" fmla="*/ 428 h 561"/>
              <a:gd name="T102" fmla="*/ 429 w 740"/>
              <a:gd name="T103" fmla="*/ 382 h 561"/>
              <a:gd name="T104" fmla="*/ 489 w 740"/>
              <a:gd name="T105" fmla="*/ 321 h 561"/>
              <a:gd name="T106" fmla="*/ 471 w 740"/>
              <a:gd name="T107" fmla="*/ 378 h 561"/>
              <a:gd name="T108" fmla="*/ 509 w 740"/>
              <a:gd name="T109" fmla="*/ 357 h 561"/>
              <a:gd name="T110" fmla="*/ 509 w 740"/>
              <a:gd name="T111" fmla="*/ 336 h 561"/>
              <a:gd name="T112" fmla="*/ 552 w 740"/>
              <a:gd name="T113" fmla="*/ 355 h 561"/>
              <a:gd name="T114" fmla="*/ 627 w 740"/>
              <a:gd name="T115" fmla="*/ 381 h 561"/>
              <a:gd name="T116" fmla="*/ 672 w 740"/>
              <a:gd name="T117" fmla="*/ 386 h 561"/>
              <a:gd name="T118" fmla="*/ 700 w 740"/>
              <a:gd name="T119" fmla="*/ 420 h 561"/>
              <a:gd name="T120" fmla="*/ 711 w 740"/>
              <a:gd name="T121" fmla="*/ 452 h 561"/>
              <a:gd name="T122" fmla="*/ 718 w 740"/>
              <a:gd name="T123" fmla="*/ 468 h 561"/>
              <a:gd name="T124" fmla="*/ 449 w 740"/>
              <a:gd name="T125" fmla="*/ 35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0" h="561">
                <a:moveTo>
                  <a:pt x="203" y="259"/>
                </a:moveTo>
                <a:cubicBezTo>
                  <a:pt x="203" y="259"/>
                  <a:pt x="203" y="258"/>
                  <a:pt x="203" y="258"/>
                </a:cubicBezTo>
                <a:cubicBezTo>
                  <a:pt x="203" y="257"/>
                  <a:pt x="204" y="257"/>
                  <a:pt x="204" y="257"/>
                </a:cubicBezTo>
                <a:cubicBezTo>
                  <a:pt x="205" y="257"/>
                  <a:pt x="204" y="259"/>
                  <a:pt x="205" y="260"/>
                </a:cubicBezTo>
                <a:cubicBezTo>
                  <a:pt x="205" y="260"/>
                  <a:pt x="205" y="260"/>
                  <a:pt x="206" y="260"/>
                </a:cubicBezTo>
                <a:cubicBezTo>
                  <a:pt x="208" y="261"/>
                  <a:pt x="210" y="262"/>
                  <a:pt x="212" y="262"/>
                </a:cubicBezTo>
                <a:cubicBezTo>
                  <a:pt x="212" y="262"/>
                  <a:pt x="213" y="262"/>
                  <a:pt x="213" y="262"/>
                </a:cubicBezTo>
                <a:cubicBezTo>
                  <a:pt x="214" y="262"/>
                  <a:pt x="215" y="262"/>
                  <a:pt x="216" y="261"/>
                </a:cubicBezTo>
                <a:cubicBezTo>
                  <a:pt x="217" y="260"/>
                  <a:pt x="218" y="260"/>
                  <a:pt x="219" y="260"/>
                </a:cubicBezTo>
                <a:cubicBezTo>
                  <a:pt x="220" y="259"/>
                  <a:pt x="221" y="259"/>
                  <a:pt x="221" y="259"/>
                </a:cubicBezTo>
                <a:cubicBezTo>
                  <a:pt x="222" y="260"/>
                  <a:pt x="222" y="260"/>
                  <a:pt x="222" y="260"/>
                </a:cubicBezTo>
                <a:cubicBezTo>
                  <a:pt x="224" y="261"/>
                  <a:pt x="225" y="262"/>
                  <a:pt x="225" y="264"/>
                </a:cubicBezTo>
                <a:cubicBezTo>
                  <a:pt x="225" y="264"/>
                  <a:pt x="226" y="265"/>
                  <a:pt x="226" y="266"/>
                </a:cubicBezTo>
                <a:cubicBezTo>
                  <a:pt x="227" y="267"/>
                  <a:pt x="228" y="266"/>
                  <a:pt x="230" y="267"/>
                </a:cubicBezTo>
                <a:cubicBezTo>
                  <a:pt x="230" y="267"/>
                  <a:pt x="231" y="268"/>
                  <a:pt x="232" y="268"/>
                </a:cubicBezTo>
                <a:cubicBezTo>
                  <a:pt x="234" y="270"/>
                  <a:pt x="238" y="269"/>
                  <a:pt x="241" y="270"/>
                </a:cubicBezTo>
                <a:cubicBezTo>
                  <a:pt x="242" y="270"/>
                  <a:pt x="242" y="270"/>
                  <a:pt x="242" y="271"/>
                </a:cubicBezTo>
                <a:cubicBezTo>
                  <a:pt x="242" y="271"/>
                  <a:pt x="242" y="271"/>
                  <a:pt x="242" y="271"/>
                </a:cubicBezTo>
                <a:cubicBezTo>
                  <a:pt x="242" y="272"/>
                  <a:pt x="242" y="273"/>
                  <a:pt x="242" y="274"/>
                </a:cubicBezTo>
                <a:cubicBezTo>
                  <a:pt x="241" y="275"/>
                  <a:pt x="240" y="275"/>
                  <a:pt x="239" y="275"/>
                </a:cubicBezTo>
                <a:cubicBezTo>
                  <a:pt x="239" y="275"/>
                  <a:pt x="239" y="275"/>
                  <a:pt x="238" y="275"/>
                </a:cubicBezTo>
                <a:cubicBezTo>
                  <a:pt x="237" y="274"/>
                  <a:pt x="235" y="274"/>
                  <a:pt x="234" y="275"/>
                </a:cubicBezTo>
                <a:cubicBezTo>
                  <a:pt x="233" y="275"/>
                  <a:pt x="232" y="277"/>
                  <a:pt x="231" y="278"/>
                </a:cubicBezTo>
                <a:cubicBezTo>
                  <a:pt x="231" y="279"/>
                  <a:pt x="231" y="279"/>
                  <a:pt x="231" y="280"/>
                </a:cubicBezTo>
                <a:cubicBezTo>
                  <a:pt x="231" y="280"/>
                  <a:pt x="231" y="281"/>
                  <a:pt x="230" y="281"/>
                </a:cubicBezTo>
                <a:cubicBezTo>
                  <a:pt x="230" y="281"/>
                  <a:pt x="230" y="281"/>
                  <a:pt x="229" y="280"/>
                </a:cubicBezTo>
                <a:cubicBezTo>
                  <a:pt x="229" y="280"/>
                  <a:pt x="228" y="280"/>
                  <a:pt x="228" y="279"/>
                </a:cubicBezTo>
                <a:cubicBezTo>
                  <a:pt x="228" y="278"/>
                  <a:pt x="228" y="278"/>
                  <a:pt x="228" y="277"/>
                </a:cubicBezTo>
                <a:cubicBezTo>
                  <a:pt x="227" y="276"/>
                  <a:pt x="226" y="276"/>
                  <a:pt x="225" y="275"/>
                </a:cubicBezTo>
                <a:cubicBezTo>
                  <a:pt x="224" y="275"/>
                  <a:pt x="223" y="274"/>
                  <a:pt x="222" y="274"/>
                </a:cubicBezTo>
                <a:cubicBezTo>
                  <a:pt x="222" y="273"/>
                  <a:pt x="221" y="272"/>
                  <a:pt x="221" y="272"/>
                </a:cubicBezTo>
                <a:cubicBezTo>
                  <a:pt x="220" y="271"/>
                  <a:pt x="219" y="270"/>
                  <a:pt x="218" y="269"/>
                </a:cubicBezTo>
                <a:cubicBezTo>
                  <a:pt x="217" y="268"/>
                  <a:pt x="216" y="268"/>
                  <a:pt x="214" y="267"/>
                </a:cubicBezTo>
                <a:cubicBezTo>
                  <a:pt x="212" y="267"/>
                  <a:pt x="211" y="267"/>
                  <a:pt x="209" y="268"/>
                </a:cubicBezTo>
                <a:cubicBezTo>
                  <a:pt x="209" y="269"/>
                  <a:pt x="209" y="269"/>
                  <a:pt x="208" y="270"/>
                </a:cubicBezTo>
                <a:cubicBezTo>
                  <a:pt x="208" y="270"/>
                  <a:pt x="207" y="270"/>
                  <a:pt x="207" y="270"/>
                </a:cubicBezTo>
                <a:cubicBezTo>
                  <a:pt x="206" y="270"/>
                  <a:pt x="206" y="270"/>
                  <a:pt x="206" y="270"/>
                </a:cubicBezTo>
                <a:cubicBezTo>
                  <a:pt x="205" y="269"/>
                  <a:pt x="203" y="268"/>
                  <a:pt x="202" y="267"/>
                </a:cubicBezTo>
                <a:cubicBezTo>
                  <a:pt x="202" y="266"/>
                  <a:pt x="202" y="265"/>
                  <a:pt x="202" y="263"/>
                </a:cubicBezTo>
                <a:cubicBezTo>
                  <a:pt x="202" y="262"/>
                  <a:pt x="203" y="261"/>
                  <a:pt x="203" y="259"/>
                </a:cubicBezTo>
                <a:close/>
                <a:moveTo>
                  <a:pt x="427" y="436"/>
                </a:moveTo>
                <a:cubicBezTo>
                  <a:pt x="427" y="436"/>
                  <a:pt x="427" y="436"/>
                  <a:pt x="427" y="436"/>
                </a:cubicBezTo>
                <a:cubicBezTo>
                  <a:pt x="427" y="436"/>
                  <a:pt x="427" y="436"/>
                  <a:pt x="427" y="436"/>
                </a:cubicBezTo>
                <a:close/>
                <a:moveTo>
                  <a:pt x="449" y="397"/>
                </a:moveTo>
                <a:cubicBezTo>
                  <a:pt x="449" y="398"/>
                  <a:pt x="449" y="398"/>
                  <a:pt x="450" y="398"/>
                </a:cubicBezTo>
                <a:cubicBezTo>
                  <a:pt x="450" y="399"/>
                  <a:pt x="451" y="398"/>
                  <a:pt x="451" y="399"/>
                </a:cubicBezTo>
                <a:cubicBezTo>
                  <a:pt x="451" y="399"/>
                  <a:pt x="451" y="399"/>
                  <a:pt x="451" y="399"/>
                </a:cubicBezTo>
                <a:cubicBezTo>
                  <a:pt x="451" y="398"/>
                  <a:pt x="452" y="398"/>
                  <a:pt x="452" y="398"/>
                </a:cubicBezTo>
                <a:cubicBezTo>
                  <a:pt x="452" y="398"/>
                  <a:pt x="452" y="398"/>
                  <a:pt x="452" y="398"/>
                </a:cubicBezTo>
                <a:cubicBezTo>
                  <a:pt x="452" y="398"/>
                  <a:pt x="452" y="397"/>
                  <a:pt x="452" y="397"/>
                </a:cubicBezTo>
                <a:cubicBezTo>
                  <a:pt x="452" y="397"/>
                  <a:pt x="452" y="397"/>
                  <a:pt x="452" y="397"/>
                </a:cubicBezTo>
                <a:cubicBezTo>
                  <a:pt x="452" y="397"/>
                  <a:pt x="452" y="397"/>
                  <a:pt x="453" y="396"/>
                </a:cubicBezTo>
                <a:cubicBezTo>
                  <a:pt x="453" y="396"/>
                  <a:pt x="453" y="396"/>
                  <a:pt x="453" y="395"/>
                </a:cubicBezTo>
                <a:cubicBezTo>
                  <a:pt x="453" y="395"/>
                  <a:pt x="453" y="395"/>
                  <a:pt x="453" y="395"/>
                </a:cubicBezTo>
                <a:cubicBezTo>
                  <a:pt x="452" y="395"/>
                  <a:pt x="452" y="395"/>
                  <a:pt x="452" y="395"/>
                </a:cubicBezTo>
                <a:cubicBezTo>
                  <a:pt x="452" y="395"/>
                  <a:pt x="452" y="395"/>
                  <a:pt x="452" y="395"/>
                </a:cubicBezTo>
                <a:cubicBezTo>
                  <a:pt x="452" y="395"/>
                  <a:pt x="451" y="395"/>
                  <a:pt x="451" y="395"/>
                </a:cubicBezTo>
                <a:cubicBezTo>
                  <a:pt x="451" y="395"/>
                  <a:pt x="451" y="395"/>
                  <a:pt x="451" y="396"/>
                </a:cubicBezTo>
                <a:cubicBezTo>
                  <a:pt x="451" y="396"/>
                  <a:pt x="451" y="396"/>
                  <a:pt x="450" y="396"/>
                </a:cubicBezTo>
                <a:cubicBezTo>
                  <a:pt x="450" y="396"/>
                  <a:pt x="450" y="396"/>
                  <a:pt x="450" y="395"/>
                </a:cubicBezTo>
                <a:cubicBezTo>
                  <a:pt x="450" y="395"/>
                  <a:pt x="450" y="395"/>
                  <a:pt x="450" y="395"/>
                </a:cubicBezTo>
                <a:cubicBezTo>
                  <a:pt x="450" y="396"/>
                  <a:pt x="449" y="396"/>
                  <a:pt x="449" y="396"/>
                </a:cubicBezTo>
                <a:cubicBezTo>
                  <a:pt x="449" y="396"/>
                  <a:pt x="449" y="396"/>
                  <a:pt x="449" y="396"/>
                </a:cubicBezTo>
                <a:cubicBezTo>
                  <a:pt x="449" y="396"/>
                  <a:pt x="449" y="396"/>
                  <a:pt x="449" y="396"/>
                </a:cubicBezTo>
                <a:cubicBezTo>
                  <a:pt x="449" y="396"/>
                  <a:pt x="450" y="396"/>
                  <a:pt x="450" y="396"/>
                </a:cubicBezTo>
                <a:cubicBezTo>
                  <a:pt x="450" y="396"/>
                  <a:pt x="450" y="396"/>
                  <a:pt x="450" y="397"/>
                </a:cubicBezTo>
                <a:cubicBezTo>
                  <a:pt x="450" y="397"/>
                  <a:pt x="450" y="397"/>
                  <a:pt x="449" y="397"/>
                </a:cubicBezTo>
                <a:cubicBezTo>
                  <a:pt x="449" y="396"/>
                  <a:pt x="449" y="397"/>
                  <a:pt x="449" y="397"/>
                </a:cubicBezTo>
                <a:cubicBezTo>
                  <a:pt x="449" y="397"/>
                  <a:pt x="449" y="397"/>
                  <a:pt x="449" y="397"/>
                </a:cubicBezTo>
                <a:cubicBezTo>
                  <a:pt x="449" y="397"/>
                  <a:pt x="449" y="397"/>
                  <a:pt x="449" y="397"/>
                </a:cubicBezTo>
                <a:close/>
                <a:moveTo>
                  <a:pt x="430" y="444"/>
                </a:moveTo>
                <a:cubicBezTo>
                  <a:pt x="430" y="444"/>
                  <a:pt x="430" y="444"/>
                  <a:pt x="430" y="444"/>
                </a:cubicBezTo>
                <a:cubicBezTo>
                  <a:pt x="431" y="444"/>
                  <a:pt x="431" y="444"/>
                  <a:pt x="430" y="443"/>
                </a:cubicBezTo>
                <a:cubicBezTo>
                  <a:pt x="430" y="443"/>
                  <a:pt x="430" y="443"/>
                  <a:pt x="430" y="443"/>
                </a:cubicBezTo>
                <a:cubicBezTo>
                  <a:pt x="429" y="443"/>
                  <a:pt x="429" y="443"/>
                  <a:pt x="429" y="443"/>
                </a:cubicBezTo>
                <a:cubicBezTo>
                  <a:pt x="429" y="443"/>
                  <a:pt x="428" y="443"/>
                  <a:pt x="428" y="443"/>
                </a:cubicBezTo>
                <a:cubicBezTo>
                  <a:pt x="428" y="444"/>
                  <a:pt x="427" y="444"/>
                  <a:pt x="427" y="444"/>
                </a:cubicBezTo>
                <a:cubicBezTo>
                  <a:pt x="427" y="444"/>
                  <a:pt x="427" y="445"/>
                  <a:pt x="427" y="445"/>
                </a:cubicBezTo>
                <a:cubicBezTo>
                  <a:pt x="427" y="445"/>
                  <a:pt x="427" y="445"/>
                  <a:pt x="427" y="445"/>
                </a:cubicBezTo>
                <a:cubicBezTo>
                  <a:pt x="427" y="446"/>
                  <a:pt x="428" y="446"/>
                  <a:pt x="429" y="446"/>
                </a:cubicBezTo>
                <a:cubicBezTo>
                  <a:pt x="429" y="446"/>
                  <a:pt x="430" y="445"/>
                  <a:pt x="430" y="445"/>
                </a:cubicBezTo>
                <a:cubicBezTo>
                  <a:pt x="430" y="445"/>
                  <a:pt x="430" y="445"/>
                  <a:pt x="430" y="444"/>
                </a:cubicBezTo>
                <a:close/>
                <a:moveTo>
                  <a:pt x="425" y="445"/>
                </a:moveTo>
                <a:cubicBezTo>
                  <a:pt x="425" y="445"/>
                  <a:pt x="425" y="445"/>
                  <a:pt x="425" y="445"/>
                </a:cubicBezTo>
                <a:cubicBezTo>
                  <a:pt x="425" y="444"/>
                  <a:pt x="425" y="444"/>
                  <a:pt x="425" y="444"/>
                </a:cubicBezTo>
                <a:cubicBezTo>
                  <a:pt x="425" y="444"/>
                  <a:pt x="425" y="444"/>
                  <a:pt x="425" y="444"/>
                </a:cubicBezTo>
                <a:cubicBezTo>
                  <a:pt x="424" y="444"/>
                  <a:pt x="423" y="445"/>
                  <a:pt x="422" y="446"/>
                </a:cubicBezTo>
                <a:cubicBezTo>
                  <a:pt x="422" y="446"/>
                  <a:pt x="422" y="447"/>
                  <a:pt x="421" y="447"/>
                </a:cubicBezTo>
                <a:cubicBezTo>
                  <a:pt x="421" y="448"/>
                  <a:pt x="421" y="448"/>
                  <a:pt x="422" y="448"/>
                </a:cubicBezTo>
                <a:cubicBezTo>
                  <a:pt x="422" y="448"/>
                  <a:pt x="422" y="448"/>
                  <a:pt x="422" y="448"/>
                </a:cubicBezTo>
                <a:cubicBezTo>
                  <a:pt x="422" y="448"/>
                  <a:pt x="423" y="447"/>
                  <a:pt x="423" y="447"/>
                </a:cubicBezTo>
                <a:cubicBezTo>
                  <a:pt x="423" y="447"/>
                  <a:pt x="423" y="447"/>
                  <a:pt x="424" y="446"/>
                </a:cubicBezTo>
                <a:cubicBezTo>
                  <a:pt x="424" y="446"/>
                  <a:pt x="424" y="446"/>
                  <a:pt x="425" y="446"/>
                </a:cubicBezTo>
                <a:cubicBezTo>
                  <a:pt x="425" y="446"/>
                  <a:pt x="425" y="446"/>
                  <a:pt x="425" y="446"/>
                </a:cubicBezTo>
                <a:cubicBezTo>
                  <a:pt x="425" y="445"/>
                  <a:pt x="425" y="445"/>
                  <a:pt x="425" y="445"/>
                </a:cubicBezTo>
                <a:close/>
                <a:moveTo>
                  <a:pt x="425" y="444"/>
                </a:moveTo>
                <a:cubicBezTo>
                  <a:pt x="425" y="444"/>
                  <a:pt x="425" y="444"/>
                  <a:pt x="425" y="444"/>
                </a:cubicBezTo>
                <a:cubicBezTo>
                  <a:pt x="425" y="444"/>
                  <a:pt x="425" y="444"/>
                  <a:pt x="425" y="444"/>
                </a:cubicBezTo>
                <a:close/>
                <a:moveTo>
                  <a:pt x="455" y="419"/>
                </a:moveTo>
                <a:cubicBezTo>
                  <a:pt x="455" y="420"/>
                  <a:pt x="455" y="420"/>
                  <a:pt x="455" y="420"/>
                </a:cubicBezTo>
                <a:cubicBezTo>
                  <a:pt x="455" y="421"/>
                  <a:pt x="454" y="421"/>
                  <a:pt x="454" y="422"/>
                </a:cubicBezTo>
                <a:cubicBezTo>
                  <a:pt x="453" y="422"/>
                  <a:pt x="453" y="423"/>
                  <a:pt x="453" y="424"/>
                </a:cubicBezTo>
                <a:cubicBezTo>
                  <a:pt x="453" y="424"/>
                  <a:pt x="453" y="424"/>
                  <a:pt x="453" y="424"/>
                </a:cubicBezTo>
                <a:cubicBezTo>
                  <a:pt x="452" y="424"/>
                  <a:pt x="452" y="424"/>
                  <a:pt x="451" y="424"/>
                </a:cubicBezTo>
                <a:cubicBezTo>
                  <a:pt x="451" y="424"/>
                  <a:pt x="451" y="424"/>
                  <a:pt x="451" y="424"/>
                </a:cubicBezTo>
                <a:cubicBezTo>
                  <a:pt x="451" y="423"/>
                  <a:pt x="452" y="423"/>
                  <a:pt x="451" y="423"/>
                </a:cubicBezTo>
                <a:cubicBezTo>
                  <a:pt x="451" y="423"/>
                  <a:pt x="451" y="423"/>
                  <a:pt x="451" y="423"/>
                </a:cubicBezTo>
                <a:cubicBezTo>
                  <a:pt x="451" y="423"/>
                  <a:pt x="450" y="423"/>
                  <a:pt x="450" y="423"/>
                </a:cubicBezTo>
                <a:cubicBezTo>
                  <a:pt x="450" y="423"/>
                  <a:pt x="450" y="423"/>
                  <a:pt x="450" y="423"/>
                </a:cubicBezTo>
                <a:cubicBezTo>
                  <a:pt x="450" y="423"/>
                  <a:pt x="449" y="423"/>
                  <a:pt x="449" y="423"/>
                </a:cubicBezTo>
                <a:cubicBezTo>
                  <a:pt x="449" y="423"/>
                  <a:pt x="448" y="423"/>
                  <a:pt x="448" y="422"/>
                </a:cubicBezTo>
                <a:cubicBezTo>
                  <a:pt x="448" y="422"/>
                  <a:pt x="448" y="422"/>
                  <a:pt x="447" y="422"/>
                </a:cubicBezTo>
                <a:cubicBezTo>
                  <a:pt x="447" y="422"/>
                  <a:pt x="447" y="422"/>
                  <a:pt x="446" y="422"/>
                </a:cubicBezTo>
                <a:cubicBezTo>
                  <a:pt x="446" y="422"/>
                  <a:pt x="446" y="422"/>
                  <a:pt x="446" y="422"/>
                </a:cubicBezTo>
                <a:cubicBezTo>
                  <a:pt x="446" y="422"/>
                  <a:pt x="446" y="422"/>
                  <a:pt x="445" y="422"/>
                </a:cubicBezTo>
                <a:cubicBezTo>
                  <a:pt x="445" y="422"/>
                  <a:pt x="446" y="422"/>
                  <a:pt x="446" y="423"/>
                </a:cubicBezTo>
                <a:cubicBezTo>
                  <a:pt x="445" y="423"/>
                  <a:pt x="445" y="423"/>
                  <a:pt x="445" y="423"/>
                </a:cubicBezTo>
                <a:cubicBezTo>
                  <a:pt x="445" y="423"/>
                  <a:pt x="445" y="423"/>
                  <a:pt x="445" y="423"/>
                </a:cubicBezTo>
                <a:cubicBezTo>
                  <a:pt x="444" y="423"/>
                  <a:pt x="444" y="423"/>
                  <a:pt x="444" y="423"/>
                </a:cubicBezTo>
                <a:cubicBezTo>
                  <a:pt x="444" y="423"/>
                  <a:pt x="444" y="423"/>
                  <a:pt x="445" y="423"/>
                </a:cubicBezTo>
                <a:cubicBezTo>
                  <a:pt x="445" y="423"/>
                  <a:pt x="445" y="423"/>
                  <a:pt x="445" y="423"/>
                </a:cubicBezTo>
                <a:cubicBezTo>
                  <a:pt x="445" y="423"/>
                  <a:pt x="445" y="423"/>
                  <a:pt x="445" y="423"/>
                </a:cubicBezTo>
                <a:cubicBezTo>
                  <a:pt x="445" y="423"/>
                  <a:pt x="445" y="423"/>
                  <a:pt x="446" y="423"/>
                </a:cubicBezTo>
                <a:cubicBezTo>
                  <a:pt x="446" y="423"/>
                  <a:pt x="447" y="423"/>
                  <a:pt x="448" y="423"/>
                </a:cubicBezTo>
                <a:cubicBezTo>
                  <a:pt x="448" y="423"/>
                  <a:pt x="448" y="424"/>
                  <a:pt x="448" y="424"/>
                </a:cubicBezTo>
                <a:cubicBezTo>
                  <a:pt x="448" y="424"/>
                  <a:pt x="448" y="424"/>
                  <a:pt x="448" y="424"/>
                </a:cubicBezTo>
                <a:cubicBezTo>
                  <a:pt x="448" y="424"/>
                  <a:pt x="449" y="425"/>
                  <a:pt x="449" y="424"/>
                </a:cubicBezTo>
                <a:cubicBezTo>
                  <a:pt x="449" y="424"/>
                  <a:pt x="449" y="425"/>
                  <a:pt x="449" y="425"/>
                </a:cubicBezTo>
                <a:cubicBezTo>
                  <a:pt x="449" y="425"/>
                  <a:pt x="449" y="425"/>
                  <a:pt x="449" y="425"/>
                </a:cubicBezTo>
                <a:cubicBezTo>
                  <a:pt x="449" y="426"/>
                  <a:pt x="449" y="427"/>
                  <a:pt x="449" y="427"/>
                </a:cubicBezTo>
                <a:cubicBezTo>
                  <a:pt x="448" y="427"/>
                  <a:pt x="448" y="427"/>
                  <a:pt x="448" y="427"/>
                </a:cubicBezTo>
                <a:cubicBezTo>
                  <a:pt x="448" y="427"/>
                  <a:pt x="448" y="427"/>
                  <a:pt x="448" y="427"/>
                </a:cubicBezTo>
                <a:cubicBezTo>
                  <a:pt x="447" y="427"/>
                  <a:pt x="447" y="427"/>
                  <a:pt x="447" y="427"/>
                </a:cubicBezTo>
                <a:cubicBezTo>
                  <a:pt x="447" y="427"/>
                  <a:pt x="447" y="427"/>
                  <a:pt x="447" y="427"/>
                </a:cubicBezTo>
                <a:cubicBezTo>
                  <a:pt x="447" y="427"/>
                  <a:pt x="447" y="427"/>
                  <a:pt x="447" y="427"/>
                </a:cubicBezTo>
                <a:cubicBezTo>
                  <a:pt x="447" y="428"/>
                  <a:pt x="447" y="428"/>
                  <a:pt x="446" y="428"/>
                </a:cubicBezTo>
                <a:cubicBezTo>
                  <a:pt x="446" y="428"/>
                  <a:pt x="446" y="428"/>
                  <a:pt x="446" y="427"/>
                </a:cubicBezTo>
                <a:cubicBezTo>
                  <a:pt x="446" y="427"/>
                  <a:pt x="446" y="427"/>
                  <a:pt x="446" y="427"/>
                </a:cubicBezTo>
                <a:cubicBezTo>
                  <a:pt x="446" y="427"/>
                  <a:pt x="446" y="427"/>
                  <a:pt x="446" y="427"/>
                </a:cubicBezTo>
                <a:cubicBezTo>
                  <a:pt x="446" y="427"/>
                  <a:pt x="446" y="426"/>
                  <a:pt x="446" y="426"/>
                </a:cubicBezTo>
                <a:cubicBezTo>
                  <a:pt x="446" y="426"/>
                  <a:pt x="446" y="426"/>
                  <a:pt x="446" y="426"/>
                </a:cubicBezTo>
                <a:cubicBezTo>
                  <a:pt x="446" y="426"/>
                  <a:pt x="446" y="426"/>
                  <a:pt x="445" y="426"/>
                </a:cubicBezTo>
                <a:cubicBezTo>
                  <a:pt x="445" y="426"/>
                  <a:pt x="445" y="426"/>
                  <a:pt x="445" y="426"/>
                </a:cubicBezTo>
                <a:cubicBezTo>
                  <a:pt x="445" y="426"/>
                  <a:pt x="444" y="426"/>
                  <a:pt x="444" y="426"/>
                </a:cubicBezTo>
                <a:cubicBezTo>
                  <a:pt x="444" y="426"/>
                  <a:pt x="444" y="426"/>
                  <a:pt x="444" y="426"/>
                </a:cubicBezTo>
                <a:cubicBezTo>
                  <a:pt x="443" y="426"/>
                  <a:pt x="443" y="427"/>
                  <a:pt x="443" y="427"/>
                </a:cubicBezTo>
                <a:cubicBezTo>
                  <a:pt x="443" y="426"/>
                  <a:pt x="442" y="426"/>
                  <a:pt x="442" y="426"/>
                </a:cubicBezTo>
                <a:cubicBezTo>
                  <a:pt x="442" y="426"/>
                  <a:pt x="442" y="426"/>
                  <a:pt x="442" y="426"/>
                </a:cubicBezTo>
                <a:cubicBezTo>
                  <a:pt x="442" y="426"/>
                  <a:pt x="442" y="426"/>
                  <a:pt x="442" y="426"/>
                </a:cubicBezTo>
                <a:cubicBezTo>
                  <a:pt x="442" y="426"/>
                  <a:pt x="442" y="426"/>
                  <a:pt x="442" y="427"/>
                </a:cubicBezTo>
                <a:cubicBezTo>
                  <a:pt x="442" y="427"/>
                  <a:pt x="442" y="427"/>
                  <a:pt x="442" y="427"/>
                </a:cubicBezTo>
                <a:cubicBezTo>
                  <a:pt x="442" y="427"/>
                  <a:pt x="443" y="427"/>
                  <a:pt x="443" y="427"/>
                </a:cubicBezTo>
                <a:cubicBezTo>
                  <a:pt x="443" y="427"/>
                  <a:pt x="443" y="427"/>
                  <a:pt x="444" y="427"/>
                </a:cubicBezTo>
                <a:cubicBezTo>
                  <a:pt x="444" y="427"/>
                  <a:pt x="445" y="427"/>
                  <a:pt x="445" y="428"/>
                </a:cubicBezTo>
                <a:cubicBezTo>
                  <a:pt x="445" y="428"/>
                  <a:pt x="445" y="428"/>
                  <a:pt x="445" y="428"/>
                </a:cubicBezTo>
                <a:cubicBezTo>
                  <a:pt x="445" y="428"/>
                  <a:pt x="444" y="429"/>
                  <a:pt x="444" y="429"/>
                </a:cubicBezTo>
                <a:cubicBezTo>
                  <a:pt x="444" y="429"/>
                  <a:pt x="444" y="429"/>
                  <a:pt x="443" y="429"/>
                </a:cubicBezTo>
                <a:cubicBezTo>
                  <a:pt x="443" y="429"/>
                  <a:pt x="442" y="429"/>
                  <a:pt x="442" y="429"/>
                </a:cubicBezTo>
                <a:cubicBezTo>
                  <a:pt x="442" y="429"/>
                  <a:pt x="442" y="429"/>
                  <a:pt x="442" y="429"/>
                </a:cubicBezTo>
                <a:cubicBezTo>
                  <a:pt x="441" y="429"/>
                  <a:pt x="441" y="429"/>
                  <a:pt x="441" y="429"/>
                </a:cubicBezTo>
                <a:cubicBezTo>
                  <a:pt x="441" y="429"/>
                  <a:pt x="441" y="429"/>
                  <a:pt x="441" y="429"/>
                </a:cubicBezTo>
                <a:cubicBezTo>
                  <a:pt x="441" y="429"/>
                  <a:pt x="441" y="429"/>
                  <a:pt x="441" y="429"/>
                </a:cubicBezTo>
                <a:cubicBezTo>
                  <a:pt x="442" y="429"/>
                  <a:pt x="442" y="429"/>
                  <a:pt x="442" y="430"/>
                </a:cubicBezTo>
                <a:cubicBezTo>
                  <a:pt x="442" y="430"/>
                  <a:pt x="442" y="430"/>
                  <a:pt x="442" y="429"/>
                </a:cubicBezTo>
                <a:cubicBezTo>
                  <a:pt x="442" y="429"/>
                  <a:pt x="442" y="430"/>
                  <a:pt x="442" y="430"/>
                </a:cubicBezTo>
                <a:cubicBezTo>
                  <a:pt x="442" y="430"/>
                  <a:pt x="442" y="430"/>
                  <a:pt x="442" y="430"/>
                </a:cubicBezTo>
                <a:cubicBezTo>
                  <a:pt x="442" y="430"/>
                  <a:pt x="442" y="430"/>
                  <a:pt x="442" y="431"/>
                </a:cubicBezTo>
                <a:cubicBezTo>
                  <a:pt x="442" y="431"/>
                  <a:pt x="442" y="431"/>
                  <a:pt x="442" y="431"/>
                </a:cubicBezTo>
                <a:cubicBezTo>
                  <a:pt x="442" y="430"/>
                  <a:pt x="443" y="430"/>
                  <a:pt x="443" y="430"/>
                </a:cubicBezTo>
                <a:cubicBezTo>
                  <a:pt x="443" y="430"/>
                  <a:pt x="444" y="430"/>
                  <a:pt x="443" y="430"/>
                </a:cubicBezTo>
                <a:cubicBezTo>
                  <a:pt x="443" y="430"/>
                  <a:pt x="443" y="430"/>
                  <a:pt x="443" y="430"/>
                </a:cubicBezTo>
                <a:cubicBezTo>
                  <a:pt x="443" y="430"/>
                  <a:pt x="443" y="431"/>
                  <a:pt x="443" y="431"/>
                </a:cubicBezTo>
                <a:cubicBezTo>
                  <a:pt x="443" y="430"/>
                  <a:pt x="444" y="430"/>
                  <a:pt x="444" y="430"/>
                </a:cubicBezTo>
                <a:cubicBezTo>
                  <a:pt x="444" y="430"/>
                  <a:pt x="444" y="430"/>
                  <a:pt x="444" y="430"/>
                </a:cubicBezTo>
                <a:cubicBezTo>
                  <a:pt x="445" y="430"/>
                  <a:pt x="445" y="430"/>
                  <a:pt x="445" y="430"/>
                </a:cubicBezTo>
                <a:cubicBezTo>
                  <a:pt x="445" y="430"/>
                  <a:pt x="446" y="430"/>
                  <a:pt x="446" y="430"/>
                </a:cubicBezTo>
                <a:cubicBezTo>
                  <a:pt x="446" y="430"/>
                  <a:pt x="446" y="430"/>
                  <a:pt x="446" y="431"/>
                </a:cubicBezTo>
                <a:cubicBezTo>
                  <a:pt x="446" y="431"/>
                  <a:pt x="446" y="431"/>
                  <a:pt x="445" y="431"/>
                </a:cubicBezTo>
                <a:cubicBezTo>
                  <a:pt x="445" y="431"/>
                  <a:pt x="445" y="431"/>
                  <a:pt x="445" y="431"/>
                </a:cubicBezTo>
                <a:cubicBezTo>
                  <a:pt x="444" y="431"/>
                  <a:pt x="444" y="431"/>
                  <a:pt x="444" y="432"/>
                </a:cubicBezTo>
                <a:cubicBezTo>
                  <a:pt x="443" y="432"/>
                  <a:pt x="443" y="432"/>
                  <a:pt x="443" y="432"/>
                </a:cubicBezTo>
                <a:cubicBezTo>
                  <a:pt x="443" y="432"/>
                  <a:pt x="442" y="432"/>
                  <a:pt x="442" y="432"/>
                </a:cubicBezTo>
                <a:cubicBezTo>
                  <a:pt x="442" y="432"/>
                  <a:pt x="441" y="433"/>
                  <a:pt x="442" y="433"/>
                </a:cubicBezTo>
                <a:cubicBezTo>
                  <a:pt x="442" y="433"/>
                  <a:pt x="442" y="433"/>
                  <a:pt x="442" y="433"/>
                </a:cubicBezTo>
                <a:cubicBezTo>
                  <a:pt x="442" y="434"/>
                  <a:pt x="441" y="434"/>
                  <a:pt x="440" y="434"/>
                </a:cubicBezTo>
                <a:cubicBezTo>
                  <a:pt x="440" y="434"/>
                  <a:pt x="440" y="434"/>
                  <a:pt x="440" y="434"/>
                </a:cubicBezTo>
                <a:cubicBezTo>
                  <a:pt x="440" y="433"/>
                  <a:pt x="440" y="433"/>
                  <a:pt x="440" y="433"/>
                </a:cubicBezTo>
                <a:cubicBezTo>
                  <a:pt x="440" y="433"/>
                  <a:pt x="440" y="433"/>
                  <a:pt x="440" y="433"/>
                </a:cubicBezTo>
                <a:cubicBezTo>
                  <a:pt x="440" y="432"/>
                  <a:pt x="441" y="432"/>
                  <a:pt x="441" y="432"/>
                </a:cubicBezTo>
                <a:cubicBezTo>
                  <a:pt x="440" y="432"/>
                  <a:pt x="440" y="432"/>
                  <a:pt x="440" y="432"/>
                </a:cubicBezTo>
                <a:cubicBezTo>
                  <a:pt x="440" y="432"/>
                  <a:pt x="440" y="432"/>
                  <a:pt x="440" y="432"/>
                </a:cubicBezTo>
                <a:cubicBezTo>
                  <a:pt x="440" y="432"/>
                  <a:pt x="440" y="432"/>
                  <a:pt x="439" y="433"/>
                </a:cubicBezTo>
                <a:cubicBezTo>
                  <a:pt x="439" y="433"/>
                  <a:pt x="439" y="432"/>
                  <a:pt x="439" y="432"/>
                </a:cubicBezTo>
                <a:cubicBezTo>
                  <a:pt x="439" y="432"/>
                  <a:pt x="439" y="432"/>
                  <a:pt x="439" y="432"/>
                </a:cubicBezTo>
                <a:cubicBezTo>
                  <a:pt x="440" y="432"/>
                  <a:pt x="440" y="432"/>
                  <a:pt x="440" y="431"/>
                </a:cubicBezTo>
                <a:cubicBezTo>
                  <a:pt x="440" y="431"/>
                  <a:pt x="440" y="431"/>
                  <a:pt x="440" y="431"/>
                </a:cubicBezTo>
                <a:cubicBezTo>
                  <a:pt x="440" y="431"/>
                  <a:pt x="440" y="431"/>
                  <a:pt x="440" y="431"/>
                </a:cubicBezTo>
                <a:cubicBezTo>
                  <a:pt x="439" y="431"/>
                  <a:pt x="440" y="431"/>
                  <a:pt x="440" y="431"/>
                </a:cubicBezTo>
                <a:cubicBezTo>
                  <a:pt x="440" y="431"/>
                  <a:pt x="441" y="430"/>
                  <a:pt x="441" y="430"/>
                </a:cubicBezTo>
                <a:cubicBezTo>
                  <a:pt x="441" y="429"/>
                  <a:pt x="441" y="429"/>
                  <a:pt x="441" y="429"/>
                </a:cubicBezTo>
                <a:cubicBezTo>
                  <a:pt x="441" y="429"/>
                  <a:pt x="441" y="429"/>
                  <a:pt x="441" y="429"/>
                </a:cubicBezTo>
                <a:cubicBezTo>
                  <a:pt x="441" y="429"/>
                  <a:pt x="441" y="429"/>
                  <a:pt x="440" y="429"/>
                </a:cubicBezTo>
                <a:cubicBezTo>
                  <a:pt x="440" y="430"/>
                  <a:pt x="440" y="430"/>
                  <a:pt x="440" y="429"/>
                </a:cubicBezTo>
                <a:cubicBezTo>
                  <a:pt x="440" y="429"/>
                  <a:pt x="439" y="429"/>
                  <a:pt x="439" y="429"/>
                </a:cubicBezTo>
                <a:cubicBezTo>
                  <a:pt x="439" y="429"/>
                  <a:pt x="439" y="430"/>
                  <a:pt x="439" y="430"/>
                </a:cubicBezTo>
                <a:cubicBezTo>
                  <a:pt x="439" y="430"/>
                  <a:pt x="440" y="430"/>
                  <a:pt x="440" y="430"/>
                </a:cubicBezTo>
                <a:cubicBezTo>
                  <a:pt x="439" y="430"/>
                  <a:pt x="439" y="430"/>
                  <a:pt x="439" y="431"/>
                </a:cubicBezTo>
                <a:cubicBezTo>
                  <a:pt x="439" y="431"/>
                  <a:pt x="439" y="431"/>
                  <a:pt x="439" y="431"/>
                </a:cubicBezTo>
                <a:cubicBezTo>
                  <a:pt x="439" y="431"/>
                  <a:pt x="439" y="431"/>
                  <a:pt x="439" y="431"/>
                </a:cubicBezTo>
                <a:cubicBezTo>
                  <a:pt x="438" y="431"/>
                  <a:pt x="438" y="431"/>
                  <a:pt x="438" y="431"/>
                </a:cubicBezTo>
                <a:cubicBezTo>
                  <a:pt x="438" y="431"/>
                  <a:pt x="438" y="431"/>
                  <a:pt x="438" y="430"/>
                </a:cubicBezTo>
                <a:cubicBezTo>
                  <a:pt x="438" y="430"/>
                  <a:pt x="438" y="430"/>
                  <a:pt x="438" y="430"/>
                </a:cubicBezTo>
                <a:cubicBezTo>
                  <a:pt x="438" y="430"/>
                  <a:pt x="438" y="430"/>
                  <a:pt x="437" y="430"/>
                </a:cubicBezTo>
                <a:cubicBezTo>
                  <a:pt x="437" y="430"/>
                  <a:pt x="437" y="430"/>
                  <a:pt x="437" y="430"/>
                </a:cubicBezTo>
                <a:cubicBezTo>
                  <a:pt x="437" y="430"/>
                  <a:pt x="438" y="430"/>
                  <a:pt x="438" y="430"/>
                </a:cubicBezTo>
                <a:cubicBezTo>
                  <a:pt x="438" y="430"/>
                  <a:pt x="438" y="430"/>
                  <a:pt x="438" y="430"/>
                </a:cubicBezTo>
                <a:cubicBezTo>
                  <a:pt x="438" y="430"/>
                  <a:pt x="438" y="431"/>
                  <a:pt x="438" y="431"/>
                </a:cubicBezTo>
                <a:cubicBezTo>
                  <a:pt x="438" y="431"/>
                  <a:pt x="438" y="432"/>
                  <a:pt x="438" y="432"/>
                </a:cubicBezTo>
                <a:cubicBezTo>
                  <a:pt x="438" y="432"/>
                  <a:pt x="438" y="432"/>
                  <a:pt x="438" y="432"/>
                </a:cubicBezTo>
                <a:cubicBezTo>
                  <a:pt x="438" y="433"/>
                  <a:pt x="438" y="432"/>
                  <a:pt x="438" y="432"/>
                </a:cubicBezTo>
                <a:cubicBezTo>
                  <a:pt x="437" y="432"/>
                  <a:pt x="437" y="432"/>
                  <a:pt x="437" y="432"/>
                </a:cubicBezTo>
                <a:cubicBezTo>
                  <a:pt x="436" y="432"/>
                  <a:pt x="436" y="432"/>
                  <a:pt x="436" y="432"/>
                </a:cubicBezTo>
                <a:cubicBezTo>
                  <a:pt x="436" y="432"/>
                  <a:pt x="436" y="432"/>
                  <a:pt x="436" y="432"/>
                </a:cubicBezTo>
                <a:cubicBezTo>
                  <a:pt x="435" y="432"/>
                  <a:pt x="435" y="432"/>
                  <a:pt x="435" y="433"/>
                </a:cubicBezTo>
                <a:cubicBezTo>
                  <a:pt x="435" y="433"/>
                  <a:pt x="435" y="433"/>
                  <a:pt x="436" y="433"/>
                </a:cubicBezTo>
                <a:cubicBezTo>
                  <a:pt x="436" y="433"/>
                  <a:pt x="436" y="433"/>
                  <a:pt x="436" y="433"/>
                </a:cubicBezTo>
                <a:cubicBezTo>
                  <a:pt x="437" y="433"/>
                  <a:pt x="437" y="433"/>
                  <a:pt x="437" y="433"/>
                </a:cubicBezTo>
                <a:cubicBezTo>
                  <a:pt x="437" y="433"/>
                  <a:pt x="437" y="433"/>
                  <a:pt x="437" y="433"/>
                </a:cubicBezTo>
                <a:cubicBezTo>
                  <a:pt x="437" y="434"/>
                  <a:pt x="437" y="434"/>
                  <a:pt x="437" y="434"/>
                </a:cubicBezTo>
                <a:cubicBezTo>
                  <a:pt x="437" y="434"/>
                  <a:pt x="437" y="434"/>
                  <a:pt x="437" y="434"/>
                </a:cubicBezTo>
                <a:cubicBezTo>
                  <a:pt x="438" y="434"/>
                  <a:pt x="437" y="434"/>
                  <a:pt x="437" y="435"/>
                </a:cubicBezTo>
                <a:cubicBezTo>
                  <a:pt x="437" y="435"/>
                  <a:pt x="437" y="435"/>
                  <a:pt x="437" y="435"/>
                </a:cubicBezTo>
                <a:cubicBezTo>
                  <a:pt x="437" y="435"/>
                  <a:pt x="437" y="435"/>
                  <a:pt x="437" y="435"/>
                </a:cubicBezTo>
                <a:cubicBezTo>
                  <a:pt x="437" y="435"/>
                  <a:pt x="437" y="435"/>
                  <a:pt x="437" y="435"/>
                </a:cubicBezTo>
                <a:cubicBezTo>
                  <a:pt x="437" y="436"/>
                  <a:pt x="436" y="436"/>
                  <a:pt x="436" y="436"/>
                </a:cubicBezTo>
                <a:cubicBezTo>
                  <a:pt x="436" y="436"/>
                  <a:pt x="436" y="436"/>
                  <a:pt x="436" y="435"/>
                </a:cubicBezTo>
                <a:cubicBezTo>
                  <a:pt x="436" y="435"/>
                  <a:pt x="436" y="435"/>
                  <a:pt x="435" y="435"/>
                </a:cubicBezTo>
                <a:cubicBezTo>
                  <a:pt x="435" y="435"/>
                  <a:pt x="435" y="435"/>
                  <a:pt x="435" y="435"/>
                </a:cubicBezTo>
                <a:cubicBezTo>
                  <a:pt x="435" y="435"/>
                  <a:pt x="435" y="436"/>
                  <a:pt x="435" y="436"/>
                </a:cubicBezTo>
                <a:cubicBezTo>
                  <a:pt x="436" y="436"/>
                  <a:pt x="435" y="436"/>
                  <a:pt x="435" y="437"/>
                </a:cubicBezTo>
                <a:cubicBezTo>
                  <a:pt x="435" y="437"/>
                  <a:pt x="435" y="437"/>
                  <a:pt x="435" y="437"/>
                </a:cubicBezTo>
                <a:cubicBezTo>
                  <a:pt x="434" y="437"/>
                  <a:pt x="434" y="437"/>
                  <a:pt x="435" y="437"/>
                </a:cubicBezTo>
                <a:cubicBezTo>
                  <a:pt x="435" y="437"/>
                  <a:pt x="435" y="437"/>
                  <a:pt x="435" y="438"/>
                </a:cubicBezTo>
                <a:cubicBezTo>
                  <a:pt x="435" y="437"/>
                  <a:pt x="435" y="437"/>
                  <a:pt x="435" y="437"/>
                </a:cubicBezTo>
                <a:cubicBezTo>
                  <a:pt x="435" y="437"/>
                  <a:pt x="435" y="437"/>
                  <a:pt x="435" y="437"/>
                </a:cubicBezTo>
                <a:cubicBezTo>
                  <a:pt x="436" y="437"/>
                  <a:pt x="435" y="437"/>
                  <a:pt x="435" y="437"/>
                </a:cubicBezTo>
                <a:cubicBezTo>
                  <a:pt x="435" y="437"/>
                  <a:pt x="435" y="438"/>
                  <a:pt x="434" y="438"/>
                </a:cubicBezTo>
                <a:cubicBezTo>
                  <a:pt x="434" y="438"/>
                  <a:pt x="434" y="438"/>
                  <a:pt x="434" y="438"/>
                </a:cubicBezTo>
                <a:cubicBezTo>
                  <a:pt x="433" y="438"/>
                  <a:pt x="433" y="438"/>
                  <a:pt x="433" y="438"/>
                </a:cubicBezTo>
                <a:cubicBezTo>
                  <a:pt x="433" y="439"/>
                  <a:pt x="433" y="439"/>
                  <a:pt x="432" y="440"/>
                </a:cubicBezTo>
                <a:cubicBezTo>
                  <a:pt x="432" y="440"/>
                  <a:pt x="432" y="440"/>
                  <a:pt x="432" y="440"/>
                </a:cubicBezTo>
                <a:cubicBezTo>
                  <a:pt x="432" y="440"/>
                  <a:pt x="431" y="440"/>
                  <a:pt x="431" y="440"/>
                </a:cubicBezTo>
                <a:cubicBezTo>
                  <a:pt x="431" y="440"/>
                  <a:pt x="431" y="440"/>
                  <a:pt x="431" y="440"/>
                </a:cubicBezTo>
                <a:cubicBezTo>
                  <a:pt x="430" y="440"/>
                  <a:pt x="430" y="440"/>
                  <a:pt x="430" y="440"/>
                </a:cubicBezTo>
                <a:cubicBezTo>
                  <a:pt x="430" y="440"/>
                  <a:pt x="430" y="439"/>
                  <a:pt x="430" y="439"/>
                </a:cubicBezTo>
                <a:cubicBezTo>
                  <a:pt x="430" y="438"/>
                  <a:pt x="431" y="438"/>
                  <a:pt x="431" y="438"/>
                </a:cubicBezTo>
                <a:cubicBezTo>
                  <a:pt x="431" y="437"/>
                  <a:pt x="432" y="437"/>
                  <a:pt x="432" y="436"/>
                </a:cubicBezTo>
                <a:cubicBezTo>
                  <a:pt x="432" y="436"/>
                  <a:pt x="432" y="436"/>
                  <a:pt x="432" y="436"/>
                </a:cubicBezTo>
                <a:cubicBezTo>
                  <a:pt x="433" y="436"/>
                  <a:pt x="433" y="435"/>
                  <a:pt x="434" y="435"/>
                </a:cubicBezTo>
                <a:cubicBezTo>
                  <a:pt x="434" y="435"/>
                  <a:pt x="434" y="434"/>
                  <a:pt x="434" y="434"/>
                </a:cubicBezTo>
                <a:cubicBezTo>
                  <a:pt x="434" y="434"/>
                  <a:pt x="435" y="434"/>
                  <a:pt x="434" y="434"/>
                </a:cubicBezTo>
                <a:cubicBezTo>
                  <a:pt x="434" y="434"/>
                  <a:pt x="434" y="434"/>
                  <a:pt x="434" y="434"/>
                </a:cubicBezTo>
                <a:cubicBezTo>
                  <a:pt x="434" y="434"/>
                  <a:pt x="434" y="435"/>
                  <a:pt x="433" y="435"/>
                </a:cubicBezTo>
                <a:cubicBezTo>
                  <a:pt x="433" y="435"/>
                  <a:pt x="433" y="434"/>
                  <a:pt x="434" y="434"/>
                </a:cubicBezTo>
                <a:cubicBezTo>
                  <a:pt x="434" y="434"/>
                  <a:pt x="434" y="434"/>
                  <a:pt x="434" y="434"/>
                </a:cubicBezTo>
                <a:cubicBezTo>
                  <a:pt x="434" y="434"/>
                  <a:pt x="433" y="433"/>
                  <a:pt x="433" y="434"/>
                </a:cubicBezTo>
                <a:cubicBezTo>
                  <a:pt x="433" y="434"/>
                  <a:pt x="433" y="434"/>
                  <a:pt x="433" y="434"/>
                </a:cubicBezTo>
                <a:cubicBezTo>
                  <a:pt x="433" y="434"/>
                  <a:pt x="433" y="435"/>
                  <a:pt x="433" y="435"/>
                </a:cubicBezTo>
                <a:cubicBezTo>
                  <a:pt x="433" y="435"/>
                  <a:pt x="433" y="435"/>
                  <a:pt x="432" y="435"/>
                </a:cubicBezTo>
                <a:cubicBezTo>
                  <a:pt x="432" y="435"/>
                  <a:pt x="432" y="435"/>
                  <a:pt x="432" y="435"/>
                </a:cubicBezTo>
                <a:cubicBezTo>
                  <a:pt x="432" y="434"/>
                  <a:pt x="432" y="434"/>
                  <a:pt x="432" y="433"/>
                </a:cubicBezTo>
                <a:cubicBezTo>
                  <a:pt x="432" y="433"/>
                  <a:pt x="433" y="433"/>
                  <a:pt x="433" y="433"/>
                </a:cubicBezTo>
                <a:cubicBezTo>
                  <a:pt x="433" y="432"/>
                  <a:pt x="433" y="432"/>
                  <a:pt x="433" y="432"/>
                </a:cubicBezTo>
                <a:cubicBezTo>
                  <a:pt x="433" y="432"/>
                  <a:pt x="433" y="432"/>
                  <a:pt x="434" y="432"/>
                </a:cubicBezTo>
                <a:cubicBezTo>
                  <a:pt x="434" y="431"/>
                  <a:pt x="434" y="431"/>
                  <a:pt x="435" y="431"/>
                </a:cubicBezTo>
                <a:cubicBezTo>
                  <a:pt x="435" y="431"/>
                  <a:pt x="435" y="431"/>
                  <a:pt x="434" y="431"/>
                </a:cubicBezTo>
                <a:cubicBezTo>
                  <a:pt x="434" y="431"/>
                  <a:pt x="434" y="431"/>
                  <a:pt x="434" y="431"/>
                </a:cubicBezTo>
                <a:cubicBezTo>
                  <a:pt x="434" y="430"/>
                  <a:pt x="434" y="431"/>
                  <a:pt x="434" y="431"/>
                </a:cubicBezTo>
                <a:cubicBezTo>
                  <a:pt x="434" y="431"/>
                  <a:pt x="434" y="431"/>
                  <a:pt x="433" y="431"/>
                </a:cubicBezTo>
                <a:cubicBezTo>
                  <a:pt x="433" y="431"/>
                  <a:pt x="433" y="431"/>
                  <a:pt x="433" y="431"/>
                </a:cubicBezTo>
                <a:cubicBezTo>
                  <a:pt x="433" y="432"/>
                  <a:pt x="432" y="432"/>
                  <a:pt x="432" y="432"/>
                </a:cubicBezTo>
                <a:cubicBezTo>
                  <a:pt x="432" y="433"/>
                  <a:pt x="432" y="433"/>
                  <a:pt x="432" y="433"/>
                </a:cubicBezTo>
                <a:cubicBezTo>
                  <a:pt x="431" y="433"/>
                  <a:pt x="431" y="433"/>
                  <a:pt x="431" y="433"/>
                </a:cubicBezTo>
                <a:cubicBezTo>
                  <a:pt x="431" y="434"/>
                  <a:pt x="431" y="434"/>
                  <a:pt x="431" y="434"/>
                </a:cubicBezTo>
                <a:cubicBezTo>
                  <a:pt x="431" y="435"/>
                  <a:pt x="431" y="435"/>
                  <a:pt x="430" y="435"/>
                </a:cubicBezTo>
                <a:cubicBezTo>
                  <a:pt x="430" y="435"/>
                  <a:pt x="430" y="434"/>
                  <a:pt x="430" y="434"/>
                </a:cubicBezTo>
                <a:cubicBezTo>
                  <a:pt x="430" y="434"/>
                  <a:pt x="430" y="434"/>
                  <a:pt x="430" y="434"/>
                </a:cubicBezTo>
                <a:cubicBezTo>
                  <a:pt x="430" y="434"/>
                  <a:pt x="430" y="433"/>
                  <a:pt x="430" y="433"/>
                </a:cubicBezTo>
                <a:cubicBezTo>
                  <a:pt x="430" y="432"/>
                  <a:pt x="431" y="432"/>
                  <a:pt x="431" y="432"/>
                </a:cubicBezTo>
                <a:cubicBezTo>
                  <a:pt x="432" y="432"/>
                  <a:pt x="432" y="431"/>
                  <a:pt x="432" y="431"/>
                </a:cubicBezTo>
                <a:cubicBezTo>
                  <a:pt x="431" y="431"/>
                  <a:pt x="431" y="431"/>
                  <a:pt x="430" y="431"/>
                </a:cubicBezTo>
                <a:cubicBezTo>
                  <a:pt x="430" y="431"/>
                  <a:pt x="430" y="431"/>
                  <a:pt x="430" y="431"/>
                </a:cubicBezTo>
                <a:cubicBezTo>
                  <a:pt x="430" y="431"/>
                  <a:pt x="430" y="431"/>
                  <a:pt x="430" y="431"/>
                </a:cubicBezTo>
                <a:cubicBezTo>
                  <a:pt x="430" y="431"/>
                  <a:pt x="429" y="431"/>
                  <a:pt x="429" y="431"/>
                </a:cubicBezTo>
                <a:cubicBezTo>
                  <a:pt x="429" y="431"/>
                  <a:pt x="429" y="431"/>
                  <a:pt x="429" y="431"/>
                </a:cubicBezTo>
                <a:cubicBezTo>
                  <a:pt x="429" y="430"/>
                  <a:pt x="429" y="430"/>
                  <a:pt x="428" y="430"/>
                </a:cubicBezTo>
                <a:cubicBezTo>
                  <a:pt x="428" y="430"/>
                  <a:pt x="428" y="430"/>
                  <a:pt x="428" y="431"/>
                </a:cubicBezTo>
                <a:cubicBezTo>
                  <a:pt x="428" y="431"/>
                  <a:pt x="428" y="431"/>
                  <a:pt x="428" y="431"/>
                </a:cubicBezTo>
                <a:cubicBezTo>
                  <a:pt x="428" y="431"/>
                  <a:pt x="427" y="431"/>
                  <a:pt x="427" y="431"/>
                </a:cubicBezTo>
                <a:cubicBezTo>
                  <a:pt x="427" y="431"/>
                  <a:pt x="427" y="431"/>
                  <a:pt x="427" y="431"/>
                </a:cubicBezTo>
                <a:cubicBezTo>
                  <a:pt x="426" y="431"/>
                  <a:pt x="426" y="431"/>
                  <a:pt x="426" y="431"/>
                </a:cubicBezTo>
                <a:cubicBezTo>
                  <a:pt x="426" y="431"/>
                  <a:pt x="426" y="431"/>
                  <a:pt x="426" y="431"/>
                </a:cubicBezTo>
                <a:cubicBezTo>
                  <a:pt x="425" y="431"/>
                  <a:pt x="425" y="432"/>
                  <a:pt x="425" y="432"/>
                </a:cubicBezTo>
                <a:cubicBezTo>
                  <a:pt x="425" y="432"/>
                  <a:pt x="426" y="433"/>
                  <a:pt x="426" y="433"/>
                </a:cubicBezTo>
                <a:cubicBezTo>
                  <a:pt x="426" y="433"/>
                  <a:pt x="427" y="433"/>
                  <a:pt x="427" y="433"/>
                </a:cubicBezTo>
                <a:cubicBezTo>
                  <a:pt x="427" y="433"/>
                  <a:pt x="427" y="432"/>
                  <a:pt x="427" y="432"/>
                </a:cubicBezTo>
                <a:cubicBezTo>
                  <a:pt x="428" y="432"/>
                  <a:pt x="428" y="431"/>
                  <a:pt x="428" y="431"/>
                </a:cubicBezTo>
                <a:cubicBezTo>
                  <a:pt x="429" y="431"/>
                  <a:pt x="429" y="431"/>
                  <a:pt x="430" y="431"/>
                </a:cubicBezTo>
                <a:cubicBezTo>
                  <a:pt x="430" y="431"/>
                  <a:pt x="430" y="431"/>
                  <a:pt x="430" y="432"/>
                </a:cubicBezTo>
                <a:cubicBezTo>
                  <a:pt x="430" y="432"/>
                  <a:pt x="430" y="433"/>
                  <a:pt x="430" y="433"/>
                </a:cubicBezTo>
                <a:cubicBezTo>
                  <a:pt x="430" y="434"/>
                  <a:pt x="430" y="434"/>
                  <a:pt x="429" y="434"/>
                </a:cubicBezTo>
                <a:cubicBezTo>
                  <a:pt x="429" y="434"/>
                  <a:pt x="429" y="434"/>
                  <a:pt x="429" y="435"/>
                </a:cubicBezTo>
                <a:cubicBezTo>
                  <a:pt x="430" y="435"/>
                  <a:pt x="429" y="435"/>
                  <a:pt x="429" y="435"/>
                </a:cubicBezTo>
                <a:cubicBezTo>
                  <a:pt x="429" y="435"/>
                  <a:pt x="429" y="436"/>
                  <a:pt x="429" y="436"/>
                </a:cubicBezTo>
                <a:cubicBezTo>
                  <a:pt x="429" y="436"/>
                  <a:pt x="428" y="436"/>
                  <a:pt x="428" y="436"/>
                </a:cubicBezTo>
                <a:cubicBezTo>
                  <a:pt x="428" y="436"/>
                  <a:pt x="428" y="436"/>
                  <a:pt x="428" y="436"/>
                </a:cubicBezTo>
                <a:cubicBezTo>
                  <a:pt x="428" y="436"/>
                  <a:pt x="429" y="436"/>
                  <a:pt x="429" y="436"/>
                </a:cubicBezTo>
                <a:cubicBezTo>
                  <a:pt x="429" y="436"/>
                  <a:pt x="429" y="436"/>
                  <a:pt x="429" y="436"/>
                </a:cubicBezTo>
                <a:cubicBezTo>
                  <a:pt x="429" y="436"/>
                  <a:pt x="429" y="437"/>
                  <a:pt x="428" y="437"/>
                </a:cubicBezTo>
                <a:cubicBezTo>
                  <a:pt x="428" y="436"/>
                  <a:pt x="428" y="437"/>
                  <a:pt x="428" y="437"/>
                </a:cubicBezTo>
                <a:cubicBezTo>
                  <a:pt x="428" y="437"/>
                  <a:pt x="428" y="437"/>
                  <a:pt x="428" y="437"/>
                </a:cubicBezTo>
                <a:cubicBezTo>
                  <a:pt x="428" y="437"/>
                  <a:pt x="428" y="437"/>
                  <a:pt x="428" y="437"/>
                </a:cubicBezTo>
                <a:cubicBezTo>
                  <a:pt x="428" y="437"/>
                  <a:pt x="428" y="436"/>
                  <a:pt x="428" y="436"/>
                </a:cubicBezTo>
                <a:cubicBezTo>
                  <a:pt x="428" y="436"/>
                  <a:pt x="428" y="436"/>
                  <a:pt x="428" y="436"/>
                </a:cubicBezTo>
                <a:cubicBezTo>
                  <a:pt x="428" y="436"/>
                  <a:pt x="428" y="436"/>
                  <a:pt x="427" y="436"/>
                </a:cubicBezTo>
                <a:cubicBezTo>
                  <a:pt x="427" y="436"/>
                  <a:pt x="427" y="436"/>
                  <a:pt x="427" y="436"/>
                </a:cubicBezTo>
                <a:cubicBezTo>
                  <a:pt x="427" y="436"/>
                  <a:pt x="427" y="436"/>
                  <a:pt x="427" y="436"/>
                </a:cubicBezTo>
                <a:cubicBezTo>
                  <a:pt x="427" y="436"/>
                  <a:pt x="427" y="435"/>
                  <a:pt x="428" y="435"/>
                </a:cubicBezTo>
                <a:cubicBezTo>
                  <a:pt x="427" y="435"/>
                  <a:pt x="427" y="435"/>
                  <a:pt x="427" y="435"/>
                </a:cubicBezTo>
                <a:cubicBezTo>
                  <a:pt x="427" y="435"/>
                  <a:pt x="427" y="435"/>
                  <a:pt x="427" y="435"/>
                </a:cubicBezTo>
                <a:cubicBezTo>
                  <a:pt x="426" y="435"/>
                  <a:pt x="426" y="435"/>
                  <a:pt x="425" y="435"/>
                </a:cubicBezTo>
                <a:cubicBezTo>
                  <a:pt x="425" y="434"/>
                  <a:pt x="425" y="434"/>
                  <a:pt x="425" y="434"/>
                </a:cubicBezTo>
                <a:cubicBezTo>
                  <a:pt x="425" y="433"/>
                  <a:pt x="425" y="432"/>
                  <a:pt x="425" y="431"/>
                </a:cubicBezTo>
                <a:cubicBezTo>
                  <a:pt x="425" y="431"/>
                  <a:pt x="425" y="430"/>
                  <a:pt x="425" y="430"/>
                </a:cubicBezTo>
                <a:cubicBezTo>
                  <a:pt x="424" y="429"/>
                  <a:pt x="424" y="428"/>
                  <a:pt x="424" y="428"/>
                </a:cubicBezTo>
                <a:cubicBezTo>
                  <a:pt x="423" y="428"/>
                  <a:pt x="423" y="428"/>
                  <a:pt x="423" y="428"/>
                </a:cubicBezTo>
                <a:cubicBezTo>
                  <a:pt x="423" y="428"/>
                  <a:pt x="423" y="428"/>
                  <a:pt x="423" y="427"/>
                </a:cubicBezTo>
                <a:cubicBezTo>
                  <a:pt x="423" y="427"/>
                  <a:pt x="422" y="427"/>
                  <a:pt x="422" y="427"/>
                </a:cubicBezTo>
                <a:cubicBezTo>
                  <a:pt x="422" y="428"/>
                  <a:pt x="422" y="428"/>
                  <a:pt x="422" y="428"/>
                </a:cubicBezTo>
                <a:cubicBezTo>
                  <a:pt x="422" y="428"/>
                  <a:pt x="421" y="427"/>
                  <a:pt x="422" y="427"/>
                </a:cubicBezTo>
                <a:cubicBezTo>
                  <a:pt x="422" y="427"/>
                  <a:pt x="422" y="427"/>
                  <a:pt x="422" y="427"/>
                </a:cubicBezTo>
                <a:cubicBezTo>
                  <a:pt x="422" y="427"/>
                  <a:pt x="422" y="426"/>
                  <a:pt x="422" y="426"/>
                </a:cubicBezTo>
                <a:cubicBezTo>
                  <a:pt x="421" y="426"/>
                  <a:pt x="421" y="426"/>
                  <a:pt x="421" y="426"/>
                </a:cubicBezTo>
                <a:cubicBezTo>
                  <a:pt x="421" y="426"/>
                  <a:pt x="422" y="426"/>
                  <a:pt x="422" y="426"/>
                </a:cubicBezTo>
                <a:cubicBezTo>
                  <a:pt x="422" y="426"/>
                  <a:pt x="422" y="426"/>
                  <a:pt x="422" y="425"/>
                </a:cubicBezTo>
                <a:cubicBezTo>
                  <a:pt x="422" y="425"/>
                  <a:pt x="422" y="425"/>
                  <a:pt x="422" y="425"/>
                </a:cubicBezTo>
                <a:cubicBezTo>
                  <a:pt x="422" y="425"/>
                  <a:pt x="422" y="424"/>
                  <a:pt x="422" y="424"/>
                </a:cubicBezTo>
                <a:cubicBezTo>
                  <a:pt x="422" y="424"/>
                  <a:pt x="422" y="424"/>
                  <a:pt x="422" y="424"/>
                </a:cubicBezTo>
                <a:cubicBezTo>
                  <a:pt x="423" y="424"/>
                  <a:pt x="423" y="423"/>
                  <a:pt x="423" y="423"/>
                </a:cubicBezTo>
                <a:cubicBezTo>
                  <a:pt x="423" y="423"/>
                  <a:pt x="423" y="423"/>
                  <a:pt x="423" y="422"/>
                </a:cubicBezTo>
                <a:cubicBezTo>
                  <a:pt x="423" y="422"/>
                  <a:pt x="424" y="422"/>
                  <a:pt x="424" y="422"/>
                </a:cubicBezTo>
                <a:cubicBezTo>
                  <a:pt x="424" y="422"/>
                  <a:pt x="424" y="422"/>
                  <a:pt x="424" y="422"/>
                </a:cubicBezTo>
                <a:cubicBezTo>
                  <a:pt x="425" y="422"/>
                  <a:pt x="425" y="421"/>
                  <a:pt x="425" y="421"/>
                </a:cubicBezTo>
                <a:cubicBezTo>
                  <a:pt x="425" y="421"/>
                  <a:pt x="425" y="421"/>
                  <a:pt x="425" y="421"/>
                </a:cubicBezTo>
                <a:cubicBezTo>
                  <a:pt x="425" y="420"/>
                  <a:pt x="425" y="420"/>
                  <a:pt x="425" y="420"/>
                </a:cubicBezTo>
                <a:cubicBezTo>
                  <a:pt x="425" y="421"/>
                  <a:pt x="426" y="421"/>
                  <a:pt x="426" y="420"/>
                </a:cubicBezTo>
                <a:cubicBezTo>
                  <a:pt x="426" y="420"/>
                  <a:pt x="426" y="420"/>
                  <a:pt x="427" y="419"/>
                </a:cubicBezTo>
                <a:cubicBezTo>
                  <a:pt x="427" y="419"/>
                  <a:pt x="427" y="419"/>
                  <a:pt x="427" y="419"/>
                </a:cubicBezTo>
                <a:cubicBezTo>
                  <a:pt x="427" y="419"/>
                  <a:pt x="427" y="419"/>
                  <a:pt x="427" y="419"/>
                </a:cubicBezTo>
                <a:cubicBezTo>
                  <a:pt x="428" y="419"/>
                  <a:pt x="428" y="418"/>
                  <a:pt x="429" y="418"/>
                </a:cubicBezTo>
                <a:cubicBezTo>
                  <a:pt x="429" y="418"/>
                  <a:pt x="430" y="418"/>
                  <a:pt x="430" y="419"/>
                </a:cubicBezTo>
                <a:cubicBezTo>
                  <a:pt x="430" y="419"/>
                  <a:pt x="430" y="419"/>
                  <a:pt x="431" y="419"/>
                </a:cubicBezTo>
                <a:cubicBezTo>
                  <a:pt x="431" y="418"/>
                  <a:pt x="431" y="419"/>
                  <a:pt x="431" y="419"/>
                </a:cubicBezTo>
                <a:cubicBezTo>
                  <a:pt x="431" y="419"/>
                  <a:pt x="432" y="419"/>
                  <a:pt x="432" y="419"/>
                </a:cubicBezTo>
                <a:cubicBezTo>
                  <a:pt x="432" y="420"/>
                  <a:pt x="432" y="420"/>
                  <a:pt x="432" y="421"/>
                </a:cubicBezTo>
                <a:cubicBezTo>
                  <a:pt x="432" y="421"/>
                  <a:pt x="431" y="421"/>
                  <a:pt x="431" y="421"/>
                </a:cubicBezTo>
                <a:cubicBezTo>
                  <a:pt x="431" y="421"/>
                  <a:pt x="431" y="421"/>
                  <a:pt x="431" y="421"/>
                </a:cubicBezTo>
                <a:cubicBezTo>
                  <a:pt x="431" y="421"/>
                  <a:pt x="431" y="421"/>
                  <a:pt x="431" y="421"/>
                </a:cubicBezTo>
                <a:cubicBezTo>
                  <a:pt x="431" y="422"/>
                  <a:pt x="431" y="422"/>
                  <a:pt x="431" y="421"/>
                </a:cubicBezTo>
                <a:cubicBezTo>
                  <a:pt x="432" y="421"/>
                  <a:pt x="432" y="421"/>
                  <a:pt x="432" y="421"/>
                </a:cubicBezTo>
                <a:cubicBezTo>
                  <a:pt x="432" y="421"/>
                  <a:pt x="432" y="421"/>
                  <a:pt x="432" y="421"/>
                </a:cubicBezTo>
                <a:cubicBezTo>
                  <a:pt x="432" y="421"/>
                  <a:pt x="432" y="421"/>
                  <a:pt x="432" y="422"/>
                </a:cubicBezTo>
                <a:cubicBezTo>
                  <a:pt x="433" y="422"/>
                  <a:pt x="432" y="422"/>
                  <a:pt x="433" y="422"/>
                </a:cubicBezTo>
                <a:cubicBezTo>
                  <a:pt x="433" y="423"/>
                  <a:pt x="433" y="423"/>
                  <a:pt x="433" y="423"/>
                </a:cubicBezTo>
                <a:cubicBezTo>
                  <a:pt x="433" y="424"/>
                  <a:pt x="433" y="424"/>
                  <a:pt x="433" y="424"/>
                </a:cubicBezTo>
                <a:cubicBezTo>
                  <a:pt x="433" y="424"/>
                  <a:pt x="433" y="425"/>
                  <a:pt x="433" y="425"/>
                </a:cubicBezTo>
                <a:cubicBezTo>
                  <a:pt x="434" y="425"/>
                  <a:pt x="434" y="425"/>
                  <a:pt x="434" y="426"/>
                </a:cubicBezTo>
                <a:cubicBezTo>
                  <a:pt x="434" y="426"/>
                  <a:pt x="434" y="426"/>
                  <a:pt x="434" y="427"/>
                </a:cubicBezTo>
                <a:cubicBezTo>
                  <a:pt x="435" y="427"/>
                  <a:pt x="435" y="427"/>
                  <a:pt x="435" y="427"/>
                </a:cubicBezTo>
                <a:cubicBezTo>
                  <a:pt x="435" y="427"/>
                  <a:pt x="436" y="427"/>
                  <a:pt x="436" y="427"/>
                </a:cubicBezTo>
                <a:cubicBezTo>
                  <a:pt x="436" y="427"/>
                  <a:pt x="436" y="427"/>
                  <a:pt x="435" y="427"/>
                </a:cubicBezTo>
                <a:cubicBezTo>
                  <a:pt x="435" y="427"/>
                  <a:pt x="435" y="427"/>
                  <a:pt x="435" y="427"/>
                </a:cubicBezTo>
                <a:cubicBezTo>
                  <a:pt x="435" y="426"/>
                  <a:pt x="435" y="426"/>
                  <a:pt x="435" y="426"/>
                </a:cubicBezTo>
                <a:cubicBezTo>
                  <a:pt x="434" y="425"/>
                  <a:pt x="434" y="425"/>
                  <a:pt x="434" y="424"/>
                </a:cubicBezTo>
                <a:cubicBezTo>
                  <a:pt x="434" y="424"/>
                  <a:pt x="434" y="424"/>
                  <a:pt x="434" y="424"/>
                </a:cubicBezTo>
                <a:cubicBezTo>
                  <a:pt x="434" y="423"/>
                  <a:pt x="434" y="423"/>
                  <a:pt x="434" y="422"/>
                </a:cubicBezTo>
                <a:cubicBezTo>
                  <a:pt x="434" y="422"/>
                  <a:pt x="434" y="421"/>
                  <a:pt x="434" y="421"/>
                </a:cubicBezTo>
                <a:cubicBezTo>
                  <a:pt x="434" y="421"/>
                  <a:pt x="433" y="421"/>
                  <a:pt x="433" y="421"/>
                </a:cubicBezTo>
                <a:cubicBezTo>
                  <a:pt x="433" y="421"/>
                  <a:pt x="434" y="420"/>
                  <a:pt x="434" y="420"/>
                </a:cubicBezTo>
                <a:cubicBezTo>
                  <a:pt x="434" y="420"/>
                  <a:pt x="434" y="420"/>
                  <a:pt x="434" y="421"/>
                </a:cubicBezTo>
                <a:cubicBezTo>
                  <a:pt x="434" y="421"/>
                  <a:pt x="435" y="421"/>
                  <a:pt x="435" y="421"/>
                </a:cubicBezTo>
                <a:cubicBezTo>
                  <a:pt x="435" y="421"/>
                  <a:pt x="435" y="421"/>
                  <a:pt x="435" y="421"/>
                </a:cubicBezTo>
                <a:cubicBezTo>
                  <a:pt x="435" y="421"/>
                  <a:pt x="435" y="421"/>
                  <a:pt x="435" y="421"/>
                </a:cubicBezTo>
                <a:cubicBezTo>
                  <a:pt x="435" y="421"/>
                  <a:pt x="435" y="421"/>
                  <a:pt x="435" y="421"/>
                </a:cubicBezTo>
                <a:cubicBezTo>
                  <a:pt x="435" y="421"/>
                  <a:pt x="435" y="421"/>
                  <a:pt x="435" y="421"/>
                </a:cubicBezTo>
                <a:cubicBezTo>
                  <a:pt x="434" y="421"/>
                  <a:pt x="434" y="421"/>
                  <a:pt x="434" y="420"/>
                </a:cubicBezTo>
                <a:cubicBezTo>
                  <a:pt x="434" y="420"/>
                  <a:pt x="433" y="420"/>
                  <a:pt x="433" y="419"/>
                </a:cubicBezTo>
                <a:cubicBezTo>
                  <a:pt x="433" y="419"/>
                  <a:pt x="433" y="419"/>
                  <a:pt x="433" y="419"/>
                </a:cubicBezTo>
                <a:cubicBezTo>
                  <a:pt x="434" y="419"/>
                  <a:pt x="435" y="419"/>
                  <a:pt x="436" y="419"/>
                </a:cubicBezTo>
                <a:cubicBezTo>
                  <a:pt x="436" y="419"/>
                  <a:pt x="436" y="419"/>
                  <a:pt x="436" y="419"/>
                </a:cubicBezTo>
                <a:cubicBezTo>
                  <a:pt x="436" y="419"/>
                  <a:pt x="436" y="419"/>
                  <a:pt x="436" y="420"/>
                </a:cubicBezTo>
                <a:cubicBezTo>
                  <a:pt x="436" y="420"/>
                  <a:pt x="436" y="420"/>
                  <a:pt x="437" y="420"/>
                </a:cubicBezTo>
                <a:cubicBezTo>
                  <a:pt x="437" y="420"/>
                  <a:pt x="437" y="420"/>
                  <a:pt x="437" y="420"/>
                </a:cubicBezTo>
                <a:cubicBezTo>
                  <a:pt x="437" y="420"/>
                  <a:pt x="437" y="420"/>
                  <a:pt x="437" y="419"/>
                </a:cubicBezTo>
                <a:cubicBezTo>
                  <a:pt x="437" y="419"/>
                  <a:pt x="436" y="418"/>
                  <a:pt x="435" y="418"/>
                </a:cubicBezTo>
                <a:cubicBezTo>
                  <a:pt x="435" y="418"/>
                  <a:pt x="435" y="418"/>
                  <a:pt x="435" y="418"/>
                </a:cubicBezTo>
                <a:cubicBezTo>
                  <a:pt x="434" y="418"/>
                  <a:pt x="434" y="418"/>
                  <a:pt x="434" y="417"/>
                </a:cubicBezTo>
                <a:cubicBezTo>
                  <a:pt x="434" y="417"/>
                  <a:pt x="434" y="417"/>
                  <a:pt x="433" y="417"/>
                </a:cubicBezTo>
                <a:cubicBezTo>
                  <a:pt x="433" y="417"/>
                  <a:pt x="432" y="417"/>
                  <a:pt x="432" y="416"/>
                </a:cubicBezTo>
                <a:cubicBezTo>
                  <a:pt x="432" y="416"/>
                  <a:pt x="432" y="415"/>
                  <a:pt x="432" y="415"/>
                </a:cubicBezTo>
                <a:cubicBezTo>
                  <a:pt x="433" y="415"/>
                  <a:pt x="433" y="414"/>
                  <a:pt x="433" y="414"/>
                </a:cubicBezTo>
                <a:cubicBezTo>
                  <a:pt x="433" y="414"/>
                  <a:pt x="433" y="414"/>
                  <a:pt x="433" y="414"/>
                </a:cubicBezTo>
                <a:cubicBezTo>
                  <a:pt x="433" y="414"/>
                  <a:pt x="434" y="413"/>
                  <a:pt x="434" y="413"/>
                </a:cubicBezTo>
                <a:cubicBezTo>
                  <a:pt x="434" y="413"/>
                  <a:pt x="434" y="413"/>
                  <a:pt x="435" y="413"/>
                </a:cubicBezTo>
                <a:cubicBezTo>
                  <a:pt x="435" y="413"/>
                  <a:pt x="435" y="413"/>
                  <a:pt x="435" y="413"/>
                </a:cubicBezTo>
                <a:cubicBezTo>
                  <a:pt x="435" y="413"/>
                  <a:pt x="436" y="413"/>
                  <a:pt x="436" y="413"/>
                </a:cubicBezTo>
                <a:cubicBezTo>
                  <a:pt x="436" y="413"/>
                  <a:pt x="436" y="413"/>
                  <a:pt x="436" y="414"/>
                </a:cubicBezTo>
                <a:cubicBezTo>
                  <a:pt x="436" y="414"/>
                  <a:pt x="437" y="414"/>
                  <a:pt x="437" y="414"/>
                </a:cubicBezTo>
                <a:cubicBezTo>
                  <a:pt x="437" y="414"/>
                  <a:pt x="437" y="414"/>
                  <a:pt x="437" y="415"/>
                </a:cubicBezTo>
                <a:cubicBezTo>
                  <a:pt x="437" y="415"/>
                  <a:pt x="437" y="415"/>
                  <a:pt x="437" y="415"/>
                </a:cubicBezTo>
                <a:cubicBezTo>
                  <a:pt x="437" y="415"/>
                  <a:pt x="437" y="415"/>
                  <a:pt x="437" y="415"/>
                </a:cubicBezTo>
                <a:cubicBezTo>
                  <a:pt x="437" y="416"/>
                  <a:pt x="437" y="416"/>
                  <a:pt x="437" y="417"/>
                </a:cubicBezTo>
                <a:cubicBezTo>
                  <a:pt x="437" y="418"/>
                  <a:pt x="438" y="418"/>
                  <a:pt x="438" y="418"/>
                </a:cubicBezTo>
                <a:cubicBezTo>
                  <a:pt x="438" y="418"/>
                  <a:pt x="438" y="419"/>
                  <a:pt x="438" y="419"/>
                </a:cubicBezTo>
                <a:cubicBezTo>
                  <a:pt x="438" y="418"/>
                  <a:pt x="438" y="418"/>
                  <a:pt x="438" y="417"/>
                </a:cubicBezTo>
                <a:cubicBezTo>
                  <a:pt x="438" y="417"/>
                  <a:pt x="438" y="417"/>
                  <a:pt x="438" y="417"/>
                </a:cubicBezTo>
                <a:cubicBezTo>
                  <a:pt x="438" y="417"/>
                  <a:pt x="439" y="417"/>
                  <a:pt x="439" y="417"/>
                </a:cubicBezTo>
                <a:cubicBezTo>
                  <a:pt x="439" y="417"/>
                  <a:pt x="438" y="417"/>
                  <a:pt x="438" y="417"/>
                </a:cubicBezTo>
                <a:cubicBezTo>
                  <a:pt x="438" y="416"/>
                  <a:pt x="438" y="416"/>
                  <a:pt x="438" y="416"/>
                </a:cubicBezTo>
                <a:cubicBezTo>
                  <a:pt x="438" y="416"/>
                  <a:pt x="438" y="416"/>
                  <a:pt x="438" y="416"/>
                </a:cubicBezTo>
                <a:cubicBezTo>
                  <a:pt x="439" y="416"/>
                  <a:pt x="439" y="416"/>
                  <a:pt x="439" y="416"/>
                </a:cubicBezTo>
                <a:cubicBezTo>
                  <a:pt x="439" y="416"/>
                  <a:pt x="439" y="417"/>
                  <a:pt x="439" y="417"/>
                </a:cubicBezTo>
                <a:cubicBezTo>
                  <a:pt x="439" y="417"/>
                  <a:pt x="440" y="417"/>
                  <a:pt x="440" y="417"/>
                </a:cubicBezTo>
                <a:cubicBezTo>
                  <a:pt x="440" y="417"/>
                  <a:pt x="440" y="417"/>
                  <a:pt x="440" y="417"/>
                </a:cubicBezTo>
                <a:cubicBezTo>
                  <a:pt x="440" y="417"/>
                  <a:pt x="440" y="417"/>
                  <a:pt x="440" y="417"/>
                </a:cubicBezTo>
                <a:cubicBezTo>
                  <a:pt x="440" y="417"/>
                  <a:pt x="440" y="417"/>
                  <a:pt x="440" y="417"/>
                </a:cubicBezTo>
                <a:cubicBezTo>
                  <a:pt x="440" y="417"/>
                  <a:pt x="440" y="417"/>
                  <a:pt x="440" y="417"/>
                </a:cubicBezTo>
                <a:cubicBezTo>
                  <a:pt x="440" y="417"/>
                  <a:pt x="440" y="416"/>
                  <a:pt x="440" y="416"/>
                </a:cubicBezTo>
                <a:cubicBezTo>
                  <a:pt x="440" y="416"/>
                  <a:pt x="440" y="416"/>
                  <a:pt x="440" y="416"/>
                </a:cubicBezTo>
                <a:cubicBezTo>
                  <a:pt x="440" y="416"/>
                  <a:pt x="439" y="416"/>
                  <a:pt x="439" y="416"/>
                </a:cubicBezTo>
                <a:cubicBezTo>
                  <a:pt x="439" y="415"/>
                  <a:pt x="439" y="415"/>
                  <a:pt x="438" y="415"/>
                </a:cubicBezTo>
                <a:cubicBezTo>
                  <a:pt x="438" y="415"/>
                  <a:pt x="438" y="415"/>
                  <a:pt x="438" y="415"/>
                </a:cubicBezTo>
                <a:cubicBezTo>
                  <a:pt x="438" y="414"/>
                  <a:pt x="438" y="414"/>
                  <a:pt x="438" y="414"/>
                </a:cubicBezTo>
                <a:cubicBezTo>
                  <a:pt x="439" y="414"/>
                  <a:pt x="440" y="415"/>
                  <a:pt x="440" y="415"/>
                </a:cubicBezTo>
                <a:cubicBezTo>
                  <a:pt x="441" y="415"/>
                  <a:pt x="441" y="415"/>
                  <a:pt x="441" y="415"/>
                </a:cubicBezTo>
                <a:cubicBezTo>
                  <a:pt x="441" y="415"/>
                  <a:pt x="441" y="415"/>
                  <a:pt x="441" y="415"/>
                </a:cubicBezTo>
                <a:cubicBezTo>
                  <a:pt x="442" y="415"/>
                  <a:pt x="442" y="415"/>
                  <a:pt x="442" y="416"/>
                </a:cubicBezTo>
                <a:cubicBezTo>
                  <a:pt x="442" y="416"/>
                  <a:pt x="442" y="416"/>
                  <a:pt x="441" y="416"/>
                </a:cubicBezTo>
                <a:cubicBezTo>
                  <a:pt x="441" y="416"/>
                  <a:pt x="441" y="416"/>
                  <a:pt x="442" y="417"/>
                </a:cubicBezTo>
                <a:cubicBezTo>
                  <a:pt x="442" y="417"/>
                  <a:pt x="442" y="417"/>
                  <a:pt x="442" y="417"/>
                </a:cubicBezTo>
                <a:cubicBezTo>
                  <a:pt x="442" y="417"/>
                  <a:pt x="442" y="417"/>
                  <a:pt x="442" y="417"/>
                </a:cubicBezTo>
                <a:cubicBezTo>
                  <a:pt x="442" y="416"/>
                  <a:pt x="442" y="416"/>
                  <a:pt x="442" y="415"/>
                </a:cubicBezTo>
                <a:cubicBezTo>
                  <a:pt x="442" y="415"/>
                  <a:pt x="442" y="414"/>
                  <a:pt x="442" y="413"/>
                </a:cubicBezTo>
                <a:cubicBezTo>
                  <a:pt x="442" y="413"/>
                  <a:pt x="442" y="413"/>
                  <a:pt x="442" y="413"/>
                </a:cubicBezTo>
                <a:cubicBezTo>
                  <a:pt x="442" y="413"/>
                  <a:pt x="441" y="413"/>
                  <a:pt x="441" y="413"/>
                </a:cubicBezTo>
                <a:cubicBezTo>
                  <a:pt x="442" y="413"/>
                  <a:pt x="442" y="413"/>
                  <a:pt x="442" y="413"/>
                </a:cubicBezTo>
                <a:cubicBezTo>
                  <a:pt x="442" y="413"/>
                  <a:pt x="442" y="414"/>
                  <a:pt x="443" y="414"/>
                </a:cubicBezTo>
                <a:cubicBezTo>
                  <a:pt x="443" y="414"/>
                  <a:pt x="443" y="414"/>
                  <a:pt x="443" y="414"/>
                </a:cubicBezTo>
                <a:cubicBezTo>
                  <a:pt x="443" y="414"/>
                  <a:pt x="443" y="413"/>
                  <a:pt x="443" y="413"/>
                </a:cubicBezTo>
                <a:cubicBezTo>
                  <a:pt x="443" y="413"/>
                  <a:pt x="443" y="413"/>
                  <a:pt x="443" y="413"/>
                </a:cubicBezTo>
                <a:cubicBezTo>
                  <a:pt x="442" y="413"/>
                  <a:pt x="442" y="412"/>
                  <a:pt x="442" y="412"/>
                </a:cubicBezTo>
                <a:cubicBezTo>
                  <a:pt x="441" y="411"/>
                  <a:pt x="441" y="411"/>
                  <a:pt x="441" y="411"/>
                </a:cubicBezTo>
                <a:cubicBezTo>
                  <a:pt x="440" y="411"/>
                  <a:pt x="440" y="410"/>
                  <a:pt x="441" y="410"/>
                </a:cubicBezTo>
                <a:cubicBezTo>
                  <a:pt x="441" y="410"/>
                  <a:pt x="441" y="410"/>
                  <a:pt x="441" y="410"/>
                </a:cubicBezTo>
                <a:cubicBezTo>
                  <a:pt x="441" y="411"/>
                  <a:pt x="442" y="411"/>
                  <a:pt x="442" y="411"/>
                </a:cubicBezTo>
                <a:cubicBezTo>
                  <a:pt x="442" y="411"/>
                  <a:pt x="442" y="411"/>
                  <a:pt x="442" y="411"/>
                </a:cubicBezTo>
                <a:cubicBezTo>
                  <a:pt x="443" y="411"/>
                  <a:pt x="443" y="412"/>
                  <a:pt x="444" y="412"/>
                </a:cubicBezTo>
                <a:cubicBezTo>
                  <a:pt x="444" y="412"/>
                  <a:pt x="444" y="412"/>
                  <a:pt x="444" y="412"/>
                </a:cubicBezTo>
                <a:cubicBezTo>
                  <a:pt x="444" y="412"/>
                  <a:pt x="444" y="412"/>
                  <a:pt x="444" y="412"/>
                </a:cubicBezTo>
                <a:cubicBezTo>
                  <a:pt x="444" y="411"/>
                  <a:pt x="444" y="411"/>
                  <a:pt x="445" y="411"/>
                </a:cubicBezTo>
                <a:cubicBezTo>
                  <a:pt x="445" y="411"/>
                  <a:pt x="445" y="411"/>
                  <a:pt x="446" y="412"/>
                </a:cubicBezTo>
                <a:cubicBezTo>
                  <a:pt x="446" y="412"/>
                  <a:pt x="446" y="412"/>
                  <a:pt x="447" y="412"/>
                </a:cubicBezTo>
                <a:cubicBezTo>
                  <a:pt x="447" y="412"/>
                  <a:pt x="447" y="412"/>
                  <a:pt x="447" y="413"/>
                </a:cubicBezTo>
                <a:cubicBezTo>
                  <a:pt x="447" y="413"/>
                  <a:pt x="446" y="413"/>
                  <a:pt x="446" y="413"/>
                </a:cubicBezTo>
                <a:cubicBezTo>
                  <a:pt x="446" y="413"/>
                  <a:pt x="446" y="413"/>
                  <a:pt x="446" y="414"/>
                </a:cubicBezTo>
                <a:cubicBezTo>
                  <a:pt x="446" y="414"/>
                  <a:pt x="446" y="414"/>
                  <a:pt x="446" y="414"/>
                </a:cubicBezTo>
                <a:cubicBezTo>
                  <a:pt x="446" y="414"/>
                  <a:pt x="445" y="414"/>
                  <a:pt x="445" y="415"/>
                </a:cubicBezTo>
                <a:cubicBezTo>
                  <a:pt x="446" y="415"/>
                  <a:pt x="445" y="416"/>
                  <a:pt x="446" y="416"/>
                </a:cubicBezTo>
                <a:cubicBezTo>
                  <a:pt x="446" y="416"/>
                  <a:pt x="446" y="416"/>
                  <a:pt x="446" y="417"/>
                </a:cubicBezTo>
                <a:cubicBezTo>
                  <a:pt x="446" y="417"/>
                  <a:pt x="446" y="417"/>
                  <a:pt x="446" y="417"/>
                </a:cubicBezTo>
                <a:cubicBezTo>
                  <a:pt x="446" y="417"/>
                  <a:pt x="446" y="417"/>
                  <a:pt x="446" y="417"/>
                </a:cubicBezTo>
                <a:cubicBezTo>
                  <a:pt x="446" y="416"/>
                  <a:pt x="446" y="415"/>
                  <a:pt x="446" y="415"/>
                </a:cubicBezTo>
                <a:cubicBezTo>
                  <a:pt x="446" y="414"/>
                  <a:pt x="447" y="414"/>
                  <a:pt x="447" y="414"/>
                </a:cubicBezTo>
                <a:cubicBezTo>
                  <a:pt x="447" y="414"/>
                  <a:pt x="447" y="414"/>
                  <a:pt x="447" y="414"/>
                </a:cubicBezTo>
                <a:cubicBezTo>
                  <a:pt x="447" y="414"/>
                  <a:pt x="447" y="414"/>
                  <a:pt x="447" y="414"/>
                </a:cubicBezTo>
                <a:cubicBezTo>
                  <a:pt x="448" y="414"/>
                  <a:pt x="448" y="415"/>
                  <a:pt x="448" y="414"/>
                </a:cubicBezTo>
                <a:cubicBezTo>
                  <a:pt x="448" y="414"/>
                  <a:pt x="448" y="414"/>
                  <a:pt x="448" y="414"/>
                </a:cubicBezTo>
                <a:cubicBezTo>
                  <a:pt x="448" y="414"/>
                  <a:pt x="448" y="414"/>
                  <a:pt x="448" y="414"/>
                </a:cubicBezTo>
                <a:cubicBezTo>
                  <a:pt x="448" y="413"/>
                  <a:pt x="449" y="413"/>
                  <a:pt x="449" y="413"/>
                </a:cubicBezTo>
                <a:cubicBezTo>
                  <a:pt x="449" y="413"/>
                  <a:pt x="449" y="414"/>
                  <a:pt x="449" y="413"/>
                </a:cubicBezTo>
                <a:cubicBezTo>
                  <a:pt x="449" y="413"/>
                  <a:pt x="449" y="413"/>
                  <a:pt x="449" y="413"/>
                </a:cubicBezTo>
                <a:cubicBezTo>
                  <a:pt x="449" y="413"/>
                  <a:pt x="449" y="413"/>
                  <a:pt x="449" y="412"/>
                </a:cubicBezTo>
                <a:cubicBezTo>
                  <a:pt x="449" y="412"/>
                  <a:pt x="449" y="412"/>
                  <a:pt x="449" y="412"/>
                </a:cubicBezTo>
                <a:cubicBezTo>
                  <a:pt x="450" y="412"/>
                  <a:pt x="450" y="412"/>
                  <a:pt x="450" y="412"/>
                </a:cubicBezTo>
                <a:cubicBezTo>
                  <a:pt x="450" y="412"/>
                  <a:pt x="450" y="412"/>
                  <a:pt x="450" y="412"/>
                </a:cubicBezTo>
                <a:cubicBezTo>
                  <a:pt x="450" y="412"/>
                  <a:pt x="451" y="412"/>
                  <a:pt x="451" y="413"/>
                </a:cubicBezTo>
                <a:cubicBezTo>
                  <a:pt x="451" y="413"/>
                  <a:pt x="451" y="413"/>
                  <a:pt x="451" y="413"/>
                </a:cubicBezTo>
                <a:cubicBezTo>
                  <a:pt x="451" y="413"/>
                  <a:pt x="452" y="413"/>
                  <a:pt x="452" y="413"/>
                </a:cubicBezTo>
                <a:cubicBezTo>
                  <a:pt x="452" y="414"/>
                  <a:pt x="452" y="414"/>
                  <a:pt x="452" y="414"/>
                </a:cubicBezTo>
                <a:cubicBezTo>
                  <a:pt x="452" y="414"/>
                  <a:pt x="452" y="414"/>
                  <a:pt x="452" y="414"/>
                </a:cubicBezTo>
                <a:cubicBezTo>
                  <a:pt x="452" y="414"/>
                  <a:pt x="452" y="414"/>
                  <a:pt x="452" y="415"/>
                </a:cubicBezTo>
                <a:cubicBezTo>
                  <a:pt x="452" y="415"/>
                  <a:pt x="452" y="414"/>
                  <a:pt x="452" y="414"/>
                </a:cubicBezTo>
                <a:cubicBezTo>
                  <a:pt x="452" y="414"/>
                  <a:pt x="452" y="414"/>
                  <a:pt x="453" y="414"/>
                </a:cubicBezTo>
                <a:cubicBezTo>
                  <a:pt x="453" y="415"/>
                  <a:pt x="453" y="415"/>
                  <a:pt x="452" y="415"/>
                </a:cubicBezTo>
                <a:cubicBezTo>
                  <a:pt x="452" y="415"/>
                  <a:pt x="452" y="415"/>
                  <a:pt x="452" y="415"/>
                </a:cubicBezTo>
                <a:cubicBezTo>
                  <a:pt x="452" y="415"/>
                  <a:pt x="452" y="415"/>
                  <a:pt x="451" y="416"/>
                </a:cubicBezTo>
                <a:cubicBezTo>
                  <a:pt x="451" y="416"/>
                  <a:pt x="451" y="416"/>
                  <a:pt x="451" y="416"/>
                </a:cubicBezTo>
                <a:cubicBezTo>
                  <a:pt x="451" y="416"/>
                  <a:pt x="451" y="416"/>
                  <a:pt x="451" y="416"/>
                </a:cubicBezTo>
                <a:cubicBezTo>
                  <a:pt x="451" y="417"/>
                  <a:pt x="451" y="417"/>
                  <a:pt x="450" y="417"/>
                </a:cubicBezTo>
                <a:cubicBezTo>
                  <a:pt x="450" y="417"/>
                  <a:pt x="450" y="417"/>
                  <a:pt x="450" y="417"/>
                </a:cubicBezTo>
                <a:cubicBezTo>
                  <a:pt x="450" y="417"/>
                  <a:pt x="450" y="417"/>
                  <a:pt x="450" y="418"/>
                </a:cubicBezTo>
                <a:cubicBezTo>
                  <a:pt x="450" y="418"/>
                  <a:pt x="450" y="418"/>
                  <a:pt x="450" y="418"/>
                </a:cubicBezTo>
                <a:cubicBezTo>
                  <a:pt x="451" y="417"/>
                  <a:pt x="451" y="417"/>
                  <a:pt x="451" y="417"/>
                </a:cubicBezTo>
                <a:cubicBezTo>
                  <a:pt x="451" y="417"/>
                  <a:pt x="451" y="418"/>
                  <a:pt x="451" y="418"/>
                </a:cubicBezTo>
                <a:cubicBezTo>
                  <a:pt x="451" y="418"/>
                  <a:pt x="451" y="418"/>
                  <a:pt x="451" y="418"/>
                </a:cubicBezTo>
                <a:cubicBezTo>
                  <a:pt x="451" y="418"/>
                  <a:pt x="451" y="419"/>
                  <a:pt x="451" y="419"/>
                </a:cubicBezTo>
                <a:cubicBezTo>
                  <a:pt x="451" y="419"/>
                  <a:pt x="451" y="418"/>
                  <a:pt x="452" y="418"/>
                </a:cubicBezTo>
                <a:cubicBezTo>
                  <a:pt x="452" y="418"/>
                  <a:pt x="452" y="418"/>
                  <a:pt x="452" y="418"/>
                </a:cubicBezTo>
                <a:cubicBezTo>
                  <a:pt x="452" y="419"/>
                  <a:pt x="452" y="419"/>
                  <a:pt x="452" y="419"/>
                </a:cubicBezTo>
                <a:cubicBezTo>
                  <a:pt x="452" y="419"/>
                  <a:pt x="452" y="419"/>
                  <a:pt x="451" y="420"/>
                </a:cubicBezTo>
                <a:cubicBezTo>
                  <a:pt x="451" y="420"/>
                  <a:pt x="451" y="420"/>
                  <a:pt x="451" y="420"/>
                </a:cubicBezTo>
                <a:cubicBezTo>
                  <a:pt x="451" y="420"/>
                  <a:pt x="452" y="420"/>
                  <a:pt x="452" y="420"/>
                </a:cubicBezTo>
                <a:cubicBezTo>
                  <a:pt x="452" y="419"/>
                  <a:pt x="453" y="419"/>
                  <a:pt x="453" y="419"/>
                </a:cubicBezTo>
                <a:cubicBezTo>
                  <a:pt x="453" y="419"/>
                  <a:pt x="453" y="419"/>
                  <a:pt x="453" y="419"/>
                </a:cubicBezTo>
                <a:cubicBezTo>
                  <a:pt x="454" y="419"/>
                  <a:pt x="454" y="419"/>
                  <a:pt x="454" y="419"/>
                </a:cubicBezTo>
                <a:cubicBezTo>
                  <a:pt x="454" y="420"/>
                  <a:pt x="454" y="419"/>
                  <a:pt x="455" y="419"/>
                </a:cubicBezTo>
                <a:cubicBezTo>
                  <a:pt x="455" y="419"/>
                  <a:pt x="455" y="419"/>
                  <a:pt x="455" y="419"/>
                </a:cubicBezTo>
                <a:close/>
                <a:moveTo>
                  <a:pt x="435" y="417"/>
                </a:moveTo>
                <a:cubicBezTo>
                  <a:pt x="435" y="417"/>
                  <a:pt x="435" y="417"/>
                  <a:pt x="435" y="417"/>
                </a:cubicBezTo>
                <a:cubicBezTo>
                  <a:pt x="435" y="417"/>
                  <a:pt x="435" y="417"/>
                  <a:pt x="435" y="417"/>
                </a:cubicBezTo>
                <a:close/>
                <a:moveTo>
                  <a:pt x="447" y="419"/>
                </a:moveTo>
                <a:cubicBezTo>
                  <a:pt x="447" y="419"/>
                  <a:pt x="447" y="419"/>
                  <a:pt x="447" y="419"/>
                </a:cubicBezTo>
                <a:cubicBezTo>
                  <a:pt x="447" y="419"/>
                  <a:pt x="447" y="419"/>
                  <a:pt x="447" y="419"/>
                </a:cubicBezTo>
                <a:close/>
                <a:moveTo>
                  <a:pt x="450" y="418"/>
                </a:moveTo>
                <a:cubicBezTo>
                  <a:pt x="450" y="418"/>
                  <a:pt x="450" y="418"/>
                  <a:pt x="450" y="418"/>
                </a:cubicBezTo>
                <a:cubicBezTo>
                  <a:pt x="450" y="418"/>
                  <a:pt x="450" y="418"/>
                  <a:pt x="450" y="418"/>
                </a:cubicBezTo>
                <a:cubicBezTo>
                  <a:pt x="450" y="418"/>
                  <a:pt x="450" y="418"/>
                  <a:pt x="450" y="418"/>
                </a:cubicBezTo>
                <a:close/>
                <a:moveTo>
                  <a:pt x="411" y="460"/>
                </a:moveTo>
                <a:cubicBezTo>
                  <a:pt x="411" y="460"/>
                  <a:pt x="411" y="460"/>
                  <a:pt x="411" y="459"/>
                </a:cubicBezTo>
                <a:cubicBezTo>
                  <a:pt x="411" y="459"/>
                  <a:pt x="410" y="460"/>
                  <a:pt x="410" y="460"/>
                </a:cubicBezTo>
                <a:cubicBezTo>
                  <a:pt x="410" y="460"/>
                  <a:pt x="410" y="461"/>
                  <a:pt x="410" y="461"/>
                </a:cubicBezTo>
                <a:cubicBezTo>
                  <a:pt x="409" y="461"/>
                  <a:pt x="409" y="461"/>
                  <a:pt x="409" y="461"/>
                </a:cubicBezTo>
                <a:cubicBezTo>
                  <a:pt x="409" y="462"/>
                  <a:pt x="409" y="462"/>
                  <a:pt x="409" y="462"/>
                </a:cubicBezTo>
                <a:cubicBezTo>
                  <a:pt x="409" y="463"/>
                  <a:pt x="409" y="463"/>
                  <a:pt x="410" y="463"/>
                </a:cubicBezTo>
                <a:cubicBezTo>
                  <a:pt x="410" y="463"/>
                  <a:pt x="410" y="463"/>
                  <a:pt x="411" y="463"/>
                </a:cubicBezTo>
                <a:cubicBezTo>
                  <a:pt x="411" y="463"/>
                  <a:pt x="411" y="463"/>
                  <a:pt x="411" y="463"/>
                </a:cubicBezTo>
                <a:cubicBezTo>
                  <a:pt x="411" y="462"/>
                  <a:pt x="412" y="462"/>
                  <a:pt x="411" y="461"/>
                </a:cubicBezTo>
                <a:cubicBezTo>
                  <a:pt x="411" y="461"/>
                  <a:pt x="411" y="460"/>
                  <a:pt x="411" y="460"/>
                </a:cubicBezTo>
                <a:close/>
                <a:moveTo>
                  <a:pt x="458" y="404"/>
                </a:moveTo>
                <a:cubicBezTo>
                  <a:pt x="458" y="404"/>
                  <a:pt x="458" y="405"/>
                  <a:pt x="457" y="405"/>
                </a:cubicBezTo>
                <a:cubicBezTo>
                  <a:pt x="457" y="405"/>
                  <a:pt x="457" y="405"/>
                  <a:pt x="457" y="405"/>
                </a:cubicBezTo>
                <a:cubicBezTo>
                  <a:pt x="457" y="405"/>
                  <a:pt x="456" y="405"/>
                  <a:pt x="457" y="406"/>
                </a:cubicBezTo>
                <a:cubicBezTo>
                  <a:pt x="457" y="406"/>
                  <a:pt x="456" y="406"/>
                  <a:pt x="456" y="406"/>
                </a:cubicBezTo>
                <a:cubicBezTo>
                  <a:pt x="456" y="406"/>
                  <a:pt x="456" y="406"/>
                  <a:pt x="456" y="406"/>
                </a:cubicBezTo>
                <a:cubicBezTo>
                  <a:pt x="455" y="406"/>
                  <a:pt x="455" y="406"/>
                  <a:pt x="455" y="406"/>
                </a:cubicBezTo>
                <a:cubicBezTo>
                  <a:pt x="455" y="406"/>
                  <a:pt x="455" y="406"/>
                  <a:pt x="454" y="405"/>
                </a:cubicBezTo>
                <a:cubicBezTo>
                  <a:pt x="454" y="405"/>
                  <a:pt x="454" y="404"/>
                  <a:pt x="454" y="404"/>
                </a:cubicBezTo>
                <a:cubicBezTo>
                  <a:pt x="454" y="404"/>
                  <a:pt x="454" y="404"/>
                  <a:pt x="454" y="404"/>
                </a:cubicBezTo>
                <a:cubicBezTo>
                  <a:pt x="454" y="403"/>
                  <a:pt x="454" y="404"/>
                  <a:pt x="454" y="404"/>
                </a:cubicBezTo>
                <a:cubicBezTo>
                  <a:pt x="454" y="404"/>
                  <a:pt x="454" y="404"/>
                  <a:pt x="453" y="404"/>
                </a:cubicBezTo>
                <a:cubicBezTo>
                  <a:pt x="453" y="404"/>
                  <a:pt x="453" y="405"/>
                  <a:pt x="453" y="405"/>
                </a:cubicBezTo>
                <a:cubicBezTo>
                  <a:pt x="454" y="405"/>
                  <a:pt x="454" y="405"/>
                  <a:pt x="453" y="406"/>
                </a:cubicBezTo>
                <a:cubicBezTo>
                  <a:pt x="453" y="406"/>
                  <a:pt x="453" y="406"/>
                  <a:pt x="453" y="406"/>
                </a:cubicBezTo>
                <a:cubicBezTo>
                  <a:pt x="453" y="405"/>
                  <a:pt x="453" y="405"/>
                  <a:pt x="453" y="405"/>
                </a:cubicBezTo>
                <a:cubicBezTo>
                  <a:pt x="453" y="406"/>
                  <a:pt x="453" y="406"/>
                  <a:pt x="453" y="407"/>
                </a:cubicBezTo>
                <a:cubicBezTo>
                  <a:pt x="453" y="407"/>
                  <a:pt x="453" y="407"/>
                  <a:pt x="453" y="407"/>
                </a:cubicBezTo>
                <a:cubicBezTo>
                  <a:pt x="453" y="407"/>
                  <a:pt x="453" y="408"/>
                  <a:pt x="453" y="407"/>
                </a:cubicBezTo>
                <a:cubicBezTo>
                  <a:pt x="453" y="407"/>
                  <a:pt x="453" y="407"/>
                  <a:pt x="452" y="407"/>
                </a:cubicBezTo>
                <a:cubicBezTo>
                  <a:pt x="452" y="407"/>
                  <a:pt x="452" y="407"/>
                  <a:pt x="452" y="407"/>
                </a:cubicBezTo>
                <a:cubicBezTo>
                  <a:pt x="452" y="407"/>
                  <a:pt x="452" y="407"/>
                  <a:pt x="451" y="407"/>
                </a:cubicBezTo>
                <a:cubicBezTo>
                  <a:pt x="451" y="407"/>
                  <a:pt x="451" y="407"/>
                  <a:pt x="451" y="407"/>
                </a:cubicBezTo>
                <a:cubicBezTo>
                  <a:pt x="451" y="407"/>
                  <a:pt x="450" y="407"/>
                  <a:pt x="450" y="408"/>
                </a:cubicBezTo>
                <a:cubicBezTo>
                  <a:pt x="450" y="408"/>
                  <a:pt x="450" y="408"/>
                  <a:pt x="450" y="408"/>
                </a:cubicBezTo>
                <a:cubicBezTo>
                  <a:pt x="450" y="408"/>
                  <a:pt x="450" y="408"/>
                  <a:pt x="450" y="407"/>
                </a:cubicBezTo>
                <a:cubicBezTo>
                  <a:pt x="450" y="407"/>
                  <a:pt x="450" y="406"/>
                  <a:pt x="450" y="406"/>
                </a:cubicBezTo>
                <a:cubicBezTo>
                  <a:pt x="450" y="405"/>
                  <a:pt x="450" y="405"/>
                  <a:pt x="450" y="405"/>
                </a:cubicBezTo>
                <a:cubicBezTo>
                  <a:pt x="450" y="405"/>
                  <a:pt x="450" y="406"/>
                  <a:pt x="450" y="406"/>
                </a:cubicBezTo>
                <a:cubicBezTo>
                  <a:pt x="449" y="406"/>
                  <a:pt x="449" y="407"/>
                  <a:pt x="449" y="407"/>
                </a:cubicBezTo>
                <a:cubicBezTo>
                  <a:pt x="449" y="408"/>
                  <a:pt x="449" y="408"/>
                  <a:pt x="449" y="408"/>
                </a:cubicBezTo>
                <a:cubicBezTo>
                  <a:pt x="449" y="408"/>
                  <a:pt x="449" y="408"/>
                  <a:pt x="449" y="409"/>
                </a:cubicBezTo>
                <a:cubicBezTo>
                  <a:pt x="449" y="409"/>
                  <a:pt x="448" y="409"/>
                  <a:pt x="448" y="409"/>
                </a:cubicBezTo>
                <a:cubicBezTo>
                  <a:pt x="448" y="409"/>
                  <a:pt x="447" y="409"/>
                  <a:pt x="447" y="408"/>
                </a:cubicBezTo>
                <a:cubicBezTo>
                  <a:pt x="447" y="408"/>
                  <a:pt x="447" y="408"/>
                  <a:pt x="447" y="408"/>
                </a:cubicBezTo>
                <a:cubicBezTo>
                  <a:pt x="447" y="408"/>
                  <a:pt x="447" y="408"/>
                  <a:pt x="447" y="408"/>
                </a:cubicBezTo>
                <a:cubicBezTo>
                  <a:pt x="447" y="409"/>
                  <a:pt x="447" y="409"/>
                  <a:pt x="447" y="409"/>
                </a:cubicBezTo>
                <a:cubicBezTo>
                  <a:pt x="448" y="410"/>
                  <a:pt x="447" y="410"/>
                  <a:pt x="447" y="410"/>
                </a:cubicBezTo>
                <a:cubicBezTo>
                  <a:pt x="447" y="410"/>
                  <a:pt x="447" y="410"/>
                  <a:pt x="446" y="410"/>
                </a:cubicBezTo>
                <a:cubicBezTo>
                  <a:pt x="446" y="410"/>
                  <a:pt x="445" y="409"/>
                  <a:pt x="445" y="409"/>
                </a:cubicBezTo>
                <a:cubicBezTo>
                  <a:pt x="444" y="409"/>
                  <a:pt x="444" y="408"/>
                  <a:pt x="444" y="408"/>
                </a:cubicBezTo>
                <a:cubicBezTo>
                  <a:pt x="444" y="408"/>
                  <a:pt x="444" y="408"/>
                  <a:pt x="444" y="407"/>
                </a:cubicBezTo>
                <a:cubicBezTo>
                  <a:pt x="443" y="407"/>
                  <a:pt x="443" y="407"/>
                  <a:pt x="442" y="408"/>
                </a:cubicBezTo>
                <a:cubicBezTo>
                  <a:pt x="442" y="408"/>
                  <a:pt x="442" y="407"/>
                  <a:pt x="442" y="407"/>
                </a:cubicBezTo>
                <a:cubicBezTo>
                  <a:pt x="442" y="407"/>
                  <a:pt x="442" y="407"/>
                  <a:pt x="442" y="407"/>
                </a:cubicBezTo>
                <a:cubicBezTo>
                  <a:pt x="442" y="407"/>
                  <a:pt x="442" y="407"/>
                  <a:pt x="442" y="407"/>
                </a:cubicBezTo>
                <a:cubicBezTo>
                  <a:pt x="441" y="406"/>
                  <a:pt x="442" y="406"/>
                  <a:pt x="442" y="405"/>
                </a:cubicBezTo>
                <a:cubicBezTo>
                  <a:pt x="442" y="405"/>
                  <a:pt x="442" y="405"/>
                  <a:pt x="442" y="405"/>
                </a:cubicBezTo>
                <a:cubicBezTo>
                  <a:pt x="442" y="405"/>
                  <a:pt x="442" y="405"/>
                  <a:pt x="442" y="405"/>
                </a:cubicBezTo>
                <a:cubicBezTo>
                  <a:pt x="443" y="405"/>
                  <a:pt x="443" y="405"/>
                  <a:pt x="443" y="405"/>
                </a:cubicBezTo>
                <a:cubicBezTo>
                  <a:pt x="443" y="405"/>
                  <a:pt x="444" y="405"/>
                  <a:pt x="444" y="405"/>
                </a:cubicBezTo>
                <a:cubicBezTo>
                  <a:pt x="444" y="405"/>
                  <a:pt x="444" y="406"/>
                  <a:pt x="444" y="406"/>
                </a:cubicBezTo>
                <a:cubicBezTo>
                  <a:pt x="444" y="406"/>
                  <a:pt x="444" y="406"/>
                  <a:pt x="444" y="406"/>
                </a:cubicBezTo>
                <a:cubicBezTo>
                  <a:pt x="445" y="406"/>
                  <a:pt x="444" y="406"/>
                  <a:pt x="445" y="406"/>
                </a:cubicBezTo>
                <a:cubicBezTo>
                  <a:pt x="445" y="406"/>
                  <a:pt x="445" y="406"/>
                  <a:pt x="445" y="406"/>
                </a:cubicBezTo>
                <a:cubicBezTo>
                  <a:pt x="445" y="406"/>
                  <a:pt x="445" y="406"/>
                  <a:pt x="445" y="406"/>
                </a:cubicBezTo>
                <a:cubicBezTo>
                  <a:pt x="445" y="406"/>
                  <a:pt x="445" y="405"/>
                  <a:pt x="445" y="405"/>
                </a:cubicBezTo>
                <a:cubicBezTo>
                  <a:pt x="445" y="405"/>
                  <a:pt x="445" y="405"/>
                  <a:pt x="444" y="405"/>
                </a:cubicBezTo>
                <a:cubicBezTo>
                  <a:pt x="444" y="405"/>
                  <a:pt x="444" y="405"/>
                  <a:pt x="444" y="404"/>
                </a:cubicBezTo>
                <a:cubicBezTo>
                  <a:pt x="444" y="404"/>
                  <a:pt x="444" y="404"/>
                  <a:pt x="444" y="404"/>
                </a:cubicBezTo>
                <a:cubicBezTo>
                  <a:pt x="443" y="404"/>
                  <a:pt x="443" y="404"/>
                  <a:pt x="443" y="403"/>
                </a:cubicBezTo>
                <a:cubicBezTo>
                  <a:pt x="444" y="403"/>
                  <a:pt x="444" y="403"/>
                  <a:pt x="444" y="403"/>
                </a:cubicBezTo>
                <a:cubicBezTo>
                  <a:pt x="445" y="403"/>
                  <a:pt x="445" y="403"/>
                  <a:pt x="446" y="404"/>
                </a:cubicBezTo>
                <a:cubicBezTo>
                  <a:pt x="446" y="404"/>
                  <a:pt x="446" y="404"/>
                  <a:pt x="446" y="404"/>
                </a:cubicBezTo>
                <a:cubicBezTo>
                  <a:pt x="446" y="403"/>
                  <a:pt x="447" y="403"/>
                  <a:pt x="447" y="403"/>
                </a:cubicBezTo>
                <a:cubicBezTo>
                  <a:pt x="447" y="404"/>
                  <a:pt x="447" y="404"/>
                  <a:pt x="447" y="404"/>
                </a:cubicBezTo>
                <a:cubicBezTo>
                  <a:pt x="447" y="403"/>
                  <a:pt x="447" y="403"/>
                  <a:pt x="447" y="403"/>
                </a:cubicBezTo>
                <a:cubicBezTo>
                  <a:pt x="447" y="403"/>
                  <a:pt x="447" y="402"/>
                  <a:pt x="447" y="402"/>
                </a:cubicBezTo>
                <a:cubicBezTo>
                  <a:pt x="447" y="402"/>
                  <a:pt x="447" y="402"/>
                  <a:pt x="447" y="402"/>
                </a:cubicBezTo>
                <a:cubicBezTo>
                  <a:pt x="447" y="402"/>
                  <a:pt x="447" y="402"/>
                  <a:pt x="447" y="402"/>
                </a:cubicBezTo>
                <a:cubicBezTo>
                  <a:pt x="447" y="402"/>
                  <a:pt x="447" y="402"/>
                  <a:pt x="447" y="402"/>
                </a:cubicBezTo>
                <a:cubicBezTo>
                  <a:pt x="447" y="402"/>
                  <a:pt x="447" y="402"/>
                  <a:pt x="447" y="401"/>
                </a:cubicBezTo>
                <a:cubicBezTo>
                  <a:pt x="447" y="401"/>
                  <a:pt x="447" y="401"/>
                  <a:pt x="447" y="401"/>
                </a:cubicBezTo>
                <a:cubicBezTo>
                  <a:pt x="446" y="401"/>
                  <a:pt x="446" y="401"/>
                  <a:pt x="446" y="401"/>
                </a:cubicBezTo>
                <a:cubicBezTo>
                  <a:pt x="446" y="400"/>
                  <a:pt x="446" y="400"/>
                  <a:pt x="446" y="400"/>
                </a:cubicBezTo>
                <a:cubicBezTo>
                  <a:pt x="446" y="400"/>
                  <a:pt x="446" y="400"/>
                  <a:pt x="446" y="400"/>
                </a:cubicBezTo>
                <a:cubicBezTo>
                  <a:pt x="446" y="400"/>
                  <a:pt x="447" y="400"/>
                  <a:pt x="447" y="400"/>
                </a:cubicBezTo>
                <a:cubicBezTo>
                  <a:pt x="447" y="400"/>
                  <a:pt x="447" y="400"/>
                  <a:pt x="447" y="400"/>
                </a:cubicBezTo>
                <a:cubicBezTo>
                  <a:pt x="447" y="399"/>
                  <a:pt x="448" y="399"/>
                  <a:pt x="448" y="399"/>
                </a:cubicBezTo>
                <a:cubicBezTo>
                  <a:pt x="448" y="399"/>
                  <a:pt x="448" y="400"/>
                  <a:pt x="448" y="400"/>
                </a:cubicBezTo>
                <a:cubicBezTo>
                  <a:pt x="449" y="400"/>
                  <a:pt x="448" y="399"/>
                  <a:pt x="449" y="399"/>
                </a:cubicBezTo>
                <a:cubicBezTo>
                  <a:pt x="449" y="399"/>
                  <a:pt x="449" y="399"/>
                  <a:pt x="449" y="399"/>
                </a:cubicBezTo>
                <a:cubicBezTo>
                  <a:pt x="449" y="399"/>
                  <a:pt x="449" y="398"/>
                  <a:pt x="449" y="398"/>
                </a:cubicBezTo>
                <a:cubicBezTo>
                  <a:pt x="449" y="399"/>
                  <a:pt x="449" y="399"/>
                  <a:pt x="449" y="399"/>
                </a:cubicBezTo>
                <a:cubicBezTo>
                  <a:pt x="449" y="399"/>
                  <a:pt x="449" y="399"/>
                  <a:pt x="449" y="399"/>
                </a:cubicBezTo>
                <a:cubicBezTo>
                  <a:pt x="450" y="399"/>
                  <a:pt x="450" y="399"/>
                  <a:pt x="450" y="399"/>
                </a:cubicBezTo>
                <a:cubicBezTo>
                  <a:pt x="450" y="399"/>
                  <a:pt x="451" y="399"/>
                  <a:pt x="451" y="399"/>
                </a:cubicBezTo>
                <a:cubicBezTo>
                  <a:pt x="451" y="399"/>
                  <a:pt x="451" y="399"/>
                  <a:pt x="451" y="400"/>
                </a:cubicBezTo>
                <a:cubicBezTo>
                  <a:pt x="450" y="400"/>
                  <a:pt x="450" y="400"/>
                  <a:pt x="451" y="400"/>
                </a:cubicBezTo>
                <a:cubicBezTo>
                  <a:pt x="451" y="400"/>
                  <a:pt x="451" y="400"/>
                  <a:pt x="451" y="401"/>
                </a:cubicBezTo>
                <a:cubicBezTo>
                  <a:pt x="451" y="401"/>
                  <a:pt x="451" y="401"/>
                  <a:pt x="451" y="401"/>
                </a:cubicBezTo>
                <a:cubicBezTo>
                  <a:pt x="451" y="401"/>
                  <a:pt x="451" y="402"/>
                  <a:pt x="451" y="402"/>
                </a:cubicBezTo>
                <a:cubicBezTo>
                  <a:pt x="451" y="402"/>
                  <a:pt x="451" y="402"/>
                  <a:pt x="451" y="402"/>
                </a:cubicBezTo>
                <a:cubicBezTo>
                  <a:pt x="451" y="401"/>
                  <a:pt x="451" y="401"/>
                  <a:pt x="451" y="401"/>
                </a:cubicBezTo>
                <a:cubicBezTo>
                  <a:pt x="452" y="401"/>
                  <a:pt x="452" y="402"/>
                  <a:pt x="452" y="402"/>
                </a:cubicBezTo>
                <a:cubicBezTo>
                  <a:pt x="452" y="402"/>
                  <a:pt x="453" y="402"/>
                  <a:pt x="452" y="402"/>
                </a:cubicBezTo>
                <a:cubicBezTo>
                  <a:pt x="452" y="401"/>
                  <a:pt x="453" y="401"/>
                  <a:pt x="453" y="401"/>
                </a:cubicBezTo>
                <a:cubicBezTo>
                  <a:pt x="453" y="401"/>
                  <a:pt x="453" y="400"/>
                  <a:pt x="453" y="400"/>
                </a:cubicBezTo>
                <a:cubicBezTo>
                  <a:pt x="453" y="400"/>
                  <a:pt x="453" y="400"/>
                  <a:pt x="453" y="400"/>
                </a:cubicBezTo>
                <a:cubicBezTo>
                  <a:pt x="453" y="400"/>
                  <a:pt x="453" y="400"/>
                  <a:pt x="453" y="400"/>
                </a:cubicBezTo>
                <a:cubicBezTo>
                  <a:pt x="453" y="400"/>
                  <a:pt x="453" y="400"/>
                  <a:pt x="453" y="400"/>
                </a:cubicBezTo>
                <a:cubicBezTo>
                  <a:pt x="453" y="400"/>
                  <a:pt x="453" y="400"/>
                  <a:pt x="454" y="400"/>
                </a:cubicBezTo>
                <a:cubicBezTo>
                  <a:pt x="454" y="400"/>
                  <a:pt x="454" y="401"/>
                  <a:pt x="454" y="401"/>
                </a:cubicBezTo>
                <a:cubicBezTo>
                  <a:pt x="454" y="401"/>
                  <a:pt x="454" y="401"/>
                  <a:pt x="454" y="401"/>
                </a:cubicBezTo>
                <a:cubicBezTo>
                  <a:pt x="454" y="401"/>
                  <a:pt x="454" y="401"/>
                  <a:pt x="454" y="401"/>
                </a:cubicBezTo>
                <a:cubicBezTo>
                  <a:pt x="454" y="401"/>
                  <a:pt x="454" y="402"/>
                  <a:pt x="454" y="402"/>
                </a:cubicBezTo>
                <a:cubicBezTo>
                  <a:pt x="455" y="402"/>
                  <a:pt x="455" y="402"/>
                  <a:pt x="455" y="401"/>
                </a:cubicBezTo>
                <a:cubicBezTo>
                  <a:pt x="455" y="401"/>
                  <a:pt x="456" y="401"/>
                  <a:pt x="456" y="401"/>
                </a:cubicBezTo>
                <a:cubicBezTo>
                  <a:pt x="456" y="401"/>
                  <a:pt x="456" y="402"/>
                  <a:pt x="456" y="402"/>
                </a:cubicBezTo>
                <a:cubicBezTo>
                  <a:pt x="456" y="402"/>
                  <a:pt x="456" y="402"/>
                  <a:pt x="456" y="402"/>
                </a:cubicBezTo>
                <a:cubicBezTo>
                  <a:pt x="455" y="403"/>
                  <a:pt x="455" y="404"/>
                  <a:pt x="455" y="405"/>
                </a:cubicBezTo>
                <a:cubicBezTo>
                  <a:pt x="455" y="405"/>
                  <a:pt x="455" y="405"/>
                  <a:pt x="455" y="405"/>
                </a:cubicBezTo>
                <a:cubicBezTo>
                  <a:pt x="455" y="405"/>
                  <a:pt x="455" y="405"/>
                  <a:pt x="455" y="405"/>
                </a:cubicBezTo>
                <a:cubicBezTo>
                  <a:pt x="456" y="405"/>
                  <a:pt x="456" y="404"/>
                  <a:pt x="456" y="404"/>
                </a:cubicBezTo>
                <a:cubicBezTo>
                  <a:pt x="456" y="404"/>
                  <a:pt x="456" y="403"/>
                  <a:pt x="456" y="403"/>
                </a:cubicBezTo>
                <a:cubicBezTo>
                  <a:pt x="456" y="403"/>
                  <a:pt x="456" y="403"/>
                  <a:pt x="456" y="403"/>
                </a:cubicBezTo>
                <a:cubicBezTo>
                  <a:pt x="457" y="403"/>
                  <a:pt x="457" y="403"/>
                  <a:pt x="457" y="403"/>
                </a:cubicBezTo>
                <a:cubicBezTo>
                  <a:pt x="457" y="402"/>
                  <a:pt x="457" y="402"/>
                  <a:pt x="457" y="402"/>
                </a:cubicBezTo>
                <a:cubicBezTo>
                  <a:pt x="458" y="402"/>
                  <a:pt x="458" y="403"/>
                  <a:pt x="458" y="404"/>
                </a:cubicBezTo>
                <a:close/>
                <a:moveTo>
                  <a:pt x="438" y="412"/>
                </a:moveTo>
                <a:cubicBezTo>
                  <a:pt x="438" y="413"/>
                  <a:pt x="438" y="413"/>
                  <a:pt x="439" y="413"/>
                </a:cubicBezTo>
                <a:cubicBezTo>
                  <a:pt x="439" y="413"/>
                  <a:pt x="439" y="414"/>
                  <a:pt x="440" y="414"/>
                </a:cubicBezTo>
                <a:cubicBezTo>
                  <a:pt x="440" y="414"/>
                  <a:pt x="440" y="414"/>
                  <a:pt x="440" y="414"/>
                </a:cubicBezTo>
                <a:cubicBezTo>
                  <a:pt x="440" y="414"/>
                  <a:pt x="440" y="414"/>
                  <a:pt x="440" y="414"/>
                </a:cubicBezTo>
                <a:cubicBezTo>
                  <a:pt x="441" y="415"/>
                  <a:pt x="441" y="415"/>
                  <a:pt x="441" y="415"/>
                </a:cubicBezTo>
                <a:cubicBezTo>
                  <a:pt x="441" y="415"/>
                  <a:pt x="442" y="415"/>
                  <a:pt x="442" y="415"/>
                </a:cubicBezTo>
                <a:cubicBezTo>
                  <a:pt x="442" y="415"/>
                  <a:pt x="442" y="415"/>
                  <a:pt x="442" y="415"/>
                </a:cubicBezTo>
                <a:cubicBezTo>
                  <a:pt x="441" y="414"/>
                  <a:pt x="441" y="414"/>
                  <a:pt x="441" y="413"/>
                </a:cubicBezTo>
                <a:cubicBezTo>
                  <a:pt x="441" y="413"/>
                  <a:pt x="441" y="413"/>
                  <a:pt x="441" y="413"/>
                </a:cubicBezTo>
                <a:cubicBezTo>
                  <a:pt x="441" y="413"/>
                  <a:pt x="441" y="413"/>
                  <a:pt x="441" y="412"/>
                </a:cubicBezTo>
                <a:cubicBezTo>
                  <a:pt x="440" y="412"/>
                  <a:pt x="440" y="412"/>
                  <a:pt x="440" y="412"/>
                </a:cubicBezTo>
                <a:cubicBezTo>
                  <a:pt x="440" y="412"/>
                  <a:pt x="439" y="411"/>
                  <a:pt x="438" y="411"/>
                </a:cubicBezTo>
                <a:cubicBezTo>
                  <a:pt x="438" y="411"/>
                  <a:pt x="438" y="411"/>
                  <a:pt x="438" y="411"/>
                </a:cubicBezTo>
                <a:cubicBezTo>
                  <a:pt x="437" y="411"/>
                  <a:pt x="437" y="412"/>
                  <a:pt x="438" y="412"/>
                </a:cubicBezTo>
                <a:close/>
                <a:moveTo>
                  <a:pt x="433" y="444"/>
                </a:moveTo>
                <a:cubicBezTo>
                  <a:pt x="433" y="444"/>
                  <a:pt x="433" y="444"/>
                  <a:pt x="432" y="445"/>
                </a:cubicBezTo>
                <a:cubicBezTo>
                  <a:pt x="432" y="445"/>
                  <a:pt x="432" y="445"/>
                  <a:pt x="432" y="445"/>
                </a:cubicBezTo>
                <a:cubicBezTo>
                  <a:pt x="432" y="445"/>
                  <a:pt x="432" y="445"/>
                  <a:pt x="432" y="445"/>
                </a:cubicBezTo>
                <a:cubicBezTo>
                  <a:pt x="431" y="445"/>
                  <a:pt x="431" y="445"/>
                  <a:pt x="431" y="445"/>
                </a:cubicBezTo>
                <a:cubicBezTo>
                  <a:pt x="430" y="445"/>
                  <a:pt x="430" y="445"/>
                  <a:pt x="430" y="445"/>
                </a:cubicBezTo>
                <a:cubicBezTo>
                  <a:pt x="430" y="446"/>
                  <a:pt x="430" y="446"/>
                  <a:pt x="430" y="446"/>
                </a:cubicBezTo>
                <a:cubicBezTo>
                  <a:pt x="431" y="446"/>
                  <a:pt x="431" y="446"/>
                  <a:pt x="432" y="446"/>
                </a:cubicBezTo>
                <a:cubicBezTo>
                  <a:pt x="432" y="446"/>
                  <a:pt x="433" y="445"/>
                  <a:pt x="433" y="445"/>
                </a:cubicBezTo>
                <a:cubicBezTo>
                  <a:pt x="433" y="445"/>
                  <a:pt x="433" y="445"/>
                  <a:pt x="433" y="444"/>
                </a:cubicBezTo>
                <a:close/>
                <a:moveTo>
                  <a:pt x="439" y="408"/>
                </a:moveTo>
                <a:cubicBezTo>
                  <a:pt x="440" y="408"/>
                  <a:pt x="440" y="407"/>
                  <a:pt x="440" y="407"/>
                </a:cubicBezTo>
                <a:cubicBezTo>
                  <a:pt x="440" y="407"/>
                  <a:pt x="440" y="407"/>
                  <a:pt x="441" y="407"/>
                </a:cubicBezTo>
                <a:cubicBezTo>
                  <a:pt x="441" y="407"/>
                  <a:pt x="441" y="407"/>
                  <a:pt x="441" y="407"/>
                </a:cubicBezTo>
                <a:cubicBezTo>
                  <a:pt x="441" y="407"/>
                  <a:pt x="441" y="407"/>
                  <a:pt x="442" y="408"/>
                </a:cubicBezTo>
                <a:cubicBezTo>
                  <a:pt x="442" y="408"/>
                  <a:pt x="442" y="408"/>
                  <a:pt x="442" y="408"/>
                </a:cubicBezTo>
                <a:cubicBezTo>
                  <a:pt x="442" y="408"/>
                  <a:pt x="442" y="408"/>
                  <a:pt x="442" y="408"/>
                </a:cubicBezTo>
                <a:cubicBezTo>
                  <a:pt x="443" y="408"/>
                  <a:pt x="443" y="408"/>
                  <a:pt x="443" y="408"/>
                </a:cubicBezTo>
                <a:cubicBezTo>
                  <a:pt x="443" y="408"/>
                  <a:pt x="443" y="408"/>
                  <a:pt x="443" y="408"/>
                </a:cubicBezTo>
                <a:cubicBezTo>
                  <a:pt x="443" y="408"/>
                  <a:pt x="443" y="409"/>
                  <a:pt x="444" y="409"/>
                </a:cubicBezTo>
                <a:cubicBezTo>
                  <a:pt x="444" y="409"/>
                  <a:pt x="444" y="410"/>
                  <a:pt x="444" y="410"/>
                </a:cubicBezTo>
                <a:cubicBezTo>
                  <a:pt x="445" y="410"/>
                  <a:pt x="445" y="410"/>
                  <a:pt x="445" y="410"/>
                </a:cubicBezTo>
                <a:cubicBezTo>
                  <a:pt x="445" y="410"/>
                  <a:pt x="446" y="410"/>
                  <a:pt x="446" y="410"/>
                </a:cubicBezTo>
                <a:cubicBezTo>
                  <a:pt x="446" y="411"/>
                  <a:pt x="445" y="411"/>
                  <a:pt x="445" y="411"/>
                </a:cubicBezTo>
                <a:cubicBezTo>
                  <a:pt x="445" y="411"/>
                  <a:pt x="444" y="411"/>
                  <a:pt x="444" y="411"/>
                </a:cubicBezTo>
                <a:cubicBezTo>
                  <a:pt x="444" y="411"/>
                  <a:pt x="443" y="410"/>
                  <a:pt x="443" y="410"/>
                </a:cubicBezTo>
                <a:cubicBezTo>
                  <a:pt x="443" y="410"/>
                  <a:pt x="443" y="410"/>
                  <a:pt x="442" y="410"/>
                </a:cubicBezTo>
                <a:cubicBezTo>
                  <a:pt x="442" y="410"/>
                  <a:pt x="442" y="409"/>
                  <a:pt x="442" y="409"/>
                </a:cubicBezTo>
                <a:cubicBezTo>
                  <a:pt x="441" y="409"/>
                  <a:pt x="441" y="409"/>
                  <a:pt x="441" y="409"/>
                </a:cubicBezTo>
                <a:cubicBezTo>
                  <a:pt x="441" y="409"/>
                  <a:pt x="441" y="408"/>
                  <a:pt x="441" y="408"/>
                </a:cubicBezTo>
                <a:cubicBezTo>
                  <a:pt x="441" y="408"/>
                  <a:pt x="441" y="408"/>
                  <a:pt x="441" y="409"/>
                </a:cubicBezTo>
                <a:cubicBezTo>
                  <a:pt x="441" y="409"/>
                  <a:pt x="441" y="409"/>
                  <a:pt x="441" y="409"/>
                </a:cubicBezTo>
                <a:cubicBezTo>
                  <a:pt x="441" y="409"/>
                  <a:pt x="441" y="409"/>
                  <a:pt x="441" y="409"/>
                </a:cubicBezTo>
                <a:cubicBezTo>
                  <a:pt x="440" y="409"/>
                  <a:pt x="440" y="409"/>
                  <a:pt x="440" y="409"/>
                </a:cubicBezTo>
                <a:cubicBezTo>
                  <a:pt x="439" y="409"/>
                  <a:pt x="439" y="409"/>
                  <a:pt x="439" y="408"/>
                </a:cubicBezTo>
                <a:close/>
                <a:moveTo>
                  <a:pt x="460" y="404"/>
                </a:moveTo>
                <a:cubicBezTo>
                  <a:pt x="460" y="404"/>
                  <a:pt x="460" y="404"/>
                  <a:pt x="459" y="404"/>
                </a:cubicBezTo>
                <a:cubicBezTo>
                  <a:pt x="459" y="404"/>
                  <a:pt x="459" y="404"/>
                  <a:pt x="459" y="404"/>
                </a:cubicBezTo>
                <a:cubicBezTo>
                  <a:pt x="459" y="404"/>
                  <a:pt x="459" y="405"/>
                  <a:pt x="459" y="405"/>
                </a:cubicBezTo>
                <a:cubicBezTo>
                  <a:pt x="459" y="405"/>
                  <a:pt x="459" y="405"/>
                  <a:pt x="459" y="405"/>
                </a:cubicBezTo>
                <a:cubicBezTo>
                  <a:pt x="459" y="405"/>
                  <a:pt x="459" y="405"/>
                  <a:pt x="459" y="405"/>
                </a:cubicBezTo>
                <a:cubicBezTo>
                  <a:pt x="459" y="406"/>
                  <a:pt x="459" y="406"/>
                  <a:pt x="459" y="406"/>
                </a:cubicBezTo>
                <a:cubicBezTo>
                  <a:pt x="459" y="406"/>
                  <a:pt x="459" y="406"/>
                  <a:pt x="459" y="406"/>
                </a:cubicBezTo>
                <a:cubicBezTo>
                  <a:pt x="460" y="405"/>
                  <a:pt x="460" y="405"/>
                  <a:pt x="460" y="404"/>
                </a:cubicBezTo>
                <a:close/>
                <a:moveTo>
                  <a:pt x="448" y="411"/>
                </a:moveTo>
                <a:cubicBezTo>
                  <a:pt x="448" y="411"/>
                  <a:pt x="448" y="411"/>
                  <a:pt x="448" y="411"/>
                </a:cubicBezTo>
                <a:cubicBezTo>
                  <a:pt x="448" y="411"/>
                  <a:pt x="448" y="411"/>
                  <a:pt x="447" y="411"/>
                </a:cubicBezTo>
                <a:cubicBezTo>
                  <a:pt x="447" y="411"/>
                  <a:pt x="447" y="411"/>
                  <a:pt x="447" y="411"/>
                </a:cubicBezTo>
                <a:cubicBezTo>
                  <a:pt x="446" y="411"/>
                  <a:pt x="446" y="411"/>
                  <a:pt x="446" y="411"/>
                </a:cubicBezTo>
                <a:cubicBezTo>
                  <a:pt x="446" y="412"/>
                  <a:pt x="447" y="412"/>
                  <a:pt x="447" y="412"/>
                </a:cubicBezTo>
                <a:cubicBezTo>
                  <a:pt x="447" y="412"/>
                  <a:pt x="448" y="412"/>
                  <a:pt x="448" y="411"/>
                </a:cubicBezTo>
                <a:close/>
                <a:moveTo>
                  <a:pt x="452" y="411"/>
                </a:moveTo>
                <a:cubicBezTo>
                  <a:pt x="452" y="411"/>
                  <a:pt x="452" y="411"/>
                  <a:pt x="452" y="411"/>
                </a:cubicBezTo>
                <a:cubicBezTo>
                  <a:pt x="451" y="411"/>
                  <a:pt x="451" y="411"/>
                  <a:pt x="451" y="411"/>
                </a:cubicBezTo>
                <a:cubicBezTo>
                  <a:pt x="451" y="412"/>
                  <a:pt x="451" y="412"/>
                  <a:pt x="451" y="412"/>
                </a:cubicBezTo>
                <a:cubicBezTo>
                  <a:pt x="451" y="412"/>
                  <a:pt x="452" y="412"/>
                  <a:pt x="452" y="412"/>
                </a:cubicBezTo>
                <a:cubicBezTo>
                  <a:pt x="452" y="412"/>
                  <a:pt x="452" y="412"/>
                  <a:pt x="452" y="412"/>
                </a:cubicBezTo>
                <a:cubicBezTo>
                  <a:pt x="452" y="412"/>
                  <a:pt x="452" y="412"/>
                  <a:pt x="452" y="412"/>
                </a:cubicBezTo>
                <a:cubicBezTo>
                  <a:pt x="453" y="413"/>
                  <a:pt x="453" y="413"/>
                  <a:pt x="453" y="412"/>
                </a:cubicBezTo>
                <a:cubicBezTo>
                  <a:pt x="453" y="412"/>
                  <a:pt x="452" y="412"/>
                  <a:pt x="452" y="412"/>
                </a:cubicBezTo>
                <a:cubicBezTo>
                  <a:pt x="452" y="412"/>
                  <a:pt x="452" y="412"/>
                  <a:pt x="452" y="411"/>
                </a:cubicBezTo>
                <a:cubicBezTo>
                  <a:pt x="452" y="411"/>
                  <a:pt x="452" y="411"/>
                  <a:pt x="452" y="411"/>
                </a:cubicBezTo>
                <a:close/>
                <a:moveTo>
                  <a:pt x="434" y="424"/>
                </a:moveTo>
                <a:cubicBezTo>
                  <a:pt x="434" y="423"/>
                  <a:pt x="434" y="422"/>
                  <a:pt x="433" y="421"/>
                </a:cubicBezTo>
                <a:cubicBezTo>
                  <a:pt x="433" y="421"/>
                  <a:pt x="433" y="422"/>
                  <a:pt x="433" y="422"/>
                </a:cubicBezTo>
                <a:cubicBezTo>
                  <a:pt x="433" y="422"/>
                  <a:pt x="433" y="423"/>
                  <a:pt x="433" y="423"/>
                </a:cubicBezTo>
                <a:cubicBezTo>
                  <a:pt x="433" y="423"/>
                  <a:pt x="433" y="424"/>
                  <a:pt x="434" y="424"/>
                </a:cubicBezTo>
                <a:close/>
                <a:moveTo>
                  <a:pt x="445" y="402"/>
                </a:moveTo>
                <a:cubicBezTo>
                  <a:pt x="446" y="403"/>
                  <a:pt x="446" y="403"/>
                  <a:pt x="447" y="403"/>
                </a:cubicBezTo>
                <a:cubicBezTo>
                  <a:pt x="447" y="403"/>
                  <a:pt x="447" y="403"/>
                  <a:pt x="447" y="403"/>
                </a:cubicBezTo>
                <a:cubicBezTo>
                  <a:pt x="447" y="403"/>
                  <a:pt x="447" y="403"/>
                  <a:pt x="447" y="403"/>
                </a:cubicBezTo>
                <a:cubicBezTo>
                  <a:pt x="447" y="402"/>
                  <a:pt x="447" y="402"/>
                  <a:pt x="447" y="402"/>
                </a:cubicBezTo>
                <a:cubicBezTo>
                  <a:pt x="446" y="402"/>
                  <a:pt x="446" y="402"/>
                  <a:pt x="446" y="402"/>
                </a:cubicBezTo>
                <a:cubicBezTo>
                  <a:pt x="446" y="402"/>
                  <a:pt x="445" y="402"/>
                  <a:pt x="445" y="402"/>
                </a:cubicBezTo>
                <a:cubicBezTo>
                  <a:pt x="445" y="402"/>
                  <a:pt x="445" y="402"/>
                  <a:pt x="445" y="402"/>
                </a:cubicBezTo>
                <a:cubicBezTo>
                  <a:pt x="445" y="402"/>
                  <a:pt x="445" y="402"/>
                  <a:pt x="445" y="402"/>
                </a:cubicBezTo>
                <a:close/>
                <a:moveTo>
                  <a:pt x="431" y="441"/>
                </a:moveTo>
                <a:cubicBezTo>
                  <a:pt x="431" y="441"/>
                  <a:pt x="431" y="441"/>
                  <a:pt x="431" y="441"/>
                </a:cubicBezTo>
                <a:cubicBezTo>
                  <a:pt x="431" y="441"/>
                  <a:pt x="431" y="440"/>
                  <a:pt x="431" y="441"/>
                </a:cubicBezTo>
                <a:cubicBezTo>
                  <a:pt x="430" y="441"/>
                  <a:pt x="430" y="441"/>
                  <a:pt x="430" y="441"/>
                </a:cubicBezTo>
                <a:cubicBezTo>
                  <a:pt x="430" y="442"/>
                  <a:pt x="431" y="441"/>
                  <a:pt x="431" y="442"/>
                </a:cubicBezTo>
                <a:cubicBezTo>
                  <a:pt x="431" y="442"/>
                  <a:pt x="431" y="442"/>
                  <a:pt x="431" y="441"/>
                </a:cubicBezTo>
                <a:close/>
                <a:moveTo>
                  <a:pt x="426" y="444"/>
                </a:moveTo>
                <a:cubicBezTo>
                  <a:pt x="426" y="444"/>
                  <a:pt x="426" y="444"/>
                  <a:pt x="426" y="444"/>
                </a:cubicBezTo>
                <a:cubicBezTo>
                  <a:pt x="426" y="444"/>
                  <a:pt x="426" y="445"/>
                  <a:pt x="426" y="445"/>
                </a:cubicBezTo>
                <a:cubicBezTo>
                  <a:pt x="426" y="445"/>
                  <a:pt x="426" y="445"/>
                  <a:pt x="426" y="445"/>
                </a:cubicBezTo>
                <a:cubicBezTo>
                  <a:pt x="426" y="445"/>
                  <a:pt x="426" y="444"/>
                  <a:pt x="426" y="444"/>
                </a:cubicBezTo>
                <a:cubicBezTo>
                  <a:pt x="426" y="444"/>
                  <a:pt x="426" y="444"/>
                  <a:pt x="426" y="444"/>
                </a:cubicBezTo>
                <a:close/>
                <a:moveTo>
                  <a:pt x="437" y="436"/>
                </a:moveTo>
                <a:cubicBezTo>
                  <a:pt x="437" y="436"/>
                  <a:pt x="437" y="436"/>
                  <a:pt x="436" y="436"/>
                </a:cubicBezTo>
                <a:cubicBezTo>
                  <a:pt x="436" y="436"/>
                  <a:pt x="436" y="436"/>
                  <a:pt x="436" y="436"/>
                </a:cubicBezTo>
                <a:cubicBezTo>
                  <a:pt x="437" y="436"/>
                  <a:pt x="437" y="436"/>
                  <a:pt x="437" y="436"/>
                </a:cubicBezTo>
                <a:cubicBezTo>
                  <a:pt x="437" y="436"/>
                  <a:pt x="437" y="436"/>
                  <a:pt x="437" y="436"/>
                </a:cubicBezTo>
                <a:cubicBezTo>
                  <a:pt x="437" y="436"/>
                  <a:pt x="437" y="436"/>
                  <a:pt x="437" y="436"/>
                </a:cubicBezTo>
                <a:close/>
                <a:moveTo>
                  <a:pt x="428" y="437"/>
                </a:moveTo>
                <a:cubicBezTo>
                  <a:pt x="428" y="437"/>
                  <a:pt x="428" y="437"/>
                  <a:pt x="428" y="438"/>
                </a:cubicBezTo>
                <a:cubicBezTo>
                  <a:pt x="428" y="437"/>
                  <a:pt x="428" y="437"/>
                  <a:pt x="428" y="437"/>
                </a:cubicBezTo>
                <a:close/>
                <a:moveTo>
                  <a:pt x="453" y="425"/>
                </a:moveTo>
                <a:cubicBezTo>
                  <a:pt x="453" y="425"/>
                  <a:pt x="453" y="425"/>
                  <a:pt x="453" y="425"/>
                </a:cubicBezTo>
                <a:cubicBezTo>
                  <a:pt x="453" y="425"/>
                  <a:pt x="453" y="425"/>
                  <a:pt x="453" y="425"/>
                </a:cubicBezTo>
                <a:cubicBezTo>
                  <a:pt x="453" y="425"/>
                  <a:pt x="454" y="425"/>
                  <a:pt x="454" y="425"/>
                </a:cubicBezTo>
                <a:cubicBezTo>
                  <a:pt x="454" y="425"/>
                  <a:pt x="454" y="425"/>
                  <a:pt x="453" y="425"/>
                </a:cubicBezTo>
                <a:close/>
                <a:moveTo>
                  <a:pt x="453" y="416"/>
                </a:moveTo>
                <a:cubicBezTo>
                  <a:pt x="453" y="416"/>
                  <a:pt x="453" y="416"/>
                  <a:pt x="453" y="416"/>
                </a:cubicBezTo>
                <a:cubicBezTo>
                  <a:pt x="453" y="415"/>
                  <a:pt x="453" y="415"/>
                  <a:pt x="453" y="415"/>
                </a:cubicBezTo>
                <a:cubicBezTo>
                  <a:pt x="453" y="415"/>
                  <a:pt x="453" y="416"/>
                  <a:pt x="453" y="416"/>
                </a:cubicBezTo>
                <a:cubicBezTo>
                  <a:pt x="453" y="416"/>
                  <a:pt x="453" y="416"/>
                  <a:pt x="453" y="416"/>
                </a:cubicBezTo>
                <a:close/>
                <a:moveTo>
                  <a:pt x="425" y="444"/>
                </a:moveTo>
                <a:cubicBezTo>
                  <a:pt x="425" y="444"/>
                  <a:pt x="425" y="444"/>
                  <a:pt x="425" y="444"/>
                </a:cubicBezTo>
                <a:cubicBezTo>
                  <a:pt x="425" y="444"/>
                  <a:pt x="425" y="443"/>
                  <a:pt x="425" y="444"/>
                </a:cubicBezTo>
                <a:close/>
                <a:moveTo>
                  <a:pt x="425" y="444"/>
                </a:moveTo>
                <a:cubicBezTo>
                  <a:pt x="425" y="444"/>
                  <a:pt x="425" y="444"/>
                  <a:pt x="425" y="444"/>
                </a:cubicBezTo>
                <a:cubicBezTo>
                  <a:pt x="425" y="444"/>
                  <a:pt x="425" y="444"/>
                  <a:pt x="425" y="444"/>
                </a:cubicBezTo>
                <a:close/>
                <a:moveTo>
                  <a:pt x="428" y="437"/>
                </a:moveTo>
                <a:cubicBezTo>
                  <a:pt x="428" y="437"/>
                  <a:pt x="428" y="436"/>
                  <a:pt x="427" y="436"/>
                </a:cubicBezTo>
                <a:cubicBezTo>
                  <a:pt x="428" y="436"/>
                  <a:pt x="427" y="437"/>
                  <a:pt x="428" y="437"/>
                </a:cubicBezTo>
                <a:close/>
                <a:moveTo>
                  <a:pt x="311" y="486"/>
                </a:moveTo>
                <a:cubicBezTo>
                  <a:pt x="311" y="486"/>
                  <a:pt x="311" y="486"/>
                  <a:pt x="311" y="486"/>
                </a:cubicBezTo>
                <a:cubicBezTo>
                  <a:pt x="312" y="486"/>
                  <a:pt x="314" y="487"/>
                  <a:pt x="315" y="487"/>
                </a:cubicBezTo>
                <a:cubicBezTo>
                  <a:pt x="315" y="486"/>
                  <a:pt x="314" y="486"/>
                  <a:pt x="314" y="486"/>
                </a:cubicBezTo>
                <a:cubicBezTo>
                  <a:pt x="313" y="486"/>
                  <a:pt x="313" y="486"/>
                  <a:pt x="312" y="486"/>
                </a:cubicBezTo>
                <a:cubicBezTo>
                  <a:pt x="311" y="486"/>
                  <a:pt x="311" y="486"/>
                  <a:pt x="310" y="485"/>
                </a:cubicBezTo>
                <a:cubicBezTo>
                  <a:pt x="310" y="485"/>
                  <a:pt x="310" y="484"/>
                  <a:pt x="310" y="483"/>
                </a:cubicBezTo>
                <a:cubicBezTo>
                  <a:pt x="310" y="482"/>
                  <a:pt x="310" y="481"/>
                  <a:pt x="309" y="480"/>
                </a:cubicBezTo>
                <a:cubicBezTo>
                  <a:pt x="309" y="480"/>
                  <a:pt x="309" y="480"/>
                  <a:pt x="309" y="480"/>
                </a:cubicBezTo>
                <a:cubicBezTo>
                  <a:pt x="309" y="479"/>
                  <a:pt x="308" y="479"/>
                  <a:pt x="308" y="479"/>
                </a:cubicBezTo>
                <a:cubicBezTo>
                  <a:pt x="307" y="479"/>
                  <a:pt x="306" y="479"/>
                  <a:pt x="305" y="479"/>
                </a:cubicBezTo>
                <a:cubicBezTo>
                  <a:pt x="305" y="479"/>
                  <a:pt x="304" y="479"/>
                  <a:pt x="304" y="479"/>
                </a:cubicBezTo>
                <a:cubicBezTo>
                  <a:pt x="304" y="480"/>
                  <a:pt x="303" y="480"/>
                  <a:pt x="303" y="480"/>
                </a:cubicBezTo>
                <a:cubicBezTo>
                  <a:pt x="303" y="481"/>
                  <a:pt x="302" y="481"/>
                  <a:pt x="302" y="481"/>
                </a:cubicBezTo>
                <a:cubicBezTo>
                  <a:pt x="301" y="482"/>
                  <a:pt x="301" y="482"/>
                  <a:pt x="300" y="482"/>
                </a:cubicBezTo>
                <a:cubicBezTo>
                  <a:pt x="300" y="482"/>
                  <a:pt x="299" y="483"/>
                  <a:pt x="299" y="483"/>
                </a:cubicBezTo>
                <a:cubicBezTo>
                  <a:pt x="298" y="482"/>
                  <a:pt x="298" y="482"/>
                  <a:pt x="297" y="482"/>
                </a:cubicBezTo>
                <a:cubicBezTo>
                  <a:pt x="297" y="482"/>
                  <a:pt x="297" y="482"/>
                  <a:pt x="296" y="482"/>
                </a:cubicBezTo>
                <a:cubicBezTo>
                  <a:pt x="296" y="482"/>
                  <a:pt x="296" y="483"/>
                  <a:pt x="296" y="483"/>
                </a:cubicBezTo>
                <a:cubicBezTo>
                  <a:pt x="296" y="484"/>
                  <a:pt x="295" y="485"/>
                  <a:pt x="295" y="485"/>
                </a:cubicBezTo>
                <a:cubicBezTo>
                  <a:pt x="294" y="486"/>
                  <a:pt x="294" y="487"/>
                  <a:pt x="294" y="487"/>
                </a:cubicBezTo>
                <a:cubicBezTo>
                  <a:pt x="294" y="488"/>
                  <a:pt x="293" y="488"/>
                  <a:pt x="293" y="488"/>
                </a:cubicBezTo>
                <a:cubicBezTo>
                  <a:pt x="293" y="489"/>
                  <a:pt x="292" y="489"/>
                  <a:pt x="291" y="489"/>
                </a:cubicBezTo>
                <a:cubicBezTo>
                  <a:pt x="291" y="489"/>
                  <a:pt x="290" y="490"/>
                  <a:pt x="291" y="491"/>
                </a:cubicBezTo>
                <a:cubicBezTo>
                  <a:pt x="291" y="491"/>
                  <a:pt x="291" y="492"/>
                  <a:pt x="291" y="493"/>
                </a:cubicBezTo>
                <a:cubicBezTo>
                  <a:pt x="291" y="493"/>
                  <a:pt x="291" y="493"/>
                  <a:pt x="291" y="493"/>
                </a:cubicBezTo>
                <a:cubicBezTo>
                  <a:pt x="291" y="493"/>
                  <a:pt x="291" y="493"/>
                  <a:pt x="291" y="493"/>
                </a:cubicBezTo>
                <a:cubicBezTo>
                  <a:pt x="293" y="493"/>
                  <a:pt x="296" y="493"/>
                  <a:pt x="297" y="493"/>
                </a:cubicBezTo>
                <a:cubicBezTo>
                  <a:pt x="298" y="493"/>
                  <a:pt x="298" y="492"/>
                  <a:pt x="298" y="492"/>
                </a:cubicBezTo>
                <a:cubicBezTo>
                  <a:pt x="299" y="492"/>
                  <a:pt x="299" y="491"/>
                  <a:pt x="299" y="491"/>
                </a:cubicBezTo>
                <a:cubicBezTo>
                  <a:pt x="300" y="490"/>
                  <a:pt x="301" y="489"/>
                  <a:pt x="302" y="488"/>
                </a:cubicBezTo>
                <a:cubicBezTo>
                  <a:pt x="305" y="488"/>
                  <a:pt x="307" y="488"/>
                  <a:pt x="309" y="488"/>
                </a:cubicBezTo>
                <a:cubicBezTo>
                  <a:pt x="310" y="488"/>
                  <a:pt x="310" y="488"/>
                  <a:pt x="311" y="487"/>
                </a:cubicBezTo>
                <a:cubicBezTo>
                  <a:pt x="311" y="487"/>
                  <a:pt x="311" y="486"/>
                  <a:pt x="311" y="486"/>
                </a:cubicBezTo>
                <a:close/>
                <a:moveTo>
                  <a:pt x="253" y="516"/>
                </a:moveTo>
                <a:cubicBezTo>
                  <a:pt x="252" y="517"/>
                  <a:pt x="251" y="518"/>
                  <a:pt x="249" y="518"/>
                </a:cubicBezTo>
                <a:cubicBezTo>
                  <a:pt x="248" y="519"/>
                  <a:pt x="247" y="519"/>
                  <a:pt x="247" y="520"/>
                </a:cubicBezTo>
                <a:cubicBezTo>
                  <a:pt x="247" y="521"/>
                  <a:pt x="247" y="521"/>
                  <a:pt x="246" y="522"/>
                </a:cubicBezTo>
                <a:cubicBezTo>
                  <a:pt x="246" y="522"/>
                  <a:pt x="245" y="523"/>
                  <a:pt x="245" y="523"/>
                </a:cubicBezTo>
                <a:cubicBezTo>
                  <a:pt x="244" y="524"/>
                  <a:pt x="243" y="524"/>
                  <a:pt x="243" y="525"/>
                </a:cubicBezTo>
                <a:cubicBezTo>
                  <a:pt x="242" y="525"/>
                  <a:pt x="242" y="525"/>
                  <a:pt x="242" y="525"/>
                </a:cubicBezTo>
                <a:cubicBezTo>
                  <a:pt x="242" y="525"/>
                  <a:pt x="241" y="525"/>
                  <a:pt x="241" y="525"/>
                </a:cubicBezTo>
                <a:cubicBezTo>
                  <a:pt x="241" y="526"/>
                  <a:pt x="241" y="526"/>
                  <a:pt x="241" y="526"/>
                </a:cubicBezTo>
                <a:cubicBezTo>
                  <a:pt x="241" y="526"/>
                  <a:pt x="241" y="526"/>
                  <a:pt x="242" y="526"/>
                </a:cubicBezTo>
                <a:cubicBezTo>
                  <a:pt x="241" y="526"/>
                  <a:pt x="241" y="526"/>
                  <a:pt x="241" y="526"/>
                </a:cubicBezTo>
                <a:cubicBezTo>
                  <a:pt x="241" y="526"/>
                  <a:pt x="240" y="526"/>
                  <a:pt x="240" y="526"/>
                </a:cubicBezTo>
                <a:cubicBezTo>
                  <a:pt x="239" y="527"/>
                  <a:pt x="239" y="527"/>
                  <a:pt x="238" y="527"/>
                </a:cubicBezTo>
                <a:cubicBezTo>
                  <a:pt x="238" y="527"/>
                  <a:pt x="238" y="527"/>
                  <a:pt x="238" y="527"/>
                </a:cubicBezTo>
                <a:cubicBezTo>
                  <a:pt x="239" y="527"/>
                  <a:pt x="239" y="527"/>
                  <a:pt x="239" y="526"/>
                </a:cubicBezTo>
                <a:cubicBezTo>
                  <a:pt x="239" y="526"/>
                  <a:pt x="239" y="525"/>
                  <a:pt x="240" y="525"/>
                </a:cubicBezTo>
                <a:cubicBezTo>
                  <a:pt x="240" y="526"/>
                  <a:pt x="240" y="525"/>
                  <a:pt x="240" y="525"/>
                </a:cubicBezTo>
                <a:cubicBezTo>
                  <a:pt x="240" y="524"/>
                  <a:pt x="240" y="524"/>
                  <a:pt x="241" y="524"/>
                </a:cubicBezTo>
                <a:cubicBezTo>
                  <a:pt x="241" y="524"/>
                  <a:pt x="241" y="523"/>
                  <a:pt x="241" y="523"/>
                </a:cubicBezTo>
                <a:cubicBezTo>
                  <a:pt x="242" y="523"/>
                  <a:pt x="241" y="522"/>
                  <a:pt x="241" y="522"/>
                </a:cubicBezTo>
                <a:cubicBezTo>
                  <a:pt x="241" y="522"/>
                  <a:pt x="241" y="521"/>
                  <a:pt x="241" y="521"/>
                </a:cubicBezTo>
                <a:cubicBezTo>
                  <a:pt x="241" y="520"/>
                  <a:pt x="242" y="520"/>
                  <a:pt x="242" y="520"/>
                </a:cubicBezTo>
                <a:cubicBezTo>
                  <a:pt x="242" y="520"/>
                  <a:pt x="243" y="520"/>
                  <a:pt x="243" y="520"/>
                </a:cubicBezTo>
                <a:cubicBezTo>
                  <a:pt x="243" y="519"/>
                  <a:pt x="244" y="519"/>
                  <a:pt x="244" y="519"/>
                </a:cubicBezTo>
                <a:cubicBezTo>
                  <a:pt x="245" y="519"/>
                  <a:pt x="245" y="519"/>
                  <a:pt x="246" y="519"/>
                </a:cubicBezTo>
                <a:cubicBezTo>
                  <a:pt x="246" y="519"/>
                  <a:pt x="247" y="519"/>
                  <a:pt x="247" y="519"/>
                </a:cubicBezTo>
                <a:cubicBezTo>
                  <a:pt x="247" y="518"/>
                  <a:pt x="247" y="518"/>
                  <a:pt x="246" y="518"/>
                </a:cubicBezTo>
                <a:cubicBezTo>
                  <a:pt x="246" y="518"/>
                  <a:pt x="246" y="517"/>
                  <a:pt x="246" y="517"/>
                </a:cubicBezTo>
                <a:cubicBezTo>
                  <a:pt x="246" y="517"/>
                  <a:pt x="246" y="516"/>
                  <a:pt x="246" y="515"/>
                </a:cubicBezTo>
                <a:cubicBezTo>
                  <a:pt x="246" y="515"/>
                  <a:pt x="247" y="514"/>
                  <a:pt x="247" y="514"/>
                </a:cubicBezTo>
                <a:cubicBezTo>
                  <a:pt x="247" y="514"/>
                  <a:pt x="248" y="514"/>
                  <a:pt x="248" y="514"/>
                </a:cubicBezTo>
                <a:cubicBezTo>
                  <a:pt x="248" y="513"/>
                  <a:pt x="249" y="513"/>
                  <a:pt x="250" y="512"/>
                </a:cubicBezTo>
                <a:cubicBezTo>
                  <a:pt x="251" y="512"/>
                  <a:pt x="251" y="512"/>
                  <a:pt x="252" y="513"/>
                </a:cubicBezTo>
                <a:cubicBezTo>
                  <a:pt x="252" y="513"/>
                  <a:pt x="253" y="513"/>
                  <a:pt x="253" y="513"/>
                </a:cubicBezTo>
                <a:cubicBezTo>
                  <a:pt x="254" y="513"/>
                  <a:pt x="254" y="513"/>
                  <a:pt x="254" y="514"/>
                </a:cubicBezTo>
                <a:cubicBezTo>
                  <a:pt x="254" y="514"/>
                  <a:pt x="254" y="514"/>
                  <a:pt x="254" y="514"/>
                </a:cubicBezTo>
                <a:cubicBezTo>
                  <a:pt x="253" y="515"/>
                  <a:pt x="253" y="515"/>
                  <a:pt x="253" y="516"/>
                </a:cubicBezTo>
                <a:cubicBezTo>
                  <a:pt x="253" y="516"/>
                  <a:pt x="253" y="516"/>
                  <a:pt x="253" y="516"/>
                </a:cubicBezTo>
                <a:close/>
                <a:moveTo>
                  <a:pt x="127" y="549"/>
                </a:moveTo>
                <a:cubicBezTo>
                  <a:pt x="128" y="549"/>
                  <a:pt x="128" y="549"/>
                  <a:pt x="128" y="548"/>
                </a:cubicBezTo>
                <a:cubicBezTo>
                  <a:pt x="127" y="548"/>
                  <a:pt x="127" y="549"/>
                  <a:pt x="126" y="549"/>
                </a:cubicBezTo>
                <a:cubicBezTo>
                  <a:pt x="125" y="549"/>
                  <a:pt x="125" y="548"/>
                  <a:pt x="124" y="548"/>
                </a:cubicBezTo>
                <a:cubicBezTo>
                  <a:pt x="124" y="548"/>
                  <a:pt x="124" y="547"/>
                  <a:pt x="123" y="547"/>
                </a:cubicBezTo>
                <a:cubicBezTo>
                  <a:pt x="123" y="547"/>
                  <a:pt x="122" y="547"/>
                  <a:pt x="122" y="547"/>
                </a:cubicBezTo>
                <a:cubicBezTo>
                  <a:pt x="121" y="547"/>
                  <a:pt x="121" y="547"/>
                  <a:pt x="120" y="548"/>
                </a:cubicBezTo>
                <a:cubicBezTo>
                  <a:pt x="120" y="548"/>
                  <a:pt x="121" y="548"/>
                  <a:pt x="121" y="548"/>
                </a:cubicBezTo>
                <a:cubicBezTo>
                  <a:pt x="121" y="549"/>
                  <a:pt x="122" y="549"/>
                  <a:pt x="122" y="549"/>
                </a:cubicBezTo>
                <a:cubicBezTo>
                  <a:pt x="122" y="550"/>
                  <a:pt x="122" y="550"/>
                  <a:pt x="123" y="550"/>
                </a:cubicBezTo>
                <a:cubicBezTo>
                  <a:pt x="123" y="550"/>
                  <a:pt x="123" y="550"/>
                  <a:pt x="124" y="550"/>
                </a:cubicBezTo>
                <a:cubicBezTo>
                  <a:pt x="124" y="551"/>
                  <a:pt x="124" y="551"/>
                  <a:pt x="123" y="551"/>
                </a:cubicBezTo>
                <a:cubicBezTo>
                  <a:pt x="123" y="551"/>
                  <a:pt x="122" y="551"/>
                  <a:pt x="122" y="551"/>
                </a:cubicBezTo>
                <a:cubicBezTo>
                  <a:pt x="122" y="551"/>
                  <a:pt x="121" y="552"/>
                  <a:pt x="122" y="552"/>
                </a:cubicBezTo>
                <a:cubicBezTo>
                  <a:pt x="122" y="552"/>
                  <a:pt x="122" y="552"/>
                  <a:pt x="122" y="552"/>
                </a:cubicBezTo>
                <a:cubicBezTo>
                  <a:pt x="122" y="552"/>
                  <a:pt x="123" y="552"/>
                  <a:pt x="123" y="552"/>
                </a:cubicBezTo>
                <a:cubicBezTo>
                  <a:pt x="123" y="553"/>
                  <a:pt x="124" y="553"/>
                  <a:pt x="124" y="553"/>
                </a:cubicBezTo>
                <a:cubicBezTo>
                  <a:pt x="124" y="553"/>
                  <a:pt x="124" y="554"/>
                  <a:pt x="124" y="553"/>
                </a:cubicBezTo>
                <a:cubicBezTo>
                  <a:pt x="124" y="553"/>
                  <a:pt x="124" y="553"/>
                  <a:pt x="124" y="553"/>
                </a:cubicBezTo>
                <a:cubicBezTo>
                  <a:pt x="124" y="552"/>
                  <a:pt x="124" y="552"/>
                  <a:pt x="125" y="552"/>
                </a:cubicBezTo>
                <a:cubicBezTo>
                  <a:pt x="125" y="552"/>
                  <a:pt x="125" y="551"/>
                  <a:pt x="125" y="551"/>
                </a:cubicBezTo>
                <a:cubicBezTo>
                  <a:pt x="125" y="551"/>
                  <a:pt x="126" y="550"/>
                  <a:pt x="125" y="550"/>
                </a:cubicBezTo>
                <a:cubicBezTo>
                  <a:pt x="126" y="550"/>
                  <a:pt x="126" y="550"/>
                  <a:pt x="126" y="550"/>
                </a:cubicBezTo>
                <a:cubicBezTo>
                  <a:pt x="126" y="549"/>
                  <a:pt x="127" y="549"/>
                  <a:pt x="127" y="549"/>
                </a:cubicBezTo>
                <a:close/>
                <a:moveTo>
                  <a:pt x="273" y="509"/>
                </a:moveTo>
                <a:cubicBezTo>
                  <a:pt x="273" y="509"/>
                  <a:pt x="273" y="510"/>
                  <a:pt x="273" y="510"/>
                </a:cubicBezTo>
                <a:cubicBezTo>
                  <a:pt x="272" y="510"/>
                  <a:pt x="271" y="510"/>
                  <a:pt x="270" y="510"/>
                </a:cubicBezTo>
                <a:cubicBezTo>
                  <a:pt x="270" y="511"/>
                  <a:pt x="270" y="511"/>
                  <a:pt x="270" y="511"/>
                </a:cubicBezTo>
                <a:cubicBezTo>
                  <a:pt x="270" y="511"/>
                  <a:pt x="270" y="511"/>
                  <a:pt x="270" y="511"/>
                </a:cubicBezTo>
                <a:cubicBezTo>
                  <a:pt x="270" y="511"/>
                  <a:pt x="270" y="511"/>
                  <a:pt x="270" y="512"/>
                </a:cubicBezTo>
                <a:cubicBezTo>
                  <a:pt x="270" y="512"/>
                  <a:pt x="270" y="512"/>
                  <a:pt x="269" y="512"/>
                </a:cubicBezTo>
                <a:cubicBezTo>
                  <a:pt x="269" y="512"/>
                  <a:pt x="269" y="512"/>
                  <a:pt x="269" y="512"/>
                </a:cubicBezTo>
                <a:cubicBezTo>
                  <a:pt x="269" y="512"/>
                  <a:pt x="269" y="512"/>
                  <a:pt x="269" y="511"/>
                </a:cubicBezTo>
                <a:cubicBezTo>
                  <a:pt x="269" y="512"/>
                  <a:pt x="268" y="512"/>
                  <a:pt x="269" y="512"/>
                </a:cubicBezTo>
                <a:cubicBezTo>
                  <a:pt x="269" y="512"/>
                  <a:pt x="269" y="513"/>
                  <a:pt x="269" y="513"/>
                </a:cubicBezTo>
                <a:cubicBezTo>
                  <a:pt x="268" y="513"/>
                  <a:pt x="268" y="513"/>
                  <a:pt x="268" y="513"/>
                </a:cubicBezTo>
                <a:cubicBezTo>
                  <a:pt x="268" y="513"/>
                  <a:pt x="268" y="513"/>
                  <a:pt x="268" y="512"/>
                </a:cubicBezTo>
                <a:cubicBezTo>
                  <a:pt x="268" y="513"/>
                  <a:pt x="268" y="513"/>
                  <a:pt x="268" y="513"/>
                </a:cubicBezTo>
                <a:cubicBezTo>
                  <a:pt x="268" y="513"/>
                  <a:pt x="269" y="513"/>
                  <a:pt x="268" y="513"/>
                </a:cubicBezTo>
                <a:cubicBezTo>
                  <a:pt x="268" y="513"/>
                  <a:pt x="268" y="513"/>
                  <a:pt x="268" y="513"/>
                </a:cubicBezTo>
                <a:cubicBezTo>
                  <a:pt x="267" y="513"/>
                  <a:pt x="267" y="513"/>
                  <a:pt x="267" y="512"/>
                </a:cubicBezTo>
                <a:cubicBezTo>
                  <a:pt x="267" y="512"/>
                  <a:pt x="267" y="512"/>
                  <a:pt x="267" y="512"/>
                </a:cubicBezTo>
                <a:cubicBezTo>
                  <a:pt x="267" y="513"/>
                  <a:pt x="267" y="513"/>
                  <a:pt x="267" y="513"/>
                </a:cubicBezTo>
                <a:cubicBezTo>
                  <a:pt x="267" y="513"/>
                  <a:pt x="267" y="514"/>
                  <a:pt x="267" y="514"/>
                </a:cubicBezTo>
                <a:cubicBezTo>
                  <a:pt x="267" y="514"/>
                  <a:pt x="267" y="514"/>
                  <a:pt x="267" y="514"/>
                </a:cubicBezTo>
                <a:cubicBezTo>
                  <a:pt x="267" y="515"/>
                  <a:pt x="267" y="515"/>
                  <a:pt x="266" y="514"/>
                </a:cubicBezTo>
                <a:cubicBezTo>
                  <a:pt x="266" y="514"/>
                  <a:pt x="266" y="514"/>
                  <a:pt x="266" y="514"/>
                </a:cubicBezTo>
                <a:cubicBezTo>
                  <a:pt x="266" y="515"/>
                  <a:pt x="265" y="515"/>
                  <a:pt x="265" y="515"/>
                </a:cubicBezTo>
                <a:cubicBezTo>
                  <a:pt x="265" y="514"/>
                  <a:pt x="265" y="515"/>
                  <a:pt x="264" y="515"/>
                </a:cubicBezTo>
                <a:cubicBezTo>
                  <a:pt x="264" y="515"/>
                  <a:pt x="264" y="515"/>
                  <a:pt x="264" y="515"/>
                </a:cubicBezTo>
                <a:cubicBezTo>
                  <a:pt x="264" y="514"/>
                  <a:pt x="264" y="514"/>
                  <a:pt x="264" y="514"/>
                </a:cubicBezTo>
                <a:cubicBezTo>
                  <a:pt x="264" y="514"/>
                  <a:pt x="263" y="514"/>
                  <a:pt x="263" y="515"/>
                </a:cubicBezTo>
                <a:cubicBezTo>
                  <a:pt x="263" y="515"/>
                  <a:pt x="263" y="515"/>
                  <a:pt x="263" y="515"/>
                </a:cubicBezTo>
                <a:cubicBezTo>
                  <a:pt x="262" y="515"/>
                  <a:pt x="262" y="516"/>
                  <a:pt x="261" y="516"/>
                </a:cubicBezTo>
                <a:cubicBezTo>
                  <a:pt x="261" y="516"/>
                  <a:pt x="261" y="516"/>
                  <a:pt x="261" y="516"/>
                </a:cubicBezTo>
                <a:cubicBezTo>
                  <a:pt x="260" y="517"/>
                  <a:pt x="260" y="517"/>
                  <a:pt x="259" y="517"/>
                </a:cubicBezTo>
                <a:cubicBezTo>
                  <a:pt x="258" y="517"/>
                  <a:pt x="258" y="518"/>
                  <a:pt x="258" y="518"/>
                </a:cubicBezTo>
                <a:cubicBezTo>
                  <a:pt x="258" y="518"/>
                  <a:pt x="258" y="519"/>
                  <a:pt x="257" y="518"/>
                </a:cubicBezTo>
                <a:cubicBezTo>
                  <a:pt x="257" y="518"/>
                  <a:pt x="257" y="518"/>
                  <a:pt x="257" y="518"/>
                </a:cubicBezTo>
                <a:cubicBezTo>
                  <a:pt x="256" y="518"/>
                  <a:pt x="256" y="518"/>
                  <a:pt x="256" y="519"/>
                </a:cubicBezTo>
                <a:cubicBezTo>
                  <a:pt x="256" y="519"/>
                  <a:pt x="256" y="519"/>
                  <a:pt x="255" y="519"/>
                </a:cubicBezTo>
                <a:cubicBezTo>
                  <a:pt x="255" y="519"/>
                  <a:pt x="255" y="518"/>
                  <a:pt x="254" y="518"/>
                </a:cubicBezTo>
                <a:cubicBezTo>
                  <a:pt x="254" y="518"/>
                  <a:pt x="254" y="518"/>
                  <a:pt x="254" y="518"/>
                </a:cubicBezTo>
                <a:cubicBezTo>
                  <a:pt x="253" y="518"/>
                  <a:pt x="253" y="518"/>
                  <a:pt x="254" y="517"/>
                </a:cubicBezTo>
                <a:cubicBezTo>
                  <a:pt x="254" y="517"/>
                  <a:pt x="254" y="517"/>
                  <a:pt x="255" y="516"/>
                </a:cubicBezTo>
                <a:cubicBezTo>
                  <a:pt x="255" y="516"/>
                  <a:pt x="255" y="516"/>
                  <a:pt x="256" y="516"/>
                </a:cubicBezTo>
                <a:cubicBezTo>
                  <a:pt x="256" y="516"/>
                  <a:pt x="256" y="516"/>
                  <a:pt x="257" y="516"/>
                </a:cubicBezTo>
                <a:cubicBezTo>
                  <a:pt x="257" y="516"/>
                  <a:pt x="257" y="516"/>
                  <a:pt x="257" y="516"/>
                </a:cubicBezTo>
                <a:cubicBezTo>
                  <a:pt x="257" y="516"/>
                  <a:pt x="257" y="516"/>
                  <a:pt x="258" y="516"/>
                </a:cubicBezTo>
                <a:cubicBezTo>
                  <a:pt x="258" y="515"/>
                  <a:pt x="258" y="515"/>
                  <a:pt x="258" y="515"/>
                </a:cubicBezTo>
                <a:cubicBezTo>
                  <a:pt x="258" y="515"/>
                  <a:pt x="259" y="515"/>
                  <a:pt x="259" y="515"/>
                </a:cubicBezTo>
                <a:cubicBezTo>
                  <a:pt x="259" y="515"/>
                  <a:pt x="259" y="515"/>
                  <a:pt x="259" y="515"/>
                </a:cubicBezTo>
                <a:cubicBezTo>
                  <a:pt x="259" y="515"/>
                  <a:pt x="259" y="515"/>
                  <a:pt x="259" y="515"/>
                </a:cubicBezTo>
                <a:cubicBezTo>
                  <a:pt x="260" y="515"/>
                  <a:pt x="260" y="515"/>
                  <a:pt x="260" y="515"/>
                </a:cubicBezTo>
                <a:cubicBezTo>
                  <a:pt x="260" y="515"/>
                  <a:pt x="260" y="515"/>
                  <a:pt x="260" y="515"/>
                </a:cubicBezTo>
                <a:cubicBezTo>
                  <a:pt x="260" y="515"/>
                  <a:pt x="260" y="515"/>
                  <a:pt x="261" y="515"/>
                </a:cubicBezTo>
                <a:cubicBezTo>
                  <a:pt x="261" y="514"/>
                  <a:pt x="261" y="514"/>
                  <a:pt x="260" y="514"/>
                </a:cubicBezTo>
                <a:cubicBezTo>
                  <a:pt x="261" y="514"/>
                  <a:pt x="262" y="514"/>
                  <a:pt x="263" y="514"/>
                </a:cubicBezTo>
                <a:cubicBezTo>
                  <a:pt x="263" y="514"/>
                  <a:pt x="262" y="514"/>
                  <a:pt x="262" y="514"/>
                </a:cubicBezTo>
                <a:cubicBezTo>
                  <a:pt x="262" y="514"/>
                  <a:pt x="262" y="513"/>
                  <a:pt x="262" y="513"/>
                </a:cubicBezTo>
                <a:cubicBezTo>
                  <a:pt x="262" y="513"/>
                  <a:pt x="262" y="513"/>
                  <a:pt x="262" y="513"/>
                </a:cubicBezTo>
                <a:cubicBezTo>
                  <a:pt x="263" y="513"/>
                  <a:pt x="264" y="513"/>
                  <a:pt x="265" y="513"/>
                </a:cubicBezTo>
                <a:cubicBezTo>
                  <a:pt x="264" y="512"/>
                  <a:pt x="264" y="513"/>
                  <a:pt x="264" y="513"/>
                </a:cubicBezTo>
                <a:cubicBezTo>
                  <a:pt x="263" y="513"/>
                  <a:pt x="263" y="513"/>
                  <a:pt x="263" y="512"/>
                </a:cubicBezTo>
                <a:cubicBezTo>
                  <a:pt x="262" y="512"/>
                  <a:pt x="262" y="512"/>
                  <a:pt x="262" y="512"/>
                </a:cubicBezTo>
                <a:cubicBezTo>
                  <a:pt x="262" y="511"/>
                  <a:pt x="262" y="511"/>
                  <a:pt x="262" y="511"/>
                </a:cubicBezTo>
                <a:cubicBezTo>
                  <a:pt x="263" y="511"/>
                  <a:pt x="263" y="511"/>
                  <a:pt x="263" y="511"/>
                </a:cubicBezTo>
                <a:cubicBezTo>
                  <a:pt x="263" y="511"/>
                  <a:pt x="263" y="511"/>
                  <a:pt x="264" y="511"/>
                </a:cubicBezTo>
                <a:cubicBezTo>
                  <a:pt x="263" y="511"/>
                  <a:pt x="263" y="511"/>
                  <a:pt x="264" y="511"/>
                </a:cubicBezTo>
                <a:cubicBezTo>
                  <a:pt x="264" y="510"/>
                  <a:pt x="264" y="510"/>
                  <a:pt x="264" y="510"/>
                </a:cubicBezTo>
                <a:cubicBezTo>
                  <a:pt x="263" y="510"/>
                  <a:pt x="263" y="510"/>
                  <a:pt x="263" y="509"/>
                </a:cubicBezTo>
                <a:cubicBezTo>
                  <a:pt x="263" y="509"/>
                  <a:pt x="264" y="509"/>
                  <a:pt x="264" y="509"/>
                </a:cubicBezTo>
                <a:cubicBezTo>
                  <a:pt x="264" y="509"/>
                  <a:pt x="265" y="509"/>
                  <a:pt x="265" y="509"/>
                </a:cubicBezTo>
                <a:cubicBezTo>
                  <a:pt x="265" y="509"/>
                  <a:pt x="266" y="509"/>
                  <a:pt x="266" y="509"/>
                </a:cubicBezTo>
                <a:cubicBezTo>
                  <a:pt x="266" y="510"/>
                  <a:pt x="266" y="510"/>
                  <a:pt x="266" y="510"/>
                </a:cubicBezTo>
                <a:cubicBezTo>
                  <a:pt x="266" y="510"/>
                  <a:pt x="266" y="510"/>
                  <a:pt x="266" y="510"/>
                </a:cubicBezTo>
                <a:cubicBezTo>
                  <a:pt x="266" y="510"/>
                  <a:pt x="266" y="510"/>
                  <a:pt x="267" y="511"/>
                </a:cubicBezTo>
                <a:cubicBezTo>
                  <a:pt x="267" y="511"/>
                  <a:pt x="267" y="511"/>
                  <a:pt x="267" y="511"/>
                </a:cubicBezTo>
                <a:cubicBezTo>
                  <a:pt x="267" y="511"/>
                  <a:pt x="267" y="510"/>
                  <a:pt x="267" y="510"/>
                </a:cubicBezTo>
                <a:cubicBezTo>
                  <a:pt x="267" y="510"/>
                  <a:pt x="267" y="510"/>
                  <a:pt x="267" y="510"/>
                </a:cubicBezTo>
                <a:cubicBezTo>
                  <a:pt x="266" y="509"/>
                  <a:pt x="266" y="509"/>
                  <a:pt x="267" y="509"/>
                </a:cubicBezTo>
                <a:cubicBezTo>
                  <a:pt x="267" y="509"/>
                  <a:pt x="267" y="509"/>
                  <a:pt x="268" y="509"/>
                </a:cubicBezTo>
                <a:cubicBezTo>
                  <a:pt x="268" y="509"/>
                  <a:pt x="267" y="508"/>
                  <a:pt x="267" y="508"/>
                </a:cubicBezTo>
                <a:cubicBezTo>
                  <a:pt x="267" y="508"/>
                  <a:pt x="267" y="508"/>
                  <a:pt x="267" y="508"/>
                </a:cubicBezTo>
                <a:cubicBezTo>
                  <a:pt x="267" y="508"/>
                  <a:pt x="267" y="508"/>
                  <a:pt x="267" y="508"/>
                </a:cubicBezTo>
                <a:cubicBezTo>
                  <a:pt x="266" y="508"/>
                  <a:pt x="266" y="509"/>
                  <a:pt x="266" y="508"/>
                </a:cubicBezTo>
                <a:cubicBezTo>
                  <a:pt x="266" y="508"/>
                  <a:pt x="266" y="508"/>
                  <a:pt x="266" y="508"/>
                </a:cubicBezTo>
                <a:cubicBezTo>
                  <a:pt x="265" y="508"/>
                  <a:pt x="265" y="508"/>
                  <a:pt x="265" y="507"/>
                </a:cubicBezTo>
                <a:cubicBezTo>
                  <a:pt x="265" y="508"/>
                  <a:pt x="264" y="508"/>
                  <a:pt x="264" y="508"/>
                </a:cubicBezTo>
                <a:cubicBezTo>
                  <a:pt x="264" y="508"/>
                  <a:pt x="263" y="507"/>
                  <a:pt x="263" y="507"/>
                </a:cubicBezTo>
                <a:cubicBezTo>
                  <a:pt x="263" y="506"/>
                  <a:pt x="263" y="506"/>
                  <a:pt x="262" y="506"/>
                </a:cubicBezTo>
                <a:cubicBezTo>
                  <a:pt x="262" y="506"/>
                  <a:pt x="262" y="506"/>
                  <a:pt x="262" y="506"/>
                </a:cubicBezTo>
                <a:cubicBezTo>
                  <a:pt x="263" y="505"/>
                  <a:pt x="263" y="505"/>
                  <a:pt x="263" y="505"/>
                </a:cubicBezTo>
                <a:cubicBezTo>
                  <a:pt x="263" y="504"/>
                  <a:pt x="264" y="504"/>
                  <a:pt x="264" y="504"/>
                </a:cubicBezTo>
                <a:cubicBezTo>
                  <a:pt x="265" y="503"/>
                  <a:pt x="266" y="503"/>
                  <a:pt x="267" y="502"/>
                </a:cubicBezTo>
                <a:cubicBezTo>
                  <a:pt x="267" y="502"/>
                  <a:pt x="267" y="502"/>
                  <a:pt x="267" y="503"/>
                </a:cubicBezTo>
                <a:cubicBezTo>
                  <a:pt x="267" y="503"/>
                  <a:pt x="267" y="503"/>
                  <a:pt x="267" y="503"/>
                </a:cubicBezTo>
                <a:cubicBezTo>
                  <a:pt x="268" y="503"/>
                  <a:pt x="268" y="503"/>
                  <a:pt x="268" y="502"/>
                </a:cubicBezTo>
                <a:cubicBezTo>
                  <a:pt x="269" y="502"/>
                  <a:pt x="269" y="502"/>
                  <a:pt x="269" y="503"/>
                </a:cubicBezTo>
                <a:cubicBezTo>
                  <a:pt x="269" y="503"/>
                  <a:pt x="269" y="503"/>
                  <a:pt x="269" y="503"/>
                </a:cubicBezTo>
                <a:cubicBezTo>
                  <a:pt x="269" y="503"/>
                  <a:pt x="270" y="503"/>
                  <a:pt x="269" y="504"/>
                </a:cubicBezTo>
                <a:cubicBezTo>
                  <a:pt x="269" y="504"/>
                  <a:pt x="269" y="504"/>
                  <a:pt x="269" y="504"/>
                </a:cubicBezTo>
                <a:cubicBezTo>
                  <a:pt x="269" y="505"/>
                  <a:pt x="269" y="505"/>
                  <a:pt x="269" y="505"/>
                </a:cubicBezTo>
                <a:cubicBezTo>
                  <a:pt x="269" y="505"/>
                  <a:pt x="269" y="505"/>
                  <a:pt x="269" y="506"/>
                </a:cubicBezTo>
                <a:cubicBezTo>
                  <a:pt x="269" y="506"/>
                  <a:pt x="269" y="506"/>
                  <a:pt x="269" y="506"/>
                </a:cubicBezTo>
                <a:cubicBezTo>
                  <a:pt x="269" y="506"/>
                  <a:pt x="269" y="506"/>
                  <a:pt x="269" y="506"/>
                </a:cubicBezTo>
                <a:cubicBezTo>
                  <a:pt x="270" y="506"/>
                  <a:pt x="271" y="505"/>
                  <a:pt x="271" y="505"/>
                </a:cubicBezTo>
                <a:cubicBezTo>
                  <a:pt x="271" y="504"/>
                  <a:pt x="272" y="504"/>
                  <a:pt x="272" y="503"/>
                </a:cubicBezTo>
                <a:cubicBezTo>
                  <a:pt x="272" y="503"/>
                  <a:pt x="272" y="503"/>
                  <a:pt x="272" y="503"/>
                </a:cubicBezTo>
                <a:cubicBezTo>
                  <a:pt x="272" y="503"/>
                  <a:pt x="272" y="503"/>
                  <a:pt x="272" y="503"/>
                </a:cubicBezTo>
                <a:cubicBezTo>
                  <a:pt x="272" y="503"/>
                  <a:pt x="272" y="503"/>
                  <a:pt x="272" y="503"/>
                </a:cubicBezTo>
                <a:cubicBezTo>
                  <a:pt x="272" y="504"/>
                  <a:pt x="272" y="504"/>
                  <a:pt x="273" y="504"/>
                </a:cubicBezTo>
                <a:cubicBezTo>
                  <a:pt x="273" y="504"/>
                  <a:pt x="273" y="504"/>
                  <a:pt x="273" y="504"/>
                </a:cubicBezTo>
                <a:cubicBezTo>
                  <a:pt x="273" y="504"/>
                  <a:pt x="273" y="504"/>
                  <a:pt x="273" y="504"/>
                </a:cubicBezTo>
                <a:cubicBezTo>
                  <a:pt x="273" y="504"/>
                  <a:pt x="273" y="503"/>
                  <a:pt x="273" y="503"/>
                </a:cubicBezTo>
                <a:cubicBezTo>
                  <a:pt x="274" y="503"/>
                  <a:pt x="273" y="504"/>
                  <a:pt x="274" y="504"/>
                </a:cubicBezTo>
                <a:cubicBezTo>
                  <a:pt x="274" y="504"/>
                  <a:pt x="273" y="505"/>
                  <a:pt x="274" y="504"/>
                </a:cubicBezTo>
                <a:cubicBezTo>
                  <a:pt x="274" y="504"/>
                  <a:pt x="274" y="505"/>
                  <a:pt x="274" y="505"/>
                </a:cubicBezTo>
                <a:cubicBezTo>
                  <a:pt x="274" y="505"/>
                  <a:pt x="273" y="506"/>
                  <a:pt x="273" y="505"/>
                </a:cubicBezTo>
                <a:cubicBezTo>
                  <a:pt x="273" y="505"/>
                  <a:pt x="272" y="505"/>
                  <a:pt x="272" y="506"/>
                </a:cubicBezTo>
                <a:cubicBezTo>
                  <a:pt x="272" y="506"/>
                  <a:pt x="272" y="506"/>
                  <a:pt x="272" y="507"/>
                </a:cubicBezTo>
                <a:cubicBezTo>
                  <a:pt x="271" y="507"/>
                  <a:pt x="271" y="507"/>
                  <a:pt x="270" y="507"/>
                </a:cubicBezTo>
                <a:cubicBezTo>
                  <a:pt x="271" y="508"/>
                  <a:pt x="270" y="508"/>
                  <a:pt x="269" y="508"/>
                </a:cubicBezTo>
                <a:cubicBezTo>
                  <a:pt x="269" y="508"/>
                  <a:pt x="270" y="508"/>
                  <a:pt x="270" y="508"/>
                </a:cubicBezTo>
                <a:cubicBezTo>
                  <a:pt x="270" y="509"/>
                  <a:pt x="270" y="509"/>
                  <a:pt x="270" y="509"/>
                </a:cubicBezTo>
                <a:cubicBezTo>
                  <a:pt x="270" y="509"/>
                  <a:pt x="270" y="509"/>
                  <a:pt x="271" y="509"/>
                </a:cubicBezTo>
                <a:cubicBezTo>
                  <a:pt x="271" y="509"/>
                  <a:pt x="271" y="509"/>
                  <a:pt x="271" y="509"/>
                </a:cubicBezTo>
                <a:cubicBezTo>
                  <a:pt x="271" y="509"/>
                  <a:pt x="271" y="508"/>
                  <a:pt x="271" y="508"/>
                </a:cubicBezTo>
                <a:cubicBezTo>
                  <a:pt x="272" y="508"/>
                  <a:pt x="272" y="508"/>
                  <a:pt x="272" y="508"/>
                </a:cubicBezTo>
                <a:cubicBezTo>
                  <a:pt x="272" y="508"/>
                  <a:pt x="272" y="508"/>
                  <a:pt x="272" y="508"/>
                </a:cubicBezTo>
                <a:cubicBezTo>
                  <a:pt x="272" y="508"/>
                  <a:pt x="272" y="508"/>
                  <a:pt x="273" y="508"/>
                </a:cubicBezTo>
                <a:cubicBezTo>
                  <a:pt x="273" y="508"/>
                  <a:pt x="273" y="508"/>
                  <a:pt x="273" y="508"/>
                </a:cubicBezTo>
                <a:cubicBezTo>
                  <a:pt x="273" y="508"/>
                  <a:pt x="273" y="508"/>
                  <a:pt x="273" y="508"/>
                </a:cubicBezTo>
                <a:cubicBezTo>
                  <a:pt x="273" y="509"/>
                  <a:pt x="273" y="509"/>
                  <a:pt x="273" y="509"/>
                </a:cubicBezTo>
                <a:close/>
                <a:moveTo>
                  <a:pt x="184" y="543"/>
                </a:moveTo>
                <a:cubicBezTo>
                  <a:pt x="184" y="543"/>
                  <a:pt x="183" y="543"/>
                  <a:pt x="183" y="543"/>
                </a:cubicBezTo>
                <a:cubicBezTo>
                  <a:pt x="183" y="543"/>
                  <a:pt x="183" y="543"/>
                  <a:pt x="182" y="543"/>
                </a:cubicBezTo>
                <a:cubicBezTo>
                  <a:pt x="182" y="543"/>
                  <a:pt x="181" y="543"/>
                  <a:pt x="181" y="543"/>
                </a:cubicBezTo>
                <a:cubicBezTo>
                  <a:pt x="180" y="543"/>
                  <a:pt x="180" y="543"/>
                  <a:pt x="180" y="542"/>
                </a:cubicBezTo>
                <a:cubicBezTo>
                  <a:pt x="179" y="542"/>
                  <a:pt x="178" y="543"/>
                  <a:pt x="177" y="543"/>
                </a:cubicBezTo>
                <a:cubicBezTo>
                  <a:pt x="176" y="543"/>
                  <a:pt x="175" y="542"/>
                  <a:pt x="174" y="543"/>
                </a:cubicBezTo>
                <a:cubicBezTo>
                  <a:pt x="174" y="543"/>
                  <a:pt x="175" y="543"/>
                  <a:pt x="175" y="544"/>
                </a:cubicBezTo>
                <a:cubicBezTo>
                  <a:pt x="175" y="544"/>
                  <a:pt x="176" y="544"/>
                  <a:pt x="177" y="544"/>
                </a:cubicBezTo>
                <a:cubicBezTo>
                  <a:pt x="177" y="544"/>
                  <a:pt x="178" y="544"/>
                  <a:pt x="179" y="544"/>
                </a:cubicBezTo>
                <a:cubicBezTo>
                  <a:pt x="179" y="544"/>
                  <a:pt x="180" y="544"/>
                  <a:pt x="180" y="545"/>
                </a:cubicBezTo>
                <a:cubicBezTo>
                  <a:pt x="180" y="545"/>
                  <a:pt x="181" y="545"/>
                  <a:pt x="181" y="545"/>
                </a:cubicBezTo>
                <a:cubicBezTo>
                  <a:pt x="182" y="544"/>
                  <a:pt x="183" y="544"/>
                  <a:pt x="183" y="544"/>
                </a:cubicBezTo>
                <a:cubicBezTo>
                  <a:pt x="183" y="544"/>
                  <a:pt x="183" y="544"/>
                  <a:pt x="184" y="544"/>
                </a:cubicBezTo>
                <a:cubicBezTo>
                  <a:pt x="185" y="544"/>
                  <a:pt x="186" y="544"/>
                  <a:pt x="187" y="544"/>
                </a:cubicBezTo>
                <a:cubicBezTo>
                  <a:pt x="187" y="544"/>
                  <a:pt x="187" y="544"/>
                  <a:pt x="188" y="543"/>
                </a:cubicBezTo>
                <a:cubicBezTo>
                  <a:pt x="187" y="543"/>
                  <a:pt x="187" y="543"/>
                  <a:pt x="187" y="543"/>
                </a:cubicBezTo>
                <a:cubicBezTo>
                  <a:pt x="186" y="543"/>
                  <a:pt x="185" y="543"/>
                  <a:pt x="184" y="543"/>
                </a:cubicBezTo>
                <a:close/>
                <a:moveTo>
                  <a:pt x="174" y="538"/>
                </a:moveTo>
                <a:cubicBezTo>
                  <a:pt x="174" y="538"/>
                  <a:pt x="174" y="538"/>
                  <a:pt x="174" y="537"/>
                </a:cubicBezTo>
                <a:cubicBezTo>
                  <a:pt x="173" y="537"/>
                  <a:pt x="172" y="536"/>
                  <a:pt x="171" y="537"/>
                </a:cubicBezTo>
                <a:cubicBezTo>
                  <a:pt x="171" y="537"/>
                  <a:pt x="170" y="537"/>
                  <a:pt x="170" y="538"/>
                </a:cubicBezTo>
                <a:cubicBezTo>
                  <a:pt x="170" y="539"/>
                  <a:pt x="170" y="539"/>
                  <a:pt x="169" y="539"/>
                </a:cubicBezTo>
                <a:cubicBezTo>
                  <a:pt x="169" y="538"/>
                  <a:pt x="168" y="539"/>
                  <a:pt x="169" y="539"/>
                </a:cubicBezTo>
                <a:cubicBezTo>
                  <a:pt x="169" y="539"/>
                  <a:pt x="169" y="539"/>
                  <a:pt x="170" y="539"/>
                </a:cubicBezTo>
                <a:cubicBezTo>
                  <a:pt x="170" y="539"/>
                  <a:pt x="170" y="539"/>
                  <a:pt x="170" y="539"/>
                </a:cubicBezTo>
                <a:cubicBezTo>
                  <a:pt x="170" y="539"/>
                  <a:pt x="171" y="539"/>
                  <a:pt x="171" y="540"/>
                </a:cubicBezTo>
                <a:cubicBezTo>
                  <a:pt x="171" y="540"/>
                  <a:pt x="171" y="540"/>
                  <a:pt x="171" y="540"/>
                </a:cubicBezTo>
                <a:cubicBezTo>
                  <a:pt x="171" y="540"/>
                  <a:pt x="171" y="540"/>
                  <a:pt x="171" y="540"/>
                </a:cubicBezTo>
                <a:cubicBezTo>
                  <a:pt x="171" y="541"/>
                  <a:pt x="170" y="541"/>
                  <a:pt x="169" y="541"/>
                </a:cubicBezTo>
                <a:cubicBezTo>
                  <a:pt x="169" y="541"/>
                  <a:pt x="169" y="540"/>
                  <a:pt x="168" y="541"/>
                </a:cubicBezTo>
                <a:cubicBezTo>
                  <a:pt x="168" y="541"/>
                  <a:pt x="169" y="541"/>
                  <a:pt x="169" y="541"/>
                </a:cubicBezTo>
                <a:cubicBezTo>
                  <a:pt x="169" y="542"/>
                  <a:pt x="169" y="542"/>
                  <a:pt x="169" y="542"/>
                </a:cubicBezTo>
                <a:cubicBezTo>
                  <a:pt x="168" y="541"/>
                  <a:pt x="167" y="542"/>
                  <a:pt x="167" y="542"/>
                </a:cubicBezTo>
                <a:cubicBezTo>
                  <a:pt x="167" y="542"/>
                  <a:pt x="167" y="542"/>
                  <a:pt x="168" y="543"/>
                </a:cubicBezTo>
                <a:cubicBezTo>
                  <a:pt x="167" y="542"/>
                  <a:pt x="167" y="542"/>
                  <a:pt x="167" y="542"/>
                </a:cubicBezTo>
                <a:cubicBezTo>
                  <a:pt x="167" y="542"/>
                  <a:pt x="167" y="542"/>
                  <a:pt x="166" y="543"/>
                </a:cubicBezTo>
                <a:cubicBezTo>
                  <a:pt x="166" y="543"/>
                  <a:pt x="166" y="543"/>
                  <a:pt x="165" y="543"/>
                </a:cubicBezTo>
                <a:cubicBezTo>
                  <a:pt x="165" y="543"/>
                  <a:pt x="165" y="543"/>
                  <a:pt x="165" y="543"/>
                </a:cubicBezTo>
                <a:cubicBezTo>
                  <a:pt x="164" y="543"/>
                  <a:pt x="164" y="543"/>
                  <a:pt x="164" y="543"/>
                </a:cubicBezTo>
                <a:cubicBezTo>
                  <a:pt x="163" y="543"/>
                  <a:pt x="163" y="543"/>
                  <a:pt x="162" y="544"/>
                </a:cubicBezTo>
                <a:cubicBezTo>
                  <a:pt x="162" y="544"/>
                  <a:pt x="162" y="544"/>
                  <a:pt x="162" y="544"/>
                </a:cubicBezTo>
                <a:cubicBezTo>
                  <a:pt x="161" y="544"/>
                  <a:pt x="161" y="544"/>
                  <a:pt x="161" y="544"/>
                </a:cubicBezTo>
                <a:cubicBezTo>
                  <a:pt x="161" y="545"/>
                  <a:pt x="160" y="545"/>
                  <a:pt x="160" y="544"/>
                </a:cubicBezTo>
                <a:cubicBezTo>
                  <a:pt x="160" y="544"/>
                  <a:pt x="159" y="544"/>
                  <a:pt x="159" y="544"/>
                </a:cubicBezTo>
                <a:cubicBezTo>
                  <a:pt x="159" y="544"/>
                  <a:pt x="158" y="544"/>
                  <a:pt x="157" y="545"/>
                </a:cubicBezTo>
                <a:cubicBezTo>
                  <a:pt x="158" y="545"/>
                  <a:pt x="159" y="545"/>
                  <a:pt x="160" y="545"/>
                </a:cubicBezTo>
                <a:cubicBezTo>
                  <a:pt x="161" y="545"/>
                  <a:pt x="161" y="545"/>
                  <a:pt x="162" y="545"/>
                </a:cubicBezTo>
                <a:cubicBezTo>
                  <a:pt x="162" y="545"/>
                  <a:pt x="162" y="544"/>
                  <a:pt x="163" y="545"/>
                </a:cubicBezTo>
                <a:cubicBezTo>
                  <a:pt x="163" y="545"/>
                  <a:pt x="164" y="545"/>
                  <a:pt x="165" y="545"/>
                </a:cubicBezTo>
                <a:cubicBezTo>
                  <a:pt x="165" y="545"/>
                  <a:pt x="165" y="545"/>
                  <a:pt x="165" y="545"/>
                </a:cubicBezTo>
                <a:cubicBezTo>
                  <a:pt x="165" y="544"/>
                  <a:pt x="166" y="544"/>
                  <a:pt x="166" y="545"/>
                </a:cubicBezTo>
                <a:cubicBezTo>
                  <a:pt x="167" y="544"/>
                  <a:pt x="167" y="545"/>
                  <a:pt x="168" y="544"/>
                </a:cubicBezTo>
                <a:cubicBezTo>
                  <a:pt x="168" y="544"/>
                  <a:pt x="168" y="544"/>
                  <a:pt x="168" y="544"/>
                </a:cubicBezTo>
                <a:cubicBezTo>
                  <a:pt x="168" y="544"/>
                  <a:pt x="168" y="544"/>
                  <a:pt x="168" y="544"/>
                </a:cubicBezTo>
                <a:cubicBezTo>
                  <a:pt x="168" y="544"/>
                  <a:pt x="168" y="544"/>
                  <a:pt x="169" y="544"/>
                </a:cubicBezTo>
                <a:cubicBezTo>
                  <a:pt x="169" y="544"/>
                  <a:pt x="169" y="544"/>
                  <a:pt x="169" y="544"/>
                </a:cubicBezTo>
                <a:cubicBezTo>
                  <a:pt x="169" y="544"/>
                  <a:pt x="169" y="544"/>
                  <a:pt x="169" y="544"/>
                </a:cubicBezTo>
                <a:cubicBezTo>
                  <a:pt x="169" y="544"/>
                  <a:pt x="169" y="543"/>
                  <a:pt x="169" y="543"/>
                </a:cubicBezTo>
                <a:cubicBezTo>
                  <a:pt x="169" y="543"/>
                  <a:pt x="170" y="543"/>
                  <a:pt x="170" y="543"/>
                </a:cubicBezTo>
                <a:cubicBezTo>
                  <a:pt x="170" y="543"/>
                  <a:pt x="171" y="543"/>
                  <a:pt x="171" y="543"/>
                </a:cubicBezTo>
                <a:cubicBezTo>
                  <a:pt x="171" y="543"/>
                  <a:pt x="171" y="543"/>
                  <a:pt x="172" y="543"/>
                </a:cubicBezTo>
                <a:cubicBezTo>
                  <a:pt x="172" y="543"/>
                  <a:pt x="172" y="543"/>
                  <a:pt x="173" y="543"/>
                </a:cubicBezTo>
                <a:cubicBezTo>
                  <a:pt x="173" y="543"/>
                  <a:pt x="173" y="543"/>
                  <a:pt x="173" y="542"/>
                </a:cubicBezTo>
                <a:cubicBezTo>
                  <a:pt x="173" y="542"/>
                  <a:pt x="173" y="542"/>
                  <a:pt x="172" y="541"/>
                </a:cubicBezTo>
                <a:cubicBezTo>
                  <a:pt x="172" y="541"/>
                  <a:pt x="172" y="540"/>
                  <a:pt x="173" y="541"/>
                </a:cubicBezTo>
                <a:cubicBezTo>
                  <a:pt x="173" y="541"/>
                  <a:pt x="173" y="541"/>
                  <a:pt x="173" y="541"/>
                </a:cubicBezTo>
                <a:cubicBezTo>
                  <a:pt x="174" y="540"/>
                  <a:pt x="174" y="540"/>
                  <a:pt x="174" y="540"/>
                </a:cubicBezTo>
                <a:cubicBezTo>
                  <a:pt x="175" y="539"/>
                  <a:pt x="175" y="538"/>
                  <a:pt x="174" y="538"/>
                </a:cubicBezTo>
                <a:close/>
                <a:moveTo>
                  <a:pt x="134" y="547"/>
                </a:moveTo>
                <a:cubicBezTo>
                  <a:pt x="133" y="547"/>
                  <a:pt x="133" y="547"/>
                  <a:pt x="133" y="547"/>
                </a:cubicBezTo>
                <a:cubicBezTo>
                  <a:pt x="133" y="548"/>
                  <a:pt x="133" y="548"/>
                  <a:pt x="133" y="548"/>
                </a:cubicBezTo>
                <a:cubicBezTo>
                  <a:pt x="133" y="549"/>
                  <a:pt x="133" y="550"/>
                  <a:pt x="132" y="550"/>
                </a:cubicBezTo>
                <a:cubicBezTo>
                  <a:pt x="131" y="550"/>
                  <a:pt x="130" y="550"/>
                  <a:pt x="129" y="551"/>
                </a:cubicBezTo>
                <a:cubicBezTo>
                  <a:pt x="129" y="551"/>
                  <a:pt x="128" y="551"/>
                  <a:pt x="128" y="551"/>
                </a:cubicBezTo>
                <a:cubicBezTo>
                  <a:pt x="128" y="551"/>
                  <a:pt x="128" y="551"/>
                  <a:pt x="127" y="551"/>
                </a:cubicBezTo>
                <a:cubicBezTo>
                  <a:pt x="127" y="551"/>
                  <a:pt x="127" y="551"/>
                  <a:pt x="127" y="551"/>
                </a:cubicBezTo>
                <a:cubicBezTo>
                  <a:pt x="127" y="552"/>
                  <a:pt x="127" y="552"/>
                  <a:pt x="127" y="552"/>
                </a:cubicBezTo>
                <a:cubicBezTo>
                  <a:pt x="128" y="552"/>
                  <a:pt x="128" y="552"/>
                  <a:pt x="128" y="552"/>
                </a:cubicBezTo>
                <a:cubicBezTo>
                  <a:pt x="128" y="551"/>
                  <a:pt x="128" y="551"/>
                  <a:pt x="129" y="551"/>
                </a:cubicBezTo>
                <a:cubicBezTo>
                  <a:pt x="129" y="551"/>
                  <a:pt x="129" y="552"/>
                  <a:pt x="130" y="551"/>
                </a:cubicBezTo>
                <a:cubicBezTo>
                  <a:pt x="130" y="551"/>
                  <a:pt x="131" y="551"/>
                  <a:pt x="131" y="551"/>
                </a:cubicBezTo>
                <a:cubicBezTo>
                  <a:pt x="131" y="551"/>
                  <a:pt x="131" y="551"/>
                  <a:pt x="132" y="551"/>
                </a:cubicBezTo>
                <a:cubicBezTo>
                  <a:pt x="132" y="552"/>
                  <a:pt x="132" y="552"/>
                  <a:pt x="132" y="552"/>
                </a:cubicBezTo>
                <a:cubicBezTo>
                  <a:pt x="132" y="552"/>
                  <a:pt x="133" y="552"/>
                  <a:pt x="133" y="552"/>
                </a:cubicBezTo>
                <a:cubicBezTo>
                  <a:pt x="133" y="551"/>
                  <a:pt x="133" y="551"/>
                  <a:pt x="134" y="551"/>
                </a:cubicBezTo>
                <a:cubicBezTo>
                  <a:pt x="134" y="551"/>
                  <a:pt x="134" y="551"/>
                  <a:pt x="134" y="551"/>
                </a:cubicBezTo>
                <a:cubicBezTo>
                  <a:pt x="134" y="550"/>
                  <a:pt x="135" y="550"/>
                  <a:pt x="134" y="549"/>
                </a:cubicBezTo>
                <a:cubicBezTo>
                  <a:pt x="134" y="549"/>
                  <a:pt x="134" y="549"/>
                  <a:pt x="135" y="549"/>
                </a:cubicBezTo>
                <a:cubicBezTo>
                  <a:pt x="135" y="548"/>
                  <a:pt x="135" y="548"/>
                  <a:pt x="135" y="547"/>
                </a:cubicBezTo>
                <a:cubicBezTo>
                  <a:pt x="135" y="547"/>
                  <a:pt x="134" y="546"/>
                  <a:pt x="134" y="547"/>
                </a:cubicBezTo>
                <a:close/>
                <a:moveTo>
                  <a:pt x="66" y="546"/>
                </a:moveTo>
                <a:cubicBezTo>
                  <a:pt x="65" y="546"/>
                  <a:pt x="66" y="546"/>
                  <a:pt x="66" y="545"/>
                </a:cubicBezTo>
                <a:cubicBezTo>
                  <a:pt x="67" y="545"/>
                  <a:pt x="67" y="544"/>
                  <a:pt x="67" y="544"/>
                </a:cubicBezTo>
                <a:cubicBezTo>
                  <a:pt x="67" y="543"/>
                  <a:pt x="67" y="543"/>
                  <a:pt x="67" y="543"/>
                </a:cubicBezTo>
                <a:cubicBezTo>
                  <a:pt x="66" y="542"/>
                  <a:pt x="66" y="542"/>
                  <a:pt x="66" y="543"/>
                </a:cubicBezTo>
                <a:cubicBezTo>
                  <a:pt x="66" y="543"/>
                  <a:pt x="66" y="543"/>
                  <a:pt x="66" y="544"/>
                </a:cubicBezTo>
                <a:cubicBezTo>
                  <a:pt x="66" y="544"/>
                  <a:pt x="65" y="544"/>
                  <a:pt x="65" y="545"/>
                </a:cubicBezTo>
                <a:cubicBezTo>
                  <a:pt x="65" y="545"/>
                  <a:pt x="65" y="546"/>
                  <a:pt x="64" y="546"/>
                </a:cubicBezTo>
                <a:cubicBezTo>
                  <a:pt x="64" y="546"/>
                  <a:pt x="63" y="546"/>
                  <a:pt x="63" y="547"/>
                </a:cubicBezTo>
                <a:cubicBezTo>
                  <a:pt x="63" y="547"/>
                  <a:pt x="63" y="547"/>
                  <a:pt x="63" y="547"/>
                </a:cubicBezTo>
                <a:cubicBezTo>
                  <a:pt x="62" y="547"/>
                  <a:pt x="62" y="547"/>
                  <a:pt x="61" y="548"/>
                </a:cubicBezTo>
                <a:cubicBezTo>
                  <a:pt x="62" y="548"/>
                  <a:pt x="62" y="548"/>
                  <a:pt x="62" y="548"/>
                </a:cubicBezTo>
                <a:cubicBezTo>
                  <a:pt x="62" y="549"/>
                  <a:pt x="63" y="549"/>
                  <a:pt x="63" y="549"/>
                </a:cubicBezTo>
                <a:cubicBezTo>
                  <a:pt x="63" y="549"/>
                  <a:pt x="63" y="548"/>
                  <a:pt x="63" y="548"/>
                </a:cubicBezTo>
                <a:cubicBezTo>
                  <a:pt x="63" y="547"/>
                  <a:pt x="63" y="547"/>
                  <a:pt x="64" y="547"/>
                </a:cubicBezTo>
                <a:cubicBezTo>
                  <a:pt x="65" y="547"/>
                  <a:pt x="65" y="547"/>
                  <a:pt x="66" y="547"/>
                </a:cubicBezTo>
                <a:cubicBezTo>
                  <a:pt x="66" y="547"/>
                  <a:pt x="66" y="547"/>
                  <a:pt x="67" y="547"/>
                </a:cubicBezTo>
                <a:cubicBezTo>
                  <a:pt x="67" y="547"/>
                  <a:pt x="67" y="546"/>
                  <a:pt x="66" y="546"/>
                </a:cubicBezTo>
                <a:close/>
                <a:moveTo>
                  <a:pt x="13" y="528"/>
                </a:moveTo>
                <a:cubicBezTo>
                  <a:pt x="13" y="527"/>
                  <a:pt x="13" y="527"/>
                  <a:pt x="12" y="527"/>
                </a:cubicBezTo>
                <a:cubicBezTo>
                  <a:pt x="12" y="527"/>
                  <a:pt x="12" y="527"/>
                  <a:pt x="11" y="527"/>
                </a:cubicBezTo>
                <a:cubicBezTo>
                  <a:pt x="11" y="527"/>
                  <a:pt x="11" y="527"/>
                  <a:pt x="11" y="527"/>
                </a:cubicBezTo>
                <a:cubicBezTo>
                  <a:pt x="11" y="526"/>
                  <a:pt x="11" y="526"/>
                  <a:pt x="11" y="526"/>
                </a:cubicBezTo>
                <a:cubicBezTo>
                  <a:pt x="11" y="526"/>
                  <a:pt x="11" y="526"/>
                  <a:pt x="10" y="526"/>
                </a:cubicBezTo>
                <a:cubicBezTo>
                  <a:pt x="10" y="525"/>
                  <a:pt x="10" y="526"/>
                  <a:pt x="10" y="526"/>
                </a:cubicBezTo>
                <a:cubicBezTo>
                  <a:pt x="10" y="526"/>
                  <a:pt x="9" y="526"/>
                  <a:pt x="9" y="526"/>
                </a:cubicBezTo>
                <a:cubicBezTo>
                  <a:pt x="9" y="526"/>
                  <a:pt x="9" y="526"/>
                  <a:pt x="9" y="525"/>
                </a:cubicBezTo>
                <a:cubicBezTo>
                  <a:pt x="10" y="525"/>
                  <a:pt x="9" y="525"/>
                  <a:pt x="9" y="524"/>
                </a:cubicBezTo>
                <a:cubicBezTo>
                  <a:pt x="9" y="524"/>
                  <a:pt x="8" y="524"/>
                  <a:pt x="8" y="524"/>
                </a:cubicBezTo>
                <a:cubicBezTo>
                  <a:pt x="8" y="524"/>
                  <a:pt x="8" y="524"/>
                  <a:pt x="8" y="524"/>
                </a:cubicBezTo>
                <a:cubicBezTo>
                  <a:pt x="7" y="524"/>
                  <a:pt x="7" y="525"/>
                  <a:pt x="7" y="525"/>
                </a:cubicBezTo>
                <a:cubicBezTo>
                  <a:pt x="7" y="525"/>
                  <a:pt x="6" y="525"/>
                  <a:pt x="6" y="525"/>
                </a:cubicBezTo>
                <a:cubicBezTo>
                  <a:pt x="6" y="524"/>
                  <a:pt x="6" y="524"/>
                  <a:pt x="6" y="524"/>
                </a:cubicBezTo>
                <a:cubicBezTo>
                  <a:pt x="5" y="524"/>
                  <a:pt x="4" y="524"/>
                  <a:pt x="4" y="524"/>
                </a:cubicBezTo>
                <a:cubicBezTo>
                  <a:pt x="3" y="524"/>
                  <a:pt x="3" y="524"/>
                  <a:pt x="3" y="524"/>
                </a:cubicBezTo>
                <a:cubicBezTo>
                  <a:pt x="2" y="525"/>
                  <a:pt x="2" y="525"/>
                  <a:pt x="1" y="525"/>
                </a:cubicBezTo>
                <a:cubicBezTo>
                  <a:pt x="1" y="526"/>
                  <a:pt x="0" y="526"/>
                  <a:pt x="1" y="526"/>
                </a:cubicBezTo>
                <a:cubicBezTo>
                  <a:pt x="1" y="526"/>
                  <a:pt x="1" y="526"/>
                  <a:pt x="1" y="526"/>
                </a:cubicBezTo>
                <a:cubicBezTo>
                  <a:pt x="2" y="526"/>
                  <a:pt x="2" y="526"/>
                  <a:pt x="3" y="526"/>
                </a:cubicBezTo>
                <a:cubicBezTo>
                  <a:pt x="3" y="526"/>
                  <a:pt x="3" y="526"/>
                  <a:pt x="3" y="526"/>
                </a:cubicBezTo>
                <a:cubicBezTo>
                  <a:pt x="3" y="526"/>
                  <a:pt x="3" y="527"/>
                  <a:pt x="3" y="527"/>
                </a:cubicBezTo>
                <a:cubicBezTo>
                  <a:pt x="3" y="527"/>
                  <a:pt x="3" y="527"/>
                  <a:pt x="3" y="527"/>
                </a:cubicBezTo>
                <a:cubicBezTo>
                  <a:pt x="3" y="527"/>
                  <a:pt x="3" y="527"/>
                  <a:pt x="3" y="527"/>
                </a:cubicBezTo>
                <a:cubicBezTo>
                  <a:pt x="3" y="527"/>
                  <a:pt x="4" y="527"/>
                  <a:pt x="4" y="527"/>
                </a:cubicBezTo>
                <a:cubicBezTo>
                  <a:pt x="4" y="527"/>
                  <a:pt x="3" y="527"/>
                  <a:pt x="3" y="527"/>
                </a:cubicBezTo>
                <a:cubicBezTo>
                  <a:pt x="4" y="527"/>
                  <a:pt x="4" y="527"/>
                  <a:pt x="4" y="527"/>
                </a:cubicBezTo>
                <a:cubicBezTo>
                  <a:pt x="4" y="527"/>
                  <a:pt x="4" y="527"/>
                  <a:pt x="4" y="527"/>
                </a:cubicBezTo>
                <a:cubicBezTo>
                  <a:pt x="4" y="527"/>
                  <a:pt x="4" y="527"/>
                  <a:pt x="4" y="527"/>
                </a:cubicBezTo>
                <a:cubicBezTo>
                  <a:pt x="4" y="527"/>
                  <a:pt x="4" y="528"/>
                  <a:pt x="4" y="528"/>
                </a:cubicBezTo>
                <a:cubicBezTo>
                  <a:pt x="4" y="528"/>
                  <a:pt x="4" y="529"/>
                  <a:pt x="4" y="529"/>
                </a:cubicBezTo>
                <a:cubicBezTo>
                  <a:pt x="5" y="529"/>
                  <a:pt x="5" y="529"/>
                  <a:pt x="5" y="529"/>
                </a:cubicBezTo>
                <a:cubicBezTo>
                  <a:pt x="5" y="528"/>
                  <a:pt x="6" y="529"/>
                  <a:pt x="6" y="529"/>
                </a:cubicBezTo>
                <a:cubicBezTo>
                  <a:pt x="6" y="530"/>
                  <a:pt x="6" y="530"/>
                  <a:pt x="7" y="529"/>
                </a:cubicBezTo>
                <a:cubicBezTo>
                  <a:pt x="7" y="529"/>
                  <a:pt x="7" y="528"/>
                  <a:pt x="8" y="528"/>
                </a:cubicBezTo>
                <a:cubicBezTo>
                  <a:pt x="8" y="528"/>
                  <a:pt x="8" y="528"/>
                  <a:pt x="9" y="528"/>
                </a:cubicBezTo>
                <a:cubicBezTo>
                  <a:pt x="9" y="529"/>
                  <a:pt x="9" y="529"/>
                  <a:pt x="9" y="528"/>
                </a:cubicBezTo>
                <a:cubicBezTo>
                  <a:pt x="10" y="528"/>
                  <a:pt x="10" y="528"/>
                  <a:pt x="10" y="528"/>
                </a:cubicBezTo>
                <a:cubicBezTo>
                  <a:pt x="10" y="527"/>
                  <a:pt x="10" y="527"/>
                  <a:pt x="11" y="528"/>
                </a:cubicBezTo>
                <a:cubicBezTo>
                  <a:pt x="11" y="528"/>
                  <a:pt x="11" y="528"/>
                  <a:pt x="11" y="528"/>
                </a:cubicBezTo>
                <a:cubicBezTo>
                  <a:pt x="12" y="528"/>
                  <a:pt x="12" y="528"/>
                  <a:pt x="12" y="528"/>
                </a:cubicBezTo>
                <a:cubicBezTo>
                  <a:pt x="13" y="528"/>
                  <a:pt x="13" y="528"/>
                  <a:pt x="13" y="528"/>
                </a:cubicBezTo>
                <a:close/>
                <a:moveTo>
                  <a:pt x="17" y="535"/>
                </a:moveTo>
                <a:cubicBezTo>
                  <a:pt x="16" y="534"/>
                  <a:pt x="16" y="535"/>
                  <a:pt x="16" y="535"/>
                </a:cubicBezTo>
                <a:cubicBezTo>
                  <a:pt x="16" y="535"/>
                  <a:pt x="15" y="535"/>
                  <a:pt x="15" y="535"/>
                </a:cubicBezTo>
                <a:cubicBezTo>
                  <a:pt x="14" y="536"/>
                  <a:pt x="14" y="536"/>
                  <a:pt x="13" y="536"/>
                </a:cubicBezTo>
                <a:cubicBezTo>
                  <a:pt x="13" y="536"/>
                  <a:pt x="13" y="536"/>
                  <a:pt x="12" y="536"/>
                </a:cubicBezTo>
                <a:cubicBezTo>
                  <a:pt x="12" y="536"/>
                  <a:pt x="12" y="537"/>
                  <a:pt x="12" y="537"/>
                </a:cubicBezTo>
                <a:cubicBezTo>
                  <a:pt x="12" y="537"/>
                  <a:pt x="12" y="537"/>
                  <a:pt x="12" y="537"/>
                </a:cubicBezTo>
                <a:cubicBezTo>
                  <a:pt x="13" y="537"/>
                  <a:pt x="14" y="537"/>
                  <a:pt x="14" y="537"/>
                </a:cubicBezTo>
                <a:cubicBezTo>
                  <a:pt x="15" y="537"/>
                  <a:pt x="15" y="537"/>
                  <a:pt x="16" y="538"/>
                </a:cubicBezTo>
                <a:cubicBezTo>
                  <a:pt x="16" y="538"/>
                  <a:pt x="16" y="538"/>
                  <a:pt x="16" y="538"/>
                </a:cubicBezTo>
                <a:cubicBezTo>
                  <a:pt x="17" y="538"/>
                  <a:pt x="17" y="538"/>
                  <a:pt x="17" y="537"/>
                </a:cubicBezTo>
                <a:cubicBezTo>
                  <a:pt x="17" y="537"/>
                  <a:pt x="17" y="537"/>
                  <a:pt x="17" y="536"/>
                </a:cubicBezTo>
                <a:cubicBezTo>
                  <a:pt x="16" y="536"/>
                  <a:pt x="16" y="536"/>
                  <a:pt x="17" y="535"/>
                </a:cubicBezTo>
                <a:cubicBezTo>
                  <a:pt x="17" y="535"/>
                  <a:pt x="17" y="535"/>
                  <a:pt x="17" y="535"/>
                </a:cubicBezTo>
                <a:cubicBezTo>
                  <a:pt x="17" y="535"/>
                  <a:pt x="17" y="535"/>
                  <a:pt x="17" y="535"/>
                </a:cubicBezTo>
                <a:close/>
                <a:moveTo>
                  <a:pt x="93" y="545"/>
                </a:moveTo>
                <a:cubicBezTo>
                  <a:pt x="93" y="545"/>
                  <a:pt x="92" y="545"/>
                  <a:pt x="92" y="545"/>
                </a:cubicBezTo>
                <a:cubicBezTo>
                  <a:pt x="92" y="545"/>
                  <a:pt x="91" y="546"/>
                  <a:pt x="91" y="546"/>
                </a:cubicBezTo>
                <a:cubicBezTo>
                  <a:pt x="91" y="546"/>
                  <a:pt x="91" y="546"/>
                  <a:pt x="91" y="546"/>
                </a:cubicBezTo>
                <a:cubicBezTo>
                  <a:pt x="91" y="548"/>
                  <a:pt x="92" y="548"/>
                  <a:pt x="93" y="548"/>
                </a:cubicBezTo>
                <a:cubicBezTo>
                  <a:pt x="94" y="547"/>
                  <a:pt x="94" y="547"/>
                  <a:pt x="94" y="546"/>
                </a:cubicBezTo>
                <a:cubicBezTo>
                  <a:pt x="94" y="546"/>
                  <a:pt x="94" y="546"/>
                  <a:pt x="94" y="546"/>
                </a:cubicBezTo>
                <a:cubicBezTo>
                  <a:pt x="94" y="546"/>
                  <a:pt x="94" y="546"/>
                  <a:pt x="93" y="545"/>
                </a:cubicBezTo>
                <a:close/>
                <a:moveTo>
                  <a:pt x="195" y="537"/>
                </a:moveTo>
                <a:cubicBezTo>
                  <a:pt x="195" y="537"/>
                  <a:pt x="194" y="537"/>
                  <a:pt x="194" y="537"/>
                </a:cubicBezTo>
                <a:cubicBezTo>
                  <a:pt x="193" y="538"/>
                  <a:pt x="193" y="538"/>
                  <a:pt x="193" y="538"/>
                </a:cubicBezTo>
                <a:cubicBezTo>
                  <a:pt x="192" y="539"/>
                  <a:pt x="192" y="539"/>
                  <a:pt x="192" y="540"/>
                </a:cubicBezTo>
                <a:cubicBezTo>
                  <a:pt x="192" y="540"/>
                  <a:pt x="193" y="540"/>
                  <a:pt x="193" y="540"/>
                </a:cubicBezTo>
                <a:cubicBezTo>
                  <a:pt x="194" y="540"/>
                  <a:pt x="194" y="540"/>
                  <a:pt x="195" y="539"/>
                </a:cubicBezTo>
                <a:cubicBezTo>
                  <a:pt x="196" y="538"/>
                  <a:pt x="196" y="538"/>
                  <a:pt x="195" y="537"/>
                </a:cubicBezTo>
                <a:close/>
                <a:moveTo>
                  <a:pt x="217" y="531"/>
                </a:moveTo>
                <a:cubicBezTo>
                  <a:pt x="216" y="531"/>
                  <a:pt x="216" y="532"/>
                  <a:pt x="216" y="532"/>
                </a:cubicBezTo>
                <a:cubicBezTo>
                  <a:pt x="215" y="532"/>
                  <a:pt x="215" y="533"/>
                  <a:pt x="215" y="533"/>
                </a:cubicBezTo>
                <a:cubicBezTo>
                  <a:pt x="215" y="534"/>
                  <a:pt x="215" y="534"/>
                  <a:pt x="215" y="534"/>
                </a:cubicBezTo>
                <a:cubicBezTo>
                  <a:pt x="215" y="534"/>
                  <a:pt x="216" y="534"/>
                  <a:pt x="216" y="534"/>
                </a:cubicBezTo>
                <a:cubicBezTo>
                  <a:pt x="216" y="533"/>
                  <a:pt x="216" y="533"/>
                  <a:pt x="217" y="533"/>
                </a:cubicBezTo>
                <a:cubicBezTo>
                  <a:pt x="218" y="533"/>
                  <a:pt x="218" y="533"/>
                  <a:pt x="218" y="532"/>
                </a:cubicBezTo>
                <a:cubicBezTo>
                  <a:pt x="218" y="532"/>
                  <a:pt x="218" y="532"/>
                  <a:pt x="218" y="531"/>
                </a:cubicBezTo>
                <a:cubicBezTo>
                  <a:pt x="218" y="531"/>
                  <a:pt x="217" y="531"/>
                  <a:pt x="217" y="531"/>
                </a:cubicBezTo>
                <a:close/>
                <a:moveTo>
                  <a:pt x="285" y="498"/>
                </a:moveTo>
                <a:cubicBezTo>
                  <a:pt x="285" y="498"/>
                  <a:pt x="284" y="498"/>
                  <a:pt x="284" y="498"/>
                </a:cubicBezTo>
                <a:cubicBezTo>
                  <a:pt x="284" y="498"/>
                  <a:pt x="284" y="498"/>
                  <a:pt x="283" y="498"/>
                </a:cubicBezTo>
                <a:cubicBezTo>
                  <a:pt x="283" y="498"/>
                  <a:pt x="283" y="498"/>
                  <a:pt x="283" y="497"/>
                </a:cubicBezTo>
                <a:cubicBezTo>
                  <a:pt x="283" y="497"/>
                  <a:pt x="283" y="497"/>
                  <a:pt x="283" y="497"/>
                </a:cubicBezTo>
                <a:cubicBezTo>
                  <a:pt x="283" y="497"/>
                  <a:pt x="283" y="497"/>
                  <a:pt x="284" y="496"/>
                </a:cubicBezTo>
                <a:cubicBezTo>
                  <a:pt x="283" y="496"/>
                  <a:pt x="283" y="496"/>
                  <a:pt x="283" y="496"/>
                </a:cubicBezTo>
                <a:cubicBezTo>
                  <a:pt x="282" y="497"/>
                  <a:pt x="282" y="497"/>
                  <a:pt x="282" y="497"/>
                </a:cubicBezTo>
                <a:cubicBezTo>
                  <a:pt x="282" y="496"/>
                  <a:pt x="281" y="497"/>
                  <a:pt x="281" y="497"/>
                </a:cubicBezTo>
                <a:cubicBezTo>
                  <a:pt x="281" y="497"/>
                  <a:pt x="281" y="497"/>
                  <a:pt x="281" y="497"/>
                </a:cubicBezTo>
                <a:cubicBezTo>
                  <a:pt x="281" y="498"/>
                  <a:pt x="281" y="498"/>
                  <a:pt x="282" y="498"/>
                </a:cubicBezTo>
                <a:cubicBezTo>
                  <a:pt x="282" y="497"/>
                  <a:pt x="282" y="497"/>
                  <a:pt x="282" y="498"/>
                </a:cubicBezTo>
                <a:cubicBezTo>
                  <a:pt x="282" y="498"/>
                  <a:pt x="282" y="498"/>
                  <a:pt x="282" y="498"/>
                </a:cubicBezTo>
                <a:cubicBezTo>
                  <a:pt x="282" y="498"/>
                  <a:pt x="282" y="498"/>
                  <a:pt x="282" y="499"/>
                </a:cubicBezTo>
                <a:cubicBezTo>
                  <a:pt x="282" y="499"/>
                  <a:pt x="282" y="499"/>
                  <a:pt x="282" y="499"/>
                </a:cubicBezTo>
                <a:cubicBezTo>
                  <a:pt x="282" y="500"/>
                  <a:pt x="282" y="500"/>
                  <a:pt x="282" y="500"/>
                </a:cubicBezTo>
                <a:cubicBezTo>
                  <a:pt x="283" y="500"/>
                  <a:pt x="283" y="500"/>
                  <a:pt x="283" y="500"/>
                </a:cubicBezTo>
                <a:cubicBezTo>
                  <a:pt x="283" y="499"/>
                  <a:pt x="283" y="499"/>
                  <a:pt x="283" y="499"/>
                </a:cubicBezTo>
                <a:cubicBezTo>
                  <a:pt x="283" y="499"/>
                  <a:pt x="283" y="499"/>
                  <a:pt x="283" y="499"/>
                </a:cubicBezTo>
                <a:cubicBezTo>
                  <a:pt x="284" y="499"/>
                  <a:pt x="284" y="499"/>
                  <a:pt x="284" y="499"/>
                </a:cubicBezTo>
                <a:cubicBezTo>
                  <a:pt x="284" y="499"/>
                  <a:pt x="285" y="499"/>
                  <a:pt x="285" y="498"/>
                </a:cubicBezTo>
                <a:close/>
                <a:moveTo>
                  <a:pt x="229" y="527"/>
                </a:moveTo>
                <a:cubicBezTo>
                  <a:pt x="229" y="527"/>
                  <a:pt x="228" y="527"/>
                  <a:pt x="227" y="527"/>
                </a:cubicBezTo>
                <a:cubicBezTo>
                  <a:pt x="227" y="527"/>
                  <a:pt x="227" y="527"/>
                  <a:pt x="226" y="527"/>
                </a:cubicBezTo>
                <a:cubicBezTo>
                  <a:pt x="226" y="527"/>
                  <a:pt x="226" y="527"/>
                  <a:pt x="226" y="528"/>
                </a:cubicBezTo>
                <a:cubicBezTo>
                  <a:pt x="225" y="528"/>
                  <a:pt x="226" y="529"/>
                  <a:pt x="226" y="529"/>
                </a:cubicBezTo>
                <a:cubicBezTo>
                  <a:pt x="226" y="529"/>
                  <a:pt x="227" y="529"/>
                  <a:pt x="227" y="528"/>
                </a:cubicBezTo>
                <a:cubicBezTo>
                  <a:pt x="227" y="528"/>
                  <a:pt x="227" y="528"/>
                  <a:pt x="227" y="528"/>
                </a:cubicBezTo>
                <a:cubicBezTo>
                  <a:pt x="228" y="528"/>
                  <a:pt x="228" y="528"/>
                  <a:pt x="229" y="529"/>
                </a:cubicBezTo>
                <a:cubicBezTo>
                  <a:pt x="229" y="529"/>
                  <a:pt x="229" y="529"/>
                  <a:pt x="229" y="529"/>
                </a:cubicBezTo>
                <a:cubicBezTo>
                  <a:pt x="230" y="529"/>
                  <a:pt x="230" y="527"/>
                  <a:pt x="229" y="527"/>
                </a:cubicBezTo>
                <a:close/>
                <a:moveTo>
                  <a:pt x="147" y="545"/>
                </a:moveTo>
                <a:cubicBezTo>
                  <a:pt x="147" y="545"/>
                  <a:pt x="147" y="545"/>
                  <a:pt x="148" y="546"/>
                </a:cubicBezTo>
                <a:cubicBezTo>
                  <a:pt x="148" y="546"/>
                  <a:pt x="148" y="546"/>
                  <a:pt x="148" y="546"/>
                </a:cubicBezTo>
                <a:cubicBezTo>
                  <a:pt x="148" y="546"/>
                  <a:pt x="148" y="545"/>
                  <a:pt x="148" y="545"/>
                </a:cubicBezTo>
                <a:cubicBezTo>
                  <a:pt x="148" y="545"/>
                  <a:pt x="148" y="545"/>
                  <a:pt x="148" y="545"/>
                </a:cubicBezTo>
                <a:cubicBezTo>
                  <a:pt x="149" y="545"/>
                  <a:pt x="149" y="544"/>
                  <a:pt x="149" y="544"/>
                </a:cubicBezTo>
                <a:cubicBezTo>
                  <a:pt x="149" y="543"/>
                  <a:pt x="148" y="543"/>
                  <a:pt x="147" y="543"/>
                </a:cubicBezTo>
                <a:cubicBezTo>
                  <a:pt x="147" y="543"/>
                  <a:pt x="146" y="544"/>
                  <a:pt x="146" y="544"/>
                </a:cubicBezTo>
                <a:cubicBezTo>
                  <a:pt x="146" y="545"/>
                  <a:pt x="146" y="545"/>
                  <a:pt x="147" y="545"/>
                </a:cubicBezTo>
                <a:close/>
                <a:moveTo>
                  <a:pt x="281" y="500"/>
                </a:moveTo>
                <a:cubicBezTo>
                  <a:pt x="281" y="500"/>
                  <a:pt x="281" y="500"/>
                  <a:pt x="280" y="500"/>
                </a:cubicBezTo>
                <a:cubicBezTo>
                  <a:pt x="280" y="500"/>
                  <a:pt x="280" y="500"/>
                  <a:pt x="280" y="500"/>
                </a:cubicBezTo>
                <a:cubicBezTo>
                  <a:pt x="280" y="500"/>
                  <a:pt x="280" y="500"/>
                  <a:pt x="280" y="500"/>
                </a:cubicBezTo>
                <a:cubicBezTo>
                  <a:pt x="280" y="500"/>
                  <a:pt x="280" y="500"/>
                  <a:pt x="280" y="500"/>
                </a:cubicBezTo>
                <a:cubicBezTo>
                  <a:pt x="280" y="500"/>
                  <a:pt x="280" y="500"/>
                  <a:pt x="280" y="500"/>
                </a:cubicBezTo>
                <a:cubicBezTo>
                  <a:pt x="280" y="499"/>
                  <a:pt x="280" y="500"/>
                  <a:pt x="280" y="499"/>
                </a:cubicBezTo>
                <a:cubicBezTo>
                  <a:pt x="280" y="499"/>
                  <a:pt x="280" y="499"/>
                  <a:pt x="280" y="499"/>
                </a:cubicBezTo>
                <a:cubicBezTo>
                  <a:pt x="280" y="499"/>
                  <a:pt x="280" y="499"/>
                  <a:pt x="279" y="499"/>
                </a:cubicBezTo>
                <a:cubicBezTo>
                  <a:pt x="279" y="499"/>
                  <a:pt x="279" y="499"/>
                  <a:pt x="279" y="499"/>
                </a:cubicBezTo>
                <a:cubicBezTo>
                  <a:pt x="279" y="498"/>
                  <a:pt x="279" y="498"/>
                  <a:pt x="278" y="498"/>
                </a:cubicBezTo>
                <a:cubicBezTo>
                  <a:pt x="278" y="498"/>
                  <a:pt x="278" y="498"/>
                  <a:pt x="278" y="498"/>
                </a:cubicBezTo>
                <a:cubicBezTo>
                  <a:pt x="277" y="498"/>
                  <a:pt x="277" y="498"/>
                  <a:pt x="276" y="499"/>
                </a:cubicBezTo>
                <a:cubicBezTo>
                  <a:pt x="276" y="499"/>
                  <a:pt x="275" y="500"/>
                  <a:pt x="276" y="501"/>
                </a:cubicBezTo>
                <a:cubicBezTo>
                  <a:pt x="276" y="501"/>
                  <a:pt x="276" y="501"/>
                  <a:pt x="276" y="501"/>
                </a:cubicBezTo>
                <a:cubicBezTo>
                  <a:pt x="276" y="502"/>
                  <a:pt x="277" y="502"/>
                  <a:pt x="277" y="501"/>
                </a:cubicBezTo>
                <a:cubicBezTo>
                  <a:pt x="277" y="501"/>
                  <a:pt x="277" y="501"/>
                  <a:pt x="277" y="501"/>
                </a:cubicBezTo>
                <a:cubicBezTo>
                  <a:pt x="277" y="501"/>
                  <a:pt x="278" y="501"/>
                  <a:pt x="278" y="501"/>
                </a:cubicBezTo>
                <a:cubicBezTo>
                  <a:pt x="278" y="502"/>
                  <a:pt x="278" y="502"/>
                  <a:pt x="279" y="502"/>
                </a:cubicBezTo>
                <a:cubicBezTo>
                  <a:pt x="279" y="502"/>
                  <a:pt x="279" y="501"/>
                  <a:pt x="279" y="501"/>
                </a:cubicBezTo>
                <a:cubicBezTo>
                  <a:pt x="279" y="501"/>
                  <a:pt x="279" y="501"/>
                  <a:pt x="279" y="501"/>
                </a:cubicBezTo>
                <a:cubicBezTo>
                  <a:pt x="280" y="501"/>
                  <a:pt x="281" y="501"/>
                  <a:pt x="281" y="500"/>
                </a:cubicBezTo>
                <a:cubicBezTo>
                  <a:pt x="281" y="500"/>
                  <a:pt x="281" y="500"/>
                  <a:pt x="281" y="500"/>
                </a:cubicBezTo>
                <a:cubicBezTo>
                  <a:pt x="281" y="500"/>
                  <a:pt x="281" y="500"/>
                  <a:pt x="281" y="500"/>
                </a:cubicBezTo>
                <a:close/>
                <a:moveTo>
                  <a:pt x="145" y="549"/>
                </a:moveTo>
                <a:cubicBezTo>
                  <a:pt x="145" y="549"/>
                  <a:pt x="145" y="549"/>
                  <a:pt x="145" y="548"/>
                </a:cubicBezTo>
                <a:cubicBezTo>
                  <a:pt x="145" y="548"/>
                  <a:pt x="144" y="548"/>
                  <a:pt x="144" y="548"/>
                </a:cubicBezTo>
                <a:cubicBezTo>
                  <a:pt x="143" y="548"/>
                  <a:pt x="143" y="548"/>
                  <a:pt x="143" y="549"/>
                </a:cubicBezTo>
                <a:cubicBezTo>
                  <a:pt x="143" y="549"/>
                  <a:pt x="143" y="549"/>
                  <a:pt x="143" y="549"/>
                </a:cubicBezTo>
                <a:cubicBezTo>
                  <a:pt x="142" y="548"/>
                  <a:pt x="142" y="548"/>
                  <a:pt x="142" y="549"/>
                </a:cubicBezTo>
                <a:cubicBezTo>
                  <a:pt x="142" y="549"/>
                  <a:pt x="142" y="549"/>
                  <a:pt x="141" y="549"/>
                </a:cubicBezTo>
                <a:cubicBezTo>
                  <a:pt x="141" y="549"/>
                  <a:pt x="141" y="548"/>
                  <a:pt x="140" y="548"/>
                </a:cubicBezTo>
                <a:cubicBezTo>
                  <a:pt x="140" y="548"/>
                  <a:pt x="141" y="547"/>
                  <a:pt x="141" y="547"/>
                </a:cubicBezTo>
                <a:cubicBezTo>
                  <a:pt x="141" y="547"/>
                  <a:pt x="141" y="546"/>
                  <a:pt x="141" y="546"/>
                </a:cubicBezTo>
                <a:cubicBezTo>
                  <a:pt x="142" y="546"/>
                  <a:pt x="142" y="546"/>
                  <a:pt x="141" y="545"/>
                </a:cubicBezTo>
                <a:cubicBezTo>
                  <a:pt x="141" y="545"/>
                  <a:pt x="141" y="545"/>
                  <a:pt x="141" y="545"/>
                </a:cubicBezTo>
                <a:cubicBezTo>
                  <a:pt x="141" y="546"/>
                  <a:pt x="140" y="546"/>
                  <a:pt x="141" y="546"/>
                </a:cubicBezTo>
                <a:cubicBezTo>
                  <a:pt x="141" y="547"/>
                  <a:pt x="141" y="547"/>
                  <a:pt x="140" y="547"/>
                </a:cubicBezTo>
                <a:cubicBezTo>
                  <a:pt x="140" y="547"/>
                  <a:pt x="140" y="547"/>
                  <a:pt x="140" y="546"/>
                </a:cubicBezTo>
                <a:cubicBezTo>
                  <a:pt x="140" y="546"/>
                  <a:pt x="139" y="546"/>
                  <a:pt x="139" y="546"/>
                </a:cubicBezTo>
                <a:cubicBezTo>
                  <a:pt x="139" y="546"/>
                  <a:pt x="138" y="546"/>
                  <a:pt x="138" y="547"/>
                </a:cubicBezTo>
                <a:cubicBezTo>
                  <a:pt x="138" y="547"/>
                  <a:pt x="139" y="547"/>
                  <a:pt x="139" y="548"/>
                </a:cubicBezTo>
                <a:cubicBezTo>
                  <a:pt x="139" y="548"/>
                  <a:pt x="139" y="548"/>
                  <a:pt x="139" y="548"/>
                </a:cubicBezTo>
                <a:cubicBezTo>
                  <a:pt x="138" y="549"/>
                  <a:pt x="138" y="549"/>
                  <a:pt x="139" y="550"/>
                </a:cubicBezTo>
                <a:cubicBezTo>
                  <a:pt x="139" y="550"/>
                  <a:pt x="138" y="550"/>
                  <a:pt x="138" y="549"/>
                </a:cubicBezTo>
                <a:cubicBezTo>
                  <a:pt x="137" y="549"/>
                  <a:pt x="137" y="549"/>
                  <a:pt x="137" y="549"/>
                </a:cubicBezTo>
                <a:cubicBezTo>
                  <a:pt x="137" y="550"/>
                  <a:pt x="137" y="550"/>
                  <a:pt x="138" y="550"/>
                </a:cubicBezTo>
                <a:cubicBezTo>
                  <a:pt x="138" y="550"/>
                  <a:pt x="138" y="550"/>
                  <a:pt x="138" y="551"/>
                </a:cubicBezTo>
                <a:cubicBezTo>
                  <a:pt x="138" y="551"/>
                  <a:pt x="137" y="551"/>
                  <a:pt x="137" y="552"/>
                </a:cubicBezTo>
                <a:cubicBezTo>
                  <a:pt x="136" y="552"/>
                  <a:pt x="136" y="552"/>
                  <a:pt x="136" y="553"/>
                </a:cubicBezTo>
                <a:cubicBezTo>
                  <a:pt x="136" y="553"/>
                  <a:pt x="136" y="554"/>
                  <a:pt x="136" y="554"/>
                </a:cubicBezTo>
                <a:cubicBezTo>
                  <a:pt x="137" y="554"/>
                  <a:pt x="137" y="553"/>
                  <a:pt x="137" y="553"/>
                </a:cubicBezTo>
                <a:cubicBezTo>
                  <a:pt x="137" y="553"/>
                  <a:pt x="137" y="552"/>
                  <a:pt x="138" y="551"/>
                </a:cubicBezTo>
                <a:cubicBezTo>
                  <a:pt x="138" y="552"/>
                  <a:pt x="138" y="552"/>
                  <a:pt x="138" y="553"/>
                </a:cubicBezTo>
                <a:cubicBezTo>
                  <a:pt x="138" y="553"/>
                  <a:pt x="138" y="553"/>
                  <a:pt x="138" y="553"/>
                </a:cubicBezTo>
                <a:cubicBezTo>
                  <a:pt x="139" y="553"/>
                  <a:pt x="139" y="553"/>
                  <a:pt x="139" y="552"/>
                </a:cubicBezTo>
                <a:cubicBezTo>
                  <a:pt x="139" y="552"/>
                  <a:pt x="140" y="552"/>
                  <a:pt x="140" y="552"/>
                </a:cubicBezTo>
                <a:cubicBezTo>
                  <a:pt x="140" y="552"/>
                  <a:pt x="141" y="551"/>
                  <a:pt x="141" y="551"/>
                </a:cubicBezTo>
                <a:cubicBezTo>
                  <a:pt x="141" y="551"/>
                  <a:pt x="142" y="551"/>
                  <a:pt x="142" y="551"/>
                </a:cubicBezTo>
                <a:cubicBezTo>
                  <a:pt x="142" y="551"/>
                  <a:pt x="142" y="551"/>
                  <a:pt x="142" y="551"/>
                </a:cubicBezTo>
                <a:cubicBezTo>
                  <a:pt x="142" y="550"/>
                  <a:pt x="142" y="550"/>
                  <a:pt x="142" y="550"/>
                </a:cubicBezTo>
                <a:cubicBezTo>
                  <a:pt x="143" y="551"/>
                  <a:pt x="143" y="550"/>
                  <a:pt x="143" y="550"/>
                </a:cubicBezTo>
                <a:cubicBezTo>
                  <a:pt x="143" y="550"/>
                  <a:pt x="143" y="550"/>
                  <a:pt x="143" y="549"/>
                </a:cubicBezTo>
                <a:cubicBezTo>
                  <a:pt x="144" y="550"/>
                  <a:pt x="144" y="550"/>
                  <a:pt x="144" y="550"/>
                </a:cubicBezTo>
                <a:cubicBezTo>
                  <a:pt x="144" y="551"/>
                  <a:pt x="144" y="551"/>
                  <a:pt x="144" y="551"/>
                </a:cubicBezTo>
                <a:cubicBezTo>
                  <a:pt x="144" y="551"/>
                  <a:pt x="144" y="551"/>
                  <a:pt x="144" y="551"/>
                </a:cubicBezTo>
                <a:cubicBezTo>
                  <a:pt x="144" y="550"/>
                  <a:pt x="145" y="551"/>
                  <a:pt x="145" y="551"/>
                </a:cubicBezTo>
                <a:cubicBezTo>
                  <a:pt x="145" y="550"/>
                  <a:pt x="145" y="550"/>
                  <a:pt x="145" y="549"/>
                </a:cubicBezTo>
                <a:cubicBezTo>
                  <a:pt x="145" y="549"/>
                  <a:pt x="145" y="549"/>
                  <a:pt x="145" y="549"/>
                </a:cubicBezTo>
                <a:close/>
                <a:moveTo>
                  <a:pt x="275" y="506"/>
                </a:moveTo>
                <a:cubicBezTo>
                  <a:pt x="275" y="506"/>
                  <a:pt x="274" y="506"/>
                  <a:pt x="274" y="507"/>
                </a:cubicBezTo>
                <a:cubicBezTo>
                  <a:pt x="274" y="507"/>
                  <a:pt x="274" y="507"/>
                  <a:pt x="274" y="507"/>
                </a:cubicBezTo>
                <a:cubicBezTo>
                  <a:pt x="274" y="507"/>
                  <a:pt x="273" y="507"/>
                  <a:pt x="273" y="507"/>
                </a:cubicBezTo>
                <a:cubicBezTo>
                  <a:pt x="273" y="508"/>
                  <a:pt x="273" y="508"/>
                  <a:pt x="273" y="508"/>
                </a:cubicBezTo>
                <a:cubicBezTo>
                  <a:pt x="273" y="509"/>
                  <a:pt x="274" y="509"/>
                  <a:pt x="274" y="509"/>
                </a:cubicBezTo>
                <a:cubicBezTo>
                  <a:pt x="274" y="509"/>
                  <a:pt x="275" y="508"/>
                  <a:pt x="275" y="508"/>
                </a:cubicBezTo>
                <a:cubicBezTo>
                  <a:pt x="275" y="508"/>
                  <a:pt x="275" y="508"/>
                  <a:pt x="275" y="508"/>
                </a:cubicBezTo>
                <a:cubicBezTo>
                  <a:pt x="275" y="508"/>
                  <a:pt x="275" y="507"/>
                  <a:pt x="275" y="507"/>
                </a:cubicBezTo>
                <a:cubicBezTo>
                  <a:pt x="275" y="507"/>
                  <a:pt x="275" y="506"/>
                  <a:pt x="276" y="506"/>
                </a:cubicBezTo>
                <a:cubicBezTo>
                  <a:pt x="276" y="506"/>
                  <a:pt x="276" y="506"/>
                  <a:pt x="276" y="506"/>
                </a:cubicBezTo>
                <a:cubicBezTo>
                  <a:pt x="276" y="506"/>
                  <a:pt x="275" y="506"/>
                  <a:pt x="275" y="506"/>
                </a:cubicBezTo>
                <a:close/>
                <a:moveTo>
                  <a:pt x="290" y="500"/>
                </a:moveTo>
                <a:cubicBezTo>
                  <a:pt x="290" y="500"/>
                  <a:pt x="289" y="500"/>
                  <a:pt x="289" y="500"/>
                </a:cubicBezTo>
                <a:cubicBezTo>
                  <a:pt x="289" y="500"/>
                  <a:pt x="288" y="500"/>
                  <a:pt x="287" y="500"/>
                </a:cubicBezTo>
                <a:cubicBezTo>
                  <a:pt x="287" y="500"/>
                  <a:pt x="287" y="501"/>
                  <a:pt x="287" y="501"/>
                </a:cubicBezTo>
                <a:cubicBezTo>
                  <a:pt x="288" y="501"/>
                  <a:pt x="289" y="501"/>
                  <a:pt x="289" y="501"/>
                </a:cubicBezTo>
                <a:cubicBezTo>
                  <a:pt x="290" y="501"/>
                  <a:pt x="290" y="501"/>
                  <a:pt x="290" y="501"/>
                </a:cubicBezTo>
                <a:cubicBezTo>
                  <a:pt x="291" y="501"/>
                  <a:pt x="291" y="500"/>
                  <a:pt x="291" y="500"/>
                </a:cubicBezTo>
                <a:cubicBezTo>
                  <a:pt x="290" y="500"/>
                  <a:pt x="290" y="500"/>
                  <a:pt x="290" y="500"/>
                </a:cubicBezTo>
                <a:close/>
                <a:moveTo>
                  <a:pt x="148" y="548"/>
                </a:moveTo>
                <a:cubicBezTo>
                  <a:pt x="147" y="549"/>
                  <a:pt x="147" y="548"/>
                  <a:pt x="147" y="548"/>
                </a:cubicBezTo>
                <a:cubicBezTo>
                  <a:pt x="146" y="548"/>
                  <a:pt x="146" y="548"/>
                  <a:pt x="146" y="548"/>
                </a:cubicBezTo>
                <a:cubicBezTo>
                  <a:pt x="146" y="548"/>
                  <a:pt x="146" y="549"/>
                  <a:pt x="146" y="549"/>
                </a:cubicBezTo>
                <a:cubicBezTo>
                  <a:pt x="146" y="550"/>
                  <a:pt x="146" y="550"/>
                  <a:pt x="147" y="550"/>
                </a:cubicBezTo>
                <a:cubicBezTo>
                  <a:pt x="147" y="550"/>
                  <a:pt x="147" y="550"/>
                  <a:pt x="147" y="549"/>
                </a:cubicBezTo>
                <a:cubicBezTo>
                  <a:pt x="147" y="549"/>
                  <a:pt x="148" y="549"/>
                  <a:pt x="148" y="549"/>
                </a:cubicBezTo>
                <a:cubicBezTo>
                  <a:pt x="148" y="549"/>
                  <a:pt x="148" y="549"/>
                  <a:pt x="148" y="549"/>
                </a:cubicBezTo>
                <a:cubicBezTo>
                  <a:pt x="148" y="548"/>
                  <a:pt x="148" y="548"/>
                  <a:pt x="148" y="548"/>
                </a:cubicBezTo>
                <a:close/>
                <a:moveTo>
                  <a:pt x="78" y="546"/>
                </a:moveTo>
                <a:cubicBezTo>
                  <a:pt x="77" y="546"/>
                  <a:pt x="77" y="546"/>
                  <a:pt x="77" y="546"/>
                </a:cubicBezTo>
                <a:cubicBezTo>
                  <a:pt x="78" y="547"/>
                  <a:pt x="78" y="547"/>
                  <a:pt x="78" y="547"/>
                </a:cubicBezTo>
                <a:cubicBezTo>
                  <a:pt x="78" y="547"/>
                  <a:pt x="79" y="547"/>
                  <a:pt x="79" y="546"/>
                </a:cubicBezTo>
                <a:cubicBezTo>
                  <a:pt x="79" y="546"/>
                  <a:pt x="78" y="546"/>
                  <a:pt x="78" y="546"/>
                </a:cubicBezTo>
                <a:close/>
                <a:moveTo>
                  <a:pt x="210" y="534"/>
                </a:moveTo>
                <a:cubicBezTo>
                  <a:pt x="209" y="534"/>
                  <a:pt x="209" y="535"/>
                  <a:pt x="209" y="535"/>
                </a:cubicBezTo>
                <a:cubicBezTo>
                  <a:pt x="209" y="536"/>
                  <a:pt x="209" y="536"/>
                  <a:pt x="210" y="536"/>
                </a:cubicBezTo>
                <a:cubicBezTo>
                  <a:pt x="210" y="536"/>
                  <a:pt x="210" y="535"/>
                  <a:pt x="210" y="535"/>
                </a:cubicBezTo>
                <a:cubicBezTo>
                  <a:pt x="210" y="535"/>
                  <a:pt x="210" y="535"/>
                  <a:pt x="210" y="534"/>
                </a:cubicBezTo>
                <a:close/>
                <a:moveTo>
                  <a:pt x="229" y="524"/>
                </a:moveTo>
                <a:cubicBezTo>
                  <a:pt x="229" y="524"/>
                  <a:pt x="229" y="524"/>
                  <a:pt x="229" y="525"/>
                </a:cubicBezTo>
                <a:cubicBezTo>
                  <a:pt x="229" y="525"/>
                  <a:pt x="229" y="525"/>
                  <a:pt x="229" y="525"/>
                </a:cubicBezTo>
                <a:cubicBezTo>
                  <a:pt x="229" y="525"/>
                  <a:pt x="230" y="525"/>
                  <a:pt x="230" y="524"/>
                </a:cubicBezTo>
                <a:cubicBezTo>
                  <a:pt x="230" y="524"/>
                  <a:pt x="230" y="524"/>
                  <a:pt x="229" y="524"/>
                </a:cubicBezTo>
                <a:close/>
                <a:moveTo>
                  <a:pt x="149" y="547"/>
                </a:moveTo>
                <a:cubicBezTo>
                  <a:pt x="149" y="547"/>
                  <a:pt x="148" y="547"/>
                  <a:pt x="148" y="547"/>
                </a:cubicBezTo>
                <a:cubicBezTo>
                  <a:pt x="148" y="547"/>
                  <a:pt x="148" y="547"/>
                  <a:pt x="147" y="548"/>
                </a:cubicBezTo>
                <a:cubicBezTo>
                  <a:pt x="148" y="548"/>
                  <a:pt x="148" y="548"/>
                  <a:pt x="149" y="548"/>
                </a:cubicBezTo>
                <a:cubicBezTo>
                  <a:pt x="149" y="548"/>
                  <a:pt x="149" y="548"/>
                  <a:pt x="149" y="548"/>
                </a:cubicBezTo>
                <a:cubicBezTo>
                  <a:pt x="150" y="547"/>
                  <a:pt x="149" y="548"/>
                  <a:pt x="149" y="547"/>
                </a:cubicBezTo>
                <a:close/>
                <a:moveTo>
                  <a:pt x="286" y="501"/>
                </a:moveTo>
                <a:cubicBezTo>
                  <a:pt x="286" y="500"/>
                  <a:pt x="285" y="501"/>
                  <a:pt x="285" y="501"/>
                </a:cubicBezTo>
                <a:cubicBezTo>
                  <a:pt x="285" y="501"/>
                  <a:pt x="285" y="501"/>
                  <a:pt x="286" y="501"/>
                </a:cubicBezTo>
                <a:cubicBezTo>
                  <a:pt x="286" y="502"/>
                  <a:pt x="286" y="501"/>
                  <a:pt x="287" y="501"/>
                </a:cubicBezTo>
                <a:cubicBezTo>
                  <a:pt x="287" y="501"/>
                  <a:pt x="286" y="501"/>
                  <a:pt x="286" y="501"/>
                </a:cubicBezTo>
                <a:close/>
                <a:moveTo>
                  <a:pt x="73" y="544"/>
                </a:moveTo>
                <a:cubicBezTo>
                  <a:pt x="73" y="544"/>
                  <a:pt x="73" y="545"/>
                  <a:pt x="73" y="545"/>
                </a:cubicBezTo>
                <a:cubicBezTo>
                  <a:pt x="73" y="545"/>
                  <a:pt x="73" y="546"/>
                  <a:pt x="73" y="546"/>
                </a:cubicBezTo>
                <a:cubicBezTo>
                  <a:pt x="74" y="546"/>
                  <a:pt x="74" y="546"/>
                  <a:pt x="74" y="545"/>
                </a:cubicBezTo>
                <a:cubicBezTo>
                  <a:pt x="74" y="545"/>
                  <a:pt x="74" y="544"/>
                  <a:pt x="73" y="544"/>
                </a:cubicBezTo>
                <a:close/>
                <a:moveTo>
                  <a:pt x="226" y="526"/>
                </a:moveTo>
                <a:cubicBezTo>
                  <a:pt x="226" y="526"/>
                  <a:pt x="225" y="526"/>
                  <a:pt x="225" y="526"/>
                </a:cubicBezTo>
                <a:cubicBezTo>
                  <a:pt x="224" y="526"/>
                  <a:pt x="224" y="526"/>
                  <a:pt x="224" y="526"/>
                </a:cubicBezTo>
                <a:cubicBezTo>
                  <a:pt x="224" y="527"/>
                  <a:pt x="224" y="527"/>
                  <a:pt x="224" y="527"/>
                </a:cubicBezTo>
                <a:cubicBezTo>
                  <a:pt x="225" y="527"/>
                  <a:pt x="225" y="527"/>
                  <a:pt x="225" y="527"/>
                </a:cubicBezTo>
                <a:cubicBezTo>
                  <a:pt x="225" y="527"/>
                  <a:pt x="226" y="527"/>
                  <a:pt x="226" y="526"/>
                </a:cubicBezTo>
                <a:close/>
                <a:moveTo>
                  <a:pt x="275" y="503"/>
                </a:moveTo>
                <a:cubicBezTo>
                  <a:pt x="275" y="503"/>
                  <a:pt x="275" y="503"/>
                  <a:pt x="275" y="503"/>
                </a:cubicBezTo>
                <a:cubicBezTo>
                  <a:pt x="274" y="504"/>
                  <a:pt x="275" y="503"/>
                  <a:pt x="275" y="504"/>
                </a:cubicBezTo>
                <a:cubicBezTo>
                  <a:pt x="275" y="504"/>
                  <a:pt x="276" y="504"/>
                  <a:pt x="276" y="503"/>
                </a:cubicBezTo>
                <a:cubicBezTo>
                  <a:pt x="276" y="503"/>
                  <a:pt x="275" y="503"/>
                  <a:pt x="275" y="503"/>
                </a:cubicBezTo>
                <a:close/>
                <a:moveTo>
                  <a:pt x="223" y="529"/>
                </a:moveTo>
                <a:cubicBezTo>
                  <a:pt x="223" y="529"/>
                  <a:pt x="223" y="530"/>
                  <a:pt x="223" y="530"/>
                </a:cubicBezTo>
                <a:cubicBezTo>
                  <a:pt x="223" y="531"/>
                  <a:pt x="224" y="530"/>
                  <a:pt x="224" y="530"/>
                </a:cubicBezTo>
                <a:cubicBezTo>
                  <a:pt x="224" y="530"/>
                  <a:pt x="224" y="530"/>
                  <a:pt x="224" y="530"/>
                </a:cubicBezTo>
                <a:cubicBezTo>
                  <a:pt x="224" y="530"/>
                  <a:pt x="224" y="530"/>
                  <a:pt x="224" y="530"/>
                </a:cubicBezTo>
                <a:cubicBezTo>
                  <a:pt x="224" y="530"/>
                  <a:pt x="224" y="530"/>
                  <a:pt x="224" y="530"/>
                </a:cubicBezTo>
                <a:cubicBezTo>
                  <a:pt x="225" y="530"/>
                  <a:pt x="225" y="530"/>
                  <a:pt x="225" y="529"/>
                </a:cubicBezTo>
                <a:cubicBezTo>
                  <a:pt x="224" y="529"/>
                  <a:pt x="224" y="529"/>
                  <a:pt x="223" y="529"/>
                </a:cubicBezTo>
                <a:close/>
                <a:moveTo>
                  <a:pt x="76" y="549"/>
                </a:moveTo>
                <a:cubicBezTo>
                  <a:pt x="76" y="549"/>
                  <a:pt x="75" y="549"/>
                  <a:pt x="75" y="549"/>
                </a:cubicBezTo>
                <a:cubicBezTo>
                  <a:pt x="75" y="549"/>
                  <a:pt x="75" y="549"/>
                  <a:pt x="75" y="550"/>
                </a:cubicBezTo>
                <a:cubicBezTo>
                  <a:pt x="75" y="550"/>
                  <a:pt x="75" y="550"/>
                  <a:pt x="75" y="550"/>
                </a:cubicBezTo>
                <a:cubicBezTo>
                  <a:pt x="76" y="550"/>
                  <a:pt x="76" y="550"/>
                  <a:pt x="76" y="550"/>
                </a:cubicBezTo>
                <a:cubicBezTo>
                  <a:pt x="76" y="550"/>
                  <a:pt x="76" y="550"/>
                  <a:pt x="76" y="550"/>
                </a:cubicBezTo>
                <a:cubicBezTo>
                  <a:pt x="76" y="550"/>
                  <a:pt x="76" y="549"/>
                  <a:pt x="76" y="549"/>
                </a:cubicBezTo>
                <a:close/>
                <a:moveTo>
                  <a:pt x="45" y="538"/>
                </a:moveTo>
                <a:cubicBezTo>
                  <a:pt x="45" y="538"/>
                  <a:pt x="45" y="537"/>
                  <a:pt x="44" y="538"/>
                </a:cubicBezTo>
                <a:cubicBezTo>
                  <a:pt x="44" y="538"/>
                  <a:pt x="44" y="538"/>
                  <a:pt x="45" y="538"/>
                </a:cubicBezTo>
                <a:cubicBezTo>
                  <a:pt x="45" y="538"/>
                  <a:pt x="45" y="538"/>
                  <a:pt x="45" y="538"/>
                </a:cubicBezTo>
                <a:cubicBezTo>
                  <a:pt x="45" y="538"/>
                  <a:pt x="45" y="538"/>
                  <a:pt x="45" y="538"/>
                </a:cubicBezTo>
                <a:cubicBezTo>
                  <a:pt x="45" y="538"/>
                  <a:pt x="45" y="538"/>
                  <a:pt x="45" y="538"/>
                </a:cubicBezTo>
                <a:close/>
                <a:moveTo>
                  <a:pt x="151" y="546"/>
                </a:moveTo>
                <a:cubicBezTo>
                  <a:pt x="151" y="546"/>
                  <a:pt x="150" y="546"/>
                  <a:pt x="151" y="547"/>
                </a:cubicBezTo>
                <a:cubicBezTo>
                  <a:pt x="151" y="547"/>
                  <a:pt x="151" y="547"/>
                  <a:pt x="152" y="547"/>
                </a:cubicBezTo>
                <a:cubicBezTo>
                  <a:pt x="151" y="547"/>
                  <a:pt x="151" y="546"/>
                  <a:pt x="151" y="546"/>
                </a:cubicBezTo>
                <a:close/>
                <a:moveTo>
                  <a:pt x="150" y="545"/>
                </a:moveTo>
                <a:cubicBezTo>
                  <a:pt x="150" y="545"/>
                  <a:pt x="150" y="545"/>
                  <a:pt x="150" y="546"/>
                </a:cubicBezTo>
                <a:cubicBezTo>
                  <a:pt x="149" y="546"/>
                  <a:pt x="150" y="546"/>
                  <a:pt x="150" y="546"/>
                </a:cubicBezTo>
                <a:cubicBezTo>
                  <a:pt x="150" y="546"/>
                  <a:pt x="150" y="546"/>
                  <a:pt x="150" y="546"/>
                </a:cubicBezTo>
                <a:cubicBezTo>
                  <a:pt x="150" y="545"/>
                  <a:pt x="150" y="545"/>
                  <a:pt x="150" y="545"/>
                </a:cubicBezTo>
                <a:close/>
                <a:moveTo>
                  <a:pt x="21" y="530"/>
                </a:moveTo>
                <a:cubicBezTo>
                  <a:pt x="21" y="530"/>
                  <a:pt x="21" y="530"/>
                  <a:pt x="21" y="530"/>
                </a:cubicBezTo>
                <a:cubicBezTo>
                  <a:pt x="21" y="530"/>
                  <a:pt x="22" y="530"/>
                  <a:pt x="22" y="530"/>
                </a:cubicBezTo>
                <a:cubicBezTo>
                  <a:pt x="22" y="531"/>
                  <a:pt x="22" y="530"/>
                  <a:pt x="22" y="530"/>
                </a:cubicBezTo>
                <a:cubicBezTo>
                  <a:pt x="22" y="530"/>
                  <a:pt x="22" y="530"/>
                  <a:pt x="21" y="530"/>
                </a:cubicBezTo>
                <a:close/>
                <a:moveTo>
                  <a:pt x="283" y="501"/>
                </a:moveTo>
                <a:cubicBezTo>
                  <a:pt x="283" y="501"/>
                  <a:pt x="282" y="502"/>
                  <a:pt x="283" y="502"/>
                </a:cubicBezTo>
                <a:cubicBezTo>
                  <a:pt x="283" y="502"/>
                  <a:pt x="283" y="502"/>
                  <a:pt x="283" y="502"/>
                </a:cubicBezTo>
                <a:cubicBezTo>
                  <a:pt x="284" y="502"/>
                  <a:pt x="283" y="501"/>
                  <a:pt x="283" y="501"/>
                </a:cubicBezTo>
                <a:close/>
                <a:moveTo>
                  <a:pt x="152" y="546"/>
                </a:moveTo>
                <a:cubicBezTo>
                  <a:pt x="152" y="546"/>
                  <a:pt x="153" y="546"/>
                  <a:pt x="153" y="546"/>
                </a:cubicBezTo>
                <a:cubicBezTo>
                  <a:pt x="152" y="546"/>
                  <a:pt x="152" y="546"/>
                  <a:pt x="152" y="546"/>
                </a:cubicBezTo>
                <a:close/>
                <a:moveTo>
                  <a:pt x="109" y="560"/>
                </a:moveTo>
                <a:cubicBezTo>
                  <a:pt x="108" y="560"/>
                  <a:pt x="108" y="560"/>
                  <a:pt x="108" y="561"/>
                </a:cubicBezTo>
                <a:cubicBezTo>
                  <a:pt x="108" y="561"/>
                  <a:pt x="109" y="561"/>
                  <a:pt x="109" y="561"/>
                </a:cubicBezTo>
                <a:cubicBezTo>
                  <a:pt x="109" y="561"/>
                  <a:pt x="109" y="560"/>
                  <a:pt x="109" y="560"/>
                </a:cubicBezTo>
                <a:close/>
                <a:moveTo>
                  <a:pt x="270" y="505"/>
                </a:moveTo>
                <a:cubicBezTo>
                  <a:pt x="270" y="505"/>
                  <a:pt x="270" y="504"/>
                  <a:pt x="270" y="504"/>
                </a:cubicBezTo>
                <a:cubicBezTo>
                  <a:pt x="270" y="504"/>
                  <a:pt x="270" y="505"/>
                  <a:pt x="270" y="505"/>
                </a:cubicBezTo>
                <a:cubicBezTo>
                  <a:pt x="270" y="505"/>
                  <a:pt x="270" y="505"/>
                  <a:pt x="270" y="505"/>
                </a:cubicBezTo>
                <a:close/>
                <a:moveTo>
                  <a:pt x="211" y="533"/>
                </a:moveTo>
                <a:cubicBezTo>
                  <a:pt x="211" y="533"/>
                  <a:pt x="211" y="533"/>
                  <a:pt x="211" y="534"/>
                </a:cubicBezTo>
                <a:cubicBezTo>
                  <a:pt x="211" y="534"/>
                  <a:pt x="211" y="534"/>
                  <a:pt x="211" y="534"/>
                </a:cubicBezTo>
                <a:cubicBezTo>
                  <a:pt x="211" y="534"/>
                  <a:pt x="211" y="534"/>
                  <a:pt x="211" y="534"/>
                </a:cubicBezTo>
                <a:cubicBezTo>
                  <a:pt x="211" y="533"/>
                  <a:pt x="211" y="533"/>
                  <a:pt x="211" y="533"/>
                </a:cubicBezTo>
                <a:close/>
                <a:moveTo>
                  <a:pt x="67" y="546"/>
                </a:moveTo>
                <a:cubicBezTo>
                  <a:pt x="67" y="546"/>
                  <a:pt x="67" y="546"/>
                  <a:pt x="67" y="546"/>
                </a:cubicBezTo>
                <a:cubicBezTo>
                  <a:pt x="67" y="546"/>
                  <a:pt x="67" y="546"/>
                  <a:pt x="68" y="546"/>
                </a:cubicBezTo>
                <a:cubicBezTo>
                  <a:pt x="67" y="546"/>
                  <a:pt x="67" y="546"/>
                  <a:pt x="67" y="546"/>
                </a:cubicBezTo>
                <a:close/>
                <a:moveTo>
                  <a:pt x="113" y="555"/>
                </a:moveTo>
                <a:cubicBezTo>
                  <a:pt x="113" y="554"/>
                  <a:pt x="112" y="554"/>
                  <a:pt x="112" y="554"/>
                </a:cubicBezTo>
                <a:cubicBezTo>
                  <a:pt x="112" y="555"/>
                  <a:pt x="113" y="555"/>
                  <a:pt x="113" y="555"/>
                </a:cubicBezTo>
                <a:close/>
                <a:moveTo>
                  <a:pt x="111" y="558"/>
                </a:moveTo>
                <a:cubicBezTo>
                  <a:pt x="111" y="558"/>
                  <a:pt x="110" y="558"/>
                  <a:pt x="110" y="558"/>
                </a:cubicBezTo>
                <a:cubicBezTo>
                  <a:pt x="111" y="559"/>
                  <a:pt x="110" y="559"/>
                  <a:pt x="110" y="559"/>
                </a:cubicBezTo>
                <a:cubicBezTo>
                  <a:pt x="111" y="559"/>
                  <a:pt x="111" y="559"/>
                  <a:pt x="111" y="559"/>
                </a:cubicBezTo>
                <a:cubicBezTo>
                  <a:pt x="111" y="559"/>
                  <a:pt x="111" y="559"/>
                  <a:pt x="111" y="559"/>
                </a:cubicBezTo>
                <a:cubicBezTo>
                  <a:pt x="111" y="559"/>
                  <a:pt x="111" y="558"/>
                  <a:pt x="111" y="558"/>
                </a:cubicBezTo>
                <a:close/>
                <a:moveTo>
                  <a:pt x="291" y="498"/>
                </a:moveTo>
                <a:cubicBezTo>
                  <a:pt x="292" y="498"/>
                  <a:pt x="292" y="498"/>
                  <a:pt x="292" y="498"/>
                </a:cubicBezTo>
                <a:cubicBezTo>
                  <a:pt x="292" y="498"/>
                  <a:pt x="292" y="498"/>
                  <a:pt x="291" y="498"/>
                </a:cubicBezTo>
                <a:close/>
                <a:moveTo>
                  <a:pt x="20" y="530"/>
                </a:moveTo>
                <a:cubicBezTo>
                  <a:pt x="20" y="530"/>
                  <a:pt x="20" y="530"/>
                  <a:pt x="20" y="530"/>
                </a:cubicBezTo>
                <a:cubicBezTo>
                  <a:pt x="20" y="530"/>
                  <a:pt x="20" y="530"/>
                  <a:pt x="20" y="530"/>
                </a:cubicBezTo>
                <a:close/>
                <a:moveTo>
                  <a:pt x="113" y="549"/>
                </a:moveTo>
                <a:cubicBezTo>
                  <a:pt x="113" y="550"/>
                  <a:pt x="113" y="550"/>
                  <a:pt x="113" y="550"/>
                </a:cubicBezTo>
                <a:cubicBezTo>
                  <a:pt x="113" y="550"/>
                  <a:pt x="113" y="550"/>
                  <a:pt x="113" y="550"/>
                </a:cubicBezTo>
                <a:cubicBezTo>
                  <a:pt x="113" y="551"/>
                  <a:pt x="112" y="551"/>
                  <a:pt x="112" y="550"/>
                </a:cubicBezTo>
                <a:cubicBezTo>
                  <a:pt x="112" y="550"/>
                  <a:pt x="112" y="549"/>
                  <a:pt x="112" y="549"/>
                </a:cubicBezTo>
                <a:cubicBezTo>
                  <a:pt x="113" y="548"/>
                  <a:pt x="113" y="549"/>
                  <a:pt x="113" y="549"/>
                </a:cubicBezTo>
                <a:cubicBezTo>
                  <a:pt x="113" y="549"/>
                  <a:pt x="113" y="549"/>
                  <a:pt x="113" y="549"/>
                </a:cubicBezTo>
                <a:close/>
                <a:moveTo>
                  <a:pt x="113" y="549"/>
                </a:moveTo>
                <a:cubicBezTo>
                  <a:pt x="113" y="549"/>
                  <a:pt x="113" y="549"/>
                  <a:pt x="113" y="549"/>
                </a:cubicBezTo>
                <a:cubicBezTo>
                  <a:pt x="113" y="549"/>
                  <a:pt x="113" y="549"/>
                  <a:pt x="113" y="549"/>
                </a:cubicBezTo>
                <a:close/>
                <a:moveTo>
                  <a:pt x="115" y="553"/>
                </a:moveTo>
                <a:cubicBezTo>
                  <a:pt x="115" y="553"/>
                  <a:pt x="114" y="553"/>
                  <a:pt x="114" y="554"/>
                </a:cubicBezTo>
                <a:cubicBezTo>
                  <a:pt x="114" y="554"/>
                  <a:pt x="114" y="554"/>
                  <a:pt x="115" y="554"/>
                </a:cubicBezTo>
                <a:cubicBezTo>
                  <a:pt x="115" y="554"/>
                  <a:pt x="115" y="554"/>
                  <a:pt x="115" y="553"/>
                </a:cubicBezTo>
                <a:cubicBezTo>
                  <a:pt x="115" y="553"/>
                  <a:pt x="115" y="553"/>
                  <a:pt x="115" y="553"/>
                </a:cubicBezTo>
                <a:close/>
                <a:moveTo>
                  <a:pt x="229" y="523"/>
                </a:moveTo>
                <a:cubicBezTo>
                  <a:pt x="229" y="523"/>
                  <a:pt x="229" y="523"/>
                  <a:pt x="228" y="523"/>
                </a:cubicBezTo>
                <a:cubicBezTo>
                  <a:pt x="228" y="523"/>
                  <a:pt x="228" y="523"/>
                  <a:pt x="228" y="523"/>
                </a:cubicBezTo>
                <a:cubicBezTo>
                  <a:pt x="228" y="523"/>
                  <a:pt x="229" y="523"/>
                  <a:pt x="229" y="523"/>
                </a:cubicBezTo>
                <a:close/>
                <a:moveTo>
                  <a:pt x="88" y="558"/>
                </a:moveTo>
                <a:cubicBezTo>
                  <a:pt x="88" y="558"/>
                  <a:pt x="88" y="558"/>
                  <a:pt x="88" y="558"/>
                </a:cubicBezTo>
                <a:cubicBezTo>
                  <a:pt x="88" y="557"/>
                  <a:pt x="88" y="558"/>
                  <a:pt x="87" y="557"/>
                </a:cubicBezTo>
                <a:cubicBezTo>
                  <a:pt x="87" y="557"/>
                  <a:pt x="87" y="557"/>
                  <a:pt x="87" y="557"/>
                </a:cubicBezTo>
                <a:cubicBezTo>
                  <a:pt x="87" y="556"/>
                  <a:pt x="86" y="556"/>
                  <a:pt x="86" y="556"/>
                </a:cubicBezTo>
                <a:cubicBezTo>
                  <a:pt x="86" y="556"/>
                  <a:pt x="86" y="556"/>
                  <a:pt x="86" y="556"/>
                </a:cubicBezTo>
                <a:cubicBezTo>
                  <a:pt x="86" y="556"/>
                  <a:pt x="85" y="555"/>
                  <a:pt x="85" y="555"/>
                </a:cubicBezTo>
                <a:cubicBezTo>
                  <a:pt x="85" y="555"/>
                  <a:pt x="84" y="554"/>
                  <a:pt x="84" y="554"/>
                </a:cubicBezTo>
                <a:cubicBezTo>
                  <a:pt x="84" y="554"/>
                  <a:pt x="83" y="554"/>
                  <a:pt x="83" y="553"/>
                </a:cubicBezTo>
                <a:cubicBezTo>
                  <a:pt x="83" y="553"/>
                  <a:pt x="83" y="553"/>
                  <a:pt x="82" y="553"/>
                </a:cubicBezTo>
                <a:cubicBezTo>
                  <a:pt x="82" y="553"/>
                  <a:pt x="81" y="553"/>
                  <a:pt x="80" y="552"/>
                </a:cubicBezTo>
                <a:cubicBezTo>
                  <a:pt x="80" y="552"/>
                  <a:pt x="80" y="552"/>
                  <a:pt x="80" y="553"/>
                </a:cubicBezTo>
                <a:cubicBezTo>
                  <a:pt x="80" y="553"/>
                  <a:pt x="80" y="553"/>
                  <a:pt x="80" y="553"/>
                </a:cubicBezTo>
                <a:cubicBezTo>
                  <a:pt x="80" y="553"/>
                  <a:pt x="80" y="554"/>
                  <a:pt x="80" y="554"/>
                </a:cubicBezTo>
                <a:cubicBezTo>
                  <a:pt x="81" y="554"/>
                  <a:pt x="82" y="554"/>
                  <a:pt x="83" y="554"/>
                </a:cubicBezTo>
                <a:cubicBezTo>
                  <a:pt x="83" y="555"/>
                  <a:pt x="83" y="555"/>
                  <a:pt x="84" y="555"/>
                </a:cubicBezTo>
                <a:cubicBezTo>
                  <a:pt x="84" y="555"/>
                  <a:pt x="85" y="556"/>
                  <a:pt x="85" y="556"/>
                </a:cubicBezTo>
                <a:cubicBezTo>
                  <a:pt x="85" y="557"/>
                  <a:pt x="86" y="557"/>
                  <a:pt x="87" y="558"/>
                </a:cubicBezTo>
                <a:cubicBezTo>
                  <a:pt x="87" y="558"/>
                  <a:pt x="87" y="558"/>
                  <a:pt x="87" y="558"/>
                </a:cubicBezTo>
                <a:cubicBezTo>
                  <a:pt x="87" y="559"/>
                  <a:pt x="87" y="559"/>
                  <a:pt x="88" y="559"/>
                </a:cubicBezTo>
                <a:cubicBezTo>
                  <a:pt x="88" y="559"/>
                  <a:pt x="89" y="559"/>
                  <a:pt x="89" y="558"/>
                </a:cubicBezTo>
                <a:cubicBezTo>
                  <a:pt x="89" y="558"/>
                  <a:pt x="90" y="558"/>
                  <a:pt x="90" y="558"/>
                </a:cubicBezTo>
                <a:cubicBezTo>
                  <a:pt x="90" y="559"/>
                  <a:pt x="90" y="558"/>
                  <a:pt x="90" y="558"/>
                </a:cubicBezTo>
                <a:cubicBezTo>
                  <a:pt x="90" y="558"/>
                  <a:pt x="90" y="558"/>
                  <a:pt x="90" y="558"/>
                </a:cubicBezTo>
                <a:cubicBezTo>
                  <a:pt x="90" y="558"/>
                  <a:pt x="89" y="557"/>
                  <a:pt x="88" y="558"/>
                </a:cubicBezTo>
                <a:close/>
                <a:moveTo>
                  <a:pt x="148" y="547"/>
                </a:moveTo>
                <a:cubicBezTo>
                  <a:pt x="148" y="547"/>
                  <a:pt x="148" y="547"/>
                  <a:pt x="148" y="547"/>
                </a:cubicBezTo>
                <a:cubicBezTo>
                  <a:pt x="148" y="547"/>
                  <a:pt x="148" y="547"/>
                  <a:pt x="148" y="547"/>
                </a:cubicBezTo>
                <a:cubicBezTo>
                  <a:pt x="148" y="546"/>
                  <a:pt x="148" y="546"/>
                  <a:pt x="148" y="546"/>
                </a:cubicBezTo>
                <a:cubicBezTo>
                  <a:pt x="148" y="546"/>
                  <a:pt x="148" y="547"/>
                  <a:pt x="148" y="547"/>
                </a:cubicBezTo>
                <a:close/>
                <a:moveTo>
                  <a:pt x="321" y="494"/>
                </a:moveTo>
                <a:cubicBezTo>
                  <a:pt x="321" y="493"/>
                  <a:pt x="321" y="493"/>
                  <a:pt x="321" y="492"/>
                </a:cubicBezTo>
                <a:cubicBezTo>
                  <a:pt x="321" y="492"/>
                  <a:pt x="321" y="492"/>
                  <a:pt x="321" y="492"/>
                </a:cubicBezTo>
                <a:cubicBezTo>
                  <a:pt x="321" y="492"/>
                  <a:pt x="321" y="492"/>
                  <a:pt x="321" y="492"/>
                </a:cubicBezTo>
                <a:cubicBezTo>
                  <a:pt x="320" y="492"/>
                  <a:pt x="319" y="492"/>
                  <a:pt x="319" y="492"/>
                </a:cubicBezTo>
                <a:cubicBezTo>
                  <a:pt x="319" y="492"/>
                  <a:pt x="318" y="492"/>
                  <a:pt x="318" y="492"/>
                </a:cubicBezTo>
                <a:cubicBezTo>
                  <a:pt x="318" y="492"/>
                  <a:pt x="318" y="492"/>
                  <a:pt x="318" y="492"/>
                </a:cubicBezTo>
                <a:cubicBezTo>
                  <a:pt x="318" y="493"/>
                  <a:pt x="319" y="493"/>
                  <a:pt x="319" y="493"/>
                </a:cubicBezTo>
                <a:cubicBezTo>
                  <a:pt x="319" y="494"/>
                  <a:pt x="320" y="494"/>
                  <a:pt x="320" y="494"/>
                </a:cubicBezTo>
                <a:cubicBezTo>
                  <a:pt x="320" y="494"/>
                  <a:pt x="320" y="494"/>
                  <a:pt x="320" y="494"/>
                </a:cubicBezTo>
                <a:cubicBezTo>
                  <a:pt x="320" y="495"/>
                  <a:pt x="320" y="494"/>
                  <a:pt x="320" y="494"/>
                </a:cubicBezTo>
                <a:cubicBezTo>
                  <a:pt x="320" y="494"/>
                  <a:pt x="320" y="494"/>
                  <a:pt x="321" y="494"/>
                </a:cubicBezTo>
                <a:cubicBezTo>
                  <a:pt x="321" y="494"/>
                  <a:pt x="321" y="494"/>
                  <a:pt x="321" y="494"/>
                </a:cubicBezTo>
                <a:close/>
                <a:moveTo>
                  <a:pt x="323" y="481"/>
                </a:moveTo>
                <a:cubicBezTo>
                  <a:pt x="323" y="481"/>
                  <a:pt x="323" y="481"/>
                  <a:pt x="323" y="481"/>
                </a:cubicBezTo>
                <a:cubicBezTo>
                  <a:pt x="323" y="482"/>
                  <a:pt x="323" y="482"/>
                  <a:pt x="323" y="482"/>
                </a:cubicBezTo>
                <a:cubicBezTo>
                  <a:pt x="323" y="482"/>
                  <a:pt x="323" y="483"/>
                  <a:pt x="323" y="483"/>
                </a:cubicBezTo>
                <a:cubicBezTo>
                  <a:pt x="324" y="483"/>
                  <a:pt x="324" y="483"/>
                  <a:pt x="324" y="483"/>
                </a:cubicBezTo>
                <a:cubicBezTo>
                  <a:pt x="324" y="484"/>
                  <a:pt x="325" y="484"/>
                  <a:pt x="325" y="484"/>
                </a:cubicBezTo>
                <a:cubicBezTo>
                  <a:pt x="325" y="484"/>
                  <a:pt x="325" y="483"/>
                  <a:pt x="325" y="483"/>
                </a:cubicBezTo>
                <a:cubicBezTo>
                  <a:pt x="325" y="483"/>
                  <a:pt x="326" y="482"/>
                  <a:pt x="326" y="481"/>
                </a:cubicBezTo>
                <a:cubicBezTo>
                  <a:pt x="326" y="481"/>
                  <a:pt x="326" y="481"/>
                  <a:pt x="326" y="481"/>
                </a:cubicBezTo>
                <a:cubicBezTo>
                  <a:pt x="326" y="481"/>
                  <a:pt x="325" y="481"/>
                  <a:pt x="325" y="481"/>
                </a:cubicBezTo>
                <a:cubicBezTo>
                  <a:pt x="325" y="481"/>
                  <a:pt x="325" y="481"/>
                  <a:pt x="324" y="481"/>
                </a:cubicBezTo>
                <a:cubicBezTo>
                  <a:pt x="324" y="481"/>
                  <a:pt x="324" y="481"/>
                  <a:pt x="323" y="481"/>
                </a:cubicBezTo>
                <a:close/>
                <a:moveTo>
                  <a:pt x="333" y="477"/>
                </a:moveTo>
                <a:cubicBezTo>
                  <a:pt x="333" y="477"/>
                  <a:pt x="332" y="477"/>
                  <a:pt x="332" y="477"/>
                </a:cubicBezTo>
                <a:cubicBezTo>
                  <a:pt x="332" y="477"/>
                  <a:pt x="332" y="477"/>
                  <a:pt x="332" y="477"/>
                </a:cubicBezTo>
                <a:cubicBezTo>
                  <a:pt x="331" y="477"/>
                  <a:pt x="331" y="477"/>
                  <a:pt x="330" y="477"/>
                </a:cubicBezTo>
                <a:cubicBezTo>
                  <a:pt x="330" y="477"/>
                  <a:pt x="330" y="477"/>
                  <a:pt x="330" y="477"/>
                </a:cubicBezTo>
                <a:cubicBezTo>
                  <a:pt x="330" y="477"/>
                  <a:pt x="330" y="477"/>
                  <a:pt x="330" y="477"/>
                </a:cubicBezTo>
                <a:cubicBezTo>
                  <a:pt x="330" y="477"/>
                  <a:pt x="330" y="477"/>
                  <a:pt x="331" y="478"/>
                </a:cubicBezTo>
                <a:cubicBezTo>
                  <a:pt x="331" y="478"/>
                  <a:pt x="331" y="478"/>
                  <a:pt x="331" y="478"/>
                </a:cubicBezTo>
                <a:cubicBezTo>
                  <a:pt x="331" y="478"/>
                  <a:pt x="331" y="478"/>
                  <a:pt x="332" y="479"/>
                </a:cubicBezTo>
                <a:cubicBezTo>
                  <a:pt x="332" y="479"/>
                  <a:pt x="332" y="479"/>
                  <a:pt x="332" y="479"/>
                </a:cubicBezTo>
                <a:cubicBezTo>
                  <a:pt x="332" y="479"/>
                  <a:pt x="332" y="479"/>
                  <a:pt x="332" y="479"/>
                </a:cubicBezTo>
                <a:cubicBezTo>
                  <a:pt x="333" y="479"/>
                  <a:pt x="333" y="479"/>
                  <a:pt x="333" y="479"/>
                </a:cubicBezTo>
                <a:cubicBezTo>
                  <a:pt x="333" y="478"/>
                  <a:pt x="333" y="478"/>
                  <a:pt x="333" y="478"/>
                </a:cubicBezTo>
                <a:cubicBezTo>
                  <a:pt x="333" y="478"/>
                  <a:pt x="333" y="478"/>
                  <a:pt x="333" y="477"/>
                </a:cubicBezTo>
                <a:close/>
                <a:moveTo>
                  <a:pt x="344" y="472"/>
                </a:moveTo>
                <a:cubicBezTo>
                  <a:pt x="344" y="472"/>
                  <a:pt x="344" y="472"/>
                  <a:pt x="343" y="473"/>
                </a:cubicBezTo>
                <a:cubicBezTo>
                  <a:pt x="343" y="473"/>
                  <a:pt x="343" y="474"/>
                  <a:pt x="343" y="474"/>
                </a:cubicBezTo>
                <a:cubicBezTo>
                  <a:pt x="343" y="475"/>
                  <a:pt x="343" y="476"/>
                  <a:pt x="343" y="476"/>
                </a:cubicBezTo>
                <a:cubicBezTo>
                  <a:pt x="344" y="477"/>
                  <a:pt x="344" y="477"/>
                  <a:pt x="344" y="477"/>
                </a:cubicBezTo>
                <a:cubicBezTo>
                  <a:pt x="344" y="477"/>
                  <a:pt x="344" y="476"/>
                  <a:pt x="344" y="476"/>
                </a:cubicBezTo>
                <a:cubicBezTo>
                  <a:pt x="345" y="476"/>
                  <a:pt x="345" y="476"/>
                  <a:pt x="346" y="476"/>
                </a:cubicBezTo>
                <a:cubicBezTo>
                  <a:pt x="346" y="476"/>
                  <a:pt x="347" y="477"/>
                  <a:pt x="347" y="477"/>
                </a:cubicBezTo>
                <a:cubicBezTo>
                  <a:pt x="347" y="477"/>
                  <a:pt x="347" y="477"/>
                  <a:pt x="347" y="477"/>
                </a:cubicBezTo>
                <a:cubicBezTo>
                  <a:pt x="347" y="477"/>
                  <a:pt x="347" y="477"/>
                  <a:pt x="347" y="477"/>
                </a:cubicBezTo>
                <a:cubicBezTo>
                  <a:pt x="348" y="477"/>
                  <a:pt x="348" y="476"/>
                  <a:pt x="348" y="476"/>
                </a:cubicBezTo>
                <a:cubicBezTo>
                  <a:pt x="347" y="476"/>
                  <a:pt x="347" y="475"/>
                  <a:pt x="347" y="475"/>
                </a:cubicBezTo>
                <a:cubicBezTo>
                  <a:pt x="347" y="475"/>
                  <a:pt x="347" y="475"/>
                  <a:pt x="347" y="474"/>
                </a:cubicBezTo>
                <a:cubicBezTo>
                  <a:pt x="347" y="474"/>
                  <a:pt x="348" y="474"/>
                  <a:pt x="348" y="474"/>
                </a:cubicBezTo>
                <a:cubicBezTo>
                  <a:pt x="349" y="474"/>
                  <a:pt x="350" y="474"/>
                  <a:pt x="350" y="474"/>
                </a:cubicBezTo>
                <a:cubicBezTo>
                  <a:pt x="350" y="473"/>
                  <a:pt x="350" y="473"/>
                  <a:pt x="349" y="473"/>
                </a:cubicBezTo>
                <a:cubicBezTo>
                  <a:pt x="349" y="473"/>
                  <a:pt x="349" y="473"/>
                  <a:pt x="348" y="473"/>
                </a:cubicBezTo>
                <a:cubicBezTo>
                  <a:pt x="348" y="473"/>
                  <a:pt x="347" y="472"/>
                  <a:pt x="348" y="472"/>
                </a:cubicBezTo>
                <a:cubicBezTo>
                  <a:pt x="347" y="472"/>
                  <a:pt x="347" y="472"/>
                  <a:pt x="347" y="472"/>
                </a:cubicBezTo>
                <a:cubicBezTo>
                  <a:pt x="346" y="472"/>
                  <a:pt x="346" y="472"/>
                  <a:pt x="346" y="472"/>
                </a:cubicBezTo>
                <a:cubicBezTo>
                  <a:pt x="346" y="472"/>
                  <a:pt x="346" y="472"/>
                  <a:pt x="346" y="472"/>
                </a:cubicBezTo>
                <a:cubicBezTo>
                  <a:pt x="345" y="471"/>
                  <a:pt x="345" y="472"/>
                  <a:pt x="344" y="472"/>
                </a:cubicBezTo>
                <a:close/>
                <a:moveTo>
                  <a:pt x="352" y="471"/>
                </a:moveTo>
                <a:cubicBezTo>
                  <a:pt x="352" y="471"/>
                  <a:pt x="352" y="471"/>
                  <a:pt x="352" y="471"/>
                </a:cubicBezTo>
                <a:cubicBezTo>
                  <a:pt x="352" y="470"/>
                  <a:pt x="352" y="470"/>
                  <a:pt x="352" y="470"/>
                </a:cubicBezTo>
                <a:cubicBezTo>
                  <a:pt x="351" y="470"/>
                  <a:pt x="351" y="470"/>
                  <a:pt x="351" y="470"/>
                </a:cubicBezTo>
                <a:cubicBezTo>
                  <a:pt x="351" y="470"/>
                  <a:pt x="351" y="470"/>
                  <a:pt x="350" y="471"/>
                </a:cubicBezTo>
                <a:cubicBezTo>
                  <a:pt x="350" y="471"/>
                  <a:pt x="350" y="471"/>
                  <a:pt x="350" y="471"/>
                </a:cubicBezTo>
                <a:cubicBezTo>
                  <a:pt x="350" y="471"/>
                  <a:pt x="350" y="471"/>
                  <a:pt x="350" y="471"/>
                </a:cubicBezTo>
                <a:cubicBezTo>
                  <a:pt x="351" y="471"/>
                  <a:pt x="351" y="471"/>
                  <a:pt x="351" y="471"/>
                </a:cubicBezTo>
                <a:cubicBezTo>
                  <a:pt x="351" y="471"/>
                  <a:pt x="351" y="471"/>
                  <a:pt x="351" y="471"/>
                </a:cubicBezTo>
                <a:cubicBezTo>
                  <a:pt x="351" y="471"/>
                  <a:pt x="352" y="471"/>
                  <a:pt x="352" y="471"/>
                </a:cubicBezTo>
                <a:close/>
                <a:moveTo>
                  <a:pt x="356" y="476"/>
                </a:moveTo>
                <a:cubicBezTo>
                  <a:pt x="356" y="476"/>
                  <a:pt x="356" y="476"/>
                  <a:pt x="356" y="475"/>
                </a:cubicBezTo>
                <a:cubicBezTo>
                  <a:pt x="356" y="475"/>
                  <a:pt x="356" y="475"/>
                  <a:pt x="356" y="474"/>
                </a:cubicBezTo>
                <a:cubicBezTo>
                  <a:pt x="356" y="474"/>
                  <a:pt x="356" y="474"/>
                  <a:pt x="355" y="474"/>
                </a:cubicBezTo>
                <a:cubicBezTo>
                  <a:pt x="355" y="474"/>
                  <a:pt x="355" y="474"/>
                  <a:pt x="355" y="475"/>
                </a:cubicBezTo>
                <a:cubicBezTo>
                  <a:pt x="355" y="475"/>
                  <a:pt x="355" y="476"/>
                  <a:pt x="354" y="477"/>
                </a:cubicBezTo>
                <a:cubicBezTo>
                  <a:pt x="354" y="477"/>
                  <a:pt x="354" y="477"/>
                  <a:pt x="353" y="477"/>
                </a:cubicBezTo>
                <a:cubicBezTo>
                  <a:pt x="353" y="477"/>
                  <a:pt x="353" y="477"/>
                  <a:pt x="353" y="478"/>
                </a:cubicBezTo>
                <a:cubicBezTo>
                  <a:pt x="353" y="478"/>
                  <a:pt x="353" y="478"/>
                  <a:pt x="353" y="478"/>
                </a:cubicBezTo>
                <a:cubicBezTo>
                  <a:pt x="353" y="478"/>
                  <a:pt x="353" y="478"/>
                  <a:pt x="353" y="478"/>
                </a:cubicBezTo>
                <a:cubicBezTo>
                  <a:pt x="353" y="479"/>
                  <a:pt x="352" y="479"/>
                  <a:pt x="352" y="479"/>
                </a:cubicBezTo>
                <a:cubicBezTo>
                  <a:pt x="352" y="479"/>
                  <a:pt x="353" y="479"/>
                  <a:pt x="353" y="480"/>
                </a:cubicBezTo>
                <a:cubicBezTo>
                  <a:pt x="353" y="480"/>
                  <a:pt x="353" y="480"/>
                  <a:pt x="353" y="480"/>
                </a:cubicBezTo>
                <a:cubicBezTo>
                  <a:pt x="352" y="480"/>
                  <a:pt x="352" y="481"/>
                  <a:pt x="352" y="481"/>
                </a:cubicBezTo>
                <a:cubicBezTo>
                  <a:pt x="353" y="481"/>
                  <a:pt x="353" y="481"/>
                  <a:pt x="354" y="481"/>
                </a:cubicBezTo>
                <a:cubicBezTo>
                  <a:pt x="354" y="480"/>
                  <a:pt x="354" y="480"/>
                  <a:pt x="355" y="479"/>
                </a:cubicBezTo>
                <a:cubicBezTo>
                  <a:pt x="355" y="479"/>
                  <a:pt x="355" y="478"/>
                  <a:pt x="356" y="478"/>
                </a:cubicBezTo>
                <a:cubicBezTo>
                  <a:pt x="356" y="478"/>
                  <a:pt x="356" y="478"/>
                  <a:pt x="356" y="477"/>
                </a:cubicBezTo>
                <a:cubicBezTo>
                  <a:pt x="356" y="477"/>
                  <a:pt x="356" y="477"/>
                  <a:pt x="356" y="477"/>
                </a:cubicBezTo>
                <a:cubicBezTo>
                  <a:pt x="356" y="477"/>
                  <a:pt x="356" y="477"/>
                  <a:pt x="356" y="476"/>
                </a:cubicBezTo>
                <a:close/>
                <a:moveTo>
                  <a:pt x="360" y="478"/>
                </a:moveTo>
                <a:cubicBezTo>
                  <a:pt x="359" y="478"/>
                  <a:pt x="359" y="478"/>
                  <a:pt x="359" y="479"/>
                </a:cubicBezTo>
                <a:cubicBezTo>
                  <a:pt x="359" y="479"/>
                  <a:pt x="360" y="479"/>
                  <a:pt x="360" y="479"/>
                </a:cubicBezTo>
                <a:cubicBezTo>
                  <a:pt x="360" y="479"/>
                  <a:pt x="360" y="479"/>
                  <a:pt x="360" y="479"/>
                </a:cubicBezTo>
                <a:cubicBezTo>
                  <a:pt x="360" y="479"/>
                  <a:pt x="360" y="478"/>
                  <a:pt x="360" y="478"/>
                </a:cubicBezTo>
                <a:cubicBezTo>
                  <a:pt x="360" y="478"/>
                  <a:pt x="360" y="477"/>
                  <a:pt x="360" y="477"/>
                </a:cubicBezTo>
                <a:cubicBezTo>
                  <a:pt x="361" y="476"/>
                  <a:pt x="361" y="476"/>
                  <a:pt x="361" y="476"/>
                </a:cubicBezTo>
                <a:cubicBezTo>
                  <a:pt x="360" y="476"/>
                  <a:pt x="360" y="476"/>
                  <a:pt x="360" y="476"/>
                </a:cubicBezTo>
                <a:cubicBezTo>
                  <a:pt x="360" y="477"/>
                  <a:pt x="360" y="477"/>
                  <a:pt x="360" y="477"/>
                </a:cubicBezTo>
                <a:cubicBezTo>
                  <a:pt x="360" y="477"/>
                  <a:pt x="360" y="477"/>
                  <a:pt x="360" y="478"/>
                </a:cubicBezTo>
                <a:close/>
                <a:moveTo>
                  <a:pt x="362" y="481"/>
                </a:moveTo>
                <a:cubicBezTo>
                  <a:pt x="362" y="481"/>
                  <a:pt x="362" y="481"/>
                  <a:pt x="362" y="481"/>
                </a:cubicBezTo>
                <a:cubicBezTo>
                  <a:pt x="362" y="481"/>
                  <a:pt x="362" y="481"/>
                  <a:pt x="362" y="481"/>
                </a:cubicBezTo>
                <a:cubicBezTo>
                  <a:pt x="362" y="481"/>
                  <a:pt x="362" y="481"/>
                  <a:pt x="363" y="481"/>
                </a:cubicBezTo>
                <a:cubicBezTo>
                  <a:pt x="363" y="481"/>
                  <a:pt x="363" y="481"/>
                  <a:pt x="363" y="481"/>
                </a:cubicBezTo>
                <a:cubicBezTo>
                  <a:pt x="363" y="481"/>
                  <a:pt x="363" y="481"/>
                  <a:pt x="362" y="481"/>
                </a:cubicBezTo>
                <a:cubicBezTo>
                  <a:pt x="362" y="480"/>
                  <a:pt x="362" y="480"/>
                  <a:pt x="362" y="480"/>
                </a:cubicBezTo>
                <a:cubicBezTo>
                  <a:pt x="362" y="480"/>
                  <a:pt x="362" y="480"/>
                  <a:pt x="362" y="479"/>
                </a:cubicBezTo>
                <a:cubicBezTo>
                  <a:pt x="362" y="479"/>
                  <a:pt x="362" y="479"/>
                  <a:pt x="362" y="479"/>
                </a:cubicBezTo>
                <a:cubicBezTo>
                  <a:pt x="362" y="480"/>
                  <a:pt x="362" y="480"/>
                  <a:pt x="362" y="480"/>
                </a:cubicBezTo>
                <a:moveTo>
                  <a:pt x="275" y="350"/>
                </a:moveTo>
                <a:cubicBezTo>
                  <a:pt x="275" y="350"/>
                  <a:pt x="274" y="350"/>
                  <a:pt x="274" y="350"/>
                </a:cubicBezTo>
                <a:cubicBezTo>
                  <a:pt x="274" y="350"/>
                  <a:pt x="273" y="350"/>
                  <a:pt x="273" y="351"/>
                </a:cubicBezTo>
                <a:cubicBezTo>
                  <a:pt x="272" y="351"/>
                  <a:pt x="272" y="351"/>
                  <a:pt x="272" y="351"/>
                </a:cubicBezTo>
                <a:cubicBezTo>
                  <a:pt x="271" y="351"/>
                  <a:pt x="271" y="350"/>
                  <a:pt x="271" y="350"/>
                </a:cubicBezTo>
                <a:cubicBezTo>
                  <a:pt x="271" y="350"/>
                  <a:pt x="271" y="351"/>
                  <a:pt x="271" y="351"/>
                </a:cubicBezTo>
                <a:cubicBezTo>
                  <a:pt x="270" y="352"/>
                  <a:pt x="269" y="352"/>
                  <a:pt x="268" y="352"/>
                </a:cubicBezTo>
                <a:cubicBezTo>
                  <a:pt x="267" y="353"/>
                  <a:pt x="267" y="353"/>
                  <a:pt x="267" y="354"/>
                </a:cubicBezTo>
                <a:cubicBezTo>
                  <a:pt x="267" y="354"/>
                  <a:pt x="267" y="354"/>
                  <a:pt x="267" y="354"/>
                </a:cubicBezTo>
                <a:cubicBezTo>
                  <a:pt x="267" y="354"/>
                  <a:pt x="267" y="354"/>
                  <a:pt x="267" y="354"/>
                </a:cubicBezTo>
                <a:cubicBezTo>
                  <a:pt x="266" y="355"/>
                  <a:pt x="265" y="355"/>
                  <a:pt x="265" y="355"/>
                </a:cubicBezTo>
                <a:cubicBezTo>
                  <a:pt x="265" y="354"/>
                  <a:pt x="264" y="354"/>
                  <a:pt x="264" y="354"/>
                </a:cubicBezTo>
                <a:cubicBezTo>
                  <a:pt x="264" y="354"/>
                  <a:pt x="264" y="354"/>
                  <a:pt x="263" y="354"/>
                </a:cubicBezTo>
                <a:cubicBezTo>
                  <a:pt x="263" y="355"/>
                  <a:pt x="262" y="355"/>
                  <a:pt x="261" y="355"/>
                </a:cubicBezTo>
                <a:cubicBezTo>
                  <a:pt x="260" y="355"/>
                  <a:pt x="260" y="355"/>
                  <a:pt x="260" y="355"/>
                </a:cubicBezTo>
                <a:cubicBezTo>
                  <a:pt x="259" y="355"/>
                  <a:pt x="259" y="355"/>
                  <a:pt x="259" y="355"/>
                </a:cubicBezTo>
                <a:cubicBezTo>
                  <a:pt x="259" y="356"/>
                  <a:pt x="259" y="356"/>
                  <a:pt x="259" y="356"/>
                </a:cubicBezTo>
                <a:cubicBezTo>
                  <a:pt x="260" y="357"/>
                  <a:pt x="260" y="358"/>
                  <a:pt x="260" y="358"/>
                </a:cubicBezTo>
                <a:cubicBezTo>
                  <a:pt x="261" y="359"/>
                  <a:pt x="261" y="359"/>
                  <a:pt x="261" y="360"/>
                </a:cubicBezTo>
                <a:cubicBezTo>
                  <a:pt x="262" y="360"/>
                  <a:pt x="262" y="360"/>
                  <a:pt x="262" y="361"/>
                </a:cubicBezTo>
                <a:cubicBezTo>
                  <a:pt x="262" y="361"/>
                  <a:pt x="263" y="361"/>
                  <a:pt x="263" y="361"/>
                </a:cubicBezTo>
                <a:cubicBezTo>
                  <a:pt x="265" y="361"/>
                  <a:pt x="266" y="362"/>
                  <a:pt x="268" y="363"/>
                </a:cubicBezTo>
                <a:cubicBezTo>
                  <a:pt x="268" y="363"/>
                  <a:pt x="268" y="363"/>
                  <a:pt x="268" y="363"/>
                </a:cubicBezTo>
                <a:cubicBezTo>
                  <a:pt x="269" y="364"/>
                  <a:pt x="271" y="364"/>
                  <a:pt x="272" y="364"/>
                </a:cubicBezTo>
                <a:cubicBezTo>
                  <a:pt x="272" y="364"/>
                  <a:pt x="273" y="364"/>
                  <a:pt x="273" y="364"/>
                </a:cubicBezTo>
                <a:cubicBezTo>
                  <a:pt x="273" y="365"/>
                  <a:pt x="274" y="365"/>
                  <a:pt x="274" y="366"/>
                </a:cubicBezTo>
                <a:cubicBezTo>
                  <a:pt x="274" y="366"/>
                  <a:pt x="274" y="366"/>
                  <a:pt x="274" y="366"/>
                </a:cubicBezTo>
                <a:cubicBezTo>
                  <a:pt x="274" y="366"/>
                  <a:pt x="274" y="366"/>
                  <a:pt x="275" y="366"/>
                </a:cubicBezTo>
                <a:cubicBezTo>
                  <a:pt x="275" y="366"/>
                  <a:pt x="275" y="366"/>
                  <a:pt x="275" y="366"/>
                </a:cubicBezTo>
                <a:cubicBezTo>
                  <a:pt x="275" y="365"/>
                  <a:pt x="275" y="365"/>
                  <a:pt x="274" y="365"/>
                </a:cubicBezTo>
                <a:cubicBezTo>
                  <a:pt x="274" y="365"/>
                  <a:pt x="274" y="365"/>
                  <a:pt x="274" y="364"/>
                </a:cubicBezTo>
                <a:cubicBezTo>
                  <a:pt x="274" y="364"/>
                  <a:pt x="274" y="364"/>
                  <a:pt x="274" y="364"/>
                </a:cubicBezTo>
                <a:cubicBezTo>
                  <a:pt x="274" y="364"/>
                  <a:pt x="275" y="365"/>
                  <a:pt x="276" y="364"/>
                </a:cubicBezTo>
                <a:cubicBezTo>
                  <a:pt x="276" y="364"/>
                  <a:pt x="277" y="364"/>
                  <a:pt x="277" y="364"/>
                </a:cubicBezTo>
                <a:cubicBezTo>
                  <a:pt x="278" y="363"/>
                  <a:pt x="278" y="363"/>
                  <a:pt x="279" y="363"/>
                </a:cubicBezTo>
                <a:cubicBezTo>
                  <a:pt x="279" y="363"/>
                  <a:pt x="279" y="363"/>
                  <a:pt x="279" y="363"/>
                </a:cubicBezTo>
                <a:cubicBezTo>
                  <a:pt x="279" y="362"/>
                  <a:pt x="280" y="363"/>
                  <a:pt x="280" y="363"/>
                </a:cubicBezTo>
                <a:cubicBezTo>
                  <a:pt x="280" y="363"/>
                  <a:pt x="281" y="363"/>
                  <a:pt x="282" y="362"/>
                </a:cubicBezTo>
                <a:cubicBezTo>
                  <a:pt x="282" y="362"/>
                  <a:pt x="282" y="362"/>
                  <a:pt x="283" y="362"/>
                </a:cubicBezTo>
                <a:cubicBezTo>
                  <a:pt x="283" y="361"/>
                  <a:pt x="283" y="361"/>
                  <a:pt x="282" y="361"/>
                </a:cubicBezTo>
                <a:cubicBezTo>
                  <a:pt x="282" y="361"/>
                  <a:pt x="282" y="361"/>
                  <a:pt x="282" y="361"/>
                </a:cubicBezTo>
                <a:cubicBezTo>
                  <a:pt x="282" y="360"/>
                  <a:pt x="282" y="360"/>
                  <a:pt x="282" y="360"/>
                </a:cubicBezTo>
                <a:cubicBezTo>
                  <a:pt x="282" y="360"/>
                  <a:pt x="281" y="360"/>
                  <a:pt x="281" y="359"/>
                </a:cubicBezTo>
                <a:cubicBezTo>
                  <a:pt x="281" y="359"/>
                  <a:pt x="281" y="358"/>
                  <a:pt x="281" y="358"/>
                </a:cubicBezTo>
                <a:cubicBezTo>
                  <a:pt x="281" y="357"/>
                  <a:pt x="281" y="357"/>
                  <a:pt x="281" y="357"/>
                </a:cubicBezTo>
                <a:cubicBezTo>
                  <a:pt x="281" y="357"/>
                  <a:pt x="281" y="356"/>
                  <a:pt x="281" y="356"/>
                </a:cubicBezTo>
                <a:cubicBezTo>
                  <a:pt x="281" y="356"/>
                  <a:pt x="281" y="355"/>
                  <a:pt x="281" y="355"/>
                </a:cubicBezTo>
                <a:cubicBezTo>
                  <a:pt x="281" y="354"/>
                  <a:pt x="281" y="354"/>
                  <a:pt x="281" y="354"/>
                </a:cubicBezTo>
                <a:cubicBezTo>
                  <a:pt x="281" y="353"/>
                  <a:pt x="280" y="353"/>
                  <a:pt x="280" y="353"/>
                </a:cubicBezTo>
                <a:cubicBezTo>
                  <a:pt x="280" y="352"/>
                  <a:pt x="280" y="352"/>
                  <a:pt x="280" y="352"/>
                </a:cubicBezTo>
                <a:cubicBezTo>
                  <a:pt x="280" y="352"/>
                  <a:pt x="279" y="351"/>
                  <a:pt x="279" y="351"/>
                </a:cubicBezTo>
                <a:cubicBezTo>
                  <a:pt x="278" y="351"/>
                  <a:pt x="278" y="352"/>
                  <a:pt x="277" y="352"/>
                </a:cubicBezTo>
                <a:cubicBezTo>
                  <a:pt x="276" y="352"/>
                  <a:pt x="276" y="351"/>
                  <a:pt x="275" y="351"/>
                </a:cubicBezTo>
                <a:cubicBezTo>
                  <a:pt x="275" y="351"/>
                  <a:pt x="275" y="350"/>
                  <a:pt x="275" y="350"/>
                </a:cubicBezTo>
                <a:close/>
                <a:moveTo>
                  <a:pt x="512" y="362"/>
                </a:moveTo>
                <a:cubicBezTo>
                  <a:pt x="512" y="363"/>
                  <a:pt x="512" y="363"/>
                  <a:pt x="512" y="363"/>
                </a:cubicBezTo>
                <a:cubicBezTo>
                  <a:pt x="512" y="363"/>
                  <a:pt x="512" y="363"/>
                  <a:pt x="512" y="363"/>
                </a:cubicBezTo>
                <a:cubicBezTo>
                  <a:pt x="511" y="364"/>
                  <a:pt x="510" y="365"/>
                  <a:pt x="511" y="366"/>
                </a:cubicBezTo>
                <a:cubicBezTo>
                  <a:pt x="512" y="366"/>
                  <a:pt x="513" y="364"/>
                  <a:pt x="514" y="364"/>
                </a:cubicBezTo>
                <a:cubicBezTo>
                  <a:pt x="515" y="364"/>
                  <a:pt x="515" y="364"/>
                  <a:pt x="515" y="364"/>
                </a:cubicBezTo>
                <a:cubicBezTo>
                  <a:pt x="515" y="364"/>
                  <a:pt x="516" y="364"/>
                  <a:pt x="516" y="363"/>
                </a:cubicBezTo>
                <a:cubicBezTo>
                  <a:pt x="516" y="363"/>
                  <a:pt x="515" y="362"/>
                  <a:pt x="515" y="362"/>
                </a:cubicBezTo>
                <a:cubicBezTo>
                  <a:pt x="516" y="361"/>
                  <a:pt x="516" y="361"/>
                  <a:pt x="517" y="361"/>
                </a:cubicBezTo>
                <a:cubicBezTo>
                  <a:pt x="517" y="361"/>
                  <a:pt x="517" y="360"/>
                  <a:pt x="517" y="360"/>
                </a:cubicBezTo>
                <a:cubicBezTo>
                  <a:pt x="517" y="359"/>
                  <a:pt x="517" y="359"/>
                  <a:pt x="518" y="358"/>
                </a:cubicBezTo>
                <a:cubicBezTo>
                  <a:pt x="519" y="357"/>
                  <a:pt x="520" y="355"/>
                  <a:pt x="522" y="354"/>
                </a:cubicBezTo>
                <a:cubicBezTo>
                  <a:pt x="522" y="354"/>
                  <a:pt x="523" y="353"/>
                  <a:pt x="523" y="353"/>
                </a:cubicBezTo>
                <a:cubicBezTo>
                  <a:pt x="523" y="353"/>
                  <a:pt x="522" y="352"/>
                  <a:pt x="522" y="352"/>
                </a:cubicBezTo>
                <a:cubicBezTo>
                  <a:pt x="522" y="353"/>
                  <a:pt x="522" y="353"/>
                  <a:pt x="522" y="353"/>
                </a:cubicBezTo>
                <a:cubicBezTo>
                  <a:pt x="521" y="353"/>
                  <a:pt x="521" y="353"/>
                  <a:pt x="521" y="352"/>
                </a:cubicBezTo>
                <a:cubicBezTo>
                  <a:pt x="521" y="352"/>
                  <a:pt x="521" y="352"/>
                  <a:pt x="521" y="352"/>
                </a:cubicBezTo>
                <a:cubicBezTo>
                  <a:pt x="521" y="352"/>
                  <a:pt x="520" y="351"/>
                  <a:pt x="520" y="351"/>
                </a:cubicBezTo>
                <a:cubicBezTo>
                  <a:pt x="519" y="351"/>
                  <a:pt x="520" y="352"/>
                  <a:pt x="519" y="352"/>
                </a:cubicBezTo>
                <a:cubicBezTo>
                  <a:pt x="519" y="353"/>
                  <a:pt x="519" y="353"/>
                  <a:pt x="519" y="354"/>
                </a:cubicBezTo>
                <a:cubicBezTo>
                  <a:pt x="519" y="354"/>
                  <a:pt x="519" y="354"/>
                  <a:pt x="519" y="354"/>
                </a:cubicBezTo>
                <a:cubicBezTo>
                  <a:pt x="519" y="355"/>
                  <a:pt x="518" y="355"/>
                  <a:pt x="518" y="355"/>
                </a:cubicBezTo>
                <a:cubicBezTo>
                  <a:pt x="517" y="356"/>
                  <a:pt x="516" y="357"/>
                  <a:pt x="515" y="358"/>
                </a:cubicBezTo>
                <a:cubicBezTo>
                  <a:pt x="515" y="359"/>
                  <a:pt x="514" y="360"/>
                  <a:pt x="513" y="361"/>
                </a:cubicBezTo>
                <a:cubicBezTo>
                  <a:pt x="513" y="361"/>
                  <a:pt x="512" y="361"/>
                  <a:pt x="512" y="361"/>
                </a:cubicBezTo>
                <a:cubicBezTo>
                  <a:pt x="512" y="362"/>
                  <a:pt x="512" y="362"/>
                  <a:pt x="512" y="362"/>
                </a:cubicBezTo>
                <a:cubicBezTo>
                  <a:pt x="512" y="362"/>
                  <a:pt x="512" y="362"/>
                  <a:pt x="512" y="362"/>
                </a:cubicBezTo>
                <a:close/>
                <a:moveTo>
                  <a:pt x="510" y="361"/>
                </a:moveTo>
                <a:cubicBezTo>
                  <a:pt x="510" y="361"/>
                  <a:pt x="510" y="361"/>
                  <a:pt x="510" y="361"/>
                </a:cubicBezTo>
                <a:cubicBezTo>
                  <a:pt x="511" y="360"/>
                  <a:pt x="511" y="360"/>
                  <a:pt x="511" y="360"/>
                </a:cubicBezTo>
                <a:cubicBezTo>
                  <a:pt x="511" y="360"/>
                  <a:pt x="511" y="359"/>
                  <a:pt x="511" y="359"/>
                </a:cubicBezTo>
                <a:cubicBezTo>
                  <a:pt x="511" y="359"/>
                  <a:pt x="511" y="359"/>
                  <a:pt x="511" y="359"/>
                </a:cubicBezTo>
                <a:cubicBezTo>
                  <a:pt x="511" y="358"/>
                  <a:pt x="510" y="358"/>
                  <a:pt x="510" y="358"/>
                </a:cubicBezTo>
                <a:cubicBezTo>
                  <a:pt x="510" y="358"/>
                  <a:pt x="510" y="359"/>
                  <a:pt x="510" y="359"/>
                </a:cubicBezTo>
                <a:cubicBezTo>
                  <a:pt x="510" y="359"/>
                  <a:pt x="510" y="359"/>
                  <a:pt x="510" y="360"/>
                </a:cubicBezTo>
                <a:cubicBezTo>
                  <a:pt x="509" y="360"/>
                  <a:pt x="509" y="360"/>
                  <a:pt x="509" y="360"/>
                </a:cubicBezTo>
                <a:cubicBezTo>
                  <a:pt x="509" y="361"/>
                  <a:pt x="508" y="361"/>
                  <a:pt x="508" y="361"/>
                </a:cubicBezTo>
                <a:cubicBezTo>
                  <a:pt x="509" y="361"/>
                  <a:pt x="509" y="362"/>
                  <a:pt x="510" y="361"/>
                </a:cubicBezTo>
                <a:cubicBezTo>
                  <a:pt x="510" y="361"/>
                  <a:pt x="510" y="361"/>
                  <a:pt x="510" y="361"/>
                </a:cubicBezTo>
                <a:close/>
                <a:moveTo>
                  <a:pt x="510" y="354"/>
                </a:moveTo>
                <a:cubicBezTo>
                  <a:pt x="511" y="355"/>
                  <a:pt x="512" y="354"/>
                  <a:pt x="512" y="355"/>
                </a:cubicBezTo>
                <a:cubicBezTo>
                  <a:pt x="512" y="355"/>
                  <a:pt x="512" y="355"/>
                  <a:pt x="512" y="354"/>
                </a:cubicBezTo>
                <a:cubicBezTo>
                  <a:pt x="512" y="354"/>
                  <a:pt x="512" y="353"/>
                  <a:pt x="512" y="353"/>
                </a:cubicBezTo>
                <a:cubicBezTo>
                  <a:pt x="512" y="353"/>
                  <a:pt x="512" y="353"/>
                  <a:pt x="513" y="352"/>
                </a:cubicBezTo>
                <a:cubicBezTo>
                  <a:pt x="513" y="352"/>
                  <a:pt x="513" y="352"/>
                  <a:pt x="513" y="352"/>
                </a:cubicBezTo>
                <a:cubicBezTo>
                  <a:pt x="513" y="351"/>
                  <a:pt x="514" y="351"/>
                  <a:pt x="513" y="351"/>
                </a:cubicBezTo>
                <a:cubicBezTo>
                  <a:pt x="513" y="350"/>
                  <a:pt x="513" y="350"/>
                  <a:pt x="513" y="350"/>
                </a:cubicBezTo>
                <a:cubicBezTo>
                  <a:pt x="513" y="350"/>
                  <a:pt x="513" y="350"/>
                  <a:pt x="513" y="350"/>
                </a:cubicBezTo>
                <a:cubicBezTo>
                  <a:pt x="513" y="350"/>
                  <a:pt x="513" y="349"/>
                  <a:pt x="513" y="349"/>
                </a:cubicBezTo>
                <a:cubicBezTo>
                  <a:pt x="513" y="349"/>
                  <a:pt x="513" y="349"/>
                  <a:pt x="513" y="349"/>
                </a:cubicBezTo>
                <a:cubicBezTo>
                  <a:pt x="513" y="349"/>
                  <a:pt x="513" y="348"/>
                  <a:pt x="513" y="348"/>
                </a:cubicBezTo>
                <a:cubicBezTo>
                  <a:pt x="513" y="348"/>
                  <a:pt x="513" y="348"/>
                  <a:pt x="513" y="348"/>
                </a:cubicBezTo>
                <a:cubicBezTo>
                  <a:pt x="513" y="348"/>
                  <a:pt x="513" y="348"/>
                  <a:pt x="512" y="348"/>
                </a:cubicBezTo>
                <a:cubicBezTo>
                  <a:pt x="512" y="349"/>
                  <a:pt x="511" y="349"/>
                  <a:pt x="511" y="350"/>
                </a:cubicBezTo>
                <a:cubicBezTo>
                  <a:pt x="511" y="350"/>
                  <a:pt x="511" y="350"/>
                  <a:pt x="511" y="350"/>
                </a:cubicBezTo>
                <a:cubicBezTo>
                  <a:pt x="511" y="351"/>
                  <a:pt x="511" y="352"/>
                  <a:pt x="510" y="353"/>
                </a:cubicBezTo>
                <a:cubicBezTo>
                  <a:pt x="510" y="353"/>
                  <a:pt x="510" y="354"/>
                  <a:pt x="510" y="354"/>
                </a:cubicBezTo>
                <a:close/>
                <a:moveTo>
                  <a:pt x="533" y="350"/>
                </a:moveTo>
                <a:cubicBezTo>
                  <a:pt x="534" y="350"/>
                  <a:pt x="533" y="350"/>
                  <a:pt x="533" y="349"/>
                </a:cubicBezTo>
                <a:cubicBezTo>
                  <a:pt x="533" y="349"/>
                  <a:pt x="532" y="349"/>
                  <a:pt x="532" y="349"/>
                </a:cubicBezTo>
                <a:cubicBezTo>
                  <a:pt x="532" y="349"/>
                  <a:pt x="531" y="349"/>
                  <a:pt x="531" y="349"/>
                </a:cubicBezTo>
                <a:cubicBezTo>
                  <a:pt x="531" y="350"/>
                  <a:pt x="530" y="349"/>
                  <a:pt x="530" y="349"/>
                </a:cubicBezTo>
                <a:cubicBezTo>
                  <a:pt x="530" y="349"/>
                  <a:pt x="530" y="349"/>
                  <a:pt x="530" y="348"/>
                </a:cubicBezTo>
                <a:cubicBezTo>
                  <a:pt x="530" y="348"/>
                  <a:pt x="530" y="348"/>
                  <a:pt x="529" y="348"/>
                </a:cubicBezTo>
                <a:cubicBezTo>
                  <a:pt x="529" y="348"/>
                  <a:pt x="529" y="348"/>
                  <a:pt x="528" y="348"/>
                </a:cubicBezTo>
                <a:cubicBezTo>
                  <a:pt x="528" y="348"/>
                  <a:pt x="528" y="348"/>
                  <a:pt x="528" y="348"/>
                </a:cubicBezTo>
                <a:cubicBezTo>
                  <a:pt x="527" y="347"/>
                  <a:pt x="527" y="347"/>
                  <a:pt x="527" y="347"/>
                </a:cubicBezTo>
                <a:cubicBezTo>
                  <a:pt x="526" y="348"/>
                  <a:pt x="526" y="348"/>
                  <a:pt x="526" y="349"/>
                </a:cubicBezTo>
                <a:cubicBezTo>
                  <a:pt x="526" y="349"/>
                  <a:pt x="526" y="350"/>
                  <a:pt x="526" y="350"/>
                </a:cubicBezTo>
                <a:cubicBezTo>
                  <a:pt x="525" y="350"/>
                  <a:pt x="525" y="351"/>
                  <a:pt x="525" y="351"/>
                </a:cubicBezTo>
                <a:cubicBezTo>
                  <a:pt x="526" y="351"/>
                  <a:pt x="526" y="351"/>
                  <a:pt x="526" y="351"/>
                </a:cubicBezTo>
                <a:cubicBezTo>
                  <a:pt x="526" y="351"/>
                  <a:pt x="526" y="351"/>
                  <a:pt x="526" y="351"/>
                </a:cubicBezTo>
                <a:cubicBezTo>
                  <a:pt x="526" y="351"/>
                  <a:pt x="527" y="350"/>
                  <a:pt x="527" y="351"/>
                </a:cubicBezTo>
                <a:cubicBezTo>
                  <a:pt x="527" y="351"/>
                  <a:pt x="528" y="351"/>
                  <a:pt x="528" y="351"/>
                </a:cubicBezTo>
                <a:cubicBezTo>
                  <a:pt x="528" y="351"/>
                  <a:pt x="528" y="351"/>
                  <a:pt x="528" y="351"/>
                </a:cubicBezTo>
                <a:cubicBezTo>
                  <a:pt x="528" y="351"/>
                  <a:pt x="527" y="352"/>
                  <a:pt x="527" y="352"/>
                </a:cubicBezTo>
                <a:cubicBezTo>
                  <a:pt x="527" y="352"/>
                  <a:pt x="527" y="353"/>
                  <a:pt x="526" y="353"/>
                </a:cubicBezTo>
                <a:cubicBezTo>
                  <a:pt x="526" y="353"/>
                  <a:pt x="526" y="353"/>
                  <a:pt x="526" y="353"/>
                </a:cubicBezTo>
                <a:cubicBezTo>
                  <a:pt x="526" y="354"/>
                  <a:pt x="527" y="354"/>
                  <a:pt x="527" y="354"/>
                </a:cubicBezTo>
                <a:cubicBezTo>
                  <a:pt x="528" y="354"/>
                  <a:pt x="529" y="352"/>
                  <a:pt x="530" y="351"/>
                </a:cubicBezTo>
                <a:cubicBezTo>
                  <a:pt x="531" y="351"/>
                  <a:pt x="532" y="351"/>
                  <a:pt x="532" y="351"/>
                </a:cubicBezTo>
                <a:cubicBezTo>
                  <a:pt x="533" y="351"/>
                  <a:pt x="533" y="351"/>
                  <a:pt x="533" y="350"/>
                </a:cubicBezTo>
                <a:close/>
                <a:moveTo>
                  <a:pt x="531" y="348"/>
                </a:moveTo>
                <a:cubicBezTo>
                  <a:pt x="531" y="348"/>
                  <a:pt x="531" y="348"/>
                  <a:pt x="531" y="348"/>
                </a:cubicBezTo>
                <a:cubicBezTo>
                  <a:pt x="532" y="348"/>
                  <a:pt x="534" y="348"/>
                  <a:pt x="534" y="347"/>
                </a:cubicBezTo>
                <a:cubicBezTo>
                  <a:pt x="535" y="346"/>
                  <a:pt x="536" y="346"/>
                  <a:pt x="537" y="345"/>
                </a:cubicBezTo>
                <a:cubicBezTo>
                  <a:pt x="537" y="345"/>
                  <a:pt x="537" y="345"/>
                  <a:pt x="537" y="345"/>
                </a:cubicBezTo>
                <a:cubicBezTo>
                  <a:pt x="537" y="345"/>
                  <a:pt x="536" y="345"/>
                  <a:pt x="536" y="345"/>
                </a:cubicBezTo>
                <a:cubicBezTo>
                  <a:pt x="535" y="345"/>
                  <a:pt x="534" y="346"/>
                  <a:pt x="533" y="346"/>
                </a:cubicBezTo>
                <a:cubicBezTo>
                  <a:pt x="533" y="347"/>
                  <a:pt x="532" y="347"/>
                  <a:pt x="532" y="347"/>
                </a:cubicBezTo>
                <a:cubicBezTo>
                  <a:pt x="532" y="347"/>
                  <a:pt x="531" y="347"/>
                  <a:pt x="531" y="347"/>
                </a:cubicBezTo>
                <a:cubicBezTo>
                  <a:pt x="531" y="347"/>
                  <a:pt x="531" y="347"/>
                  <a:pt x="531" y="348"/>
                </a:cubicBezTo>
                <a:close/>
                <a:moveTo>
                  <a:pt x="690" y="436"/>
                </a:moveTo>
                <a:cubicBezTo>
                  <a:pt x="691" y="436"/>
                  <a:pt x="691" y="437"/>
                  <a:pt x="692" y="437"/>
                </a:cubicBezTo>
                <a:cubicBezTo>
                  <a:pt x="692" y="437"/>
                  <a:pt x="691" y="437"/>
                  <a:pt x="691" y="437"/>
                </a:cubicBezTo>
                <a:cubicBezTo>
                  <a:pt x="690" y="437"/>
                  <a:pt x="690" y="437"/>
                  <a:pt x="690" y="437"/>
                </a:cubicBezTo>
                <a:cubicBezTo>
                  <a:pt x="690" y="437"/>
                  <a:pt x="690" y="437"/>
                  <a:pt x="690" y="437"/>
                </a:cubicBezTo>
                <a:cubicBezTo>
                  <a:pt x="691" y="437"/>
                  <a:pt x="691" y="438"/>
                  <a:pt x="691" y="438"/>
                </a:cubicBezTo>
                <a:cubicBezTo>
                  <a:pt x="691" y="439"/>
                  <a:pt x="692" y="439"/>
                  <a:pt x="693" y="438"/>
                </a:cubicBezTo>
                <a:cubicBezTo>
                  <a:pt x="693" y="439"/>
                  <a:pt x="693" y="439"/>
                  <a:pt x="693" y="439"/>
                </a:cubicBezTo>
                <a:cubicBezTo>
                  <a:pt x="693" y="440"/>
                  <a:pt x="693" y="440"/>
                  <a:pt x="693" y="440"/>
                </a:cubicBezTo>
                <a:cubicBezTo>
                  <a:pt x="693" y="440"/>
                  <a:pt x="693" y="441"/>
                  <a:pt x="692" y="441"/>
                </a:cubicBezTo>
                <a:cubicBezTo>
                  <a:pt x="692" y="442"/>
                  <a:pt x="692" y="442"/>
                  <a:pt x="693" y="443"/>
                </a:cubicBezTo>
                <a:cubicBezTo>
                  <a:pt x="693" y="443"/>
                  <a:pt x="693" y="444"/>
                  <a:pt x="693" y="445"/>
                </a:cubicBezTo>
                <a:cubicBezTo>
                  <a:pt x="693" y="445"/>
                  <a:pt x="693" y="446"/>
                  <a:pt x="693" y="447"/>
                </a:cubicBezTo>
                <a:cubicBezTo>
                  <a:pt x="693" y="447"/>
                  <a:pt x="693" y="447"/>
                  <a:pt x="694" y="447"/>
                </a:cubicBezTo>
                <a:cubicBezTo>
                  <a:pt x="694" y="447"/>
                  <a:pt x="695" y="447"/>
                  <a:pt x="695" y="447"/>
                </a:cubicBezTo>
                <a:cubicBezTo>
                  <a:pt x="696" y="447"/>
                  <a:pt x="696" y="447"/>
                  <a:pt x="696" y="447"/>
                </a:cubicBezTo>
                <a:cubicBezTo>
                  <a:pt x="696" y="446"/>
                  <a:pt x="696" y="446"/>
                  <a:pt x="696" y="446"/>
                </a:cubicBezTo>
                <a:cubicBezTo>
                  <a:pt x="696" y="446"/>
                  <a:pt x="697" y="446"/>
                  <a:pt x="697" y="446"/>
                </a:cubicBezTo>
                <a:cubicBezTo>
                  <a:pt x="697" y="446"/>
                  <a:pt x="697" y="447"/>
                  <a:pt x="697" y="447"/>
                </a:cubicBezTo>
                <a:cubicBezTo>
                  <a:pt x="698" y="446"/>
                  <a:pt x="698" y="447"/>
                  <a:pt x="699" y="447"/>
                </a:cubicBezTo>
                <a:cubicBezTo>
                  <a:pt x="699" y="447"/>
                  <a:pt x="700" y="447"/>
                  <a:pt x="700" y="446"/>
                </a:cubicBezTo>
                <a:cubicBezTo>
                  <a:pt x="700" y="446"/>
                  <a:pt x="700" y="445"/>
                  <a:pt x="700" y="445"/>
                </a:cubicBezTo>
                <a:cubicBezTo>
                  <a:pt x="700" y="445"/>
                  <a:pt x="700" y="445"/>
                  <a:pt x="700" y="445"/>
                </a:cubicBezTo>
                <a:cubicBezTo>
                  <a:pt x="700" y="445"/>
                  <a:pt x="700" y="444"/>
                  <a:pt x="700" y="444"/>
                </a:cubicBezTo>
                <a:cubicBezTo>
                  <a:pt x="700" y="444"/>
                  <a:pt x="700" y="444"/>
                  <a:pt x="700" y="444"/>
                </a:cubicBezTo>
                <a:cubicBezTo>
                  <a:pt x="700" y="443"/>
                  <a:pt x="700" y="443"/>
                  <a:pt x="700" y="443"/>
                </a:cubicBezTo>
                <a:cubicBezTo>
                  <a:pt x="700" y="443"/>
                  <a:pt x="699" y="443"/>
                  <a:pt x="699" y="443"/>
                </a:cubicBezTo>
                <a:cubicBezTo>
                  <a:pt x="699" y="442"/>
                  <a:pt x="699" y="442"/>
                  <a:pt x="698" y="443"/>
                </a:cubicBezTo>
                <a:cubicBezTo>
                  <a:pt x="698" y="442"/>
                  <a:pt x="698" y="442"/>
                  <a:pt x="698" y="442"/>
                </a:cubicBezTo>
                <a:cubicBezTo>
                  <a:pt x="698" y="442"/>
                  <a:pt x="699" y="442"/>
                  <a:pt x="699" y="441"/>
                </a:cubicBezTo>
                <a:cubicBezTo>
                  <a:pt x="699" y="441"/>
                  <a:pt x="699" y="440"/>
                  <a:pt x="698" y="440"/>
                </a:cubicBezTo>
                <a:cubicBezTo>
                  <a:pt x="697" y="440"/>
                  <a:pt x="697" y="440"/>
                  <a:pt x="697" y="440"/>
                </a:cubicBezTo>
                <a:cubicBezTo>
                  <a:pt x="697" y="439"/>
                  <a:pt x="697" y="439"/>
                  <a:pt x="697" y="439"/>
                </a:cubicBezTo>
                <a:cubicBezTo>
                  <a:pt x="697" y="439"/>
                  <a:pt x="697" y="438"/>
                  <a:pt x="697" y="438"/>
                </a:cubicBezTo>
                <a:cubicBezTo>
                  <a:pt x="697" y="439"/>
                  <a:pt x="698" y="438"/>
                  <a:pt x="698" y="439"/>
                </a:cubicBezTo>
                <a:cubicBezTo>
                  <a:pt x="698" y="439"/>
                  <a:pt x="698" y="439"/>
                  <a:pt x="698" y="439"/>
                </a:cubicBezTo>
                <a:cubicBezTo>
                  <a:pt x="698" y="440"/>
                  <a:pt x="699" y="440"/>
                  <a:pt x="699" y="441"/>
                </a:cubicBezTo>
                <a:cubicBezTo>
                  <a:pt x="699" y="441"/>
                  <a:pt x="699" y="441"/>
                  <a:pt x="699" y="441"/>
                </a:cubicBezTo>
                <a:cubicBezTo>
                  <a:pt x="700" y="442"/>
                  <a:pt x="701" y="442"/>
                  <a:pt x="701" y="443"/>
                </a:cubicBezTo>
                <a:cubicBezTo>
                  <a:pt x="701" y="443"/>
                  <a:pt x="701" y="444"/>
                  <a:pt x="702" y="443"/>
                </a:cubicBezTo>
                <a:cubicBezTo>
                  <a:pt x="702" y="443"/>
                  <a:pt x="702" y="442"/>
                  <a:pt x="702" y="442"/>
                </a:cubicBezTo>
                <a:cubicBezTo>
                  <a:pt x="702" y="441"/>
                  <a:pt x="702" y="441"/>
                  <a:pt x="702" y="441"/>
                </a:cubicBezTo>
                <a:cubicBezTo>
                  <a:pt x="702" y="441"/>
                  <a:pt x="702" y="441"/>
                  <a:pt x="702" y="441"/>
                </a:cubicBezTo>
                <a:cubicBezTo>
                  <a:pt x="702" y="440"/>
                  <a:pt x="702" y="440"/>
                  <a:pt x="702" y="440"/>
                </a:cubicBezTo>
                <a:cubicBezTo>
                  <a:pt x="702" y="440"/>
                  <a:pt x="703" y="441"/>
                  <a:pt x="702" y="441"/>
                </a:cubicBezTo>
                <a:cubicBezTo>
                  <a:pt x="702" y="442"/>
                  <a:pt x="703" y="442"/>
                  <a:pt x="703" y="443"/>
                </a:cubicBezTo>
                <a:cubicBezTo>
                  <a:pt x="702" y="443"/>
                  <a:pt x="702" y="443"/>
                  <a:pt x="702" y="444"/>
                </a:cubicBezTo>
                <a:cubicBezTo>
                  <a:pt x="702" y="444"/>
                  <a:pt x="702" y="444"/>
                  <a:pt x="701" y="444"/>
                </a:cubicBezTo>
                <a:cubicBezTo>
                  <a:pt x="701" y="444"/>
                  <a:pt x="701" y="444"/>
                  <a:pt x="701" y="444"/>
                </a:cubicBezTo>
                <a:cubicBezTo>
                  <a:pt x="701" y="444"/>
                  <a:pt x="701" y="445"/>
                  <a:pt x="701" y="446"/>
                </a:cubicBezTo>
                <a:cubicBezTo>
                  <a:pt x="701" y="446"/>
                  <a:pt x="702" y="446"/>
                  <a:pt x="702" y="445"/>
                </a:cubicBezTo>
                <a:cubicBezTo>
                  <a:pt x="702" y="445"/>
                  <a:pt x="702" y="445"/>
                  <a:pt x="702" y="444"/>
                </a:cubicBezTo>
                <a:cubicBezTo>
                  <a:pt x="702" y="445"/>
                  <a:pt x="702" y="445"/>
                  <a:pt x="702" y="445"/>
                </a:cubicBezTo>
                <a:cubicBezTo>
                  <a:pt x="702" y="446"/>
                  <a:pt x="702" y="446"/>
                  <a:pt x="703" y="446"/>
                </a:cubicBezTo>
                <a:cubicBezTo>
                  <a:pt x="703" y="446"/>
                  <a:pt x="704" y="446"/>
                  <a:pt x="704" y="446"/>
                </a:cubicBezTo>
                <a:cubicBezTo>
                  <a:pt x="704" y="446"/>
                  <a:pt x="705" y="446"/>
                  <a:pt x="705" y="446"/>
                </a:cubicBezTo>
                <a:cubicBezTo>
                  <a:pt x="705" y="445"/>
                  <a:pt x="705" y="445"/>
                  <a:pt x="705" y="445"/>
                </a:cubicBezTo>
                <a:cubicBezTo>
                  <a:pt x="705" y="445"/>
                  <a:pt x="705" y="445"/>
                  <a:pt x="705" y="445"/>
                </a:cubicBezTo>
                <a:cubicBezTo>
                  <a:pt x="705" y="444"/>
                  <a:pt x="705" y="445"/>
                  <a:pt x="705" y="445"/>
                </a:cubicBezTo>
                <a:cubicBezTo>
                  <a:pt x="705" y="445"/>
                  <a:pt x="705" y="445"/>
                  <a:pt x="706" y="445"/>
                </a:cubicBezTo>
                <a:cubicBezTo>
                  <a:pt x="706" y="445"/>
                  <a:pt x="707" y="445"/>
                  <a:pt x="707" y="444"/>
                </a:cubicBezTo>
                <a:cubicBezTo>
                  <a:pt x="707" y="444"/>
                  <a:pt x="708" y="444"/>
                  <a:pt x="707" y="443"/>
                </a:cubicBezTo>
                <a:cubicBezTo>
                  <a:pt x="707" y="443"/>
                  <a:pt x="706" y="443"/>
                  <a:pt x="706" y="442"/>
                </a:cubicBezTo>
                <a:cubicBezTo>
                  <a:pt x="706" y="442"/>
                  <a:pt x="706" y="442"/>
                  <a:pt x="706" y="442"/>
                </a:cubicBezTo>
                <a:cubicBezTo>
                  <a:pt x="705" y="442"/>
                  <a:pt x="705" y="441"/>
                  <a:pt x="705" y="440"/>
                </a:cubicBezTo>
                <a:cubicBezTo>
                  <a:pt x="704" y="440"/>
                  <a:pt x="704" y="439"/>
                  <a:pt x="703" y="439"/>
                </a:cubicBezTo>
                <a:cubicBezTo>
                  <a:pt x="702" y="439"/>
                  <a:pt x="702" y="439"/>
                  <a:pt x="702" y="440"/>
                </a:cubicBezTo>
                <a:cubicBezTo>
                  <a:pt x="702" y="439"/>
                  <a:pt x="702" y="439"/>
                  <a:pt x="702" y="439"/>
                </a:cubicBezTo>
                <a:cubicBezTo>
                  <a:pt x="701" y="439"/>
                  <a:pt x="702" y="438"/>
                  <a:pt x="702" y="438"/>
                </a:cubicBezTo>
                <a:cubicBezTo>
                  <a:pt x="703" y="438"/>
                  <a:pt x="702" y="438"/>
                  <a:pt x="702" y="437"/>
                </a:cubicBezTo>
                <a:cubicBezTo>
                  <a:pt x="702" y="437"/>
                  <a:pt x="702" y="437"/>
                  <a:pt x="702" y="436"/>
                </a:cubicBezTo>
                <a:cubicBezTo>
                  <a:pt x="702" y="436"/>
                  <a:pt x="702" y="436"/>
                  <a:pt x="702" y="436"/>
                </a:cubicBezTo>
                <a:cubicBezTo>
                  <a:pt x="701" y="435"/>
                  <a:pt x="701" y="435"/>
                  <a:pt x="700" y="434"/>
                </a:cubicBezTo>
                <a:cubicBezTo>
                  <a:pt x="700" y="434"/>
                  <a:pt x="700" y="434"/>
                  <a:pt x="700" y="434"/>
                </a:cubicBezTo>
                <a:cubicBezTo>
                  <a:pt x="699" y="434"/>
                  <a:pt x="699" y="434"/>
                  <a:pt x="698" y="434"/>
                </a:cubicBezTo>
                <a:cubicBezTo>
                  <a:pt x="697" y="434"/>
                  <a:pt x="697" y="434"/>
                  <a:pt x="698" y="435"/>
                </a:cubicBezTo>
                <a:cubicBezTo>
                  <a:pt x="698" y="435"/>
                  <a:pt x="698" y="435"/>
                  <a:pt x="698" y="436"/>
                </a:cubicBezTo>
                <a:cubicBezTo>
                  <a:pt x="697" y="435"/>
                  <a:pt x="697" y="434"/>
                  <a:pt x="696" y="434"/>
                </a:cubicBezTo>
                <a:cubicBezTo>
                  <a:pt x="696" y="434"/>
                  <a:pt x="696" y="434"/>
                  <a:pt x="696" y="434"/>
                </a:cubicBezTo>
                <a:cubicBezTo>
                  <a:pt x="696" y="434"/>
                  <a:pt x="695" y="433"/>
                  <a:pt x="695" y="433"/>
                </a:cubicBezTo>
                <a:cubicBezTo>
                  <a:pt x="694" y="433"/>
                  <a:pt x="694" y="433"/>
                  <a:pt x="693" y="433"/>
                </a:cubicBezTo>
                <a:cubicBezTo>
                  <a:pt x="692" y="433"/>
                  <a:pt x="692" y="433"/>
                  <a:pt x="692" y="432"/>
                </a:cubicBezTo>
                <a:cubicBezTo>
                  <a:pt x="691" y="432"/>
                  <a:pt x="690" y="432"/>
                  <a:pt x="689" y="433"/>
                </a:cubicBezTo>
                <a:cubicBezTo>
                  <a:pt x="688" y="433"/>
                  <a:pt x="688" y="433"/>
                  <a:pt x="689" y="434"/>
                </a:cubicBezTo>
                <a:cubicBezTo>
                  <a:pt x="689" y="435"/>
                  <a:pt x="690" y="435"/>
                  <a:pt x="690" y="436"/>
                </a:cubicBezTo>
                <a:close/>
                <a:moveTo>
                  <a:pt x="690" y="449"/>
                </a:moveTo>
                <a:cubicBezTo>
                  <a:pt x="690" y="449"/>
                  <a:pt x="690" y="449"/>
                  <a:pt x="690" y="448"/>
                </a:cubicBezTo>
                <a:cubicBezTo>
                  <a:pt x="690" y="448"/>
                  <a:pt x="690" y="448"/>
                  <a:pt x="690" y="448"/>
                </a:cubicBezTo>
                <a:cubicBezTo>
                  <a:pt x="690" y="448"/>
                  <a:pt x="690" y="448"/>
                  <a:pt x="689" y="447"/>
                </a:cubicBezTo>
                <a:cubicBezTo>
                  <a:pt x="690" y="447"/>
                  <a:pt x="690" y="447"/>
                  <a:pt x="690" y="447"/>
                </a:cubicBezTo>
                <a:cubicBezTo>
                  <a:pt x="691" y="447"/>
                  <a:pt x="691" y="447"/>
                  <a:pt x="690" y="447"/>
                </a:cubicBezTo>
                <a:cubicBezTo>
                  <a:pt x="690" y="446"/>
                  <a:pt x="690" y="446"/>
                  <a:pt x="690" y="446"/>
                </a:cubicBezTo>
                <a:cubicBezTo>
                  <a:pt x="690" y="446"/>
                  <a:pt x="689" y="446"/>
                  <a:pt x="689" y="446"/>
                </a:cubicBezTo>
                <a:cubicBezTo>
                  <a:pt x="690" y="446"/>
                  <a:pt x="690" y="445"/>
                  <a:pt x="690" y="445"/>
                </a:cubicBezTo>
                <a:cubicBezTo>
                  <a:pt x="691" y="444"/>
                  <a:pt x="691" y="444"/>
                  <a:pt x="690" y="444"/>
                </a:cubicBezTo>
                <a:cubicBezTo>
                  <a:pt x="690" y="444"/>
                  <a:pt x="690" y="444"/>
                  <a:pt x="690" y="443"/>
                </a:cubicBezTo>
                <a:cubicBezTo>
                  <a:pt x="691" y="443"/>
                  <a:pt x="691" y="443"/>
                  <a:pt x="692" y="444"/>
                </a:cubicBezTo>
                <a:cubicBezTo>
                  <a:pt x="692" y="444"/>
                  <a:pt x="692" y="445"/>
                  <a:pt x="692" y="444"/>
                </a:cubicBezTo>
                <a:cubicBezTo>
                  <a:pt x="692" y="444"/>
                  <a:pt x="693" y="444"/>
                  <a:pt x="692" y="443"/>
                </a:cubicBezTo>
                <a:cubicBezTo>
                  <a:pt x="692" y="443"/>
                  <a:pt x="693" y="442"/>
                  <a:pt x="692" y="442"/>
                </a:cubicBezTo>
                <a:cubicBezTo>
                  <a:pt x="692" y="442"/>
                  <a:pt x="692" y="442"/>
                  <a:pt x="692" y="442"/>
                </a:cubicBezTo>
                <a:cubicBezTo>
                  <a:pt x="692" y="441"/>
                  <a:pt x="692" y="441"/>
                  <a:pt x="692" y="440"/>
                </a:cubicBezTo>
                <a:cubicBezTo>
                  <a:pt x="692" y="440"/>
                  <a:pt x="692" y="439"/>
                  <a:pt x="692" y="439"/>
                </a:cubicBezTo>
                <a:cubicBezTo>
                  <a:pt x="692" y="439"/>
                  <a:pt x="691" y="439"/>
                  <a:pt x="691" y="439"/>
                </a:cubicBezTo>
                <a:cubicBezTo>
                  <a:pt x="691" y="439"/>
                  <a:pt x="691" y="439"/>
                  <a:pt x="690" y="439"/>
                </a:cubicBezTo>
                <a:cubicBezTo>
                  <a:pt x="690" y="439"/>
                  <a:pt x="690" y="439"/>
                  <a:pt x="690" y="440"/>
                </a:cubicBezTo>
                <a:cubicBezTo>
                  <a:pt x="691" y="440"/>
                  <a:pt x="690" y="441"/>
                  <a:pt x="690" y="441"/>
                </a:cubicBezTo>
                <a:cubicBezTo>
                  <a:pt x="690" y="441"/>
                  <a:pt x="690" y="441"/>
                  <a:pt x="690" y="441"/>
                </a:cubicBezTo>
                <a:cubicBezTo>
                  <a:pt x="690" y="442"/>
                  <a:pt x="690" y="442"/>
                  <a:pt x="689" y="442"/>
                </a:cubicBezTo>
                <a:cubicBezTo>
                  <a:pt x="689" y="443"/>
                  <a:pt x="689" y="443"/>
                  <a:pt x="689" y="442"/>
                </a:cubicBezTo>
                <a:cubicBezTo>
                  <a:pt x="689" y="442"/>
                  <a:pt x="689" y="442"/>
                  <a:pt x="689" y="442"/>
                </a:cubicBezTo>
                <a:cubicBezTo>
                  <a:pt x="689" y="442"/>
                  <a:pt x="690" y="440"/>
                  <a:pt x="690" y="440"/>
                </a:cubicBezTo>
                <a:cubicBezTo>
                  <a:pt x="689" y="439"/>
                  <a:pt x="689" y="439"/>
                  <a:pt x="689" y="438"/>
                </a:cubicBezTo>
                <a:cubicBezTo>
                  <a:pt x="689" y="438"/>
                  <a:pt x="689" y="438"/>
                  <a:pt x="689" y="438"/>
                </a:cubicBezTo>
                <a:cubicBezTo>
                  <a:pt x="688" y="438"/>
                  <a:pt x="689" y="438"/>
                  <a:pt x="689" y="437"/>
                </a:cubicBezTo>
                <a:cubicBezTo>
                  <a:pt x="689" y="437"/>
                  <a:pt x="688" y="437"/>
                  <a:pt x="688" y="437"/>
                </a:cubicBezTo>
                <a:cubicBezTo>
                  <a:pt x="688" y="437"/>
                  <a:pt x="687" y="437"/>
                  <a:pt x="687" y="436"/>
                </a:cubicBezTo>
                <a:cubicBezTo>
                  <a:pt x="687" y="436"/>
                  <a:pt x="686" y="436"/>
                  <a:pt x="686" y="436"/>
                </a:cubicBezTo>
                <a:cubicBezTo>
                  <a:pt x="686" y="437"/>
                  <a:pt x="687" y="437"/>
                  <a:pt x="687" y="438"/>
                </a:cubicBezTo>
                <a:cubicBezTo>
                  <a:pt x="686" y="438"/>
                  <a:pt x="686" y="437"/>
                  <a:pt x="686" y="437"/>
                </a:cubicBezTo>
                <a:cubicBezTo>
                  <a:pt x="685" y="437"/>
                  <a:pt x="685" y="436"/>
                  <a:pt x="685" y="437"/>
                </a:cubicBezTo>
                <a:cubicBezTo>
                  <a:pt x="684" y="437"/>
                  <a:pt x="685" y="438"/>
                  <a:pt x="685" y="438"/>
                </a:cubicBezTo>
                <a:cubicBezTo>
                  <a:pt x="685" y="438"/>
                  <a:pt x="685" y="438"/>
                  <a:pt x="685" y="439"/>
                </a:cubicBezTo>
                <a:cubicBezTo>
                  <a:pt x="685" y="439"/>
                  <a:pt x="685" y="438"/>
                  <a:pt x="685" y="438"/>
                </a:cubicBezTo>
                <a:cubicBezTo>
                  <a:pt x="685" y="438"/>
                  <a:pt x="684" y="438"/>
                  <a:pt x="684" y="438"/>
                </a:cubicBezTo>
                <a:cubicBezTo>
                  <a:pt x="684" y="438"/>
                  <a:pt x="685" y="438"/>
                  <a:pt x="685" y="438"/>
                </a:cubicBezTo>
                <a:cubicBezTo>
                  <a:pt x="684" y="438"/>
                  <a:pt x="684" y="438"/>
                  <a:pt x="684" y="438"/>
                </a:cubicBezTo>
                <a:cubicBezTo>
                  <a:pt x="684" y="438"/>
                  <a:pt x="684" y="438"/>
                  <a:pt x="684" y="438"/>
                </a:cubicBezTo>
                <a:cubicBezTo>
                  <a:pt x="683" y="438"/>
                  <a:pt x="683" y="438"/>
                  <a:pt x="683" y="438"/>
                </a:cubicBezTo>
                <a:cubicBezTo>
                  <a:pt x="683" y="438"/>
                  <a:pt x="683" y="439"/>
                  <a:pt x="684" y="439"/>
                </a:cubicBezTo>
                <a:cubicBezTo>
                  <a:pt x="684" y="439"/>
                  <a:pt x="684" y="439"/>
                  <a:pt x="684" y="439"/>
                </a:cubicBezTo>
                <a:cubicBezTo>
                  <a:pt x="684" y="440"/>
                  <a:pt x="684" y="440"/>
                  <a:pt x="684" y="441"/>
                </a:cubicBezTo>
                <a:cubicBezTo>
                  <a:pt x="684" y="441"/>
                  <a:pt x="684" y="442"/>
                  <a:pt x="684" y="442"/>
                </a:cubicBezTo>
                <a:cubicBezTo>
                  <a:pt x="685" y="443"/>
                  <a:pt x="685" y="443"/>
                  <a:pt x="685" y="442"/>
                </a:cubicBezTo>
                <a:cubicBezTo>
                  <a:pt x="686" y="442"/>
                  <a:pt x="686" y="442"/>
                  <a:pt x="686" y="442"/>
                </a:cubicBezTo>
                <a:cubicBezTo>
                  <a:pt x="686" y="442"/>
                  <a:pt x="686" y="442"/>
                  <a:pt x="685" y="443"/>
                </a:cubicBezTo>
                <a:cubicBezTo>
                  <a:pt x="685" y="443"/>
                  <a:pt x="685" y="443"/>
                  <a:pt x="685" y="443"/>
                </a:cubicBezTo>
                <a:cubicBezTo>
                  <a:pt x="685" y="443"/>
                  <a:pt x="686" y="443"/>
                  <a:pt x="686" y="443"/>
                </a:cubicBezTo>
                <a:cubicBezTo>
                  <a:pt x="686" y="443"/>
                  <a:pt x="686" y="443"/>
                  <a:pt x="686" y="443"/>
                </a:cubicBezTo>
                <a:cubicBezTo>
                  <a:pt x="686" y="443"/>
                  <a:pt x="686" y="443"/>
                  <a:pt x="686" y="444"/>
                </a:cubicBezTo>
                <a:cubicBezTo>
                  <a:pt x="685" y="444"/>
                  <a:pt x="685" y="444"/>
                  <a:pt x="685" y="445"/>
                </a:cubicBezTo>
                <a:cubicBezTo>
                  <a:pt x="686" y="444"/>
                  <a:pt x="686" y="445"/>
                  <a:pt x="686" y="445"/>
                </a:cubicBezTo>
                <a:cubicBezTo>
                  <a:pt x="686" y="445"/>
                  <a:pt x="686" y="445"/>
                  <a:pt x="686" y="445"/>
                </a:cubicBezTo>
                <a:cubicBezTo>
                  <a:pt x="687" y="446"/>
                  <a:pt x="687" y="446"/>
                  <a:pt x="687" y="446"/>
                </a:cubicBezTo>
                <a:cubicBezTo>
                  <a:pt x="687" y="446"/>
                  <a:pt x="687" y="445"/>
                  <a:pt x="687" y="445"/>
                </a:cubicBezTo>
                <a:cubicBezTo>
                  <a:pt x="688" y="445"/>
                  <a:pt x="688" y="445"/>
                  <a:pt x="688" y="445"/>
                </a:cubicBezTo>
                <a:cubicBezTo>
                  <a:pt x="688" y="445"/>
                  <a:pt x="688" y="445"/>
                  <a:pt x="688" y="445"/>
                </a:cubicBezTo>
                <a:cubicBezTo>
                  <a:pt x="688" y="446"/>
                  <a:pt x="688" y="446"/>
                  <a:pt x="688" y="447"/>
                </a:cubicBezTo>
                <a:cubicBezTo>
                  <a:pt x="688" y="447"/>
                  <a:pt x="688" y="447"/>
                  <a:pt x="688" y="447"/>
                </a:cubicBezTo>
                <a:cubicBezTo>
                  <a:pt x="688" y="448"/>
                  <a:pt x="688" y="448"/>
                  <a:pt x="688" y="449"/>
                </a:cubicBezTo>
                <a:cubicBezTo>
                  <a:pt x="688" y="449"/>
                  <a:pt x="688" y="448"/>
                  <a:pt x="687" y="448"/>
                </a:cubicBezTo>
                <a:cubicBezTo>
                  <a:pt x="687" y="448"/>
                  <a:pt x="686" y="448"/>
                  <a:pt x="686" y="448"/>
                </a:cubicBezTo>
                <a:cubicBezTo>
                  <a:pt x="686" y="448"/>
                  <a:pt x="686" y="448"/>
                  <a:pt x="686" y="449"/>
                </a:cubicBezTo>
                <a:cubicBezTo>
                  <a:pt x="685" y="449"/>
                  <a:pt x="685" y="449"/>
                  <a:pt x="685" y="450"/>
                </a:cubicBezTo>
                <a:cubicBezTo>
                  <a:pt x="685" y="450"/>
                  <a:pt x="685" y="450"/>
                  <a:pt x="685" y="450"/>
                </a:cubicBezTo>
                <a:cubicBezTo>
                  <a:pt x="685" y="451"/>
                  <a:pt x="685" y="451"/>
                  <a:pt x="685" y="451"/>
                </a:cubicBezTo>
                <a:cubicBezTo>
                  <a:pt x="685" y="451"/>
                  <a:pt x="686" y="451"/>
                  <a:pt x="686" y="451"/>
                </a:cubicBezTo>
                <a:cubicBezTo>
                  <a:pt x="686" y="450"/>
                  <a:pt x="686" y="450"/>
                  <a:pt x="686" y="450"/>
                </a:cubicBezTo>
                <a:cubicBezTo>
                  <a:pt x="686" y="450"/>
                  <a:pt x="686" y="450"/>
                  <a:pt x="686" y="450"/>
                </a:cubicBezTo>
                <a:cubicBezTo>
                  <a:pt x="686" y="451"/>
                  <a:pt x="685" y="452"/>
                  <a:pt x="686" y="453"/>
                </a:cubicBezTo>
                <a:cubicBezTo>
                  <a:pt x="686" y="453"/>
                  <a:pt x="686" y="453"/>
                  <a:pt x="686" y="453"/>
                </a:cubicBezTo>
                <a:cubicBezTo>
                  <a:pt x="685" y="453"/>
                  <a:pt x="686" y="454"/>
                  <a:pt x="686" y="454"/>
                </a:cubicBezTo>
                <a:cubicBezTo>
                  <a:pt x="686" y="454"/>
                  <a:pt x="686" y="454"/>
                  <a:pt x="686" y="454"/>
                </a:cubicBezTo>
                <a:cubicBezTo>
                  <a:pt x="685" y="455"/>
                  <a:pt x="686" y="455"/>
                  <a:pt x="686" y="455"/>
                </a:cubicBezTo>
                <a:cubicBezTo>
                  <a:pt x="686" y="455"/>
                  <a:pt x="686" y="456"/>
                  <a:pt x="686" y="456"/>
                </a:cubicBezTo>
                <a:cubicBezTo>
                  <a:pt x="686" y="456"/>
                  <a:pt x="687" y="456"/>
                  <a:pt x="687" y="457"/>
                </a:cubicBezTo>
                <a:cubicBezTo>
                  <a:pt x="687" y="457"/>
                  <a:pt x="687" y="457"/>
                  <a:pt x="687" y="457"/>
                </a:cubicBezTo>
                <a:cubicBezTo>
                  <a:pt x="687" y="457"/>
                  <a:pt x="687" y="457"/>
                  <a:pt x="687" y="457"/>
                </a:cubicBezTo>
                <a:cubicBezTo>
                  <a:pt x="687" y="456"/>
                  <a:pt x="687" y="456"/>
                  <a:pt x="688" y="455"/>
                </a:cubicBezTo>
                <a:cubicBezTo>
                  <a:pt x="688" y="455"/>
                  <a:pt x="688" y="454"/>
                  <a:pt x="687" y="454"/>
                </a:cubicBezTo>
                <a:cubicBezTo>
                  <a:pt x="687" y="454"/>
                  <a:pt x="686" y="454"/>
                  <a:pt x="686" y="454"/>
                </a:cubicBezTo>
                <a:cubicBezTo>
                  <a:pt x="686" y="453"/>
                  <a:pt x="687" y="453"/>
                  <a:pt x="687" y="454"/>
                </a:cubicBezTo>
                <a:cubicBezTo>
                  <a:pt x="687" y="454"/>
                  <a:pt x="688" y="453"/>
                  <a:pt x="688" y="453"/>
                </a:cubicBezTo>
                <a:cubicBezTo>
                  <a:pt x="688" y="453"/>
                  <a:pt x="687" y="452"/>
                  <a:pt x="688" y="452"/>
                </a:cubicBezTo>
                <a:cubicBezTo>
                  <a:pt x="688" y="452"/>
                  <a:pt x="688" y="451"/>
                  <a:pt x="688" y="451"/>
                </a:cubicBezTo>
                <a:cubicBezTo>
                  <a:pt x="688" y="451"/>
                  <a:pt x="688" y="450"/>
                  <a:pt x="688" y="450"/>
                </a:cubicBezTo>
                <a:cubicBezTo>
                  <a:pt x="688" y="450"/>
                  <a:pt x="688" y="451"/>
                  <a:pt x="688" y="451"/>
                </a:cubicBezTo>
                <a:cubicBezTo>
                  <a:pt x="688" y="451"/>
                  <a:pt x="688" y="451"/>
                  <a:pt x="688" y="451"/>
                </a:cubicBezTo>
                <a:cubicBezTo>
                  <a:pt x="688" y="452"/>
                  <a:pt x="688" y="453"/>
                  <a:pt x="688" y="455"/>
                </a:cubicBezTo>
                <a:cubicBezTo>
                  <a:pt x="688" y="455"/>
                  <a:pt x="689" y="455"/>
                  <a:pt x="689" y="455"/>
                </a:cubicBezTo>
                <a:cubicBezTo>
                  <a:pt x="689" y="456"/>
                  <a:pt x="689" y="455"/>
                  <a:pt x="689" y="455"/>
                </a:cubicBezTo>
                <a:cubicBezTo>
                  <a:pt x="690" y="454"/>
                  <a:pt x="690" y="454"/>
                  <a:pt x="689" y="453"/>
                </a:cubicBezTo>
                <a:cubicBezTo>
                  <a:pt x="689" y="453"/>
                  <a:pt x="689" y="453"/>
                  <a:pt x="690" y="452"/>
                </a:cubicBezTo>
                <a:cubicBezTo>
                  <a:pt x="690" y="452"/>
                  <a:pt x="690" y="452"/>
                  <a:pt x="690" y="452"/>
                </a:cubicBezTo>
                <a:cubicBezTo>
                  <a:pt x="690" y="452"/>
                  <a:pt x="690" y="451"/>
                  <a:pt x="690" y="451"/>
                </a:cubicBezTo>
                <a:cubicBezTo>
                  <a:pt x="689" y="451"/>
                  <a:pt x="689" y="451"/>
                  <a:pt x="689" y="451"/>
                </a:cubicBezTo>
                <a:cubicBezTo>
                  <a:pt x="689" y="451"/>
                  <a:pt x="689" y="451"/>
                  <a:pt x="689" y="451"/>
                </a:cubicBezTo>
                <a:cubicBezTo>
                  <a:pt x="689" y="450"/>
                  <a:pt x="689" y="450"/>
                  <a:pt x="689" y="450"/>
                </a:cubicBezTo>
                <a:cubicBezTo>
                  <a:pt x="689" y="450"/>
                  <a:pt x="689" y="450"/>
                  <a:pt x="689" y="450"/>
                </a:cubicBezTo>
                <a:cubicBezTo>
                  <a:pt x="689" y="450"/>
                  <a:pt x="690" y="450"/>
                  <a:pt x="690" y="450"/>
                </a:cubicBezTo>
                <a:cubicBezTo>
                  <a:pt x="690" y="450"/>
                  <a:pt x="690" y="451"/>
                  <a:pt x="690" y="451"/>
                </a:cubicBezTo>
                <a:cubicBezTo>
                  <a:pt x="690" y="451"/>
                  <a:pt x="690" y="451"/>
                  <a:pt x="691" y="450"/>
                </a:cubicBezTo>
                <a:cubicBezTo>
                  <a:pt x="691" y="450"/>
                  <a:pt x="691" y="450"/>
                  <a:pt x="690" y="449"/>
                </a:cubicBezTo>
                <a:close/>
                <a:moveTo>
                  <a:pt x="705" y="487"/>
                </a:moveTo>
                <a:cubicBezTo>
                  <a:pt x="705" y="486"/>
                  <a:pt x="705" y="486"/>
                  <a:pt x="705" y="486"/>
                </a:cubicBezTo>
                <a:cubicBezTo>
                  <a:pt x="705" y="486"/>
                  <a:pt x="705" y="485"/>
                  <a:pt x="705" y="485"/>
                </a:cubicBezTo>
                <a:cubicBezTo>
                  <a:pt x="705" y="485"/>
                  <a:pt x="705" y="484"/>
                  <a:pt x="705" y="484"/>
                </a:cubicBezTo>
                <a:cubicBezTo>
                  <a:pt x="704" y="484"/>
                  <a:pt x="704" y="483"/>
                  <a:pt x="704" y="484"/>
                </a:cubicBezTo>
                <a:cubicBezTo>
                  <a:pt x="704" y="483"/>
                  <a:pt x="704" y="482"/>
                  <a:pt x="703" y="482"/>
                </a:cubicBezTo>
                <a:cubicBezTo>
                  <a:pt x="703" y="482"/>
                  <a:pt x="703" y="481"/>
                  <a:pt x="702" y="481"/>
                </a:cubicBezTo>
                <a:cubicBezTo>
                  <a:pt x="702" y="481"/>
                  <a:pt x="702" y="481"/>
                  <a:pt x="702" y="481"/>
                </a:cubicBezTo>
                <a:cubicBezTo>
                  <a:pt x="702" y="480"/>
                  <a:pt x="702" y="480"/>
                  <a:pt x="702" y="480"/>
                </a:cubicBezTo>
                <a:cubicBezTo>
                  <a:pt x="702" y="479"/>
                  <a:pt x="701" y="479"/>
                  <a:pt x="701" y="479"/>
                </a:cubicBezTo>
                <a:cubicBezTo>
                  <a:pt x="701" y="479"/>
                  <a:pt x="701" y="479"/>
                  <a:pt x="701" y="479"/>
                </a:cubicBezTo>
                <a:cubicBezTo>
                  <a:pt x="701" y="478"/>
                  <a:pt x="701" y="478"/>
                  <a:pt x="701" y="478"/>
                </a:cubicBezTo>
                <a:cubicBezTo>
                  <a:pt x="701" y="478"/>
                  <a:pt x="700" y="478"/>
                  <a:pt x="700" y="478"/>
                </a:cubicBezTo>
                <a:cubicBezTo>
                  <a:pt x="701" y="478"/>
                  <a:pt x="701" y="478"/>
                  <a:pt x="701" y="478"/>
                </a:cubicBezTo>
                <a:cubicBezTo>
                  <a:pt x="701" y="478"/>
                  <a:pt x="701" y="478"/>
                  <a:pt x="701" y="478"/>
                </a:cubicBezTo>
                <a:cubicBezTo>
                  <a:pt x="702" y="478"/>
                  <a:pt x="701" y="477"/>
                  <a:pt x="701" y="477"/>
                </a:cubicBezTo>
                <a:cubicBezTo>
                  <a:pt x="701" y="477"/>
                  <a:pt x="701" y="477"/>
                  <a:pt x="701" y="477"/>
                </a:cubicBezTo>
                <a:cubicBezTo>
                  <a:pt x="701" y="477"/>
                  <a:pt x="700" y="476"/>
                  <a:pt x="700" y="476"/>
                </a:cubicBezTo>
                <a:cubicBezTo>
                  <a:pt x="701" y="476"/>
                  <a:pt x="700" y="476"/>
                  <a:pt x="700" y="476"/>
                </a:cubicBezTo>
                <a:cubicBezTo>
                  <a:pt x="700" y="475"/>
                  <a:pt x="700" y="475"/>
                  <a:pt x="700" y="475"/>
                </a:cubicBezTo>
                <a:cubicBezTo>
                  <a:pt x="700" y="475"/>
                  <a:pt x="700" y="474"/>
                  <a:pt x="700" y="474"/>
                </a:cubicBezTo>
                <a:cubicBezTo>
                  <a:pt x="699" y="474"/>
                  <a:pt x="699" y="474"/>
                  <a:pt x="699" y="475"/>
                </a:cubicBezTo>
                <a:cubicBezTo>
                  <a:pt x="699" y="475"/>
                  <a:pt x="699" y="475"/>
                  <a:pt x="699" y="475"/>
                </a:cubicBezTo>
                <a:cubicBezTo>
                  <a:pt x="699" y="476"/>
                  <a:pt x="699" y="476"/>
                  <a:pt x="699" y="476"/>
                </a:cubicBezTo>
                <a:cubicBezTo>
                  <a:pt x="699" y="476"/>
                  <a:pt x="699" y="477"/>
                  <a:pt x="699" y="477"/>
                </a:cubicBezTo>
                <a:cubicBezTo>
                  <a:pt x="699" y="477"/>
                  <a:pt x="699" y="477"/>
                  <a:pt x="700" y="478"/>
                </a:cubicBezTo>
                <a:cubicBezTo>
                  <a:pt x="699" y="478"/>
                  <a:pt x="699" y="478"/>
                  <a:pt x="699" y="478"/>
                </a:cubicBezTo>
                <a:cubicBezTo>
                  <a:pt x="699" y="478"/>
                  <a:pt x="699" y="478"/>
                  <a:pt x="699" y="478"/>
                </a:cubicBezTo>
                <a:cubicBezTo>
                  <a:pt x="699" y="478"/>
                  <a:pt x="699" y="479"/>
                  <a:pt x="699" y="479"/>
                </a:cubicBezTo>
                <a:cubicBezTo>
                  <a:pt x="698" y="479"/>
                  <a:pt x="699" y="479"/>
                  <a:pt x="699" y="480"/>
                </a:cubicBezTo>
                <a:cubicBezTo>
                  <a:pt x="699" y="480"/>
                  <a:pt x="700" y="480"/>
                  <a:pt x="700" y="480"/>
                </a:cubicBezTo>
                <a:cubicBezTo>
                  <a:pt x="699" y="481"/>
                  <a:pt x="700" y="481"/>
                  <a:pt x="701" y="481"/>
                </a:cubicBezTo>
                <a:cubicBezTo>
                  <a:pt x="701" y="481"/>
                  <a:pt x="701" y="481"/>
                  <a:pt x="701" y="481"/>
                </a:cubicBezTo>
                <a:cubicBezTo>
                  <a:pt x="701" y="482"/>
                  <a:pt x="700" y="481"/>
                  <a:pt x="700" y="482"/>
                </a:cubicBezTo>
                <a:cubicBezTo>
                  <a:pt x="700" y="482"/>
                  <a:pt x="701" y="482"/>
                  <a:pt x="701" y="482"/>
                </a:cubicBezTo>
                <a:cubicBezTo>
                  <a:pt x="701" y="482"/>
                  <a:pt x="701" y="482"/>
                  <a:pt x="701" y="482"/>
                </a:cubicBezTo>
                <a:cubicBezTo>
                  <a:pt x="701" y="483"/>
                  <a:pt x="701" y="483"/>
                  <a:pt x="701" y="483"/>
                </a:cubicBezTo>
                <a:cubicBezTo>
                  <a:pt x="701" y="484"/>
                  <a:pt x="702" y="484"/>
                  <a:pt x="702" y="484"/>
                </a:cubicBezTo>
                <a:cubicBezTo>
                  <a:pt x="702" y="484"/>
                  <a:pt x="702" y="483"/>
                  <a:pt x="703" y="483"/>
                </a:cubicBezTo>
                <a:cubicBezTo>
                  <a:pt x="703" y="484"/>
                  <a:pt x="702" y="484"/>
                  <a:pt x="702" y="484"/>
                </a:cubicBezTo>
                <a:cubicBezTo>
                  <a:pt x="702" y="485"/>
                  <a:pt x="703" y="485"/>
                  <a:pt x="703" y="485"/>
                </a:cubicBezTo>
                <a:cubicBezTo>
                  <a:pt x="703" y="485"/>
                  <a:pt x="703" y="486"/>
                  <a:pt x="704" y="486"/>
                </a:cubicBezTo>
                <a:cubicBezTo>
                  <a:pt x="704" y="486"/>
                  <a:pt x="703" y="486"/>
                  <a:pt x="703" y="486"/>
                </a:cubicBezTo>
                <a:cubicBezTo>
                  <a:pt x="703" y="486"/>
                  <a:pt x="703" y="487"/>
                  <a:pt x="704" y="487"/>
                </a:cubicBezTo>
                <a:cubicBezTo>
                  <a:pt x="704" y="487"/>
                  <a:pt x="704" y="486"/>
                  <a:pt x="704" y="487"/>
                </a:cubicBezTo>
                <a:cubicBezTo>
                  <a:pt x="704" y="487"/>
                  <a:pt x="705" y="487"/>
                  <a:pt x="706" y="487"/>
                </a:cubicBezTo>
                <a:cubicBezTo>
                  <a:pt x="705" y="487"/>
                  <a:pt x="705" y="487"/>
                  <a:pt x="705" y="487"/>
                </a:cubicBezTo>
                <a:close/>
                <a:moveTo>
                  <a:pt x="704" y="452"/>
                </a:moveTo>
                <a:cubicBezTo>
                  <a:pt x="704" y="452"/>
                  <a:pt x="705" y="452"/>
                  <a:pt x="705" y="451"/>
                </a:cubicBezTo>
                <a:cubicBezTo>
                  <a:pt x="706" y="451"/>
                  <a:pt x="706" y="451"/>
                  <a:pt x="706" y="450"/>
                </a:cubicBezTo>
                <a:cubicBezTo>
                  <a:pt x="706" y="450"/>
                  <a:pt x="706" y="449"/>
                  <a:pt x="706" y="449"/>
                </a:cubicBezTo>
                <a:cubicBezTo>
                  <a:pt x="707" y="448"/>
                  <a:pt x="706" y="448"/>
                  <a:pt x="706" y="447"/>
                </a:cubicBezTo>
                <a:cubicBezTo>
                  <a:pt x="706" y="447"/>
                  <a:pt x="705" y="447"/>
                  <a:pt x="705" y="447"/>
                </a:cubicBezTo>
                <a:cubicBezTo>
                  <a:pt x="704" y="447"/>
                  <a:pt x="704" y="447"/>
                  <a:pt x="703" y="447"/>
                </a:cubicBezTo>
                <a:cubicBezTo>
                  <a:pt x="702" y="447"/>
                  <a:pt x="702" y="447"/>
                  <a:pt x="701" y="448"/>
                </a:cubicBezTo>
                <a:cubicBezTo>
                  <a:pt x="701" y="448"/>
                  <a:pt x="701" y="449"/>
                  <a:pt x="701" y="449"/>
                </a:cubicBezTo>
                <a:cubicBezTo>
                  <a:pt x="701" y="449"/>
                  <a:pt x="701" y="450"/>
                  <a:pt x="701" y="450"/>
                </a:cubicBezTo>
                <a:cubicBezTo>
                  <a:pt x="702" y="451"/>
                  <a:pt x="702" y="451"/>
                  <a:pt x="703" y="452"/>
                </a:cubicBezTo>
                <a:cubicBezTo>
                  <a:pt x="703" y="452"/>
                  <a:pt x="703" y="452"/>
                  <a:pt x="704" y="452"/>
                </a:cubicBezTo>
                <a:close/>
                <a:moveTo>
                  <a:pt x="697" y="462"/>
                </a:moveTo>
                <a:cubicBezTo>
                  <a:pt x="696" y="462"/>
                  <a:pt x="695" y="462"/>
                  <a:pt x="695" y="462"/>
                </a:cubicBezTo>
                <a:cubicBezTo>
                  <a:pt x="695" y="461"/>
                  <a:pt x="695" y="461"/>
                  <a:pt x="694" y="461"/>
                </a:cubicBezTo>
                <a:cubicBezTo>
                  <a:pt x="694" y="461"/>
                  <a:pt x="694" y="462"/>
                  <a:pt x="694" y="462"/>
                </a:cubicBezTo>
                <a:cubicBezTo>
                  <a:pt x="694" y="462"/>
                  <a:pt x="694" y="461"/>
                  <a:pt x="693" y="461"/>
                </a:cubicBezTo>
                <a:cubicBezTo>
                  <a:pt x="693" y="462"/>
                  <a:pt x="693" y="462"/>
                  <a:pt x="693" y="463"/>
                </a:cubicBezTo>
                <a:cubicBezTo>
                  <a:pt x="693" y="463"/>
                  <a:pt x="693" y="463"/>
                  <a:pt x="693" y="463"/>
                </a:cubicBezTo>
                <a:cubicBezTo>
                  <a:pt x="693" y="464"/>
                  <a:pt x="694" y="464"/>
                  <a:pt x="694" y="464"/>
                </a:cubicBezTo>
                <a:cubicBezTo>
                  <a:pt x="695" y="464"/>
                  <a:pt x="695" y="464"/>
                  <a:pt x="695" y="464"/>
                </a:cubicBezTo>
                <a:cubicBezTo>
                  <a:pt x="695" y="464"/>
                  <a:pt x="695" y="464"/>
                  <a:pt x="695" y="463"/>
                </a:cubicBezTo>
                <a:cubicBezTo>
                  <a:pt x="695" y="463"/>
                  <a:pt x="695" y="463"/>
                  <a:pt x="695" y="463"/>
                </a:cubicBezTo>
                <a:cubicBezTo>
                  <a:pt x="696" y="463"/>
                  <a:pt x="696" y="464"/>
                  <a:pt x="697" y="463"/>
                </a:cubicBezTo>
                <a:cubicBezTo>
                  <a:pt x="697" y="463"/>
                  <a:pt x="697" y="463"/>
                  <a:pt x="697" y="462"/>
                </a:cubicBezTo>
                <a:cubicBezTo>
                  <a:pt x="697" y="462"/>
                  <a:pt x="697" y="462"/>
                  <a:pt x="697" y="462"/>
                </a:cubicBezTo>
                <a:close/>
                <a:moveTo>
                  <a:pt x="705" y="477"/>
                </a:moveTo>
                <a:cubicBezTo>
                  <a:pt x="705" y="477"/>
                  <a:pt x="704" y="476"/>
                  <a:pt x="704" y="476"/>
                </a:cubicBezTo>
                <a:cubicBezTo>
                  <a:pt x="704" y="476"/>
                  <a:pt x="704" y="476"/>
                  <a:pt x="704" y="476"/>
                </a:cubicBezTo>
                <a:cubicBezTo>
                  <a:pt x="703" y="476"/>
                  <a:pt x="703" y="476"/>
                  <a:pt x="703" y="477"/>
                </a:cubicBezTo>
                <a:cubicBezTo>
                  <a:pt x="703" y="477"/>
                  <a:pt x="703" y="478"/>
                  <a:pt x="703" y="478"/>
                </a:cubicBezTo>
                <a:cubicBezTo>
                  <a:pt x="704" y="478"/>
                  <a:pt x="704" y="478"/>
                  <a:pt x="703" y="479"/>
                </a:cubicBezTo>
                <a:cubicBezTo>
                  <a:pt x="703" y="479"/>
                  <a:pt x="703" y="479"/>
                  <a:pt x="703" y="479"/>
                </a:cubicBezTo>
                <a:cubicBezTo>
                  <a:pt x="703" y="479"/>
                  <a:pt x="704" y="480"/>
                  <a:pt x="704" y="480"/>
                </a:cubicBezTo>
                <a:cubicBezTo>
                  <a:pt x="704" y="479"/>
                  <a:pt x="704" y="480"/>
                  <a:pt x="704" y="480"/>
                </a:cubicBezTo>
                <a:cubicBezTo>
                  <a:pt x="704" y="480"/>
                  <a:pt x="705" y="480"/>
                  <a:pt x="705" y="480"/>
                </a:cubicBezTo>
                <a:cubicBezTo>
                  <a:pt x="705" y="480"/>
                  <a:pt x="705" y="480"/>
                  <a:pt x="705" y="480"/>
                </a:cubicBezTo>
                <a:cubicBezTo>
                  <a:pt x="706" y="479"/>
                  <a:pt x="706" y="479"/>
                  <a:pt x="705" y="479"/>
                </a:cubicBezTo>
                <a:cubicBezTo>
                  <a:pt x="705" y="478"/>
                  <a:pt x="705" y="478"/>
                  <a:pt x="705" y="478"/>
                </a:cubicBezTo>
                <a:cubicBezTo>
                  <a:pt x="706" y="477"/>
                  <a:pt x="705" y="477"/>
                  <a:pt x="705" y="477"/>
                </a:cubicBezTo>
                <a:close/>
                <a:moveTo>
                  <a:pt x="681" y="444"/>
                </a:moveTo>
                <a:cubicBezTo>
                  <a:pt x="681" y="444"/>
                  <a:pt x="681" y="444"/>
                  <a:pt x="681" y="445"/>
                </a:cubicBezTo>
                <a:cubicBezTo>
                  <a:pt x="680" y="444"/>
                  <a:pt x="680" y="444"/>
                  <a:pt x="680" y="444"/>
                </a:cubicBezTo>
                <a:cubicBezTo>
                  <a:pt x="680" y="444"/>
                  <a:pt x="680" y="444"/>
                  <a:pt x="680" y="444"/>
                </a:cubicBezTo>
                <a:cubicBezTo>
                  <a:pt x="680" y="445"/>
                  <a:pt x="680" y="445"/>
                  <a:pt x="680" y="445"/>
                </a:cubicBezTo>
                <a:cubicBezTo>
                  <a:pt x="679" y="445"/>
                  <a:pt x="680" y="445"/>
                  <a:pt x="680" y="445"/>
                </a:cubicBezTo>
                <a:cubicBezTo>
                  <a:pt x="680" y="445"/>
                  <a:pt x="680" y="445"/>
                  <a:pt x="680" y="445"/>
                </a:cubicBezTo>
                <a:cubicBezTo>
                  <a:pt x="680" y="445"/>
                  <a:pt x="680" y="445"/>
                  <a:pt x="680" y="445"/>
                </a:cubicBezTo>
                <a:cubicBezTo>
                  <a:pt x="680" y="446"/>
                  <a:pt x="681" y="446"/>
                  <a:pt x="680" y="447"/>
                </a:cubicBezTo>
                <a:cubicBezTo>
                  <a:pt x="681" y="447"/>
                  <a:pt x="680" y="447"/>
                  <a:pt x="680" y="448"/>
                </a:cubicBezTo>
                <a:cubicBezTo>
                  <a:pt x="681" y="448"/>
                  <a:pt x="681" y="448"/>
                  <a:pt x="680" y="449"/>
                </a:cubicBezTo>
                <a:cubicBezTo>
                  <a:pt x="680" y="449"/>
                  <a:pt x="681" y="449"/>
                  <a:pt x="681" y="449"/>
                </a:cubicBezTo>
                <a:cubicBezTo>
                  <a:pt x="681" y="449"/>
                  <a:pt x="681" y="450"/>
                  <a:pt x="680" y="450"/>
                </a:cubicBezTo>
                <a:cubicBezTo>
                  <a:pt x="680" y="450"/>
                  <a:pt x="680" y="450"/>
                  <a:pt x="680" y="450"/>
                </a:cubicBezTo>
                <a:cubicBezTo>
                  <a:pt x="680" y="450"/>
                  <a:pt x="680" y="450"/>
                  <a:pt x="680" y="450"/>
                </a:cubicBezTo>
                <a:cubicBezTo>
                  <a:pt x="680" y="451"/>
                  <a:pt x="680" y="451"/>
                  <a:pt x="680" y="452"/>
                </a:cubicBezTo>
                <a:cubicBezTo>
                  <a:pt x="681" y="452"/>
                  <a:pt x="680" y="453"/>
                  <a:pt x="680" y="454"/>
                </a:cubicBezTo>
                <a:cubicBezTo>
                  <a:pt x="680" y="453"/>
                  <a:pt x="679" y="454"/>
                  <a:pt x="680" y="453"/>
                </a:cubicBezTo>
                <a:cubicBezTo>
                  <a:pt x="680" y="453"/>
                  <a:pt x="680" y="453"/>
                  <a:pt x="680" y="452"/>
                </a:cubicBezTo>
                <a:cubicBezTo>
                  <a:pt x="680" y="452"/>
                  <a:pt x="680" y="452"/>
                  <a:pt x="679" y="452"/>
                </a:cubicBezTo>
                <a:cubicBezTo>
                  <a:pt x="679" y="453"/>
                  <a:pt x="679" y="452"/>
                  <a:pt x="679" y="452"/>
                </a:cubicBezTo>
                <a:cubicBezTo>
                  <a:pt x="679" y="452"/>
                  <a:pt x="678" y="451"/>
                  <a:pt x="678" y="450"/>
                </a:cubicBezTo>
                <a:cubicBezTo>
                  <a:pt x="678" y="450"/>
                  <a:pt x="678" y="450"/>
                  <a:pt x="678" y="450"/>
                </a:cubicBezTo>
                <a:cubicBezTo>
                  <a:pt x="678" y="450"/>
                  <a:pt x="678" y="450"/>
                  <a:pt x="678" y="450"/>
                </a:cubicBezTo>
                <a:cubicBezTo>
                  <a:pt x="677" y="450"/>
                  <a:pt x="677" y="450"/>
                  <a:pt x="677" y="449"/>
                </a:cubicBezTo>
                <a:cubicBezTo>
                  <a:pt x="677" y="449"/>
                  <a:pt x="677" y="448"/>
                  <a:pt x="676" y="447"/>
                </a:cubicBezTo>
                <a:cubicBezTo>
                  <a:pt x="676" y="447"/>
                  <a:pt x="676" y="447"/>
                  <a:pt x="677" y="447"/>
                </a:cubicBezTo>
                <a:cubicBezTo>
                  <a:pt x="676" y="446"/>
                  <a:pt x="676" y="447"/>
                  <a:pt x="676" y="446"/>
                </a:cubicBezTo>
                <a:cubicBezTo>
                  <a:pt x="676" y="446"/>
                  <a:pt x="676" y="445"/>
                  <a:pt x="675" y="445"/>
                </a:cubicBezTo>
                <a:cubicBezTo>
                  <a:pt x="675" y="445"/>
                  <a:pt x="676" y="445"/>
                  <a:pt x="675" y="444"/>
                </a:cubicBezTo>
                <a:cubicBezTo>
                  <a:pt x="675" y="444"/>
                  <a:pt x="676" y="444"/>
                  <a:pt x="676" y="444"/>
                </a:cubicBezTo>
                <a:cubicBezTo>
                  <a:pt x="677" y="443"/>
                  <a:pt x="677" y="443"/>
                  <a:pt x="677" y="443"/>
                </a:cubicBezTo>
                <a:cubicBezTo>
                  <a:pt x="676" y="443"/>
                  <a:pt x="676" y="443"/>
                  <a:pt x="676" y="442"/>
                </a:cubicBezTo>
                <a:cubicBezTo>
                  <a:pt x="676" y="442"/>
                  <a:pt x="676" y="442"/>
                  <a:pt x="676" y="442"/>
                </a:cubicBezTo>
                <a:cubicBezTo>
                  <a:pt x="676" y="442"/>
                  <a:pt x="676" y="442"/>
                  <a:pt x="676" y="442"/>
                </a:cubicBezTo>
                <a:cubicBezTo>
                  <a:pt x="676" y="442"/>
                  <a:pt x="676" y="442"/>
                  <a:pt x="676" y="442"/>
                </a:cubicBezTo>
                <a:cubicBezTo>
                  <a:pt x="676" y="442"/>
                  <a:pt x="676" y="443"/>
                  <a:pt x="675" y="443"/>
                </a:cubicBezTo>
                <a:cubicBezTo>
                  <a:pt x="675" y="444"/>
                  <a:pt x="675" y="444"/>
                  <a:pt x="674" y="444"/>
                </a:cubicBezTo>
                <a:cubicBezTo>
                  <a:pt x="674" y="443"/>
                  <a:pt x="674" y="443"/>
                  <a:pt x="674" y="443"/>
                </a:cubicBezTo>
                <a:cubicBezTo>
                  <a:pt x="674" y="443"/>
                  <a:pt x="674" y="443"/>
                  <a:pt x="674" y="443"/>
                </a:cubicBezTo>
                <a:cubicBezTo>
                  <a:pt x="674" y="442"/>
                  <a:pt x="674" y="441"/>
                  <a:pt x="675" y="441"/>
                </a:cubicBezTo>
                <a:cubicBezTo>
                  <a:pt x="675" y="441"/>
                  <a:pt x="675" y="440"/>
                  <a:pt x="676" y="440"/>
                </a:cubicBezTo>
                <a:cubicBezTo>
                  <a:pt x="675" y="440"/>
                  <a:pt x="675" y="440"/>
                  <a:pt x="675" y="440"/>
                </a:cubicBezTo>
                <a:cubicBezTo>
                  <a:pt x="675" y="440"/>
                  <a:pt x="675" y="441"/>
                  <a:pt x="674" y="441"/>
                </a:cubicBezTo>
                <a:cubicBezTo>
                  <a:pt x="674" y="441"/>
                  <a:pt x="674" y="442"/>
                  <a:pt x="674" y="442"/>
                </a:cubicBezTo>
                <a:cubicBezTo>
                  <a:pt x="674" y="442"/>
                  <a:pt x="673" y="442"/>
                  <a:pt x="673" y="442"/>
                </a:cubicBezTo>
                <a:cubicBezTo>
                  <a:pt x="673" y="442"/>
                  <a:pt x="673" y="441"/>
                  <a:pt x="673" y="441"/>
                </a:cubicBezTo>
                <a:cubicBezTo>
                  <a:pt x="673" y="441"/>
                  <a:pt x="674" y="441"/>
                  <a:pt x="674" y="441"/>
                </a:cubicBezTo>
                <a:cubicBezTo>
                  <a:pt x="673" y="441"/>
                  <a:pt x="674" y="440"/>
                  <a:pt x="674" y="439"/>
                </a:cubicBezTo>
                <a:cubicBezTo>
                  <a:pt x="673" y="440"/>
                  <a:pt x="673" y="440"/>
                  <a:pt x="673" y="441"/>
                </a:cubicBezTo>
                <a:cubicBezTo>
                  <a:pt x="673" y="441"/>
                  <a:pt x="673" y="441"/>
                  <a:pt x="673" y="441"/>
                </a:cubicBezTo>
                <a:cubicBezTo>
                  <a:pt x="673" y="441"/>
                  <a:pt x="673" y="441"/>
                  <a:pt x="673" y="441"/>
                </a:cubicBezTo>
                <a:cubicBezTo>
                  <a:pt x="672" y="441"/>
                  <a:pt x="673" y="441"/>
                  <a:pt x="673" y="441"/>
                </a:cubicBezTo>
                <a:cubicBezTo>
                  <a:pt x="673" y="441"/>
                  <a:pt x="673" y="440"/>
                  <a:pt x="673" y="440"/>
                </a:cubicBezTo>
                <a:cubicBezTo>
                  <a:pt x="672" y="440"/>
                  <a:pt x="673" y="440"/>
                  <a:pt x="673" y="439"/>
                </a:cubicBezTo>
                <a:cubicBezTo>
                  <a:pt x="673" y="439"/>
                  <a:pt x="673" y="439"/>
                  <a:pt x="673" y="439"/>
                </a:cubicBezTo>
                <a:cubicBezTo>
                  <a:pt x="672" y="439"/>
                  <a:pt x="672" y="439"/>
                  <a:pt x="671" y="439"/>
                </a:cubicBezTo>
                <a:cubicBezTo>
                  <a:pt x="671" y="438"/>
                  <a:pt x="671" y="438"/>
                  <a:pt x="671" y="437"/>
                </a:cubicBezTo>
                <a:cubicBezTo>
                  <a:pt x="671" y="437"/>
                  <a:pt x="671" y="437"/>
                  <a:pt x="671" y="437"/>
                </a:cubicBezTo>
                <a:cubicBezTo>
                  <a:pt x="672" y="437"/>
                  <a:pt x="672" y="437"/>
                  <a:pt x="672" y="437"/>
                </a:cubicBezTo>
                <a:cubicBezTo>
                  <a:pt x="672" y="436"/>
                  <a:pt x="672" y="436"/>
                  <a:pt x="671" y="435"/>
                </a:cubicBezTo>
                <a:cubicBezTo>
                  <a:pt x="671" y="435"/>
                  <a:pt x="671" y="435"/>
                  <a:pt x="671" y="435"/>
                </a:cubicBezTo>
                <a:cubicBezTo>
                  <a:pt x="672" y="435"/>
                  <a:pt x="672" y="434"/>
                  <a:pt x="673" y="434"/>
                </a:cubicBezTo>
                <a:cubicBezTo>
                  <a:pt x="673" y="434"/>
                  <a:pt x="673" y="434"/>
                  <a:pt x="673" y="434"/>
                </a:cubicBezTo>
                <a:cubicBezTo>
                  <a:pt x="673" y="434"/>
                  <a:pt x="674" y="434"/>
                  <a:pt x="674" y="433"/>
                </a:cubicBezTo>
                <a:cubicBezTo>
                  <a:pt x="674" y="433"/>
                  <a:pt x="674" y="433"/>
                  <a:pt x="674" y="433"/>
                </a:cubicBezTo>
                <a:cubicBezTo>
                  <a:pt x="674" y="433"/>
                  <a:pt x="673" y="433"/>
                  <a:pt x="673" y="433"/>
                </a:cubicBezTo>
                <a:cubicBezTo>
                  <a:pt x="672" y="434"/>
                  <a:pt x="671" y="433"/>
                  <a:pt x="671" y="432"/>
                </a:cubicBezTo>
                <a:cubicBezTo>
                  <a:pt x="671" y="432"/>
                  <a:pt x="671" y="431"/>
                  <a:pt x="672" y="431"/>
                </a:cubicBezTo>
                <a:cubicBezTo>
                  <a:pt x="672" y="431"/>
                  <a:pt x="672" y="430"/>
                  <a:pt x="672" y="430"/>
                </a:cubicBezTo>
                <a:cubicBezTo>
                  <a:pt x="672" y="430"/>
                  <a:pt x="672" y="430"/>
                  <a:pt x="672" y="430"/>
                </a:cubicBezTo>
                <a:cubicBezTo>
                  <a:pt x="672" y="430"/>
                  <a:pt x="672" y="430"/>
                  <a:pt x="672" y="430"/>
                </a:cubicBezTo>
                <a:cubicBezTo>
                  <a:pt x="672" y="430"/>
                  <a:pt x="672" y="430"/>
                  <a:pt x="671" y="430"/>
                </a:cubicBezTo>
                <a:cubicBezTo>
                  <a:pt x="671" y="430"/>
                  <a:pt x="671" y="431"/>
                  <a:pt x="671" y="431"/>
                </a:cubicBezTo>
                <a:cubicBezTo>
                  <a:pt x="671" y="431"/>
                  <a:pt x="671" y="430"/>
                  <a:pt x="671" y="430"/>
                </a:cubicBezTo>
                <a:cubicBezTo>
                  <a:pt x="672" y="430"/>
                  <a:pt x="671" y="429"/>
                  <a:pt x="672" y="428"/>
                </a:cubicBezTo>
                <a:cubicBezTo>
                  <a:pt x="671" y="428"/>
                  <a:pt x="670" y="428"/>
                  <a:pt x="669" y="429"/>
                </a:cubicBezTo>
                <a:cubicBezTo>
                  <a:pt x="669" y="429"/>
                  <a:pt x="669" y="428"/>
                  <a:pt x="669" y="428"/>
                </a:cubicBezTo>
                <a:cubicBezTo>
                  <a:pt x="669" y="428"/>
                  <a:pt x="669" y="428"/>
                  <a:pt x="669" y="428"/>
                </a:cubicBezTo>
                <a:cubicBezTo>
                  <a:pt x="669" y="429"/>
                  <a:pt x="668" y="428"/>
                  <a:pt x="668" y="429"/>
                </a:cubicBezTo>
                <a:cubicBezTo>
                  <a:pt x="668" y="429"/>
                  <a:pt x="668" y="430"/>
                  <a:pt x="668" y="430"/>
                </a:cubicBezTo>
                <a:cubicBezTo>
                  <a:pt x="668" y="431"/>
                  <a:pt x="669" y="431"/>
                  <a:pt x="669" y="431"/>
                </a:cubicBezTo>
                <a:cubicBezTo>
                  <a:pt x="669" y="432"/>
                  <a:pt x="668" y="433"/>
                  <a:pt x="668" y="434"/>
                </a:cubicBezTo>
                <a:cubicBezTo>
                  <a:pt x="668" y="434"/>
                  <a:pt x="667" y="434"/>
                  <a:pt x="666" y="434"/>
                </a:cubicBezTo>
                <a:cubicBezTo>
                  <a:pt x="666" y="434"/>
                  <a:pt x="666" y="435"/>
                  <a:pt x="665" y="434"/>
                </a:cubicBezTo>
                <a:cubicBezTo>
                  <a:pt x="665" y="434"/>
                  <a:pt x="665" y="434"/>
                  <a:pt x="665" y="433"/>
                </a:cubicBezTo>
                <a:cubicBezTo>
                  <a:pt x="665" y="432"/>
                  <a:pt x="665" y="432"/>
                  <a:pt x="666" y="432"/>
                </a:cubicBezTo>
                <a:cubicBezTo>
                  <a:pt x="667" y="431"/>
                  <a:pt x="666" y="431"/>
                  <a:pt x="666" y="430"/>
                </a:cubicBezTo>
                <a:cubicBezTo>
                  <a:pt x="666" y="430"/>
                  <a:pt x="666" y="430"/>
                  <a:pt x="666" y="430"/>
                </a:cubicBezTo>
                <a:cubicBezTo>
                  <a:pt x="665" y="430"/>
                  <a:pt x="665" y="430"/>
                  <a:pt x="665" y="430"/>
                </a:cubicBezTo>
                <a:cubicBezTo>
                  <a:pt x="666" y="430"/>
                  <a:pt x="665" y="429"/>
                  <a:pt x="666" y="429"/>
                </a:cubicBezTo>
                <a:cubicBezTo>
                  <a:pt x="665" y="429"/>
                  <a:pt x="665" y="428"/>
                  <a:pt x="665" y="428"/>
                </a:cubicBezTo>
                <a:cubicBezTo>
                  <a:pt x="665" y="428"/>
                  <a:pt x="665" y="428"/>
                  <a:pt x="665" y="428"/>
                </a:cubicBezTo>
                <a:cubicBezTo>
                  <a:pt x="665" y="427"/>
                  <a:pt x="666" y="427"/>
                  <a:pt x="665" y="427"/>
                </a:cubicBezTo>
                <a:cubicBezTo>
                  <a:pt x="665" y="427"/>
                  <a:pt x="665" y="426"/>
                  <a:pt x="665" y="426"/>
                </a:cubicBezTo>
                <a:cubicBezTo>
                  <a:pt x="667" y="426"/>
                  <a:pt x="667" y="426"/>
                  <a:pt x="667" y="428"/>
                </a:cubicBezTo>
                <a:cubicBezTo>
                  <a:pt x="667" y="428"/>
                  <a:pt x="667" y="428"/>
                  <a:pt x="667" y="428"/>
                </a:cubicBezTo>
                <a:cubicBezTo>
                  <a:pt x="668" y="428"/>
                  <a:pt x="667" y="427"/>
                  <a:pt x="668" y="427"/>
                </a:cubicBezTo>
                <a:cubicBezTo>
                  <a:pt x="668" y="427"/>
                  <a:pt x="668" y="427"/>
                  <a:pt x="668" y="427"/>
                </a:cubicBezTo>
                <a:cubicBezTo>
                  <a:pt x="668" y="427"/>
                  <a:pt x="668" y="427"/>
                  <a:pt x="668" y="427"/>
                </a:cubicBezTo>
                <a:cubicBezTo>
                  <a:pt x="668" y="426"/>
                  <a:pt x="667" y="426"/>
                  <a:pt x="667" y="426"/>
                </a:cubicBezTo>
                <a:cubicBezTo>
                  <a:pt x="667" y="426"/>
                  <a:pt x="667" y="426"/>
                  <a:pt x="668" y="426"/>
                </a:cubicBezTo>
                <a:cubicBezTo>
                  <a:pt x="668" y="426"/>
                  <a:pt x="669" y="426"/>
                  <a:pt x="669" y="426"/>
                </a:cubicBezTo>
                <a:cubicBezTo>
                  <a:pt x="669" y="426"/>
                  <a:pt x="670" y="426"/>
                  <a:pt x="670" y="426"/>
                </a:cubicBezTo>
                <a:cubicBezTo>
                  <a:pt x="669" y="425"/>
                  <a:pt x="669" y="425"/>
                  <a:pt x="669" y="425"/>
                </a:cubicBezTo>
                <a:cubicBezTo>
                  <a:pt x="668" y="425"/>
                  <a:pt x="668" y="425"/>
                  <a:pt x="669" y="425"/>
                </a:cubicBezTo>
                <a:cubicBezTo>
                  <a:pt x="669" y="424"/>
                  <a:pt x="669" y="424"/>
                  <a:pt x="669" y="423"/>
                </a:cubicBezTo>
                <a:cubicBezTo>
                  <a:pt x="669" y="423"/>
                  <a:pt x="669" y="424"/>
                  <a:pt x="668" y="424"/>
                </a:cubicBezTo>
                <a:cubicBezTo>
                  <a:pt x="668" y="424"/>
                  <a:pt x="668" y="424"/>
                  <a:pt x="668" y="424"/>
                </a:cubicBezTo>
                <a:cubicBezTo>
                  <a:pt x="668" y="424"/>
                  <a:pt x="668" y="424"/>
                  <a:pt x="668" y="425"/>
                </a:cubicBezTo>
                <a:cubicBezTo>
                  <a:pt x="667" y="425"/>
                  <a:pt x="667" y="425"/>
                  <a:pt x="667" y="425"/>
                </a:cubicBezTo>
                <a:cubicBezTo>
                  <a:pt x="667" y="425"/>
                  <a:pt x="667" y="426"/>
                  <a:pt x="666" y="425"/>
                </a:cubicBezTo>
                <a:cubicBezTo>
                  <a:pt x="666" y="425"/>
                  <a:pt x="666" y="425"/>
                  <a:pt x="666" y="425"/>
                </a:cubicBezTo>
                <a:cubicBezTo>
                  <a:pt x="665" y="425"/>
                  <a:pt x="665" y="425"/>
                  <a:pt x="665" y="424"/>
                </a:cubicBezTo>
                <a:cubicBezTo>
                  <a:pt x="665" y="424"/>
                  <a:pt x="664" y="424"/>
                  <a:pt x="664" y="423"/>
                </a:cubicBezTo>
                <a:cubicBezTo>
                  <a:pt x="664" y="423"/>
                  <a:pt x="663" y="423"/>
                  <a:pt x="663" y="422"/>
                </a:cubicBezTo>
                <a:cubicBezTo>
                  <a:pt x="663" y="422"/>
                  <a:pt x="663" y="422"/>
                  <a:pt x="663" y="422"/>
                </a:cubicBezTo>
                <a:cubicBezTo>
                  <a:pt x="663" y="422"/>
                  <a:pt x="663" y="422"/>
                  <a:pt x="663" y="422"/>
                </a:cubicBezTo>
                <a:cubicBezTo>
                  <a:pt x="663" y="422"/>
                  <a:pt x="664" y="422"/>
                  <a:pt x="664" y="422"/>
                </a:cubicBezTo>
                <a:cubicBezTo>
                  <a:pt x="664" y="423"/>
                  <a:pt x="665" y="423"/>
                  <a:pt x="665" y="424"/>
                </a:cubicBezTo>
                <a:cubicBezTo>
                  <a:pt x="665" y="423"/>
                  <a:pt x="665" y="423"/>
                  <a:pt x="664" y="422"/>
                </a:cubicBezTo>
                <a:cubicBezTo>
                  <a:pt x="664" y="422"/>
                  <a:pt x="664" y="422"/>
                  <a:pt x="663" y="421"/>
                </a:cubicBezTo>
                <a:cubicBezTo>
                  <a:pt x="663" y="421"/>
                  <a:pt x="663" y="421"/>
                  <a:pt x="663" y="421"/>
                </a:cubicBezTo>
                <a:cubicBezTo>
                  <a:pt x="663" y="421"/>
                  <a:pt x="662" y="421"/>
                  <a:pt x="663" y="419"/>
                </a:cubicBezTo>
                <a:cubicBezTo>
                  <a:pt x="662" y="419"/>
                  <a:pt x="663" y="420"/>
                  <a:pt x="662" y="420"/>
                </a:cubicBezTo>
                <a:cubicBezTo>
                  <a:pt x="662" y="419"/>
                  <a:pt x="662" y="419"/>
                  <a:pt x="662" y="419"/>
                </a:cubicBezTo>
                <a:cubicBezTo>
                  <a:pt x="662" y="419"/>
                  <a:pt x="662" y="420"/>
                  <a:pt x="662" y="419"/>
                </a:cubicBezTo>
                <a:cubicBezTo>
                  <a:pt x="661" y="419"/>
                  <a:pt x="661" y="419"/>
                  <a:pt x="661" y="419"/>
                </a:cubicBezTo>
                <a:cubicBezTo>
                  <a:pt x="661" y="419"/>
                  <a:pt x="661" y="419"/>
                  <a:pt x="661" y="419"/>
                </a:cubicBezTo>
                <a:cubicBezTo>
                  <a:pt x="660" y="419"/>
                  <a:pt x="660" y="418"/>
                  <a:pt x="660" y="418"/>
                </a:cubicBezTo>
                <a:cubicBezTo>
                  <a:pt x="660" y="418"/>
                  <a:pt x="661" y="417"/>
                  <a:pt x="661" y="418"/>
                </a:cubicBezTo>
                <a:cubicBezTo>
                  <a:pt x="661" y="417"/>
                  <a:pt x="660" y="417"/>
                  <a:pt x="661" y="416"/>
                </a:cubicBezTo>
                <a:cubicBezTo>
                  <a:pt x="661" y="416"/>
                  <a:pt x="660" y="416"/>
                  <a:pt x="660" y="416"/>
                </a:cubicBezTo>
                <a:cubicBezTo>
                  <a:pt x="660" y="416"/>
                  <a:pt x="660" y="416"/>
                  <a:pt x="660" y="416"/>
                </a:cubicBezTo>
                <a:cubicBezTo>
                  <a:pt x="660" y="416"/>
                  <a:pt x="660" y="417"/>
                  <a:pt x="660" y="417"/>
                </a:cubicBezTo>
                <a:cubicBezTo>
                  <a:pt x="659" y="417"/>
                  <a:pt x="659" y="416"/>
                  <a:pt x="659" y="416"/>
                </a:cubicBezTo>
                <a:cubicBezTo>
                  <a:pt x="659" y="415"/>
                  <a:pt x="659" y="415"/>
                  <a:pt x="658" y="415"/>
                </a:cubicBezTo>
                <a:cubicBezTo>
                  <a:pt x="658" y="414"/>
                  <a:pt x="658" y="414"/>
                  <a:pt x="658" y="414"/>
                </a:cubicBezTo>
                <a:cubicBezTo>
                  <a:pt x="658" y="414"/>
                  <a:pt x="658" y="414"/>
                  <a:pt x="658" y="414"/>
                </a:cubicBezTo>
                <a:cubicBezTo>
                  <a:pt x="658" y="414"/>
                  <a:pt x="658" y="414"/>
                  <a:pt x="657" y="414"/>
                </a:cubicBezTo>
                <a:cubicBezTo>
                  <a:pt x="657" y="414"/>
                  <a:pt x="657" y="413"/>
                  <a:pt x="657" y="413"/>
                </a:cubicBezTo>
                <a:cubicBezTo>
                  <a:pt x="657" y="413"/>
                  <a:pt x="657" y="413"/>
                  <a:pt x="657" y="413"/>
                </a:cubicBezTo>
                <a:cubicBezTo>
                  <a:pt x="656" y="412"/>
                  <a:pt x="656" y="412"/>
                  <a:pt x="656" y="411"/>
                </a:cubicBezTo>
                <a:cubicBezTo>
                  <a:pt x="656" y="411"/>
                  <a:pt x="657" y="410"/>
                  <a:pt x="656" y="410"/>
                </a:cubicBezTo>
                <a:cubicBezTo>
                  <a:pt x="656" y="410"/>
                  <a:pt x="656" y="408"/>
                  <a:pt x="657" y="408"/>
                </a:cubicBezTo>
                <a:cubicBezTo>
                  <a:pt x="657" y="408"/>
                  <a:pt x="657" y="408"/>
                  <a:pt x="657" y="408"/>
                </a:cubicBezTo>
                <a:cubicBezTo>
                  <a:pt x="658" y="409"/>
                  <a:pt x="658" y="409"/>
                  <a:pt x="658" y="410"/>
                </a:cubicBezTo>
                <a:cubicBezTo>
                  <a:pt x="659" y="410"/>
                  <a:pt x="659" y="410"/>
                  <a:pt x="659" y="410"/>
                </a:cubicBezTo>
                <a:cubicBezTo>
                  <a:pt x="659" y="410"/>
                  <a:pt x="659" y="411"/>
                  <a:pt x="659" y="411"/>
                </a:cubicBezTo>
                <a:cubicBezTo>
                  <a:pt x="660" y="411"/>
                  <a:pt x="661" y="412"/>
                  <a:pt x="662" y="413"/>
                </a:cubicBezTo>
                <a:cubicBezTo>
                  <a:pt x="662" y="414"/>
                  <a:pt x="662" y="414"/>
                  <a:pt x="662" y="414"/>
                </a:cubicBezTo>
                <a:cubicBezTo>
                  <a:pt x="662" y="414"/>
                  <a:pt x="662" y="414"/>
                  <a:pt x="663" y="414"/>
                </a:cubicBezTo>
                <a:cubicBezTo>
                  <a:pt x="663" y="414"/>
                  <a:pt x="663" y="414"/>
                  <a:pt x="663" y="414"/>
                </a:cubicBezTo>
                <a:cubicBezTo>
                  <a:pt x="662" y="414"/>
                  <a:pt x="662" y="414"/>
                  <a:pt x="662" y="414"/>
                </a:cubicBezTo>
                <a:cubicBezTo>
                  <a:pt x="662" y="414"/>
                  <a:pt x="662" y="414"/>
                  <a:pt x="662" y="414"/>
                </a:cubicBezTo>
                <a:cubicBezTo>
                  <a:pt x="662" y="413"/>
                  <a:pt x="661" y="413"/>
                  <a:pt x="661" y="412"/>
                </a:cubicBezTo>
                <a:cubicBezTo>
                  <a:pt x="660" y="412"/>
                  <a:pt x="660" y="411"/>
                  <a:pt x="659" y="410"/>
                </a:cubicBezTo>
                <a:cubicBezTo>
                  <a:pt x="659" y="410"/>
                  <a:pt x="659" y="409"/>
                  <a:pt x="658" y="409"/>
                </a:cubicBezTo>
                <a:cubicBezTo>
                  <a:pt x="658" y="409"/>
                  <a:pt x="658" y="408"/>
                  <a:pt x="658" y="408"/>
                </a:cubicBezTo>
                <a:cubicBezTo>
                  <a:pt x="657" y="407"/>
                  <a:pt x="658" y="407"/>
                  <a:pt x="658" y="407"/>
                </a:cubicBezTo>
                <a:cubicBezTo>
                  <a:pt x="658" y="407"/>
                  <a:pt x="658" y="407"/>
                  <a:pt x="659" y="407"/>
                </a:cubicBezTo>
                <a:cubicBezTo>
                  <a:pt x="659" y="407"/>
                  <a:pt x="659" y="407"/>
                  <a:pt x="659" y="408"/>
                </a:cubicBezTo>
                <a:cubicBezTo>
                  <a:pt x="659" y="408"/>
                  <a:pt x="659" y="408"/>
                  <a:pt x="660" y="408"/>
                </a:cubicBezTo>
                <a:cubicBezTo>
                  <a:pt x="659" y="407"/>
                  <a:pt x="659" y="407"/>
                  <a:pt x="659" y="406"/>
                </a:cubicBezTo>
                <a:cubicBezTo>
                  <a:pt x="659" y="405"/>
                  <a:pt x="659" y="405"/>
                  <a:pt x="659" y="405"/>
                </a:cubicBezTo>
                <a:cubicBezTo>
                  <a:pt x="659" y="405"/>
                  <a:pt x="659" y="405"/>
                  <a:pt x="660" y="405"/>
                </a:cubicBezTo>
                <a:cubicBezTo>
                  <a:pt x="660" y="406"/>
                  <a:pt x="660" y="406"/>
                  <a:pt x="660" y="406"/>
                </a:cubicBezTo>
                <a:cubicBezTo>
                  <a:pt x="660" y="407"/>
                  <a:pt x="661" y="407"/>
                  <a:pt x="661" y="408"/>
                </a:cubicBezTo>
                <a:cubicBezTo>
                  <a:pt x="661" y="408"/>
                  <a:pt x="661" y="409"/>
                  <a:pt x="662" y="409"/>
                </a:cubicBezTo>
                <a:cubicBezTo>
                  <a:pt x="662" y="409"/>
                  <a:pt x="662" y="409"/>
                  <a:pt x="662" y="409"/>
                </a:cubicBezTo>
                <a:cubicBezTo>
                  <a:pt x="662" y="409"/>
                  <a:pt x="662" y="409"/>
                  <a:pt x="662" y="409"/>
                </a:cubicBezTo>
                <a:cubicBezTo>
                  <a:pt x="661" y="408"/>
                  <a:pt x="661" y="408"/>
                  <a:pt x="661" y="407"/>
                </a:cubicBezTo>
                <a:cubicBezTo>
                  <a:pt x="661" y="407"/>
                  <a:pt x="661" y="407"/>
                  <a:pt x="661" y="407"/>
                </a:cubicBezTo>
                <a:cubicBezTo>
                  <a:pt x="661" y="406"/>
                  <a:pt x="661" y="406"/>
                  <a:pt x="661" y="405"/>
                </a:cubicBezTo>
                <a:cubicBezTo>
                  <a:pt x="662" y="405"/>
                  <a:pt x="662" y="405"/>
                  <a:pt x="663" y="405"/>
                </a:cubicBezTo>
                <a:cubicBezTo>
                  <a:pt x="663" y="406"/>
                  <a:pt x="663" y="406"/>
                  <a:pt x="663" y="406"/>
                </a:cubicBezTo>
                <a:cubicBezTo>
                  <a:pt x="663" y="406"/>
                  <a:pt x="664" y="406"/>
                  <a:pt x="664" y="406"/>
                </a:cubicBezTo>
                <a:cubicBezTo>
                  <a:pt x="664" y="405"/>
                  <a:pt x="664" y="405"/>
                  <a:pt x="664" y="405"/>
                </a:cubicBezTo>
                <a:cubicBezTo>
                  <a:pt x="665" y="404"/>
                  <a:pt x="665" y="404"/>
                  <a:pt x="666" y="404"/>
                </a:cubicBezTo>
                <a:cubicBezTo>
                  <a:pt x="666" y="404"/>
                  <a:pt x="666" y="404"/>
                  <a:pt x="666" y="404"/>
                </a:cubicBezTo>
                <a:cubicBezTo>
                  <a:pt x="667" y="404"/>
                  <a:pt x="667" y="405"/>
                  <a:pt x="668" y="405"/>
                </a:cubicBezTo>
                <a:cubicBezTo>
                  <a:pt x="668" y="405"/>
                  <a:pt x="668" y="405"/>
                  <a:pt x="669" y="406"/>
                </a:cubicBezTo>
                <a:cubicBezTo>
                  <a:pt x="669" y="406"/>
                  <a:pt x="669" y="406"/>
                  <a:pt x="669" y="406"/>
                </a:cubicBezTo>
                <a:cubicBezTo>
                  <a:pt x="670" y="407"/>
                  <a:pt x="669" y="407"/>
                  <a:pt x="669" y="407"/>
                </a:cubicBezTo>
                <a:cubicBezTo>
                  <a:pt x="669" y="408"/>
                  <a:pt x="669" y="409"/>
                  <a:pt x="668" y="409"/>
                </a:cubicBezTo>
                <a:cubicBezTo>
                  <a:pt x="668" y="409"/>
                  <a:pt x="667" y="409"/>
                  <a:pt x="667" y="409"/>
                </a:cubicBezTo>
                <a:cubicBezTo>
                  <a:pt x="667" y="409"/>
                  <a:pt x="666" y="409"/>
                  <a:pt x="666" y="409"/>
                </a:cubicBezTo>
                <a:cubicBezTo>
                  <a:pt x="666" y="410"/>
                  <a:pt x="666" y="409"/>
                  <a:pt x="667" y="409"/>
                </a:cubicBezTo>
                <a:cubicBezTo>
                  <a:pt x="667" y="409"/>
                  <a:pt x="667" y="409"/>
                  <a:pt x="667" y="410"/>
                </a:cubicBezTo>
                <a:cubicBezTo>
                  <a:pt x="667" y="410"/>
                  <a:pt x="667" y="410"/>
                  <a:pt x="668" y="410"/>
                </a:cubicBezTo>
                <a:cubicBezTo>
                  <a:pt x="668" y="410"/>
                  <a:pt x="668" y="410"/>
                  <a:pt x="668" y="410"/>
                </a:cubicBezTo>
                <a:cubicBezTo>
                  <a:pt x="668" y="411"/>
                  <a:pt x="667" y="411"/>
                  <a:pt x="667" y="411"/>
                </a:cubicBezTo>
                <a:cubicBezTo>
                  <a:pt x="667" y="410"/>
                  <a:pt x="666" y="410"/>
                  <a:pt x="666" y="411"/>
                </a:cubicBezTo>
                <a:cubicBezTo>
                  <a:pt x="666" y="411"/>
                  <a:pt x="667" y="411"/>
                  <a:pt x="667" y="411"/>
                </a:cubicBezTo>
                <a:cubicBezTo>
                  <a:pt x="667" y="411"/>
                  <a:pt x="668" y="411"/>
                  <a:pt x="668" y="411"/>
                </a:cubicBezTo>
                <a:cubicBezTo>
                  <a:pt x="668" y="411"/>
                  <a:pt x="668" y="411"/>
                  <a:pt x="668" y="411"/>
                </a:cubicBezTo>
                <a:cubicBezTo>
                  <a:pt x="669" y="411"/>
                  <a:pt x="669" y="410"/>
                  <a:pt x="669" y="410"/>
                </a:cubicBezTo>
                <a:cubicBezTo>
                  <a:pt x="669" y="409"/>
                  <a:pt x="670" y="409"/>
                  <a:pt x="670" y="408"/>
                </a:cubicBezTo>
                <a:cubicBezTo>
                  <a:pt x="671" y="408"/>
                  <a:pt x="671" y="408"/>
                  <a:pt x="670" y="408"/>
                </a:cubicBezTo>
                <a:cubicBezTo>
                  <a:pt x="670" y="408"/>
                  <a:pt x="670" y="408"/>
                  <a:pt x="670" y="407"/>
                </a:cubicBezTo>
                <a:cubicBezTo>
                  <a:pt x="670" y="407"/>
                  <a:pt x="671" y="407"/>
                  <a:pt x="671" y="407"/>
                </a:cubicBezTo>
                <a:cubicBezTo>
                  <a:pt x="671" y="407"/>
                  <a:pt x="672" y="407"/>
                  <a:pt x="672" y="408"/>
                </a:cubicBezTo>
                <a:cubicBezTo>
                  <a:pt x="672" y="409"/>
                  <a:pt x="673" y="408"/>
                  <a:pt x="674" y="408"/>
                </a:cubicBezTo>
                <a:cubicBezTo>
                  <a:pt x="674" y="408"/>
                  <a:pt x="674" y="408"/>
                  <a:pt x="674" y="408"/>
                </a:cubicBezTo>
                <a:cubicBezTo>
                  <a:pt x="675" y="408"/>
                  <a:pt x="675" y="408"/>
                  <a:pt x="675" y="409"/>
                </a:cubicBezTo>
                <a:cubicBezTo>
                  <a:pt x="675" y="409"/>
                  <a:pt x="675" y="409"/>
                  <a:pt x="674" y="409"/>
                </a:cubicBezTo>
                <a:cubicBezTo>
                  <a:pt x="675" y="409"/>
                  <a:pt x="676" y="409"/>
                  <a:pt x="677" y="410"/>
                </a:cubicBezTo>
                <a:cubicBezTo>
                  <a:pt x="677" y="410"/>
                  <a:pt x="677" y="411"/>
                  <a:pt x="677" y="411"/>
                </a:cubicBezTo>
                <a:cubicBezTo>
                  <a:pt x="677" y="412"/>
                  <a:pt x="677" y="413"/>
                  <a:pt x="676" y="413"/>
                </a:cubicBezTo>
                <a:cubicBezTo>
                  <a:pt x="676" y="413"/>
                  <a:pt x="676" y="413"/>
                  <a:pt x="676" y="413"/>
                </a:cubicBezTo>
                <a:cubicBezTo>
                  <a:pt x="675" y="413"/>
                  <a:pt x="675" y="413"/>
                  <a:pt x="674" y="412"/>
                </a:cubicBezTo>
                <a:cubicBezTo>
                  <a:pt x="674" y="412"/>
                  <a:pt x="674" y="412"/>
                  <a:pt x="674" y="412"/>
                </a:cubicBezTo>
                <a:cubicBezTo>
                  <a:pt x="673" y="412"/>
                  <a:pt x="673" y="412"/>
                  <a:pt x="673" y="412"/>
                </a:cubicBezTo>
                <a:cubicBezTo>
                  <a:pt x="673" y="412"/>
                  <a:pt x="673" y="412"/>
                  <a:pt x="674" y="412"/>
                </a:cubicBezTo>
                <a:cubicBezTo>
                  <a:pt x="674" y="412"/>
                  <a:pt x="674" y="412"/>
                  <a:pt x="674" y="412"/>
                </a:cubicBezTo>
                <a:cubicBezTo>
                  <a:pt x="674" y="413"/>
                  <a:pt x="674" y="413"/>
                  <a:pt x="675" y="413"/>
                </a:cubicBezTo>
                <a:cubicBezTo>
                  <a:pt x="675" y="414"/>
                  <a:pt x="676" y="414"/>
                  <a:pt x="676" y="414"/>
                </a:cubicBezTo>
                <a:cubicBezTo>
                  <a:pt x="676" y="414"/>
                  <a:pt x="676" y="414"/>
                  <a:pt x="676" y="415"/>
                </a:cubicBezTo>
                <a:cubicBezTo>
                  <a:pt x="676" y="415"/>
                  <a:pt x="677" y="415"/>
                  <a:pt x="676" y="415"/>
                </a:cubicBezTo>
                <a:cubicBezTo>
                  <a:pt x="676" y="415"/>
                  <a:pt x="676" y="416"/>
                  <a:pt x="675" y="416"/>
                </a:cubicBezTo>
                <a:cubicBezTo>
                  <a:pt x="675" y="416"/>
                  <a:pt x="674" y="416"/>
                  <a:pt x="674" y="416"/>
                </a:cubicBezTo>
                <a:cubicBezTo>
                  <a:pt x="673" y="416"/>
                  <a:pt x="673" y="416"/>
                  <a:pt x="672" y="415"/>
                </a:cubicBezTo>
                <a:cubicBezTo>
                  <a:pt x="672" y="415"/>
                  <a:pt x="671" y="414"/>
                  <a:pt x="671" y="414"/>
                </a:cubicBezTo>
                <a:cubicBezTo>
                  <a:pt x="670" y="414"/>
                  <a:pt x="670" y="414"/>
                  <a:pt x="670" y="413"/>
                </a:cubicBezTo>
                <a:cubicBezTo>
                  <a:pt x="668" y="413"/>
                  <a:pt x="667" y="412"/>
                  <a:pt x="666" y="411"/>
                </a:cubicBezTo>
                <a:cubicBezTo>
                  <a:pt x="666" y="411"/>
                  <a:pt x="665" y="411"/>
                  <a:pt x="665" y="411"/>
                </a:cubicBezTo>
                <a:cubicBezTo>
                  <a:pt x="666" y="412"/>
                  <a:pt x="667" y="412"/>
                  <a:pt x="667" y="412"/>
                </a:cubicBezTo>
                <a:cubicBezTo>
                  <a:pt x="668" y="413"/>
                  <a:pt x="668" y="413"/>
                  <a:pt x="668" y="413"/>
                </a:cubicBezTo>
                <a:cubicBezTo>
                  <a:pt x="668" y="414"/>
                  <a:pt x="668" y="414"/>
                  <a:pt x="668" y="414"/>
                </a:cubicBezTo>
                <a:cubicBezTo>
                  <a:pt x="668" y="414"/>
                  <a:pt x="668" y="414"/>
                  <a:pt x="669" y="414"/>
                </a:cubicBezTo>
                <a:cubicBezTo>
                  <a:pt x="669" y="414"/>
                  <a:pt x="669" y="414"/>
                  <a:pt x="669" y="414"/>
                </a:cubicBezTo>
                <a:cubicBezTo>
                  <a:pt x="669" y="414"/>
                  <a:pt x="669" y="414"/>
                  <a:pt x="669" y="415"/>
                </a:cubicBezTo>
                <a:cubicBezTo>
                  <a:pt x="669" y="414"/>
                  <a:pt x="670" y="414"/>
                  <a:pt x="670" y="415"/>
                </a:cubicBezTo>
                <a:cubicBezTo>
                  <a:pt x="671" y="415"/>
                  <a:pt x="671" y="415"/>
                  <a:pt x="671" y="416"/>
                </a:cubicBezTo>
                <a:cubicBezTo>
                  <a:pt x="671" y="416"/>
                  <a:pt x="671" y="416"/>
                  <a:pt x="671" y="416"/>
                </a:cubicBezTo>
                <a:cubicBezTo>
                  <a:pt x="671" y="416"/>
                  <a:pt x="672" y="416"/>
                  <a:pt x="672" y="416"/>
                </a:cubicBezTo>
                <a:cubicBezTo>
                  <a:pt x="671" y="417"/>
                  <a:pt x="671" y="417"/>
                  <a:pt x="671" y="417"/>
                </a:cubicBezTo>
                <a:cubicBezTo>
                  <a:pt x="671" y="417"/>
                  <a:pt x="671" y="417"/>
                  <a:pt x="671" y="417"/>
                </a:cubicBezTo>
                <a:cubicBezTo>
                  <a:pt x="671" y="417"/>
                  <a:pt x="671" y="417"/>
                  <a:pt x="672" y="417"/>
                </a:cubicBezTo>
                <a:cubicBezTo>
                  <a:pt x="672" y="417"/>
                  <a:pt x="673" y="417"/>
                  <a:pt x="673" y="417"/>
                </a:cubicBezTo>
                <a:cubicBezTo>
                  <a:pt x="673" y="417"/>
                  <a:pt x="673" y="417"/>
                  <a:pt x="673" y="417"/>
                </a:cubicBezTo>
                <a:cubicBezTo>
                  <a:pt x="673" y="417"/>
                  <a:pt x="674" y="417"/>
                  <a:pt x="674" y="417"/>
                </a:cubicBezTo>
                <a:cubicBezTo>
                  <a:pt x="674" y="417"/>
                  <a:pt x="674" y="417"/>
                  <a:pt x="675" y="417"/>
                </a:cubicBezTo>
                <a:cubicBezTo>
                  <a:pt x="675" y="416"/>
                  <a:pt x="675" y="416"/>
                  <a:pt x="675" y="416"/>
                </a:cubicBezTo>
                <a:cubicBezTo>
                  <a:pt x="676" y="417"/>
                  <a:pt x="676" y="417"/>
                  <a:pt x="676" y="416"/>
                </a:cubicBezTo>
                <a:cubicBezTo>
                  <a:pt x="677" y="416"/>
                  <a:pt x="677" y="416"/>
                  <a:pt x="677" y="417"/>
                </a:cubicBezTo>
                <a:cubicBezTo>
                  <a:pt x="677" y="417"/>
                  <a:pt x="678" y="418"/>
                  <a:pt x="677" y="418"/>
                </a:cubicBezTo>
                <a:cubicBezTo>
                  <a:pt x="677" y="418"/>
                  <a:pt x="677" y="419"/>
                  <a:pt x="677" y="419"/>
                </a:cubicBezTo>
                <a:cubicBezTo>
                  <a:pt x="677" y="419"/>
                  <a:pt x="677" y="419"/>
                  <a:pt x="677" y="419"/>
                </a:cubicBezTo>
                <a:cubicBezTo>
                  <a:pt x="677" y="419"/>
                  <a:pt x="677" y="419"/>
                  <a:pt x="677" y="419"/>
                </a:cubicBezTo>
                <a:cubicBezTo>
                  <a:pt x="678" y="419"/>
                  <a:pt x="678" y="420"/>
                  <a:pt x="678" y="420"/>
                </a:cubicBezTo>
                <a:cubicBezTo>
                  <a:pt x="678" y="420"/>
                  <a:pt x="678" y="421"/>
                  <a:pt x="678" y="421"/>
                </a:cubicBezTo>
                <a:cubicBezTo>
                  <a:pt x="678" y="421"/>
                  <a:pt x="678" y="421"/>
                  <a:pt x="678" y="421"/>
                </a:cubicBezTo>
                <a:cubicBezTo>
                  <a:pt x="678" y="421"/>
                  <a:pt x="678" y="421"/>
                  <a:pt x="678" y="422"/>
                </a:cubicBezTo>
                <a:cubicBezTo>
                  <a:pt x="678" y="422"/>
                  <a:pt x="678" y="422"/>
                  <a:pt x="678" y="423"/>
                </a:cubicBezTo>
                <a:cubicBezTo>
                  <a:pt x="678" y="423"/>
                  <a:pt x="677" y="422"/>
                  <a:pt x="677" y="422"/>
                </a:cubicBezTo>
                <a:cubicBezTo>
                  <a:pt x="677" y="422"/>
                  <a:pt x="677" y="422"/>
                  <a:pt x="676" y="421"/>
                </a:cubicBezTo>
                <a:cubicBezTo>
                  <a:pt x="677" y="422"/>
                  <a:pt x="677" y="422"/>
                  <a:pt x="677" y="423"/>
                </a:cubicBezTo>
                <a:cubicBezTo>
                  <a:pt x="678" y="423"/>
                  <a:pt x="677" y="423"/>
                  <a:pt x="677" y="423"/>
                </a:cubicBezTo>
                <a:cubicBezTo>
                  <a:pt x="676" y="423"/>
                  <a:pt x="676" y="424"/>
                  <a:pt x="675" y="423"/>
                </a:cubicBezTo>
                <a:cubicBezTo>
                  <a:pt x="675" y="423"/>
                  <a:pt x="675" y="423"/>
                  <a:pt x="675" y="423"/>
                </a:cubicBezTo>
                <a:cubicBezTo>
                  <a:pt x="674" y="423"/>
                  <a:pt x="674" y="422"/>
                  <a:pt x="674" y="422"/>
                </a:cubicBezTo>
                <a:cubicBezTo>
                  <a:pt x="673" y="422"/>
                  <a:pt x="673" y="421"/>
                  <a:pt x="673" y="421"/>
                </a:cubicBezTo>
                <a:cubicBezTo>
                  <a:pt x="672" y="421"/>
                  <a:pt x="672" y="421"/>
                  <a:pt x="672" y="421"/>
                </a:cubicBezTo>
                <a:cubicBezTo>
                  <a:pt x="671" y="420"/>
                  <a:pt x="670" y="419"/>
                  <a:pt x="669" y="419"/>
                </a:cubicBezTo>
                <a:cubicBezTo>
                  <a:pt x="669" y="418"/>
                  <a:pt x="669" y="418"/>
                  <a:pt x="669" y="418"/>
                </a:cubicBezTo>
                <a:cubicBezTo>
                  <a:pt x="668" y="418"/>
                  <a:pt x="668" y="418"/>
                  <a:pt x="668" y="418"/>
                </a:cubicBezTo>
                <a:cubicBezTo>
                  <a:pt x="668" y="418"/>
                  <a:pt x="667" y="417"/>
                  <a:pt x="667" y="417"/>
                </a:cubicBezTo>
                <a:cubicBezTo>
                  <a:pt x="667" y="417"/>
                  <a:pt x="667" y="417"/>
                  <a:pt x="666" y="417"/>
                </a:cubicBezTo>
                <a:cubicBezTo>
                  <a:pt x="666" y="416"/>
                  <a:pt x="666" y="416"/>
                  <a:pt x="666" y="416"/>
                </a:cubicBezTo>
                <a:cubicBezTo>
                  <a:pt x="666" y="416"/>
                  <a:pt x="666" y="416"/>
                  <a:pt x="666" y="416"/>
                </a:cubicBezTo>
                <a:cubicBezTo>
                  <a:pt x="665" y="416"/>
                  <a:pt x="666" y="416"/>
                  <a:pt x="666" y="417"/>
                </a:cubicBezTo>
                <a:cubicBezTo>
                  <a:pt x="666" y="417"/>
                  <a:pt x="666" y="417"/>
                  <a:pt x="666" y="417"/>
                </a:cubicBezTo>
                <a:cubicBezTo>
                  <a:pt x="667" y="418"/>
                  <a:pt x="667" y="418"/>
                  <a:pt x="666" y="419"/>
                </a:cubicBezTo>
                <a:cubicBezTo>
                  <a:pt x="666" y="419"/>
                  <a:pt x="666" y="419"/>
                  <a:pt x="667" y="419"/>
                </a:cubicBezTo>
                <a:cubicBezTo>
                  <a:pt x="667" y="419"/>
                  <a:pt x="667" y="419"/>
                  <a:pt x="667" y="419"/>
                </a:cubicBezTo>
                <a:cubicBezTo>
                  <a:pt x="668" y="419"/>
                  <a:pt x="668" y="420"/>
                  <a:pt x="668" y="420"/>
                </a:cubicBezTo>
                <a:cubicBezTo>
                  <a:pt x="669" y="420"/>
                  <a:pt x="669" y="420"/>
                  <a:pt x="669" y="420"/>
                </a:cubicBezTo>
                <a:cubicBezTo>
                  <a:pt x="669" y="421"/>
                  <a:pt x="668" y="421"/>
                  <a:pt x="668" y="421"/>
                </a:cubicBezTo>
                <a:cubicBezTo>
                  <a:pt x="668" y="421"/>
                  <a:pt x="668" y="421"/>
                  <a:pt x="668" y="421"/>
                </a:cubicBezTo>
                <a:cubicBezTo>
                  <a:pt x="668" y="421"/>
                  <a:pt x="668" y="421"/>
                  <a:pt x="668" y="421"/>
                </a:cubicBezTo>
                <a:cubicBezTo>
                  <a:pt x="668" y="421"/>
                  <a:pt x="669" y="421"/>
                  <a:pt x="669" y="422"/>
                </a:cubicBezTo>
                <a:cubicBezTo>
                  <a:pt x="669" y="422"/>
                  <a:pt x="669" y="422"/>
                  <a:pt x="669" y="423"/>
                </a:cubicBezTo>
                <a:cubicBezTo>
                  <a:pt x="669" y="422"/>
                  <a:pt x="669" y="422"/>
                  <a:pt x="669" y="422"/>
                </a:cubicBezTo>
                <a:cubicBezTo>
                  <a:pt x="670" y="422"/>
                  <a:pt x="670" y="422"/>
                  <a:pt x="670" y="421"/>
                </a:cubicBezTo>
                <a:cubicBezTo>
                  <a:pt x="670" y="421"/>
                  <a:pt x="671" y="421"/>
                  <a:pt x="671" y="421"/>
                </a:cubicBezTo>
                <a:cubicBezTo>
                  <a:pt x="672" y="421"/>
                  <a:pt x="672" y="422"/>
                  <a:pt x="672" y="422"/>
                </a:cubicBezTo>
                <a:cubicBezTo>
                  <a:pt x="672" y="422"/>
                  <a:pt x="672" y="423"/>
                  <a:pt x="672" y="423"/>
                </a:cubicBezTo>
                <a:cubicBezTo>
                  <a:pt x="672" y="423"/>
                  <a:pt x="671" y="423"/>
                  <a:pt x="671" y="423"/>
                </a:cubicBezTo>
                <a:cubicBezTo>
                  <a:pt x="671" y="424"/>
                  <a:pt x="671" y="424"/>
                  <a:pt x="671" y="424"/>
                </a:cubicBezTo>
                <a:cubicBezTo>
                  <a:pt x="671" y="423"/>
                  <a:pt x="671" y="423"/>
                  <a:pt x="672" y="423"/>
                </a:cubicBezTo>
                <a:cubicBezTo>
                  <a:pt x="672" y="423"/>
                  <a:pt x="672" y="423"/>
                  <a:pt x="672" y="423"/>
                </a:cubicBezTo>
                <a:cubicBezTo>
                  <a:pt x="672" y="423"/>
                  <a:pt x="673" y="423"/>
                  <a:pt x="673" y="423"/>
                </a:cubicBezTo>
                <a:cubicBezTo>
                  <a:pt x="673" y="423"/>
                  <a:pt x="674" y="423"/>
                  <a:pt x="674" y="423"/>
                </a:cubicBezTo>
                <a:cubicBezTo>
                  <a:pt x="674" y="423"/>
                  <a:pt x="674" y="423"/>
                  <a:pt x="674" y="424"/>
                </a:cubicBezTo>
                <a:cubicBezTo>
                  <a:pt x="674" y="424"/>
                  <a:pt x="674" y="424"/>
                  <a:pt x="673" y="424"/>
                </a:cubicBezTo>
                <a:cubicBezTo>
                  <a:pt x="674" y="424"/>
                  <a:pt x="675" y="424"/>
                  <a:pt x="676" y="425"/>
                </a:cubicBezTo>
                <a:cubicBezTo>
                  <a:pt x="676" y="425"/>
                  <a:pt x="676" y="425"/>
                  <a:pt x="676" y="425"/>
                </a:cubicBezTo>
                <a:cubicBezTo>
                  <a:pt x="677" y="424"/>
                  <a:pt x="678" y="424"/>
                  <a:pt x="678" y="425"/>
                </a:cubicBezTo>
                <a:cubicBezTo>
                  <a:pt x="678" y="426"/>
                  <a:pt x="678" y="426"/>
                  <a:pt x="678" y="427"/>
                </a:cubicBezTo>
                <a:cubicBezTo>
                  <a:pt x="678" y="427"/>
                  <a:pt x="678" y="427"/>
                  <a:pt x="678" y="427"/>
                </a:cubicBezTo>
                <a:cubicBezTo>
                  <a:pt x="677" y="426"/>
                  <a:pt x="677" y="426"/>
                  <a:pt x="676" y="426"/>
                </a:cubicBezTo>
                <a:cubicBezTo>
                  <a:pt x="676" y="426"/>
                  <a:pt x="676" y="426"/>
                  <a:pt x="676" y="426"/>
                </a:cubicBezTo>
                <a:cubicBezTo>
                  <a:pt x="676" y="426"/>
                  <a:pt x="677" y="426"/>
                  <a:pt x="676" y="427"/>
                </a:cubicBezTo>
                <a:cubicBezTo>
                  <a:pt x="676" y="427"/>
                  <a:pt x="676" y="427"/>
                  <a:pt x="676" y="427"/>
                </a:cubicBezTo>
                <a:cubicBezTo>
                  <a:pt x="677" y="427"/>
                  <a:pt x="677" y="429"/>
                  <a:pt x="678" y="428"/>
                </a:cubicBezTo>
                <a:cubicBezTo>
                  <a:pt x="678" y="428"/>
                  <a:pt x="678" y="428"/>
                  <a:pt x="678" y="428"/>
                </a:cubicBezTo>
                <a:cubicBezTo>
                  <a:pt x="678" y="428"/>
                  <a:pt x="678" y="429"/>
                  <a:pt x="678" y="429"/>
                </a:cubicBezTo>
                <a:cubicBezTo>
                  <a:pt x="678" y="429"/>
                  <a:pt x="678" y="429"/>
                  <a:pt x="678" y="429"/>
                </a:cubicBezTo>
                <a:cubicBezTo>
                  <a:pt x="678" y="429"/>
                  <a:pt x="678" y="429"/>
                  <a:pt x="678" y="429"/>
                </a:cubicBezTo>
                <a:cubicBezTo>
                  <a:pt x="678" y="430"/>
                  <a:pt x="678" y="430"/>
                  <a:pt x="678" y="430"/>
                </a:cubicBezTo>
                <a:cubicBezTo>
                  <a:pt x="679" y="430"/>
                  <a:pt x="679" y="431"/>
                  <a:pt x="678" y="431"/>
                </a:cubicBezTo>
                <a:cubicBezTo>
                  <a:pt x="678" y="431"/>
                  <a:pt x="678" y="431"/>
                  <a:pt x="678" y="431"/>
                </a:cubicBezTo>
                <a:cubicBezTo>
                  <a:pt x="679" y="431"/>
                  <a:pt x="679" y="432"/>
                  <a:pt x="679" y="432"/>
                </a:cubicBezTo>
                <a:cubicBezTo>
                  <a:pt x="679" y="432"/>
                  <a:pt x="678" y="432"/>
                  <a:pt x="678" y="432"/>
                </a:cubicBezTo>
                <a:cubicBezTo>
                  <a:pt x="679" y="432"/>
                  <a:pt x="679" y="432"/>
                  <a:pt x="679" y="433"/>
                </a:cubicBezTo>
                <a:cubicBezTo>
                  <a:pt x="679" y="433"/>
                  <a:pt x="679" y="433"/>
                  <a:pt x="679" y="433"/>
                </a:cubicBezTo>
                <a:cubicBezTo>
                  <a:pt x="679" y="434"/>
                  <a:pt x="679" y="434"/>
                  <a:pt x="679" y="435"/>
                </a:cubicBezTo>
                <a:cubicBezTo>
                  <a:pt x="679" y="435"/>
                  <a:pt x="679" y="435"/>
                  <a:pt x="679" y="435"/>
                </a:cubicBezTo>
                <a:cubicBezTo>
                  <a:pt x="680" y="436"/>
                  <a:pt x="680" y="437"/>
                  <a:pt x="680" y="438"/>
                </a:cubicBezTo>
                <a:cubicBezTo>
                  <a:pt x="680" y="438"/>
                  <a:pt x="680" y="438"/>
                  <a:pt x="680" y="438"/>
                </a:cubicBezTo>
                <a:cubicBezTo>
                  <a:pt x="680" y="439"/>
                  <a:pt x="680" y="439"/>
                  <a:pt x="680" y="440"/>
                </a:cubicBezTo>
                <a:cubicBezTo>
                  <a:pt x="680" y="440"/>
                  <a:pt x="680" y="440"/>
                  <a:pt x="680" y="440"/>
                </a:cubicBezTo>
                <a:cubicBezTo>
                  <a:pt x="681" y="440"/>
                  <a:pt x="681" y="441"/>
                  <a:pt x="681" y="441"/>
                </a:cubicBezTo>
                <a:cubicBezTo>
                  <a:pt x="681" y="441"/>
                  <a:pt x="681" y="441"/>
                  <a:pt x="681" y="441"/>
                </a:cubicBezTo>
                <a:cubicBezTo>
                  <a:pt x="681" y="441"/>
                  <a:pt x="681" y="441"/>
                  <a:pt x="681" y="441"/>
                </a:cubicBezTo>
                <a:cubicBezTo>
                  <a:pt x="681" y="442"/>
                  <a:pt x="681" y="443"/>
                  <a:pt x="681" y="444"/>
                </a:cubicBezTo>
                <a:close/>
                <a:moveTo>
                  <a:pt x="680" y="447"/>
                </a:moveTo>
                <a:cubicBezTo>
                  <a:pt x="680" y="447"/>
                  <a:pt x="680" y="447"/>
                  <a:pt x="680" y="447"/>
                </a:cubicBezTo>
                <a:close/>
                <a:moveTo>
                  <a:pt x="697" y="474"/>
                </a:moveTo>
                <a:cubicBezTo>
                  <a:pt x="697" y="473"/>
                  <a:pt x="697" y="473"/>
                  <a:pt x="697" y="473"/>
                </a:cubicBezTo>
                <a:cubicBezTo>
                  <a:pt x="698" y="473"/>
                  <a:pt x="698" y="473"/>
                  <a:pt x="697" y="473"/>
                </a:cubicBezTo>
                <a:cubicBezTo>
                  <a:pt x="697" y="472"/>
                  <a:pt x="697" y="472"/>
                  <a:pt x="697" y="473"/>
                </a:cubicBezTo>
                <a:cubicBezTo>
                  <a:pt x="697" y="473"/>
                  <a:pt x="696" y="473"/>
                  <a:pt x="696" y="473"/>
                </a:cubicBezTo>
                <a:cubicBezTo>
                  <a:pt x="696" y="473"/>
                  <a:pt x="696" y="473"/>
                  <a:pt x="696" y="474"/>
                </a:cubicBezTo>
                <a:cubicBezTo>
                  <a:pt x="696" y="474"/>
                  <a:pt x="696" y="474"/>
                  <a:pt x="696" y="474"/>
                </a:cubicBezTo>
                <a:cubicBezTo>
                  <a:pt x="695" y="474"/>
                  <a:pt x="696" y="475"/>
                  <a:pt x="696" y="475"/>
                </a:cubicBezTo>
                <a:cubicBezTo>
                  <a:pt x="696" y="475"/>
                  <a:pt x="696" y="475"/>
                  <a:pt x="696" y="475"/>
                </a:cubicBezTo>
                <a:cubicBezTo>
                  <a:pt x="697" y="475"/>
                  <a:pt x="697" y="475"/>
                  <a:pt x="697" y="475"/>
                </a:cubicBezTo>
                <a:cubicBezTo>
                  <a:pt x="697" y="476"/>
                  <a:pt x="698" y="475"/>
                  <a:pt x="698" y="475"/>
                </a:cubicBezTo>
                <a:cubicBezTo>
                  <a:pt x="698" y="475"/>
                  <a:pt x="699" y="474"/>
                  <a:pt x="698" y="474"/>
                </a:cubicBezTo>
                <a:cubicBezTo>
                  <a:pt x="698" y="473"/>
                  <a:pt x="698" y="473"/>
                  <a:pt x="697" y="474"/>
                </a:cubicBezTo>
                <a:close/>
                <a:moveTo>
                  <a:pt x="694" y="471"/>
                </a:moveTo>
                <a:cubicBezTo>
                  <a:pt x="694" y="470"/>
                  <a:pt x="694" y="471"/>
                  <a:pt x="694" y="471"/>
                </a:cubicBezTo>
                <a:cubicBezTo>
                  <a:pt x="694" y="471"/>
                  <a:pt x="694" y="471"/>
                  <a:pt x="693" y="471"/>
                </a:cubicBezTo>
                <a:cubicBezTo>
                  <a:pt x="693" y="471"/>
                  <a:pt x="693" y="472"/>
                  <a:pt x="693" y="472"/>
                </a:cubicBezTo>
                <a:cubicBezTo>
                  <a:pt x="694" y="472"/>
                  <a:pt x="693" y="473"/>
                  <a:pt x="693" y="473"/>
                </a:cubicBezTo>
                <a:cubicBezTo>
                  <a:pt x="693" y="474"/>
                  <a:pt x="693" y="474"/>
                  <a:pt x="694" y="475"/>
                </a:cubicBezTo>
                <a:cubicBezTo>
                  <a:pt x="694" y="474"/>
                  <a:pt x="694" y="473"/>
                  <a:pt x="694" y="472"/>
                </a:cubicBezTo>
                <a:cubicBezTo>
                  <a:pt x="695" y="472"/>
                  <a:pt x="695" y="472"/>
                  <a:pt x="695" y="471"/>
                </a:cubicBezTo>
                <a:cubicBezTo>
                  <a:pt x="695" y="472"/>
                  <a:pt x="696" y="472"/>
                  <a:pt x="696" y="471"/>
                </a:cubicBezTo>
                <a:cubicBezTo>
                  <a:pt x="695" y="470"/>
                  <a:pt x="695" y="471"/>
                  <a:pt x="694" y="471"/>
                </a:cubicBezTo>
                <a:close/>
                <a:moveTo>
                  <a:pt x="706" y="484"/>
                </a:moveTo>
                <a:cubicBezTo>
                  <a:pt x="706" y="484"/>
                  <a:pt x="705" y="484"/>
                  <a:pt x="706" y="483"/>
                </a:cubicBezTo>
                <a:cubicBezTo>
                  <a:pt x="706" y="483"/>
                  <a:pt x="706" y="483"/>
                  <a:pt x="706" y="483"/>
                </a:cubicBezTo>
                <a:cubicBezTo>
                  <a:pt x="706" y="483"/>
                  <a:pt x="706" y="482"/>
                  <a:pt x="706" y="482"/>
                </a:cubicBezTo>
                <a:cubicBezTo>
                  <a:pt x="706" y="483"/>
                  <a:pt x="706" y="481"/>
                  <a:pt x="705" y="482"/>
                </a:cubicBezTo>
                <a:cubicBezTo>
                  <a:pt x="705" y="482"/>
                  <a:pt x="705" y="482"/>
                  <a:pt x="705" y="482"/>
                </a:cubicBezTo>
                <a:cubicBezTo>
                  <a:pt x="705" y="481"/>
                  <a:pt x="704" y="481"/>
                  <a:pt x="704" y="482"/>
                </a:cubicBezTo>
                <a:cubicBezTo>
                  <a:pt x="704" y="482"/>
                  <a:pt x="704" y="483"/>
                  <a:pt x="704" y="483"/>
                </a:cubicBezTo>
                <a:cubicBezTo>
                  <a:pt x="705" y="484"/>
                  <a:pt x="706" y="484"/>
                  <a:pt x="706" y="485"/>
                </a:cubicBezTo>
                <a:cubicBezTo>
                  <a:pt x="706" y="485"/>
                  <a:pt x="706" y="486"/>
                  <a:pt x="706" y="485"/>
                </a:cubicBezTo>
                <a:cubicBezTo>
                  <a:pt x="706" y="485"/>
                  <a:pt x="707" y="485"/>
                  <a:pt x="706" y="485"/>
                </a:cubicBezTo>
                <a:cubicBezTo>
                  <a:pt x="706" y="484"/>
                  <a:pt x="706" y="484"/>
                  <a:pt x="706" y="484"/>
                </a:cubicBezTo>
                <a:close/>
                <a:moveTo>
                  <a:pt x="694" y="469"/>
                </a:moveTo>
                <a:cubicBezTo>
                  <a:pt x="694" y="469"/>
                  <a:pt x="694" y="469"/>
                  <a:pt x="694" y="469"/>
                </a:cubicBezTo>
                <a:cubicBezTo>
                  <a:pt x="694" y="468"/>
                  <a:pt x="694" y="468"/>
                  <a:pt x="694" y="468"/>
                </a:cubicBezTo>
                <a:cubicBezTo>
                  <a:pt x="693" y="468"/>
                  <a:pt x="693" y="468"/>
                  <a:pt x="692" y="468"/>
                </a:cubicBezTo>
                <a:cubicBezTo>
                  <a:pt x="692" y="468"/>
                  <a:pt x="692" y="468"/>
                  <a:pt x="692" y="468"/>
                </a:cubicBezTo>
                <a:cubicBezTo>
                  <a:pt x="692" y="468"/>
                  <a:pt x="692" y="468"/>
                  <a:pt x="692" y="468"/>
                </a:cubicBezTo>
                <a:cubicBezTo>
                  <a:pt x="692" y="468"/>
                  <a:pt x="692" y="468"/>
                  <a:pt x="692" y="468"/>
                </a:cubicBezTo>
                <a:cubicBezTo>
                  <a:pt x="692" y="469"/>
                  <a:pt x="692" y="469"/>
                  <a:pt x="691" y="470"/>
                </a:cubicBezTo>
                <a:cubicBezTo>
                  <a:pt x="692" y="470"/>
                  <a:pt x="692" y="469"/>
                  <a:pt x="692" y="470"/>
                </a:cubicBezTo>
                <a:cubicBezTo>
                  <a:pt x="693" y="470"/>
                  <a:pt x="693" y="470"/>
                  <a:pt x="694" y="469"/>
                </a:cubicBezTo>
                <a:close/>
                <a:moveTo>
                  <a:pt x="696" y="467"/>
                </a:moveTo>
                <a:cubicBezTo>
                  <a:pt x="696" y="467"/>
                  <a:pt x="696" y="467"/>
                  <a:pt x="696" y="468"/>
                </a:cubicBezTo>
                <a:cubicBezTo>
                  <a:pt x="696" y="468"/>
                  <a:pt x="696" y="468"/>
                  <a:pt x="696" y="468"/>
                </a:cubicBezTo>
                <a:cubicBezTo>
                  <a:pt x="696" y="469"/>
                  <a:pt x="696" y="469"/>
                  <a:pt x="697" y="470"/>
                </a:cubicBezTo>
                <a:cubicBezTo>
                  <a:pt x="697" y="470"/>
                  <a:pt x="697" y="470"/>
                  <a:pt x="697" y="470"/>
                </a:cubicBezTo>
                <a:cubicBezTo>
                  <a:pt x="698" y="469"/>
                  <a:pt x="698" y="469"/>
                  <a:pt x="698" y="468"/>
                </a:cubicBezTo>
                <a:cubicBezTo>
                  <a:pt x="698" y="468"/>
                  <a:pt x="697" y="467"/>
                  <a:pt x="696" y="467"/>
                </a:cubicBezTo>
                <a:close/>
                <a:moveTo>
                  <a:pt x="671" y="429"/>
                </a:moveTo>
                <a:cubicBezTo>
                  <a:pt x="671" y="429"/>
                  <a:pt x="671" y="429"/>
                  <a:pt x="671" y="428"/>
                </a:cubicBezTo>
                <a:cubicBezTo>
                  <a:pt x="670" y="428"/>
                  <a:pt x="670" y="428"/>
                  <a:pt x="670" y="429"/>
                </a:cubicBezTo>
                <a:cubicBezTo>
                  <a:pt x="670" y="429"/>
                  <a:pt x="669" y="429"/>
                  <a:pt x="669" y="429"/>
                </a:cubicBezTo>
                <a:cubicBezTo>
                  <a:pt x="669" y="429"/>
                  <a:pt x="669" y="430"/>
                  <a:pt x="669" y="430"/>
                </a:cubicBezTo>
                <a:cubicBezTo>
                  <a:pt x="669" y="431"/>
                  <a:pt x="669" y="431"/>
                  <a:pt x="669" y="431"/>
                </a:cubicBezTo>
                <a:cubicBezTo>
                  <a:pt x="669" y="431"/>
                  <a:pt x="670" y="431"/>
                  <a:pt x="670" y="431"/>
                </a:cubicBezTo>
                <a:cubicBezTo>
                  <a:pt x="670" y="430"/>
                  <a:pt x="670" y="430"/>
                  <a:pt x="670" y="430"/>
                </a:cubicBezTo>
                <a:cubicBezTo>
                  <a:pt x="670" y="430"/>
                  <a:pt x="670" y="430"/>
                  <a:pt x="671" y="430"/>
                </a:cubicBezTo>
                <a:cubicBezTo>
                  <a:pt x="671" y="430"/>
                  <a:pt x="671" y="429"/>
                  <a:pt x="671" y="429"/>
                </a:cubicBezTo>
                <a:close/>
                <a:moveTo>
                  <a:pt x="698" y="462"/>
                </a:moveTo>
                <a:cubicBezTo>
                  <a:pt x="698" y="462"/>
                  <a:pt x="698" y="462"/>
                  <a:pt x="698" y="462"/>
                </a:cubicBezTo>
                <a:cubicBezTo>
                  <a:pt x="699" y="462"/>
                  <a:pt x="699" y="462"/>
                  <a:pt x="699" y="461"/>
                </a:cubicBezTo>
                <a:cubicBezTo>
                  <a:pt x="699" y="461"/>
                  <a:pt x="699" y="461"/>
                  <a:pt x="699" y="461"/>
                </a:cubicBezTo>
                <a:cubicBezTo>
                  <a:pt x="699" y="460"/>
                  <a:pt x="698" y="460"/>
                  <a:pt x="698" y="460"/>
                </a:cubicBezTo>
                <a:cubicBezTo>
                  <a:pt x="698" y="461"/>
                  <a:pt x="698" y="460"/>
                  <a:pt x="698" y="460"/>
                </a:cubicBezTo>
                <a:cubicBezTo>
                  <a:pt x="698" y="460"/>
                  <a:pt x="698" y="460"/>
                  <a:pt x="698" y="460"/>
                </a:cubicBezTo>
                <a:cubicBezTo>
                  <a:pt x="697" y="460"/>
                  <a:pt x="697" y="461"/>
                  <a:pt x="698" y="462"/>
                </a:cubicBezTo>
                <a:close/>
                <a:moveTo>
                  <a:pt x="687" y="459"/>
                </a:moveTo>
                <a:cubicBezTo>
                  <a:pt x="686" y="459"/>
                  <a:pt x="686" y="460"/>
                  <a:pt x="686" y="460"/>
                </a:cubicBezTo>
                <a:cubicBezTo>
                  <a:pt x="686" y="460"/>
                  <a:pt x="686" y="460"/>
                  <a:pt x="686" y="460"/>
                </a:cubicBezTo>
                <a:cubicBezTo>
                  <a:pt x="685" y="459"/>
                  <a:pt x="685" y="459"/>
                  <a:pt x="685" y="459"/>
                </a:cubicBezTo>
                <a:cubicBezTo>
                  <a:pt x="685" y="460"/>
                  <a:pt x="685" y="459"/>
                  <a:pt x="684" y="459"/>
                </a:cubicBezTo>
                <a:cubicBezTo>
                  <a:pt x="684" y="460"/>
                  <a:pt x="684" y="460"/>
                  <a:pt x="685" y="460"/>
                </a:cubicBezTo>
                <a:cubicBezTo>
                  <a:pt x="685" y="460"/>
                  <a:pt x="685" y="461"/>
                  <a:pt x="684" y="461"/>
                </a:cubicBezTo>
                <a:cubicBezTo>
                  <a:pt x="685" y="461"/>
                  <a:pt x="685" y="461"/>
                  <a:pt x="685" y="461"/>
                </a:cubicBezTo>
                <a:cubicBezTo>
                  <a:pt x="686" y="461"/>
                  <a:pt x="686" y="460"/>
                  <a:pt x="687" y="460"/>
                </a:cubicBezTo>
                <a:cubicBezTo>
                  <a:pt x="687" y="460"/>
                  <a:pt x="687" y="459"/>
                  <a:pt x="687" y="459"/>
                </a:cubicBezTo>
                <a:cubicBezTo>
                  <a:pt x="687" y="459"/>
                  <a:pt x="687" y="459"/>
                  <a:pt x="687" y="459"/>
                </a:cubicBezTo>
                <a:close/>
                <a:moveTo>
                  <a:pt x="694" y="470"/>
                </a:moveTo>
                <a:cubicBezTo>
                  <a:pt x="694" y="470"/>
                  <a:pt x="694" y="470"/>
                  <a:pt x="695" y="470"/>
                </a:cubicBezTo>
                <a:cubicBezTo>
                  <a:pt x="695" y="470"/>
                  <a:pt x="695" y="470"/>
                  <a:pt x="695" y="470"/>
                </a:cubicBezTo>
                <a:cubicBezTo>
                  <a:pt x="696" y="470"/>
                  <a:pt x="696" y="470"/>
                  <a:pt x="696" y="470"/>
                </a:cubicBezTo>
                <a:cubicBezTo>
                  <a:pt x="696" y="469"/>
                  <a:pt x="696" y="468"/>
                  <a:pt x="695" y="468"/>
                </a:cubicBezTo>
                <a:cubicBezTo>
                  <a:pt x="695" y="468"/>
                  <a:pt x="695" y="469"/>
                  <a:pt x="695" y="469"/>
                </a:cubicBezTo>
                <a:cubicBezTo>
                  <a:pt x="694" y="469"/>
                  <a:pt x="694" y="469"/>
                  <a:pt x="694" y="469"/>
                </a:cubicBezTo>
                <a:cubicBezTo>
                  <a:pt x="694" y="470"/>
                  <a:pt x="694" y="470"/>
                  <a:pt x="694" y="470"/>
                </a:cubicBezTo>
                <a:close/>
                <a:moveTo>
                  <a:pt x="690" y="459"/>
                </a:moveTo>
                <a:cubicBezTo>
                  <a:pt x="690" y="459"/>
                  <a:pt x="690" y="459"/>
                  <a:pt x="690" y="460"/>
                </a:cubicBezTo>
                <a:cubicBezTo>
                  <a:pt x="690" y="460"/>
                  <a:pt x="690" y="460"/>
                  <a:pt x="690" y="461"/>
                </a:cubicBezTo>
                <a:cubicBezTo>
                  <a:pt x="690" y="461"/>
                  <a:pt x="690" y="461"/>
                  <a:pt x="690" y="461"/>
                </a:cubicBezTo>
                <a:cubicBezTo>
                  <a:pt x="691" y="461"/>
                  <a:pt x="691" y="461"/>
                  <a:pt x="691" y="461"/>
                </a:cubicBezTo>
                <a:cubicBezTo>
                  <a:pt x="691" y="460"/>
                  <a:pt x="690" y="460"/>
                  <a:pt x="691" y="460"/>
                </a:cubicBezTo>
                <a:cubicBezTo>
                  <a:pt x="691" y="460"/>
                  <a:pt x="691" y="459"/>
                  <a:pt x="691" y="459"/>
                </a:cubicBezTo>
                <a:cubicBezTo>
                  <a:pt x="690" y="459"/>
                  <a:pt x="690" y="459"/>
                  <a:pt x="690" y="459"/>
                </a:cubicBezTo>
                <a:close/>
                <a:moveTo>
                  <a:pt x="662" y="404"/>
                </a:moveTo>
                <a:cubicBezTo>
                  <a:pt x="663" y="404"/>
                  <a:pt x="663" y="404"/>
                  <a:pt x="663" y="403"/>
                </a:cubicBezTo>
                <a:cubicBezTo>
                  <a:pt x="663" y="403"/>
                  <a:pt x="663" y="403"/>
                  <a:pt x="663" y="403"/>
                </a:cubicBezTo>
                <a:cubicBezTo>
                  <a:pt x="662" y="403"/>
                  <a:pt x="661" y="404"/>
                  <a:pt x="661" y="404"/>
                </a:cubicBezTo>
                <a:cubicBezTo>
                  <a:pt x="662" y="404"/>
                  <a:pt x="662" y="404"/>
                  <a:pt x="662" y="404"/>
                </a:cubicBezTo>
                <a:close/>
                <a:moveTo>
                  <a:pt x="701" y="455"/>
                </a:moveTo>
                <a:cubicBezTo>
                  <a:pt x="701" y="455"/>
                  <a:pt x="701" y="455"/>
                  <a:pt x="701" y="455"/>
                </a:cubicBezTo>
                <a:cubicBezTo>
                  <a:pt x="701" y="456"/>
                  <a:pt x="701" y="456"/>
                  <a:pt x="701" y="456"/>
                </a:cubicBezTo>
                <a:cubicBezTo>
                  <a:pt x="702" y="456"/>
                  <a:pt x="702" y="456"/>
                  <a:pt x="702" y="456"/>
                </a:cubicBezTo>
                <a:cubicBezTo>
                  <a:pt x="702" y="455"/>
                  <a:pt x="702" y="455"/>
                  <a:pt x="701" y="455"/>
                </a:cubicBezTo>
                <a:close/>
                <a:moveTo>
                  <a:pt x="667" y="418"/>
                </a:moveTo>
                <a:cubicBezTo>
                  <a:pt x="667" y="418"/>
                  <a:pt x="668" y="419"/>
                  <a:pt x="668" y="419"/>
                </a:cubicBezTo>
                <a:cubicBezTo>
                  <a:pt x="668" y="419"/>
                  <a:pt x="668" y="419"/>
                  <a:pt x="668" y="419"/>
                </a:cubicBezTo>
                <a:cubicBezTo>
                  <a:pt x="668" y="418"/>
                  <a:pt x="667" y="418"/>
                  <a:pt x="667" y="418"/>
                </a:cubicBezTo>
                <a:cubicBezTo>
                  <a:pt x="667" y="418"/>
                  <a:pt x="667" y="418"/>
                  <a:pt x="667" y="418"/>
                </a:cubicBezTo>
                <a:close/>
                <a:moveTo>
                  <a:pt x="714" y="484"/>
                </a:moveTo>
                <a:cubicBezTo>
                  <a:pt x="714" y="484"/>
                  <a:pt x="714" y="484"/>
                  <a:pt x="715" y="483"/>
                </a:cubicBezTo>
                <a:cubicBezTo>
                  <a:pt x="715" y="483"/>
                  <a:pt x="714" y="483"/>
                  <a:pt x="714" y="483"/>
                </a:cubicBezTo>
                <a:cubicBezTo>
                  <a:pt x="713" y="483"/>
                  <a:pt x="713" y="483"/>
                  <a:pt x="713" y="482"/>
                </a:cubicBezTo>
                <a:cubicBezTo>
                  <a:pt x="714" y="482"/>
                  <a:pt x="714" y="482"/>
                  <a:pt x="715" y="481"/>
                </a:cubicBezTo>
                <a:cubicBezTo>
                  <a:pt x="715" y="481"/>
                  <a:pt x="715" y="480"/>
                  <a:pt x="714" y="481"/>
                </a:cubicBezTo>
                <a:cubicBezTo>
                  <a:pt x="714" y="481"/>
                  <a:pt x="714" y="481"/>
                  <a:pt x="714" y="481"/>
                </a:cubicBezTo>
                <a:cubicBezTo>
                  <a:pt x="714" y="481"/>
                  <a:pt x="714" y="480"/>
                  <a:pt x="714" y="480"/>
                </a:cubicBezTo>
                <a:cubicBezTo>
                  <a:pt x="715" y="480"/>
                  <a:pt x="714" y="480"/>
                  <a:pt x="714" y="480"/>
                </a:cubicBezTo>
                <a:cubicBezTo>
                  <a:pt x="714" y="479"/>
                  <a:pt x="714" y="479"/>
                  <a:pt x="714" y="480"/>
                </a:cubicBezTo>
                <a:cubicBezTo>
                  <a:pt x="713" y="480"/>
                  <a:pt x="713" y="480"/>
                  <a:pt x="713" y="480"/>
                </a:cubicBezTo>
                <a:cubicBezTo>
                  <a:pt x="713" y="481"/>
                  <a:pt x="712" y="481"/>
                  <a:pt x="712" y="481"/>
                </a:cubicBezTo>
                <a:cubicBezTo>
                  <a:pt x="712" y="481"/>
                  <a:pt x="712" y="481"/>
                  <a:pt x="712" y="481"/>
                </a:cubicBezTo>
                <a:cubicBezTo>
                  <a:pt x="712" y="480"/>
                  <a:pt x="712" y="480"/>
                  <a:pt x="712" y="480"/>
                </a:cubicBezTo>
                <a:cubicBezTo>
                  <a:pt x="711" y="480"/>
                  <a:pt x="711" y="480"/>
                  <a:pt x="711" y="480"/>
                </a:cubicBezTo>
                <a:cubicBezTo>
                  <a:pt x="712" y="480"/>
                  <a:pt x="712" y="480"/>
                  <a:pt x="713" y="479"/>
                </a:cubicBezTo>
                <a:cubicBezTo>
                  <a:pt x="713" y="479"/>
                  <a:pt x="713" y="479"/>
                  <a:pt x="713" y="478"/>
                </a:cubicBezTo>
                <a:cubicBezTo>
                  <a:pt x="713" y="478"/>
                  <a:pt x="713" y="478"/>
                  <a:pt x="713" y="477"/>
                </a:cubicBezTo>
                <a:cubicBezTo>
                  <a:pt x="713" y="477"/>
                  <a:pt x="713" y="478"/>
                  <a:pt x="713" y="478"/>
                </a:cubicBezTo>
                <a:cubicBezTo>
                  <a:pt x="713" y="478"/>
                  <a:pt x="714" y="478"/>
                  <a:pt x="714" y="478"/>
                </a:cubicBezTo>
                <a:cubicBezTo>
                  <a:pt x="714" y="478"/>
                  <a:pt x="714" y="478"/>
                  <a:pt x="714" y="478"/>
                </a:cubicBezTo>
                <a:cubicBezTo>
                  <a:pt x="714" y="477"/>
                  <a:pt x="714" y="478"/>
                  <a:pt x="714" y="477"/>
                </a:cubicBezTo>
                <a:cubicBezTo>
                  <a:pt x="714" y="477"/>
                  <a:pt x="714" y="477"/>
                  <a:pt x="714" y="477"/>
                </a:cubicBezTo>
                <a:cubicBezTo>
                  <a:pt x="715" y="476"/>
                  <a:pt x="715" y="475"/>
                  <a:pt x="714" y="474"/>
                </a:cubicBezTo>
                <a:cubicBezTo>
                  <a:pt x="714" y="474"/>
                  <a:pt x="714" y="474"/>
                  <a:pt x="714" y="474"/>
                </a:cubicBezTo>
                <a:cubicBezTo>
                  <a:pt x="714" y="474"/>
                  <a:pt x="714" y="474"/>
                  <a:pt x="714" y="474"/>
                </a:cubicBezTo>
                <a:cubicBezTo>
                  <a:pt x="713" y="475"/>
                  <a:pt x="713" y="476"/>
                  <a:pt x="712" y="476"/>
                </a:cubicBezTo>
                <a:cubicBezTo>
                  <a:pt x="712" y="475"/>
                  <a:pt x="712" y="475"/>
                  <a:pt x="711" y="475"/>
                </a:cubicBezTo>
                <a:cubicBezTo>
                  <a:pt x="711" y="475"/>
                  <a:pt x="711" y="475"/>
                  <a:pt x="711" y="475"/>
                </a:cubicBezTo>
                <a:cubicBezTo>
                  <a:pt x="711" y="475"/>
                  <a:pt x="711" y="475"/>
                  <a:pt x="711" y="475"/>
                </a:cubicBezTo>
                <a:cubicBezTo>
                  <a:pt x="710" y="476"/>
                  <a:pt x="710" y="476"/>
                  <a:pt x="710" y="477"/>
                </a:cubicBezTo>
                <a:cubicBezTo>
                  <a:pt x="710" y="476"/>
                  <a:pt x="710" y="476"/>
                  <a:pt x="710" y="476"/>
                </a:cubicBezTo>
                <a:cubicBezTo>
                  <a:pt x="710" y="476"/>
                  <a:pt x="710" y="475"/>
                  <a:pt x="710" y="475"/>
                </a:cubicBezTo>
                <a:cubicBezTo>
                  <a:pt x="711" y="475"/>
                  <a:pt x="711" y="475"/>
                  <a:pt x="710" y="474"/>
                </a:cubicBezTo>
                <a:cubicBezTo>
                  <a:pt x="711" y="474"/>
                  <a:pt x="711" y="474"/>
                  <a:pt x="711" y="474"/>
                </a:cubicBezTo>
                <a:cubicBezTo>
                  <a:pt x="712" y="475"/>
                  <a:pt x="712" y="475"/>
                  <a:pt x="713" y="474"/>
                </a:cubicBezTo>
                <a:cubicBezTo>
                  <a:pt x="713" y="474"/>
                  <a:pt x="713" y="474"/>
                  <a:pt x="713" y="473"/>
                </a:cubicBezTo>
                <a:cubicBezTo>
                  <a:pt x="713" y="473"/>
                  <a:pt x="712" y="474"/>
                  <a:pt x="712" y="473"/>
                </a:cubicBezTo>
                <a:cubicBezTo>
                  <a:pt x="713" y="472"/>
                  <a:pt x="712" y="472"/>
                  <a:pt x="712" y="472"/>
                </a:cubicBezTo>
                <a:cubicBezTo>
                  <a:pt x="711" y="471"/>
                  <a:pt x="711" y="471"/>
                  <a:pt x="711" y="471"/>
                </a:cubicBezTo>
                <a:cubicBezTo>
                  <a:pt x="711" y="471"/>
                  <a:pt x="710" y="471"/>
                  <a:pt x="710" y="471"/>
                </a:cubicBezTo>
                <a:cubicBezTo>
                  <a:pt x="710" y="471"/>
                  <a:pt x="710" y="471"/>
                  <a:pt x="710" y="471"/>
                </a:cubicBezTo>
                <a:cubicBezTo>
                  <a:pt x="710" y="472"/>
                  <a:pt x="710" y="472"/>
                  <a:pt x="710" y="473"/>
                </a:cubicBezTo>
                <a:cubicBezTo>
                  <a:pt x="710" y="472"/>
                  <a:pt x="710" y="472"/>
                  <a:pt x="709" y="471"/>
                </a:cubicBezTo>
                <a:cubicBezTo>
                  <a:pt x="710" y="471"/>
                  <a:pt x="709" y="471"/>
                  <a:pt x="709" y="471"/>
                </a:cubicBezTo>
                <a:cubicBezTo>
                  <a:pt x="709" y="470"/>
                  <a:pt x="709" y="471"/>
                  <a:pt x="709" y="470"/>
                </a:cubicBezTo>
                <a:cubicBezTo>
                  <a:pt x="710" y="470"/>
                  <a:pt x="710" y="470"/>
                  <a:pt x="711" y="470"/>
                </a:cubicBezTo>
                <a:cubicBezTo>
                  <a:pt x="710" y="470"/>
                  <a:pt x="710" y="469"/>
                  <a:pt x="710" y="469"/>
                </a:cubicBezTo>
                <a:cubicBezTo>
                  <a:pt x="709" y="469"/>
                  <a:pt x="709" y="469"/>
                  <a:pt x="709" y="469"/>
                </a:cubicBezTo>
                <a:cubicBezTo>
                  <a:pt x="709" y="469"/>
                  <a:pt x="709" y="468"/>
                  <a:pt x="709" y="469"/>
                </a:cubicBezTo>
                <a:cubicBezTo>
                  <a:pt x="709" y="469"/>
                  <a:pt x="708" y="469"/>
                  <a:pt x="708" y="469"/>
                </a:cubicBezTo>
                <a:cubicBezTo>
                  <a:pt x="708" y="469"/>
                  <a:pt x="707" y="469"/>
                  <a:pt x="707" y="469"/>
                </a:cubicBezTo>
                <a:cubicBezTo>
                  <a:pt x="707" y="470"/>
                  <a:pt x="706" y="470"/>
                  <a:pt x="706" y="470"/>
                </a:cubicBezTo>
                <a:cubicBezTo>
                  <a:pt x="706" y="470"/>
                  <a:pt x="706" y="469"/>
                  <a:pt x="706" y="469"/>
                </a:cubicBezTo>
                <a:cubicBezTo>
                  <a:pt x="707" y="469"/>
                  <a:pt x="707" y="469"/>
                  <a:pt x="707" y="469"/>
                </a:cubicBezTo>
                <a:cubicBezTo>
                  <a:pt x="707" y="469"/>
                  <a:pt x="707" y="468"/>
                  <a:pt x="707" y="468"/>
                </a:cubicBezTo>
                <a:cubicBezTo>
                  <a:pt x="707" y="468"/>
                  <a:pt x="708" y="468"/>
                  <a:pt x="707" y="467"/>
                </a:cubicBezTo>
                <a:cubicBezTo>
                  <a:pt x="707" y="467"/>
                  <a:pt x="707" y="467"/>
                  <a:pt x="707" y="467"/>
                </a:cubicBezTo>
                <a:cubicBezTo>
                  <a:pt x="707" y="466"/>
                  <a:pt x="708" y="466"/>
                  <a:pt x="708" y="467"/>
                </a:cubicBezTo>
                <a:cubicBezTo>
                  <a:pt x="708" y="467"/>
                  <a:pt x="708" y="467"/>
                  <a:pt x="708" y="467"/>
                </a:cubicBezTo>
                <a:cubicBezTo>
                  <a:pt x="708" y="467"/>
                  <a:pt x="709" y="468"/>
                  <a:pt x="709" y="468"/>
                </a:cubicBezTo>
                <a:cubicBezTo>
                  <a:pt x="710" y="468"/>
                  <a:pt x="711" y="469"/>
                  <a:pt x="712" y="470"/>
                </a:cubicBezTo>
                <a:cubicBezTo>
                  <a:pt x="712" y="470"/>
                  <a:pt x="712" y="470"/>
                  <a:pt x="712" y="470"/>
                </a:cubicBezTo>
                <a:cubicBezTo>
                  <a:pt x="712" y="470"/>
                  <a:pt x="712" y="469"/>
                  <a:pt x="712" y="469"/>
                </a:cubicBezTo>
                <a:cubicBezTo>
                  <a:pt x="712" y="469"/>
                  <a:pt x="712" y="469"/>
                  <a:pt x="712" y="468"/>
                </a:cubicBezTo>
                <a:cubicBezTo>
                  <a:pt x="711" y="468"/>
                  <a:pt x="710" y="467"/>
                  <a:pt x="710" y="467"/>
                </a:cubicBezTo>
                <a:cubicBezTo>
                  <a:pt x="710" y="466"/>
                  <a:pt x="710" y="466"/>
                  <a:pt x="710" y="466"/>
                </a:cubicBezTo>
                <a:cubicBezTo>
                  <a:pt x="710" y="465"/>
                  <a:pt x="710" y="465"/>
                  <a:pt x="709" y="465"/>
                </a:cubicBezTo>
                <a:cubicBezTo>
                  <a:pt x="709" y="465"/>
                  <a:pt x="709" y="465"/>
                  <a:pt x="709" y="466"/>
                </a:cubicBezTo>
                <a:cubicBezTo>
                  <a:pt x="709" y="466"/>
                  <a:pt x="709" y="466"/>
                  <a:pt x="708" y="466"/>
                </a:cubicBezTo>
                <a:cubicBezTo>
                  <a:pt x="709" y="465"/>
                  <a:pt x="708" y="465"/>
                  <a:pt x="708" y="465"/>
                </a:cubicBezTo>
                <a:cubicBezTo>
                  <a:pt x="708" y="465"/>
                  <a:pt x="709" y="465"/>
                  <a:pt x="708" y="464"/>
                </a:cubicBezTo>
                <a:cubicBezTo>
                  <a:pt x="708" y="464"/>
                  <a:pt x="708" y="464"/>
                  <a:pt x="708" y="464"/>
                </a:cubicBezTo>
                <a:cubicBezTo>
                  <a:pt x="709" y="464"/>
                  <a:pt x="708" y="464"/>
                  <a:pt x="708" y="463"/>
                </a:cubicBezTo>
                <a:cubicBezTo>
                  <a:pt x="708" y="463"/>
                  <a:pt x="708" y="463"/>
                  <a:pt x="708" y="463"/>
                </a:cubicBezTo>
                <a:cubicBezTo>
                  <a:pt x="709" y="462"/>
                  <a:pt x="708" y="462"/>
                  <a:pt x="708" y="462"/>
                </a:cubicBezTo>
                <a:cubicBezTo>
                  <a:pt x="707" y="461"/>
                  <a:pt x="707" y="460"/>
                  <a:pt x="707" y="460"/>
                </a:cubicBezTo>
                <a:cubicBezTo>
                  <a:pt x="706" y="460"/>
                  <a:pt x="706" y="460"/>
                  <a:pt x="706" y="460"/>
                </a:cubicBezTo>
                <a:cubicBezTo>
                  <a:pt x="707" y="459"/>
                  <a:pt x="706" y="459"/>
                  <a:pt x="706" y="459"/>
                </a:cubicBezTo>
                <a:cubicBezTo>
                  <a:pt x="706" y="459"/>
                  <a:pt x="705" y="459"/>
                  <a:pt x="705" y="458"/>
                </a:cubicBezTo>
                <a:cubicBezTo>
                  <a:pt x="705" y="458"/>
                  <a:pt x="704" y="457"/>
                  <a:pt x="704" y="457"/>
                </a:cubicBezTo>
                <a:cubicBezTo>
                  <a:pt x="703" y="457"/>
                  <a:pt x="702" y="457"/>
                  <a:pt x="702" y="456"/>
                </a:cubicBezTo>
                <a:cubicBezTo>
                  <a:pt x="702" y="457"/>
                  <a:pt x="701" y="456"/>
                  <a:pt x="701" y="457"/>
                </a:cubicBezTo>
                <a:cubicBezTo>
                  <a:pt x="701" y="457"/>
                  <a:pt x="700" y="457"/>
                  <a:pt x="700" y="456"/>
                </a:cubicBezTo>
                <a:cubicBezTo>
                  <a:pt x="700" y="456"/>
                  <a:pt x="700" y="455"/>
                  <a:pt x="700" y="454"/>
                </a:cubicBezTo>
                <a:cubicBezTo>
                  <a:pt x="700" y="455"/>
                  <a:pt x="700" y="455"/>
                  <a:pt x="701" y="454"/>
                </a:cubicBezTo>
                <a:cubicBezTo>
                  <a:pt x="701" y="454"/>
                  <a:pt x="701" y="453"/>
                  <a:pt x="701" y="453"/>
                </a:cubicBezTo>
                <a:cubicBezTo>
                  <a:pt x="700" y="453"/>
                  <a:pt x="701" y="453"/>
                  <a:pt x="701" y="453"/>
                </a:cubicBezTo>
                <a:cubicBezTo>
                  <a:pt x="701" y="452"/>
                  <a:pt x="701" y="452"/>
                  <a:pt x="700" y="452"/>
                </a:cubicBezTo>
                <a:cubicBezTo>
                  <a:pt x="700" y="452"/>
                  <a:pt x="700" y="451"/>
                  <a:pt x="700" y="450"/>
                </a:cubicBezTo>
                <a:cubicBezTo>
                  <a:pt x="700" y="450"/>
                  <a:pt x="699" y="450"/>
                  <a:pt x="699" y="450"/>
                </a:cubicBezTo>
                <a:cubicBezTo>
                  <a:pt x="699" y="450"/>
                  <a:pt x="699" y="450"/>
                  <a:pt x="698" y="450"/>
                </a:cubicBezTo>
                <a:cubicBezTo>
                  <a:pt x="698" y="450"/>
                  <a:pt x="698" y="450"/>
                  <a:pt x="698" y="450"/>
                </a:cubicBezTo>
                <a:cubicBezTo>
                  <a:pt x="698" y="450"/>
                  <a:pt x="697" y="451"/>
                  <a:pt x="698" y="451"/>
                </a:cubicBezTo>
                <a:cubicBezTo>
                  <a:pt x="698" y="451"/>
                  <a:pt x="697" y="451"/>
                  <a:pt x="697" y="451"/>
                </a:cubicBezTo>
                <a:cubicBezTo>
                  <a:pt x="697" y="451"/>
                  <a:pt x="697" y="451"/>
                  <a:pt x="697" y="451"/>
                </a:cubicBezTo>
                <a:cubicBezTo>
                  <a:pt x="697" y="451"/>
                  <a:pt x="697" y="451"/>
                  <a:pt x="697" y="450"/>
                </a:cubicBezTo>
                <a:cubicBezTo>
                  <a:pt x="698" y="450"/>
                  <a:pt x="697" y="450"/>
                  <a:pt x="697" y="450"/>
                </a:cubicBezTo>
                <a:cubicBezTo>
                  <a:pt x="697" y="450"/>
                  <a:pt x="696" y="450"/>
                  <a:pt x="696" y="450"/>
                </a:cubicBezTo>
                <a:cubicBezTo>
                  <a:pt x="695" y="449"/>
                  <a:pt x="695" y="450"/>
                  <a:pt x="694" y="449"/>
                </a:cubicBezTo>
                <a:cubicBezTo>
                  <a:pt x="694" y="449"/>
                  <a:pt x="694" y="449"/>
                  <a:pt x="694" y="449"/>
                </a:cubicBezTo>
                <a:cubicBezTo>
                  <a:pt x="693" y="450"/>
                  <a:pt x="694" y="450"/>
                  <a:pt x="694" y="450"/>
                </a:cubicBezTo>
                <a:cubicBezTo>
                  <a:pt x="694" y="450"/>
                  <a:pt x="693" y="450"/>
                  <a:pt x="693" y="450"/>
                </a:cubicBezTo>
                <a:cubicBezTo>
                  <a:pt x="693" y="450"/>
                  <a:pt x="693" y="450"/>
                  <a:pt x="693" y="451"/>
                </a:cubicBezTo>
                <a:cubicBezTo>
                  <a:pt x="693" y="451"/>
                  <a:pt x="693" y="451"/>
                  <a:pt x="693" y="451"/>
                </a:cubicBezTo>
                <a:cubicBezTo>
                  <a:pt x="693" y="451"/>
                  <a:pt x="693" y="452"/>
                  <a:pt x="693" y="452"/>
                </a:cubicBezTo>
                <a:cubicBezTo>
                  <a:pt x="693" y="453"/>
                  <a:pt x="694" y="453"/>
                  <a:pt x="695" y="453"/>
                </a:cubicBezTo>
                <a:cubicBezTo>
                  <a:pt x="695" y="453"/>
                  <a:pt x="695" y="453"/>
                  <a:pt x="695" y="453"/>
                </a:cubicBezTo>
                <a:cubicBezTo>
                  <a:pt x="695" y="454"/>
                  <a:pt x="696" y="454"/>
                  <a:pt x="696" y="454"/>
                </a:cubicBezTo>
                <a:cubicBezTo>
                  <a:pt x="696" y="454"/>
                  <a:pt x="696" y="454"/>
                  <a:pt x="695" y="454"/>
                </a:cubicBezTo>
                <a:cubicBezTo>
                  <a:pt x="695" y="455"/>
                  <a:pt x="695" y="455"/>
                  <a:pt x="694" y="454"/>
                </a:cubicBezTo>
                <a:cubicBezTo>
                  <a:pt x="694" y="454"/>
                  <a:pt x="694" y="454"/>
                  <a:pt x="694" y="455"/>
                </a:cubicBezTo>
                <a:cubicBezTo>
                  <a:pt x="694" y="455"/>
                  <a:pt x="694" y="455"/>
                  <a:pt x="694" y="455"/>
                </a:cubicBezTo>
                <a:cubicBezTo>
                  <a:pt x="694" y="455"/>
                  <a:pt x="694" y="455"/>
                  <a:pt x="695" y="455"/>
                </a:cubicBezTo>
                <a:cubicBezTo>
                  <a:pt x="695" y="455"/>
                  <a:pt x="695" y="455"/>
                  <a:pt x="695" y="456"/>
                </a:cubicBezTo>
                <a:cubicBezTo>
                  <a:pt x="695" y="456"/>
                  <a:pt x="695" y="456"/>
                  <a:pt x="695" y="456"/>
                </a:cubicBezTo>
                <a:cubicBezTo>
                  <a:pt x="694" y="456"/>
                  <a:pt x="694" y="456"/>
                  <a:pt x="694" y="456"/>
                </a:cubicBezTo>
                <a:cubicBezTo>
                  <a:pt x="693" y="456"/>
                  <a:pt x="693" y="455"/>
                  <a:pt x="693" y="456"/>
                </a:cubicBezTo>
                <a:cubicBezTo>
                  <a:pt x="692" y="457"/>
                  <a:pt x="692" y="457"/>
                  <a:pt x="692" y="457"/>
                </a:cubicBezTo>
                <a:cubicBezTo>
                  <a:pt x="692" y="458"/>
                  <a:pt x="691" y="458"/>
                  <a:pt x="691" y="459"/>
                </a:cubicBezTo>
                <a:cubicBezTo>
                  <a:pt x="691" y="459"/>
                  <a:pt x="692" y="459"/>
                  <a:pt x="692" y="459"/>
                </a:cubicBezTo>
                <a:cubicBezTo>
                  <a:pt x="693" y="460"/>
                  <a:pt x="693" y="459"/>
                  <a:pt x="693" y="459"/>
                </a:cubicBezTo>
                <a:cubicBezTo>
                  <a:pt x="693" y="458"/>
                  <a:pt x="694" y="458"/>
                  <a:pt x="694" y="458"/>
                </a:cubicBezTo>
                <a:cubicBezTo>
                  <a:pt x="694" y="458"/>
                  <a:pt x="695" y="458"/>
                  <a:pt x="695" y="457"/>
                </a:cubicBezTo>
                <a:cubicBezTo>
                  <a:pt x="695" y="457"/>
                  <a:pt x="695" y="457"/>
                  <a:pt x="695" y="457"/>
                </a:cubicBezTo>
                <a:cubicBezTo>
                  <a:pt x="696" y="457"/>
                  <a:pt x="696" y="457"/>
                  <a:pt x="696" y="457"/>
                </a:cubicBezTo>
                <a:cubicBezTo>
                  <a:pt x="697" y="457"/>
                  <a:pt x="697" y="457"/>
                  <a:pt x="697" y="457"/>
                </a:cubicBezTo>
                <a:cubicBezTo>
                  <a:pt x="697" y="458"/>
                  <a:pt x="696" y="458"/>
                  <a:pt x="696" y="458"/>
                </a:cubicBezTo>
                <a:cubicBezTo>
                  <a:pt x="696" y="458"/>
                  <a:pt x="696" y="458"/>
                  <a:pt x="696" y="458"/>
                </a:cubicBezTo>
                <a:cubicBezTo>
                  <a:pt x="696" y="458"/>
                  <a:pt x="695" y="458"/>
                  <a:pt x="696" y="458"/>
                </a:cubicBezTo>
                <a:cubicBezTo>
                  <a:pt x="696" y="458"/>
                  <a:pt x="695" y="459"/>
                  <a:pt x="696" y="459"/>
                </a:cubicBezTo>
                <a:cubicBezTo>
                  <a:pt x="696" y="459"/>
                  <a:pt x="696" y="459"/>
                  <a:pt x="696" y="459"/>
                </a:cubicBezTo>
                <a:cubicBezTo>
                  <a:pt x="696" y="459"/>
                  <a:pt x="696" y="459"/>
                  <a:pt x="697" y="460"/>
                </a:cubicBezTo>
                <a:cubicBezTo>
                  <a:pt x="697" y="459"/>
                  <a:pt x="696" y="459"/>
                  <a:pt x="697" y="458"/>
                </a:cubicBezTo>
                <a:cubicBezTo>
                  <a:pt x="698" y="458"/>
                  <a:pt x="698" y="457"/>
                  <a:pt x="698" y="456"/>
                </a:cubicBezTo>
                <a:cubicBezTo>
                  <a:pt x="698" y="456"/>
                  <a:pt x="698" y="455"/>
                  <a:pt x="698" y="455"/>
                </a:cubicBezTo>
                <a:cubicBezTo>
                  <a:pt x="698" y="454"/>
                  <a:pt x="698" y="454"/>
                  <a:pt x="697" y="454"/>
                </a:cubicBezTo>
                <a:cubicBezTo>
                  <a:pt x="697" y="454"/>
                  <a:pt x="697" y="454"/>
                  <a:pt x="697" y="454"/>
                </a:cubicBezTo>
                <a:cubicBezTo>
                  <a:pt x="698" y="454"/>
                  <a:pt x="698" y="454"/>
                  <a:pt x="698" y="454"/>
                </a:cubicBezTo>
                <a:cubicBezTo>
                  <a:pt x="698" y="455"/>
                  <a:pt x="698" y="456"/>
                  <a:pt x="698" y="457"/>
                </a:cubicBezTo>
                <a:cubicBezTo>
                  <a:pt x="698" y="457"/>
                  <a:pt x="698" y="457"/>
                  <a:pt x="698" y="457"/>
                </a:cubicBezTo>
                <a:cubicBezTo>
                  <a:pt x="698" y="458"/>
                  <a:pt x="698" y="459"/>
                  <a:pt x="698" y="460"/>
                </a:cubicBezTo>
                <a:cubicBezTo>
                  <a:pt x="698" y="460"/>
                  <a:pt x="699" y="460"/>
                  <a:pt x="699" y="461"/>
                </a:cubicBezTo>
                <a:cubicBezTo>
                  <a:pt x="699" y="461"/>
                  <a:pt x="699" y="460"/>
                  <a:pt x="699" y="460"/>
                </a:cubicBezTo>
                <a:cubicBezTo>
                  <a:pt x="699" y="460"/>
                  <a:pt x="699" y="460"/>
                  <a:pt x="700" y="460"/>
                </a:cubicBezTo>
                <a:cubicBezTo>
                  <a:pt x="700" y="460"/>
                  <a:pt x="700" y="460"/>
                  <a:pt x="700" y="460"/>
                </a:cubicBezTo>
                <a:cubicBezTo>
                  <a:pt x="700" y="461"/>
                  <a:pt x="699" y="461"/>
                  <a:pt x="699" y="461"/>
                </a:cubicBezTo>
                <a:cubicBezTo>
                  <a:pt x="700" y="461"/>
                  <a:pt x="699" y="462"/>
                  <a:pt x="699" y="462"/>
                </a:cubicBezTo>
                <a:cubicBezTo>
                  <a:pt x="699" y="462"/>
                  <a:pt x="699" y="462"/>
                  <a:pt x="699" y="462"/>
                </a:cubicBezTo>
                <a:cubicBezTo>
                  <a:pt x="699" y="463"/>
                  <a:pt x="698" y="463"/>
                  <a:pt x="698" y="463"/>
                </a:cubicBezTo>
                <a:cubicBezTo>
                  <a:pt x="698" y="463"/>
                  <a:pt x="697" y="464"/>
                  <a:pt x="697" y="464"/>
                </a:cubicBezTo>
                <a:cubicBezTo>
                  <a:pt x="697" y="464"/>
                  <a:pt x="697" y="464"/>
                  <a:pt x="697" y="464"/>
                </a:cubicBezTo>
                <a:cubicBezTo>
                  <a:pt x="696" y="465"/>
                  <a:pt x="697" y="466"/>
                  <a:pt x="698" y="467"/>
                </a:cubicBezTo>
                <a:cubicBezTo>
                  <a:pt x="698" y="467"/>
                  <a:pt x="698" y="467"/>
                  <a:pt x="698" y="467"/>
                </a:cubicBezTo>
                <a:cubicBezTo>
                  <a:pt x="699" y="467"/>
                  <a:pt x="699" y="467"/>
                  <a:pt x="700" y="466"/>
                </a:cubicBezTo>
                <a:cubicBezTo>
                  <a:pt x="700" y="466"/>
                  <a:pt x="700" y="466"/>
                  <a:pt x="701" y="466"/>
                </a:cubicBezTo>
                <a:cubicBezTo>
                  <a:pt x="701" y="466"/>
                  <a:pt x="701" y="466"/>
                  <a:pt x="701" y="466"/>
                </a:cubicBezTo>
                <a:cubicBezTo>
                  <a:pt x="701" y="466"/>
                  <a:pt x="701" y="466"/>
                  <a:pt x="701" y="466"/>
                </a:cubicBezTo>
                <a:cubicBezTo>
                  <a:pt x="700" y="467"/>
                  <a:pt x="701" y="467"/>
                  <a:pt x="700" y="468"/>
                </a:cubicBezTo>
                <a:cubicBezTo>
                  <a:pt x="700" y="468"/>
                  <a:pt x="700" y="469"/>
                  <a:pt x="700" y="469"/>
                </a:cubicBezTo>
                <a:cubicBezTo>
                  <a:pt x="700" y="470"/>
                  <a:pt x="700" y="470"/>
                  <a:pt x="701" y="470"/>
                </a:cubicBezTo>
                <a:cubicBezTo>
                  <a:pt x="701" y="470"/>
                  <a:pt x="701" y="470"/>
                  <a:pt x="702" y="470"/>
                </a:cubicBezTo>
                <a:cubicBezTo>
                  <a:pt x="701" y="470"/>
                  <a:pt x="701" y="470"/>
                  <a:pt x="701" y="470"/>
                </a:cubicBezTo>
                <a:cubicBezTo>
                  <a:pt x="701" y="471"/>
                  <a:pt x="701" y="471"/>
                  <a:pt x="701" y="471"/>
                </a:cubicBezTo>
                <a:cubicBezTo>
                  <a:pt x="701" y="471"/>
                  <a:pt x="702" y="472"/>
                  <a:pt x="702" y="472"/>
                </a:cubicBezTo>
                <a:cubicBezTo>
                  <a:pt x="702" y="472"/>
                  <a:pt x="703" y="472"/>
                  <a:pt x="703" y="472"/>
                </a:cubicBezTo>
                <a:cubicBezTo>
                  <a:pt x="702" y="472"/>
                  <a:pt x="701" y="472"/>
                  <a:pt x="701" y="472"/>
                </a:cubicBezTo>
                <a:cubicBezTo>
                  <a:pt x="700" y="472"/>
                  <a:pt x="700" y="471"/>
                  <a:pt x="700" y="472"/>
                </a:cubicBezTo>
                <a:cubicBezTo>
                  <a:pt x="700" y="472"/>
                  <a:pt x="700" y="472"/>
                  <a:pt x="699" y="472"/>
                </a:cubicBezTo>
                <a:cubicBezTo>
                  <a:pt x="699" y="471"/>
                  <a:pt x="698" y="472"/>
                  <a:pt x="698" y="472"/>
                </a:cubicBezTo>
                <a:cubicBezTo>
                  <a:pt x="698" y="473"/>
                  <a:pt x="699" y="474"/>
                  <a:pt x="699" y="474"/>
                </a:cubicBezTo>
                <a:cubicBezTo>
                  <a:pt x="700" y="474"/>
                  <a:pt x="701" y="474"/>
                  <a:pt x="702" y="474"/>
                </a:cubicBezTo>
                <a:cubicBezTo>
                  <a:pt x="702" y="474"/>
                  <a:pt x="702" y="474"/>
                  <a:pt x="702" y="474"/>
                </a:cubicBezTo>
                <a:cubicBezTo>
                  <a:pt x="702" y="474"/>
                  <a:pt x="702" y="474"/>
                  <a:pt x="702" y="474"/>
                </a:cubicBezTo>
                <a:cubicBezTo>
                  <a:pt x="702" y="474"/>
                  <a:pt x="701" y="475"/>
                  <a:pt x="701" y="475"/>
                </a:cubicBezTo>
                <a:cubicBezTo>
                  <a:pt x="701" y="475"/>
                  <a:pt x="701" y="475"/>
                  <a:pt x="701" y="475"/>
                </a:cubicBezTo>
                <a:cubicBezTo>
                  <a:pt x="701" y="475"/>
                  <a:pt x="701" y="475"/>
                  <a:pt x="702" y="475"/>
                </a:cubicBezTo>
                <a:cubicBezTo>
                  <a:pt x="702" y="475"/>
                  <a:pt x="702" y="475"/>
                  <a:pt x="702" y="476"/>
                </a:cubicBezTo>
                <a:cubicBezTo>
                  <a:pt x="702" y="476"/>
                  <a:pt x="702" y="476"/>
                  <a:pt x="703" y="476"/>
                </a:cubicBezTo>
                <a:cubicBezTo>
                  <a:pt x="703" y="476"/>
                  <a:pt x="703" y="476"/>
                  <a:pt x="703" y="476"/>
                </a:cubicBezTo>
                <a:cubicBezTo>
                  <a:pt x="703" y="475"/>
                  <a:pt x="703" y="475"/>
                  <a:pt x="703" y="475"/>
                </a:cubicBezTo>
                <a:cubicBezTo>
                  <a:pt x="703" y="475"/>
                  <a:pt x="703" y="475"/>
                  <a:pt x="703" y="475"/>
                </a:cubicBezTo>
                <a:cubicBezTo>
                  <a:pt x="703" y="475"/>
                  <a:pt x="703" y="474"/>
                  <a:pt x="703" y="474"/>
                </a:cubicBezTo>
                <a:cubicBezTo>
                  <a:pt x="704" y="474"/>
                  <a:pt x="704" y="475"/>
                  <a:pt x="704" y="475"/>
                </a:cubicBezTo>
                <a:cubicBezTo>
                  <a:pt x="704" y="475"/>
                  <a:pt x="704" y="475"/>
                  <a:pt x="704" y="475"/>
                </a:cubicBezTo>
                <a:cubicBezTo>
                  <a:pt x="704" y="476"/>
                  <a:pt x="705" y="476"/>
                  <a:pt x="705" y="476"/>
                </a:cubicBezTo>
                <a:cubicBezTo>
                  <a:pt x="705" y="477"/>
                  <a:pt x="706" y="477"/>
                  <a:pt x="706" y="477"/>
                </a:cubicBezTo>
                <a:cubicBezTo>
                  <a:pt x="706" y="476"/>
                  <a:pt x="706" y="476"/>
                  <a:pt x="706" y="476"/>
                </a:cubicBezTo>
                <a:cubicBezTo>
                  <a:pt x="706" y="475"/>
                  <a:pt x="706" y="475"/>
                  <a:pt x="706" y="474"/>
                </a:cubicBezTo>
                <a:cubicBezTo>
                  <a:pt x="706" y="474"/>
                  <a:pt x="706" y="474"/>
                  <a:pt x="706" y="474"/>
                </a:cubicBezTo>
                <a:cubicBezTo>
                  <a:pt x="706" y="474"/>
                  <a:pt x="706" y="475"/>
                  <a:pt x="706" y="475"/>
                </a:cubicBezTo>
                <a:cubicBezTo>
                  <a:pt x="707" y="476"/>
                  <a:pt x="707" y="476"/>
                  <a:pt x="707" y="477"/>
                </a:cubicBezTo>
                <a:cubicBezTo>
                  <a:pt x="706" y="477"/>
                  <a:pt x="706" y="478"/>
                  <a:pt x="706" y="478"/>
                </a:cubicBezTo>
                <a:cubicBezTo>
                  <a:pt x="707" y="478"/>
                  <a:pt x="707" y="478"/>
                  <a:pt x="707" y="477"/>
                </a:cubicBezTo>
                <a:cubicBezTo>
                  <a:pt x="707" y="478"/>
                  <a:pt x="707" y="478"/>
                  <a:pt x="707" y="478"/>
                </a:cubicBezTo>
                <a:cubicBezTo>
                  <a:pt x="707" y="478"/>
                  <a:pt x="707" y="479"/>
                  <a:pt x="707" y="479"/>
                </a:cubicBezTo>
                <a:cubicBezTo>
                  <a:pt x="708" y="479"/>
                  <a:pt x="708" y="479"/>
                  <a:pt x="708" y="479"/>
                </a:cubicBezTo>
                <a:cubicBezTo>
                  <a:pt x="708" y="479"/>
                  <a:pt x="708" y="479"/>
                  <a:pt x="707" y="479"/>
                </a:cubicBezTo>
                <a:cubicBezTo>
                  <a:pt x="707" y="479"/>
                  <a:pt x="707" y="479"/>
                  <a:pt x="707" y="479"/>
                </a:cubicBezTo>
                <a:cubicBezTo>
                  <a:pt x="707" y="480"/>
                  <a:pt x="707" y="480"/>
                  <a:pt x="707" y="480"/>
                </a:cubicBezTo>
                <a:cubicBezTo>
                  <a:pt x="707" y="480"/>
                  <a:pt x="707" y="480"/>
                  <a:pt x="707" y="480"/>
                </a:cubicBezTo>
                <a:cubicBezTo>
                  <a:pt x="707" y="481"/>
                  <a:pt x="707" y="481"/>
                  <a:pt x="707" y="481"/>
                </a:cubicBezTo>
                <a:cubicBezTo>
                  <a:pt x="707" y="481"/>
                  <a:pt x="707" y="481"/>
                  <a:pt x="707" y="481"/>
                </a:cubicBezTo>
                <a:cubicBezTo>
                  <a:pt x="708" y="481"/>
                  <a:pt x="708" y="481"/>
                  <a:pt x="708" y="480"/>
                </a:cubicBezTo>
                <a:cubicBezTo>
                  <a:pt x="709" y="481"/>
                  <a:pt x="709" y="481"/>
                  <a:pt x="708" y="482"/>
                </a:cubicBezTo>
                <a:cubicBezTo>
                  <a:pt x="708" y="482"/>
                  <a:pt x="708" y="482"/>
                  <a:pt x="708" y="482"/>
                </a:cubicBezTo>
                <a:cubicBezTo>
                  <a:pt x="708" y="482"/>
                  <a:pt x="708" y="482"/>
                  <a:pt x="708" y="482"/>
                </a:cubicBezTo>
                <a:cubicBezTo>
                  <a:pt x="709" y="482"/>
                  <a:pt x="709" y="482"/>
                  <a:pt x="709" y="481"/>
                </a:cubicBezTo>
                <a:cubicBezTo>
                  <a:pt x="709" y="481"/>
                  <a:pt x="709" y="479"/>
                  <a:pt x="709" y="479"/>
                </a:cubicBezTo>
                <a:cubicBezTo>
                  <a:pt x="709" y="479"/>
                  <a:pt x="709" y="479"/>
                  <a:pt x="709" y="479"/>
                </a:cubicBezTo>
                <a:cubicBezTo>
                  <a:pt x="709" y="480"/>
                  <a:pt x="709" y="481"/>
                  <a:pt x="710" y="481"/>
                </a:cubicBezTo>
                <a:cubicBezTo>
                  <a:pt x="710" y="481"/>
                  <a:pt x="710" y="481"/>
                  <a:pt x="710" y="482"/>
                </a:cubicBezTo>
                <a:cubicBezTo>
                  <a:pt x="710" y="481"/>
                  <a:pt x="709" y="481"/>
                  <a:pt x="709" y="481"/>
                </a:cubicBezTo>
                <a:cubicBezTo>
                  <a:pt x="709" y="482"/>
                  <a:pt x="709" y="482"/>
                  <a:pt x="709" y="482"/>
                </a:cubicBezTo>
                <a:cubicBezTo>
                  <a:pt x="710" y="482"/>
                  <a:pt x="710" y="482"/>
                  <a:pt x="710" y="483"/>
                </a:cubicBezTo>
                <a:cubicBezTo>
                  <a:pt x="710" y="483"/>
                  <a:pt x="710" y="484"/>
                  <a:pt x="710" y="484"/>
                </a:cubicBezTo>
                <a:cubicBezTo>
                  <a:pt x="710" y="484"/>
                  <a:pt x="711" y="485"/>
                  <a:pt x="710" y="486"/>
                </a:cubicBezTo>
                <a:cubicBezTo>
                  <a:pt x="710" y="486"/>
                  <a:pt x="710" y="486"/>
                  <a:pt x="711" y="486"/>
                </a:cubicBezTo>
                <a:cubicBezTo>
                  <a:pt x="711" y="486"/>
                  <a:pt x="711" y="486"/>
                  <a:pt x="711" y="486"/>
                </a:cubicBezTo>
                <a:cubicBezTo>
                  <a:pt x="711" y="486"/>
                  <a:pt x="712" y="486"/>
                  <a:pt x="712" y="487"/>
                </a:cubicBezTo>
                <a:cubicBezTo>
                  <a:pt x="712" y="487"/>
                  <a:pt x="712" y="487"/>
                  <a:pt x="712" y="487"/>
                </a:cubicBezTo>
                <a:cubicBezTo>
                  <a:pt x="713" y="487"/>
                  <a:pt x="713" y="486"/>
                  <a:pt x="712" y="486"/>
                </a:cubicBezTo>
                <a:cubicBezTo>
                  <a:pt x="713" y="486"/>
                  <a:pt x="713" y="486"/>
                  <a:pt x="713" y="486"/>
                </a:cubicBezTo>
                <a:cubicBezTo>
                  <a:pt x="713" y="487"/>
                  <a:pt x="714" y="487"/>
                  <a:pt x="714" y="487"/>
                </a:cubicBezTo>
                <a:cubicBezTo>
                  <a:pt x="714" y="486"/>
                  <a:pt x="714" y="486"/>
                  <a:pt x="714" y="486"/>
                </a:cubicBezTo>
                <a:cubicBezTo>
                  <a:pt x="714" y="485"/>
                  <a:pt x="714" y="485"/>
                  <a:pt x="714" y="485"/>
                </a:cubicBezTo>
                <a:cubicBezTo>
                  <a:pt x="714" y="485"/>
                  <a:pt x="714" y="485"/>
                  <a:pt x="714" y="485"/>
                </a:cubicBezTo>
                <a:cubicBezTo>
                  <a:pt x="714" y="484"/>
                  <a:pt x="714" y="484"/>
                  <a:pt x="714" y="484"/>
                </a:cubicBezTo>
                <a:cubicBezTo>
                  <a:pt x="714" y="485"/>
                  <a:pt x="714" y="484"/>
                  <a:pt x="715" y="484"/>
                </a:cubicBezTo>
                <a:cubicBezTo>
                  <a:pt x="715" y="484"/>
                  <a:pt x="715" y="484"/>
                  <a:pt x="714" y="484"/>
                </a:cubicBezTo>
                <a:close/>
                <a:moveTo>
                  <a:pt x="698" y="471"/>
                </a:moveTo>
                <a:cubicBezTo>
                  <a:pt x="698" y="471"/>
                  <a:pt x="698" y="471"/>
                  <a:pt x="699" y="470"/>
                </a:cubicBezTo>
                <a:cubicBezTo>
                  <a:pt x="699" y="470"/>
                  <a:pt x="698" y="470"/>
                  <a:pt x="698" y="470"/>
                </a:cubicBezTo>
                <a:cubicBezTo>
                  <a:pt x="698" y="470"/>
                  <a:pt x="698" y="470"/>
                  <a:pt x="698" y="471"/>
                </a:cubicBezTo>
                <a:cubicBezTo>
                  <a:pt x="698" y="471"/>
                  <a:pt x="697" y="471"/>
                  <a:pt x="698" y="471"/>
                </a:cubicBezTo>
                <a:close/>
                <a:moveTo>
                  <a:pt x="659" y="405"/>
                </a:moveTo>
                <a:cubicBezTo>
                  <a:pt x="659" y="405"/>
                  <a:pt x="660" y="405"/>
                  <a:pt x="659" y="405"/>
                </a:cubicBezTo>
                <a:cubicBezTo>
                  <a:pt x="659" y="404"/>
                  <a:pt x="659" y="404"/>
                  <a:pt x="659" y="404"/>
                </a:cubicBezTo>
                <a:cubicBezTo>
                  <a:pt x="659" y="404"/>
                  <a:pt x="659" y="404"/>
                  <a:pt x="659" y="404"/>
                </a:cubicBezTo>
                <a:cubicBezTo>
                  <a:pt x="659" y="405"/>
                  <a:pt x="659" y="405"/>
                  <a:pt x="659" y="405"/>
                </a:cubicBezTo>
                <a:close/>
                <a:moveTo>
                  <a:pt x="702" y="453"/>
                </a:moveTo>
                <a:cubicBezTo>
                  <a:pt x="702" y="453"/>
                  <a:pt x="703" y="453"/>
                  <a:pt x="703" y="452"/>
                </a:cubicBezTo>
                <a:cubicBezTo>
                  <a:pt x="702" y="452"/>
                  <a:pt x="702" y="452"/>
                  <a:pt x="702" y="452"/>
                </a:cubicBezTo>
                <a:cubicBezTo>
                  <a:pt x="702" y="452"/>
                  <a:pt x="702" y="452"/>
                  <a:pt x="702" y="452"/>
                </a:cubicBezTo>
                <a:cubicBezTo>
                  <a:pt x="702" y="453"/>
                  <a:pt x="702" y="453"/>
                  <a:pt x="702" y="453"/>
                </a:cubicBezTo>
                <a:close/>
                <a:moveTo>
                  <a:pt x="703" y="454"/>
                </a:moveTo>
                <a:cubicBezTo>
                  <a:pt x="703" y="455"/>
                  <a:pt x="703" y="455"/>
                  <a:pt x="703" y="455"/>
                </a:cubicBezTo>
                <a:cubicBezTo>
                  <a:pt x="703" y="455"/>
                  <a:pt x="703" y="455"/>
                  <a:pt x="703" y="455"/>
                </a:cubicBezTo>
                <a:cubicBezTo>
                  <a:pt x="703" y="454"/>
                  <a:pt x="703" y="454"/>
                  <a:pt x="703" y="454"/>
                </a:cubicBezTo>
                <a:cubicBezTo>
                  <a:pt x="703" y="454"/>
                  <a:pt x="703" y="454"/>
                  <a:pt x="703" y="454"/>
                </a:cubicBezTo>
                <a:close/>
                <a:moveTo>
                  <a:pt x="694" y="466"/>
                </a:moveTo>
                <a:cubicBezTo>
                  <a:pt x="694" y="466"/>
                  <a:pt x="694" y="466"/>
                  <a:pt x="694" y="466"/>
                </a:cubicBezTo>
                <a:cubicBezTo>
                  <a:pt x="694" y="466"/>
                  <a:pt x="694" y="466"/>
                  <a:pt x="694" y="466"/>
                </a:cubicBezTo>
                <a:cubicBezTo>
                  <a:pt x="695" y="466"/>
                  <a:pt x="695" y="465"/>
                  <a:pt x="695" y="465"/>
                </a:cubicBezTo>
                <a:cubicBezTo>
                  <a:pt x="695" y="465"/>
                  <a:pt x="694" y="465"/>
                  <a:pt x="694" y="465"/>
                </a:cubicBezTo>
                <a:cubicBezTo>
                  <a:pt x="694" y="465"/>
                  <a:pt x="695" y="465"/>
                  <a:pt x="694" y="466"/>
                </a:cubicBezTo>
                <a:close/>
                <a:moveTo>
                  <a:pt x="692" y="447"/>
                </a:moveTo>
                <a:cubicBezTo>
                  <a:pt x="692" y="446"/>
                  <a:pt x="691" y="446"/>
                  <a:pt x="691" y="446"/>
                </a:cubicBezTo>
                <a:cubicBezTo>
                  <a:pt x="691" y="446"/>
                  <a:pt x="691" y="447"/>
                  <a:pt x="691" y="447"/>
                </a:cubicBezTo>
                <a:cubicBezTo>
                  <a:pt x="692" y="447"/>
                  <a:pt x="692" y="447"/>
                  <a:pt x="692" y="447"/>
                </a:cubicBezTo>
                <a:close/>
                <a:moveTo>
                  <a:pt x="696" y="471"/>
                </a:moveTo>
                <a:cubicBezTo>
                  <a:pt x="696" y="471"/>
                  <a:pt x="696" y="471"/>
                  <a:pt x="696" y="471"/>
                </a:cubicBezTo>
                <a:cubicBezTo>
                  <a:pt x="696" y="471"/>
                  <a:pt x="696" y="471"/>
                  <a:pt x="696" y="471"/>
                </a:cubicBezTo>
                <a:cubicBezTo>
                  <a:pt x="696" y="471"/>
                  <a:pt x="696" y="470"/>
                  <a:pt x="696" y="471"/>
                </a:cubicBezTo>
                <a:cubicBezTo>
                  <a:pt x="696" y="471"/>
                  <a:pt x="696" y="471"/>
                  <a:pt x="696" y="471"/>
                </a:cubicBezTo>
                <a:cubicBezTo>
                  <a:pt x="696" y="471"/>
                  <a:pt x="696" y="471"/>
                  <a:pt x="696" y="471"/>
                </a:cubicBezTo>
                <a:close/>
                <a:moveTo>
                  <a:pt x="706" y="446"/>
                </a:moveTo>
                <a:cubicBezTo>
                  <a:pt x="706" y="447"/>
                  <a:pt x="706" y="447"/>
                  <a:pt x="707" y="447"/>
                </a:cubicBezTo>
                <a:cubicBezTo>
                  <a:pt x="707" y="447"/>
                  <a:pt x="707" y="447"/>
                  <a:pt x="707" y="447"/>
                </a:cubicBezTo>
                <a:cubicBezTo>
                  <a:pt x="707" y="447"/>
                  <a:pt x="707" y="446"/>
                  <a:pt x="706" y="446"/>
                </a:cubicBezTo>
                <a:cubicBezTo>
                  <a:pt x="706" y="446"/>
                  <a:pt x="706" y="446"/>
                  <a:pt x="706" y="446"/>
                </a:cubicBezTo>
                <a:close/>
                <a:moveTo>
                  <a:pt x="708" y="445"/>
                </a:moveTo>
                <a:cubicBezTo>
                  <a:pt x="708" y="445"/>
                  <a:pt x="708" y="445"/>
                  <a:pt x="707" y="445"/>
                </a:cubicBezTo>
                <a:cubicBezTo>
                  <a:pt x="707" y="445"/>
                  <a:pt x="707" y="445"/>
                  <a:pt x="707" y="445"/>
                </a:cubicBezTo>
                <a:cubicBezTo>
                  <a:pt x="707" y="445"/>
                  <a:pt x="708" y="445"/>
                  <a:pt x="708" y="445"/>
                </a:cubicBezTo>
                <a:close/>
                <a:moveTo>
                  <a:pt x="695" y="454"/>
                </a:moveTo>
                <a:cubicBezTo>
                  <a:pt x="695" y="454"/>
                  <a:pt x="695" y="454"/>
                  <a:pt x="695" y="454"/>
                </a:cubicBezTo>
                <a:cubicBezTo>
                  <a:pt x="695" y="454"/>
                  <a:pt x="695" y="454"/>
                  <a:pt x="694" y="454"/>
                </a:cubicBezTo>
                <a:cubicBezTo>
                  <a:pt x="695" y="454"/>
                  <a:pt x="695" y="455"/>
                  <a:pt x="695" y="454"/>
                </a:cubicBezTo>
                <a:close/>
                <a:moveTo>
                  <a:pt x="697" y="459"/>
                </a:moveTo>
                <a:cubicBezTo>
                  <a:pt x="698" y="459"/>
                  <a:pt x="698" y="459"/>
                  <a:pt x="697" y="459"/>
                </a:cubicBezTo>
                <a:cubicBezTo>
                  <a:pt x="697" y="459"/>
                  <a:pt x="697" y="459"/>
                  <a:pt x="697" y="459"/>
                </a:cubicBezTo>
                <a:close/>
                <a:moveTo>
                  <a:pt x="707" y="446"/>
                </a:moveTo>
                <a:cubicBezTo>
                  <a:pt x="707" y="446"/>
                  <a:pt x="707" y="446"/>
                  <a:pt x="707" y="446"/>
                </a:cubicBezTo>
                <a:cubicBezTo>
                  <a:pt x="707" y="446"/>
                  <a:pt x="707" y="446"/>
                  <a:pt x="707" y="446"/>
                </a:cubicBezTo>
                <a:cubicBezTo>
                  <a:pt x="707" y="446"/>
                  <a:pt x="707" y="446"/>
                  <a:pt x="707" y="446"/>
                </a:cubicBezTo>
                <a:cubicBezTo>
                  <a:pt x="707" y="446"/>
                  <a:pt x="707" y="446"/>
                  <a:pt x="707" y="446"/>
                </a:cubicBezTo>
                <a:close/>
                <a:moveTo>
                  <a:pt x="702" y="451"/>
                </a:moveTo>
                <a:cubicBezTo>
                  <a:pt x="702" y="451"/>
                  <a:pt x="702" y="451"/>
                  <a:pt x="702" y="451"/>
                </a:cubicBezTo>
                <a:cubicBezTo>
                  <a:pt x="702" y="451"/>
                  <a:pt x="702" y="451"/>
                  <a:pt x="702" y="452"/>
                </a:cubicBezTo>
                <a:cubicBezTo>
                  <a:pt x="702" y="452"/>
                  <a:pt x="702" y="452"/>
                  <a:pt x="702" y="451"/>
                </a:cubicBezTo>
                <a:close/>
                <a:moveTo>
                  <a:pt x="709" y="445"/>
                </a:moveTo>
                <a:cubicBezTo>
                  <a:pt x="709" y="445"/>
                  <a:pt x="709" y="445"/>
                  <a:pt x="709" y="445"/>
                </a:cubicBezTo>
                <a:cubicBezTo>
                  <a:pt x="709" y="445"/>
                  <a:pt x="708" y="445"/>
                  <a:pt x="708" y="445"/>
                </a:cubicBezTo>
                <a:cubicBezTo>
                  <a:pt x="708" y="445"/>
                  <a:pt x="708" y="445"/>
                  <a:pt x="709" y="445"/>
                </a:cubicBezTo>
                <a:close/>
                <a:moveTo>
                  <a:pt x="701" y="474"/>
                </a:moveTo>
                <a:cubicBezTo>
                  <a:pt x="701" y="474"/>
                  <a:pt x="701" y="474"/>
                  <a:pt x="701" y="474"/>
                </a:cubicBezTo>
                <a:cubicBezTo>
                  <a:pt x="701" y="474"/>
                  <a:pt x="701" y="474"/>
                  <a:pt x="701" y="474"/>
                </a:cubicBezTo>
                <a:cubicBezTo>
                  <a:pt x="701" y="474"/>
                  <a:pt x="701" y="474"/>
                  <a:pt x="701" y="474"/>
                </a:cubicBezTo>
                <a:cubicBezTo>
                  <a:pt x="701" y="474"/>
                  <a:pt x="701" y="474"/>
                  <a:pt x="701" y="474"/>
                </a:cubicBezTo>
                <a:close/>
                <a:moveTo>
                  <a:pt x="660" y="417"/>
                </a:moveTo>
                <a:cubicBezTo>
                  <a:pt x="660" y="417"/>
                  <a:pt x="660" y="417"/>
                  <a:pt x="660" y="418"/>
                </a:cubicBezTo>
                <a:cubicBezTo>
                  <a:pt x="660" y="418"/>
                  <a:pt x="660" y="418"/>
                  <a:pt x="660" y="418"/>
                </a:cubicBezTo>
                <a:cubicBezTo>
                  <a:pt x="660" y="418"/>
                  <a:pt x="660" y="418"/>
                  <a:pt x="660" y="418"/>
                </a:cubicBezTo>
                <a:cubicBezTo>
                  <a:pt x="660" y="417"/>
                  <a:pt x="660" y="417"/>
                  <a:pt x="660" y="417"/>
                </a:cubicBezTo>
                <a:close/>
                <a:moveTo>
                  <a:pt x="700" y="467"/>
                </a:moveTo>
                <a:cubicBezTo>
                  <a:pt x="700" y="468"/>
                  <a:pt x="700" y="468"/>
                  <a:pt x="699" y="468"/>
                </a:cubicBezTo>
                <a:cubicBezTo>
                  <a:pt x="700" y="468"/>
                  <a:pt x="700" y="468"/>
                  <a:pt x="700" y="467"/>
                </a:cubicBezTo>
                <a:close/>
                <a:moveTo>
                  <a:pt x="691" y="420"/>
                </a:moveTo>
                <a:cubicBezTo>
                  <a:pt x="691" y="420"/>
                  <a:pt x="691" y="420"/>
                  <a:pt x="691" y="420"/>
                </a:cubicBezTo>
                <a:cubicBezTo>
                  <a:pt x="691" y="420"/>
                  <a:pt x="691" y="420"/>
                  <a:pt x="691" y="420"/>
                </a:cubicBezTo>
                <a:cubicBezTo>
                  <a:pt x="691" y="419"/>
                  <a:pt x="690" y="418"/>
                  <a:pt x="689" y="418"/>
                </a:cubicBezTo>
                <a:cubicBezTo>
                  <a:pt x="689" y="417"/>
                  <a:pt x="689" y="416"/>
                  <a:pt x="689" y="415"/>
                </a:cubicBezTo>
                <a:cubicBezTo>
                  <a:pt x="689" y="415"/>
                  <a:pt x="689" y="415"/>
                  <a:pt x="688" y="414"/>
                </a:cubicBezTo>
                <a:cubicBezTo>
                  <a:pt x="687" y="414"/>
                  <a:pt x="687" y="413"/>
                  <a:pt x="687" y="412"/>
                </a:cubicBezTo>
                <a:cubicBezTo>
                  <a:pt x="687" y="412"/>
                  <a:pt x="687" y="411"/>
                  <a:pt x="687" y="411"/>
                </a:cubicBezTo>
                <a:cubicBezTo>
                  <a:pt x="686" y="411"/>
                  <a:pt x="686" y="410"/>
                  <a:pt x="686" y="410"/>
                </a:cubicBezTo>
                <a:cubicBezTo>
                  <a:pt x="686" y="409"/>
                  <a:pt x="686" y="409"/>
                  <a:pt x="685" y="409"/>
                </a:cubicBezTo>
                <a:cubicBezTo>
                  <a:pt x="685" y="409"/>
                  <a:pt x="686" y="410"/>
                  <a:pt x="685" y="410"/>
                </a:cubicBezTo>
                <a:cubicBezTo>
                  <a:pt x="685" y="410"/>
                  <a:pt x="685" y="410"/>
                  <a:pt x="686" y="410"/>
                </a:cubicBezTo>
                <a:cubicBezTo>
                  <a:pt x="686" y="411"/>
                  <a:pt x="686" y="411"/>
                  <a:pt x="686" y="411"/>
                </a:cubicBezTo>
                <a:cubicBezTo>
                  <a:pt x="686" y="411"/>
                  <a:pt x="685" y="411"/>
                  <a:pt x="685" y="411"/>
                </a:cubicBezTo>
                <a:cubicBezTo>
                  <a:pt x="685" y="411"/>
                  <a:pt x="685" y="411"/>
                  <a:pt x="685" y="412"/>
                </a:cubicBezTo>
                <a:cubicBezTo>
                  <a:pt x="685" y="412"/>
                  <a:pt x="685" y="412"/>
                  <a:pt x="685" y="412"/>
                </a:cubicBezTo>
                <a:cubicBezTo>
                  <a:pt x="686" y="412"/>
                  <a:pt x="686" y="413"/>
                  <a:pt x="685" y="413"/>
                </a:cubicBezTo>
                <a:cubicBezTo>
                  <a:pt x="685" y="414"/>
                  <a:pt x="685" y="414"/>
                  <a:pt x="685" y="414"/>
                </a:cubicBezTo>
                <a:cubicBezTo>
                  <a:pt x="685" y="414"/>
                  <a:pt x="685" y="414"/>
                  <a:pt x="685" y="414"/>
                </a:cubicBezTo>
                <a:cubicBezTo>
                  <a:pt x="686" y="414"/>
                  <a:pt x="686" y="413"/>
                  <a:pt x="686" y="414"/>
                </a:cubicBezTo>
                <a:cubicBezTo>
                  <a:pt x="687" y="415"/>
                  <a:pt x="687" y="416"/>
                  <a:pt x="688" y="418"/>
                </a:cubicBezTo>
                <a:cubicBezTo>
                  <a:pt x="688" y="418"/>
                  <a:pt x="688" y="418"/>
                  <a:pt x="689" y="419"/>
                </a:cubicBezTo>
                <a:cubicBezTo>
                  <a:pt x="689" y="419"/>
                  <a:pt x="689" y="419"/>
                  <a:pt x="689" y="419"/>
                </a:cubicBezTo>
                <a:cubicBezTo>
                  <a:pt x="690" y="419"/>
                  <a:pt x="690" y="419"/>
                  <a:pt x="690" y="420"/>
                </a:cubicBezTo>
                <a:cubicBezTo>
                  <a:pt x="689" y="421"/>
                  <a:pt x="690" y="421"/>
                  <a:pt x="690" y="422"/>
                </a:cubicBezTo>
                <a:cubicBezTo>
                  <a:pt x="690" y="422"/>
                  <a:pt x="690" y="422"/>
                  <a:pt x="690" y="423"/>
                </a:cubicBezTo>
                <a:cubicBezTo>
                  <a:pt x="690" y="422"/>
                  <a:pt x="690" y="422"/>
                  <a:pt x="690" y="422"/>
                </a:cubicBezTo>
                <a:cubicBezTo>
                  <a:pt x="689" y="423"/>
                  <a:pt x="689" y="422"/>
                  <a:pt x="689" y="422"/>
                </a:cubicBezTo>
                <a:cubicBezTo>
                  <a:pt x="688" y="422"/>
                  <a:pt x="688" y="422"/>
                  <a:pt x="688" y="423"/>
                </a:cubicBezTo>
                <a:cubicBezTo>
                  <a:pt x="688" y="423"/>
                  <a:pt x="688" y="423"/>
                  <a:pt x="688" y="423"/>
                </a:cubicBezTo>
                <a:cubicBezTo>
                  <a:pt x="688" y="423"/>
                  <a:pt x="688" y="423"/>
                  <a:pt x="688" y="423"/>
                </a:cubicBezTo>
                <a:cubicBezTo>
                  <a:pt x="689" y="423"/>
                  <a:pt x="689" y="423"/>
                  <a:pt x="689" y="424"/>
                </a:cubicBezTo>
                <a:cubicBezTo>
                  <a:pt x="689" y="424"/>
                  <a:pt x="689" y="424"/>
                  <a:pt x="690" y="424"/>
                </a:cubicBezTo>
                <a:cubicBezTo>
                  <a:pt x="690" y="424"/>
                  <a:pt x="690" y="424"/>
                  <a:pt x="690" y="424"/>
                </a:cubicBezTo>
                <a:cubicBezTo>
                  <a:pt x="691" y="425"/>
                  <a:pt x="691" y="425"/>
                  <a:pt x="690" y="426"/>
                </a:cubicBezTo>
                <a:cubicBezTo>
                  <a:pt x="690" y="426"/>
                  <a:pt x="690" y="426"/>
                  <a:pt x="689" y="426"/>
                </a:cubicBezTo>
                <a:cubicBezTo>
                  <a:pt x="689" y="427"/>
                  <a:pt x="689" y="427"/>
                  <a:pt x="689" y="426"/>
                </a:cubicBezTo>
                <a:cubicBezTo>
                  <a:pt x="689" y="426"/>
                  <a:pt x="688" y="426"/>
                  <a:pt x="688" y="425"/>
                </a:cubicBezTo>
                <a:cubicBezTo>
                  <a:pt x="688" y="425"/>
                  <a:pt x="688" y="426"/>
                  <a:pt x="688" y="426"/>
                </a:cubicBezTo>
                <a:cubicBezTo>
                  <a:pt x="688" y="426"/>
                  <a:pt x="688" y="426"/>
                  <a:pt x="688" y="426"/>
                </a:cubicBezTo>
                <a:cubicBezTo>
                  <a:pt x="687" y="425"/>
                  <a:pt x="687" y="425"/>
                  <a:pt x="687" y="425"/>
                </a:cubicBezTo>
                <a:cubicBezTo>
                  <a:pt x="687" y="425"/>
                  <a:pt x="687" y="425"/>
                  <a:pt x="687" y="425"/>
                </a:cubicBezTo>
                <a:cubicBezTo>
                  <a:pt x="687" y="425"/>
                  <a:pt x="687" y="425"/>
                  <a:pt x="687" y="425"/>
                </a:cubicBezTo>
                <a:cubicBezTo>
                  <a:pt x="687" y="426"/>
                  <a:pt x="687" y="426"/>
                  <a:pt x="687" y="427"/>
                </a:cubicBezTo>
                <a:cubicBezTo>
                  <a:pt x="688" y="427"/>
                  <a:pt x="688" y="427"/>
                  <a:pt x="688" y="428"/>
                </a:cubicBezTo>
                <a:cubicBezTo>
                  <a:pt x="688" y="428"/>
                  <a:pt x="688" y="428"/>
                  <a:pt x="687" y="428"/>
                </a:cubicBezTo>
                <a:cubicBezTo>
                  <a:pt x="687" y="427"/>
                  <a:pt x="687" y="428"/>
                  <a:pt x="687" y="428"/>
                </a:cubicBezTo>
                <a:cubicBezTo>
                  <a:pt x="687" y="428"/>
                  <a:pt x="687" y="429"/>
                  <a:pt x="687" y="429"/>
                </a:cubicBezTo>
                <a:cubicBezTo>
                  <a:pt x="687" y="429"/>
                  <a:pt x="687" y="429"/>
                  <a:pt x="686" y="429"/>
                </a:cubicBezTo>
                <a:cubicBezTo>
                  <a:pt x="686" y="430"/>
                  <a:pt x="686" y="429"/>
                  <a:pt x="686" y="429"/>
                </a:cubicBezTo>
                <a:cubicBezTo>
                  <a:pt x="685" y="430"/>
                  <a:pt x="685" y="429"/>
                  <a:pt x="685" y="429"/>
                </a:cubicBezTo>
                <a:cubicBezTo>
                  <a:pt x="685" y="429"/>
                  <a:pt x="686" y="428"/>
                  <a:pt x="685" y="428"/>
                </a:cubicBezTo>
                <a:cubicBezTo>
                  <a:pt x="685" y="429"/>
                  <a:pt x="685" y="429"/>
                  <a:pt x="685" y="430"/>
                </a:cubicBezTo>
                <a:cubicBezTo>
                  <a:pt x="685" y="430"/>
                  <a:pt x="685" y="430"/>
                  <a:pt x="685" y="430"/>
                </a:cubicBezTo>
                <a:cubicBezTo>
                  <a:pt x="685" y="430"/>
                  <a:pt x="685" y="431"/>
                  <a:pt x="684" y="431"/>
                </a:cubicBezTo>
                <a:cubicBezTo>
                  <a:pt x="684" y="431"/>
                  <a:pt x="684" y="431"/>
                  <a:pt x="684" y="431"/>
                </a:cubicBezTo>
                <a:cubicBezTo>
                  <a:pt x="684" y="432"/>
                  <a:pt x="684" y="432"/>
                  <a:pt x="684" y="432"/>
                </a:cubicBezTo>
                <a:cubicBezTo>
                  <a:pt x="683" y="432"/>
                  <a:pt x="683" y="432"/>
                  <a:pt x="683" y="433"/>
                </a:cubicBezTo>
                <a:cubicBezTo>
                  <a:pt x="683" y="433"/>
                  <a:pt x="683" y="433"/>
                  <a:pt x="683" y="433"/>
                </a:cubicBezTo>
                <a:cubicBezTo>
                  <a:pt x="682" y="433"/>
                  <a:pt x="682" y="433"/>
                  <a:pt x="681" y="433"/>
                </a:cubicBezTo>
                <a:cubicBezTo>
                  <a:pt x="681" y="432"/>
                  <a:pt x="681" y="432"/>
                  <a:pt x="681" y="431"/>
                </a:cubicBezTo>
                <a:cubicBezTo>
                  <a:pt x="681" y="431"/>
                  <a:pt x="681" y="431"/>
                  <a:pt x="681" y="431"/>
                </a:cubicBezTo>
                <a:cubicBezTo>
                  <a:pt x="681" y="430"/>
                  <a:pt x="681" y="430"/>
                  <a:pt x="681" y="429"/>
                </a:cubicBezTo>
                <a:cubicBezTo>
                  <a:pt x="681" y="429"/>
                  <a:pt x="681" y="428"/>
                  <a:pt x="681" y="428"/>
                </a:cubicBezTo>
                <a:cubicBezTo>
                  <a:pt x="681" y="428"/>
                  <a:pt x="681" y="428"/>
                  <a:pt x="681" y="428"/>
                </a:cubicBezTo>
                <a:cubicBezTo>
                  <a:pt x="682" y="428"/>
                  <a:pt x="682" y="428"/>
                  <a:pt x="682" y="428"/>
                </a:cubicBezTo>
                <a:cubicBezTo>
                  <a:pt x="682" y="428"/>
                  <a:pt x="682" y="428"/>
                  <a:pt x="682" y="428"/>
                </a:cubicBezTo>
                <a:cubicBezTo>
                  <a:pt x="681" y="427"/>
                  <a:pt x="681" y="427"/>
                  <a:pt x="682" y="427"/>
                </a:cubicBezTo>
                <a:cubicBezTo>
                  <a:pt x="682" y="427"/>
                  <a:pt x="682" y="427"/>
                  <a:pt x="682" y="426"/>
                </a:cubicBezTo>
                <a:cubicBezTo>
                  <a:pt x="683" y="426"/>
                  <a:pt x="683" y="426"/>
                  <a:pt x="683" y="426"/>
                </a:cubicBezTo>
                <a:cubicBezTo>
                  <a:pt x="683" y="426"/>
                  <a:pt x="683" y="426"/>
                  <a:pt x="682" y="426"/>
                </a:cubicBezTo>
                <a:cubicBezTo>
                  <a:pt x="682" y="426"/>
                  <a:pt x="682" y="425"/>
                  <a:pt x="682" y="425"/>
                </a:cubicBezTo>
                <a:cubicBezTo>
                  <a:pt x="682" y="424"/>
                  <a:pt x="682" y="424"/>
                  <a:pt x="682" y="425"/>
                </a:cubicBezTo>
                <a:cubicBezTo>
                  <a:pt x="683" y="425"/>
                  <a:pt x="683" y="425"/>
                  <a:pt x="684" y="425"/>
                </a:cubicBezTo>
                <a:cubicBezTo>
                  <a:pt x="684" y="425"/>
                  <a:pt x="684" y="425"/>
                  <a:pt x="684" y="426"/>
                </a:cubicBezTo>
                <a:cubicBezTo>
                  <a:pt x="684" y="426"/>
                  <a:pt x="684" y="426"/>
                  <a:pt x="685" y="426"/>
                </a:cubicBezTo>
                <a:cubicBezTo>
                  <a:pt x="685" y="426"/>
                  <a:pt x="685" y="425"/>
                  <a:pt x="684" y="425"/>
                </a:cubicBezTo>
                <a:cubicBezTo>
                  <a:pt x="684" y="425"/>
                  <a:pt x="684" y="425"/>
                  <a:pt x="683" y="425"/>
                </a:cubicBezTo>
                <a:cubicBezTo>
                  <a:pt x="683" y="425"/>
                  <a:pt x="683" y="425"/>
                  <a:pt x="683" y="425"/>
                </a:cubicBezTo>
                <a:cubicBezTo>
                  <a:pt x="683" y="424"/>
                  <a:pt x="683" y="424"/>
                  <a:pt x="683" y="424"/>
                </a:cubicBezTo>
                <a:cubicBezTo>
                  <a:pt x="682" y="424"/>
                  <a:pt x="682" y="423"/>
                  <a:pt x="682" y="423"/>
                </a:cubicBezTo>
                <a:cubicBezTo>
                  <a:pt x="682" y="423"/>
                  <a:pt x="682" y="423"/>
                  <a:pt x="682" y="422"/>
                </a:cubicBezTo>
                <a:cubicBezTo>
                  <a:pt x="682" y="421"/>
                  <a:pt x="681" y="421"/>
                  <a:pt x="681" y="420"/>
                </a:cubicBezTo>
                <a:cubicBezTo>
                  <a:pt x="680" y="419"/>
                  <a:pt x="680" y="419"/>
                  <a:pt x="680" y="418"/>
                </a:cubicBezTo>
                <a:cubicBezTo>
                  <a:pt x="680" y="418"/>
                  <a:pt x="680" y="418"/>
                  <a:pt x="680" y="418"/>
                </a:cubicBezTo>
                <a:cubicBezTo>
                  <a:pt x="679" y="417"/>
                  <a:pt x="681" y="415"/>
                  <a:pt x="680" y="414"/>
                </a:cubicBezTo>
                <a:cubicBezTo>
                  <a:pt x="679" y="412"/>
                  <a:pt x="680" y="411"/>
                  <a:pt x="679" y="410"/>
                </a:cubicBezTo>
                <a:cubicBezTo>
                  <a:pt x="679" y="409"/>
                  <a:pt x="679" y="409"/>
                  <a:pt x="679" y="409"/>
                </a:cubicBezTo>
                <a:cubicBezTo>
                  <a:pt x="679" y="408"/>
                  <a:pt x="679" y="408"/>
                  <a:pt x="679" y="407"/>
                </a:cubicBezTo>
                <a:cubicBezTo>
                  <a:pt x="679" y="408"/>
                  <a:pt x="679" y="408"/>
                  <a:pt x="679" y="408"/>
                </a:cubicBezTo>
                <a:cubicBezTo>
                  <a:pt x="679" y="408"/>
                  <a:pt x="679" y="407"/>
                  <a:pt x="679" y="407"/>
                </a:cubicBezTo>
                <a:cubicBezTo>
                  <a:pt x="678" y="407"/>
                  <a:pt x="678" y="406"/>
                  <a:pt x="678" y="406"/>
                </a:cubicBezTo>
                <a:cubicBezTo>
                  <a:pt x="678" y="405"/>
                  <a:pt x="677" y="405"/>
                  <a:pt x="678" y="405"/>
                </a:cubicBezTo>
                <a:cubicBezTo>
                  <a:pt x="678" y="405"/>
                  <a:pt x="678" y="405"/>
                  <a:pt x="678" y="404"/>
                </a:cubicBezTo>
                <a:cubicBezTo>
                  <a:pt x="678" y="405"/>
                  <a:pt x="677" y="405"/>
                  <a:pt x="677" y="404"/>
                </a:cubicBezTo>
                <a:cubicBezTo>
                  <a:pt x="677" y="403"/>
                  <a:pt x="677" y="402"/>
                  <a:pt x="677" y="401"/>
                </a:cubicBezTo>
                <a:cubicBezTo>
                  <a:pt x="677" y="401"/>
                  <a:pt x="677" y="401"/>
                  <a:pt x="677" y="401"/>
                </a:cubicBezTo>
                <a:cubicBezTo>
                  <a:pt x="677" y="401"/>
                  <a:pt x="677" y="401"/>
                  <a:pt x="677" y="401"/>
                </a:cubicBezTo>
                <a:cubicBezTo>
                  <a:pt x="678" y="402"/>
                  <a:pt x="678" y="402"/>
                  <a:pt x="679" y="403"/>
                </a:cubicBezTo>
                <a:cubicBezTo>
                  <a:pt x="679" y="403"/>
                  <a:pt x="679" y="404"/>
                  <a:pt x="680" y="404"/>
                </a:cubicBezTo>
                <a:cubicBezTo>
                  <a:pt x="680" y="405"/>
                  <a:pt x="680" y="405"/>
                  <a:pt x="680" y="406"/>
                </a:cubicBezTo>
                <a:cubicBezTo>
                  <a:pt x="680" y="407"/>
                  <a:pt x="680" y="407"/>
                  <a:pt x="681" y="407"/>
                </a:cubicBezTo>
                <a:cubicBezTo>
                  <a:pt x="681" y="406"/>
                  <a:pt x="681" y="406"/>
                  <a:pt x="682" y="406"/>
                </a:cubicBezTo>
                <a:cubicBezTo>
                  <a:pt x="682" y="406"/>
                  <a:pt x="682" y="406"/>
                  <a:pt x="682" y="406"/>
                </a:cubicBezTo>
                <a:cubicBezTo>
                  <a:pt x="683" y="407"/>
                  <a:pt x="683" y="406"/>
                  <a:pt x="684" y="407"/>
                </a:cubicBezTo>
                <a:cubicBezTo>
                  <a:pt x="684" y="407"/>
                  <a:pt x="685" y="407"/>
                  <a:pt x="686" y="407"/>
                </a:cubicBezTo>
                <a:cubicBezTo>
                  <a:pt x="686" y="407"/>
                  <a:pt x="686" y="407"/>
                  <a:pt x="687" y="407"/>
                </a:cubicBezTo>
                <a:cubicBezTo>
                  <a:pt x="687" y="407"/>
                  <a:pt x="687" y="407"/>
                  <a:pt x="686" y="408"/>
                </a:cubicBezTo>
                <a:cubicBezTo>
                  <a:pt x="686" y="408"/>
                  <a:pt x="686" y="408"/>
                  <a:pt x="687" y="409"/>
                </a:cubicBezTo>
                <a:cubicBezTo>
                  <a:pt x="687" y="409"/>
                  <a:pt x="688" y="410"/>
                  <a:pt x="688" y="411"/>
                </a:cubicBezTo>
                <a:cubicBezTo>
                  <a:pt x="688" y="411"/>
                  <a:pt x="688" y="411"/>
                  <a:pt x="688" y="411"/>
                </a:cubicBezTo>
                <a:cubicBezTo>
                  <a:pt x="689" y="412"/>
                  <a:pt x="689" y="412"/>
                  <a:pt x="689" y="413"/>
                </a:cubicBezTo>
                <a:cubicBezTo>
                  <a:pt x="689" y="414"/>
                  <a:pt x="690" y="414"/>
                  <a:pt x="690" y="414"/>
                </a:cubicBezTo>
                <a:cubicBezTo>
                  <a:pt x="690" y="415"/>
                  <a:pt x="690" y="415"/>
                  <a:pt x="690" y="415"/>
                </a:cubicBezTo>
                <a:cubicBezTo>
                  <a:pt x="690" y="416"/>
                  <a:pt x="690" y="416"/>
                  <a:pt x="690" y="416"/>
                </a:cubicBezTo>
                <a:cubicBezTo>
                  <a:pt x="690" y="417"/>
                  <a:pt x="690" y="417"/>
                  <a:pt x="690" y="417"/>
                </a:cubicBezTo>
                <a:cubicBezTo>
                  <a:pt x="690" y="418"/>
                  <a:pt x="690" y="418"/>
                  <a:pt x="691" y="419"/>
                </a:cubicBezTo>
                <a:cubicBezTo>
                  <a:pt x="691" y="419"/>
                  <a:pt x="691" y="420"/>
                  <a:pt x="691" y="420"/>
                </a:cubicBezTo>
                <a:close/>
                <a:moveTo>
                  <a:pt x="687" y="415"/>
                </a:moveTo>
                <a:cubicBezTo>
                  <a:pt x="687" y="416"/>
                  <a:pt x="687" y="416"/>
                  <a:pt x="688" y="416"/>
                </a:cubicBezTo>
                <a:cubicBezTo>
                  <a:pt x="688" y="416"/>
                  <a:pt x="688" y="415"/>
                  <a:pt x="688" y="415"/>
                </a:cubicBezTo>
                <a:cubicBezTo>
                  <a:pt x="687" y="415"/>
                  <a:pt x="687" y="414"/>
                  <a:pt x="687" y="414"/>
                </a:cubicBezTo>
                <a:cubicBezTo>
                  <a:pt x="687" y="414"/>
                  <a:pt x="687" y="414"/>
                  <a:pt x="686" y="413"/>
                </a:cubicBezTo>
                <a:cubicBezTo>
                  <a:pt x="687" y="414"/>
                  <a:pt x="687" y="414"/>
                  <a:pt x="687" y="414"/>
                </a:cubicBezTo>
                <a:cubicBezTo>
                  <a:pt x="686" y="415"/>
                  <a:pt x="687" y="415"/>
                  <a:pt x="687" y="415"/>
                </a:cubicBezTo>
                <a:close/>
                <a:moveTo>
                  <a:pt x="686" y="412"/>
                </a:moveTo>
                <a:cubicBezTo>
                  <a:pt x="686" y="412"/>
                  <a:pt x="686" y="412"/>
                  <a:pt x="686" y="412"/>
                </a:cubicBezTo>
                <a:cubicBezTo>
                  <a:pt x="686" y="412"/>
                  <a:pt x="686" y="412"/>
                  <a:pt x="685" y="412"/>
                </a:cubicBezTo>
                <a:cubicBezTo>
                  <a:pt x="686" y="412"/>
                  <a:pt x="686" y="412"/>
                  <a:pt x="686" y="412"/>
                </a:cubicBezTo>
                <a:cubicBezTo>
                  <a:pt x="686" y="412"/>
                  <a:pt x="686" y="412"/>
                  <a:pt x="686" y="413"/>
                </a:cubicBezTo>
                <a:cubicBezTo>
                  <a:pt x="686" y="413"/>
                  <a:pt x="686" y="412"/>
                  <a:pt x="686" y="412"/>
                </a:cubicBezTo>
                <a:close/>
                <a:moveTo>
                  <a:pt x="686" y="413"/>
                </a:moveTo>
                <a:cubicBezTo>
                  <a:pt x="687" y="413"/>
                  <a:pt x="687" y="413"/>
                  <a:pt x="686" y="413"/>
                </a:cubicBezTo>
                <a:cubicBezTo>
                  <a:pt x="686" y="413"/>
                  <a:pt x="686" y="413"/>
                  <a:pt x="686" y="413"/>
                </a:cubicBezTo>
                <a:cubicBezTo>
                  <a:pt x="686" y="413"/>
                  <a:pt x="686" y="413"/>
                  <a:pt x="686" y="413"/>
                </a:cubicBezTo>
                <a:close/>
                <a:moveTo>
                  <a:pt x="721" y="475"/>
                </a:moveTo>
                <a:cubicBezTo>
                  <a:pt x="721" y="475"/>
                  <a:pt x="721" y="475"/>
                  <a:pt x="721" y="475"/>
                </a:cubicBezTo>
                <a:cubicBezTo>
                  <a:pt x="720" y="475"/>
                  <a:pt x="720" y="475"/>
                  <a:pt x="720" y="476"/>
                </a:cubicBezTo>
                <a:cubicBezTo>
                  <a:pt x="720" y="476"/>
                  <a:pt x="720" y="476"/>
                  <a:pt x="720" y="476"/>
                </a:cubicBezTo>
                <a:cubicBezTo>
                  <a:pt x="720" y="477"/>
                  <a:pt x="720" y="477"/>
                  <a:pt x="720" y="478"/>
                </a:cubicBezTo>
                <a:cubicBezTo>
                  <a:pt x="720" y="478"/>
                  <a:pt x="719" y="478"/>
                  <a:pt x="719" y="479"/>
                </a:cubicBezTo>
                <a:cubicBezTo>
                  <a:pt x="719" y="479"/>
                  <a:pt x="719" y="480"/>
                  <a:pt x="720" y="480"/>
                </a:cubicBezTo>
                <a:cubicBezTo>
                  <a:pt x="720" y="480"/>
                  <a:pt x="720" y="480"/>
                  <a:pt x="720" y="480"/>
                </a:cubicBezTo>
                <a:cubicBezTo>
                  <a:pt x="720" y="480"/>
                  <a:pt x="720" y="480"/>
                  <a:pt x="720" y="480"/>
                </a:cubicBezTo>
                <a:cubicBezTo>
                  <a:pt x="720" y="480"/>
                  <a:pt x="720" y="479"/>
                  <a:pt x="721" y="479"/>
                </a:cubicBezTo>
                <a:cubicBezTo>
                  <a:pt x="721" y="479"/>
                  <a:pt x="721" y="479"/>
                  <a:pt x="721" y="479"/>
                </a:cubicBezTo>
                <a:cubicBezTo>
                  <a:pt x="721" y="480"/>
                  <a:pt x="722" y="480"/>
                  <a:pt x="722" y="480"/>
                </a:cubicBezTo>
                <a:cubicBezTo>
                  <a:pt x="722" y="479"/>
                  <a:pt x="723" y="479"/>
                  <a:pt x="723" y="479"/>
                </a:cubicBezTo>
                <a:cubicBezTo>
                  <a:pt x="723" y="479"/>
                  <a:pt x="722" y="479"/>
                  <a:pt x="722" y="479"/>
                </a:cubicBezTo>
                <a:cubicBezTo>
                  <a:pt x="722" y="479"/>
                  <a:pt x="723" y="478"/>
                  <a:pt x="723" y="478"/>
                </a:cubicBezTo>
                <a:cubicBezTo>
                  <a:pt x="723" y="478"/>
                  <a:pt x="722" y="478"/>
                  <a:pt x="722" y="478"/>
                </a:cubicBezTo>
                <a:cubicBezTo>
                  <a:pt x="722" y="477"/>
                  <a:pt x="722" y="477"/>
                  <a:pt x="722" y="477"/>
                </a:cubicBezTo>
                <a:cubicBezTo>
                  <a:pt x="722" y="476"/>
                  <a:pt x="722" y="476"/>
                  <a:pt x="722" y="476"/>
                </a:cubicBezTo>
                <a:cubicBezTo>
                  <a:pt x="722" y="476"/>
                  <a:pt x="722" y="476"/>
                  <a:pt x="722" y="476"/>
                </a:cubicBezTo>
                <a:cubicBezTo>
                  <a:pt x="722" y="476"/>
                  <a:pt x="721" y="476"/>
                  <a:pt x="721" y="475"/>
                </a:cubicBezTo>
                <a:cubicBezTo>
                  <a:pt x="721" y="475"/>
                  <a:pt x="721" y="475"/>
                  <a:pt x="721" y="475"/>
                </a:cubicBezTo>
                <a:close/>
                <a:moveTo>
                  <a:pt x="722" y="483"/>
                </a:moveTo>
                <a:cubicBezTo>
                  <a:pt x="722" y="483"/>
                  <a:pt x="723" y="483"/>
                  <a:pt x="723" y="483"/>
                </a:cubicBezTo>
                <a:cubicBezTo>
                  <a:pt x="723" y="483"/>
                  <a:pt x="723" y="483"/>
                  <a:pt x="723" y="483"/>
                </a:cubicBezTo>
                <a:cubicBezTo>
                  <a:pt x="723" y="483"/>
                  <a:pt x="723" y="483"/>
                  <a:pt x="724" y="483"/>
                </a:cubicBezTo>
                <a:cubicBezTo>
                  <a:pt x="724" y="483"/>
                  <a:pt x="724" y="483"/>
                  <a:pt x="724" y="483"/>
                </a:cubicBezTo>
                <a:cubicBezTo>
                  <a:pt x="724" y="483"/>
                  <a:pt x="724" y="483"/>
                  <a:pt x="724" y="483"/>
                </a:cubicBezTo>
                <a:cubicBezTo>
                  <a:pt x="724" y="483"/>
                  <a:pt x="724" y="483"/>
                  <a:pt x="724" y="483"/>
                </a:cubicBezTo>
                <a:cubicBezTo>
                  <a:pt x="724" y="482"/>
                  <a:pt x="724" y="482"/>
                  <a:pt x="724" y="482"/>
                </a:cubicBezTo>
                <a:cubicBezTo>
                  <a:pt x="724" y="481"/>
                  <a:pt x="724" y="481"/>
                  <a:pt x="724" y="481"/>
                </a:cubicBezTo>
                <a:cubicBezTo>
                  <a:pt x="724" y="481"/>
                  <a:pt x="724" y="481"/>
                  <a:pt x="724" y="481"/>
                </a:cubicBezTo>
                <a:cubicBezTo>
                  <a:pt x="724" y="481"/>
                  <a:pt x="724" y="481"/>
                  <a:pt x="723" y="481"/>
                </a:cubicBezTo>
                <a:cubicBezTo>
                  <a:pt x="723" y="481"/>
                  <a:pt x="723" y="481"/>
                  <a:pt x="723" y="481"/>
                </a:cubicBezTo>
                <a:cubicBezTo>
                  <a:pt x="723" y="481"/>
                  <a:pt x="723" y="481"/>
                  <a:pt x="723" y="481"/>
                </a:cubicBezTo>
                <a:cubicBezTo>
                  <a:pt x="723" y="481"/>
                  <a:pt x="722" y="481"/>
                  <a:pt x="722" y="481"/>
                </a:cubicBezTo>
                <a:cubicBezTo>
                  <a:pt x="722" y="481"/>
                  <a:pt x="722" y="481"/>
                  <a:pt x="722" y="482"/>
                </a:cubicBezTo>
                <a:cubicBezTo>
                  <a:pt x="722" y="482"/>
                  <a:pt x="722" y="482"/>
                  <a:pt x="722" y="482"/>
                </a:cubicBezTo>
                <a:cubicBezTo>
                  <a:pt x="722" y="482"/>
                  <a:pt x="722" y="482"/>
                  <a:pt x="722" y="483"/>
                </a:cubicBezTo>
                <a:close/>
                <a:moveTo>
                  <a:pt x="740" y="458"/>
                </a:moveTo>
                <a:cubicBezTo>
                  <a:pt x="740" y="458"/>
                  <a:pt x="739" y="455"/>
                  <a:pt x="739" y="455"/>
                </a:cubicBezTo>
                <a:cubicBezTo>
                  <a:pt x="738" y="455"/>
                  <a:pt x="738" y="455"/>
                  <a:pt x="738" y="455"/>
                </a:cubicBezTo>
                <a:cubicBezTo>
                  <a:pt x="736" y="455"/>
                  <a:pt x="736" y="455"/>
                  <a:pt x="736" y="455"/>
                </a:cubicBezTo>
                <a:cubicBezTo>
                  <a:pt x="735" y="454"/>
                  <a:pt x="735" y="454"/>
                  <a:pt x="735" y="454"/>
                </a:cubicBezTo>
                <a:cubicBezTo>
                  <a:pt x="734" y="452"/>
                  <a:pt x="734" y="452"/>
                  <a:pt x="734" y="452"/>
                </a:cubicBezTo>
                <a:cubicBezTo>
                  <a:pt x="734" y="452"/>
                  <a:pt x="733" y="451"/>
                  <a:pt x="733" y="451"/>
                </a:cubicBezTo>
                <a:cubicBezTo>
                  <a:pt x="732" y="451"/>
                  <a:pt x="730" y="449"/>
                  <a:pt x="730" y="449"/>
                </a:cubicBezTo>
                <a:cubicBezTo>
                  <a:pt x="728" y="448"/>
                  <a:pt x="728" y="448"/>
                  <a:pt x="728" y="448"/>
                </a:cubicBezTo>
                <a:cubicBezTo>
                  <a:pt x="726" y="448"/>
                  <a:pt x="726" y="448"/>
                  <a:pt x="726" y="448"/>
                </a:cubicBezTo>
                <a:cubicBezTo>
                  <a:pt x="726" y="448"/>
                  <a:pt x="720" y="443"/>
                  <a:pt x="720" y="443"/>
                </a:cubicBezTo>
                <a:cubicBezTo>
                  <a:pt x="720" y="443"/>
                  <a:pt x="716" y="443"/>
                  <a:pt x="716" y="443"/>
                </a:cubicBezTo>
                <a:cubicBezTo>
                  <a:pt x="716" y="439"/>
                  <a:pt x="716" y="439"/>
                  <a:pt x="716" y="439"/>
                </a:cubicBezTo>
                <a:cubicBezTo>
                  <a:pt x="713" y="437"/>
                  <a:pt x="713" y="437"/>
                  <a:pt x="713" y="437"/>
                </a:cubicBezTo>
                <a:cubicBezTo>
                  <a:pt x="713" y="435"/>
                  <a:pt x="713" y="435"/>
                  <a:pt x="713" y="435"/>
                </a:cubicBezTo>
                <a:cubicBezTo>
                  <a:pt x="714" y="434"/>
                  <a:pt x="714" y="434"/>
                  <a:pt x="714" y="434"/>
                </a:cubicBezTo>
                <a:cubicBezTo>
                  <a:pt x="714" y="432"/>
                  <a:pt x="714" y="432"/>
                  <a:pt x="714" y="432"/>
                </a:cubicBezTo>
                <a:cubicBezTo>
                  <a:pt x="710" y="432"/>
                  <a:pt x="710" y="432"/>
                  <a:pt x="710" y="432"/>
                </a:cubicBezTo>
                <a:cubicBezTo>
                  <a:pt x="710" y="432"/>
                  <a:pt x="710" y="430"/>
                  <a:pt x="710" y="430"/>
                </a:cubicBezTo>
                <a:cubicBezTo>
                  <a:pt x="711" y="430"/>
                  <a:pt x="711" y="429"/>
                  <a:pt x="711" y="429"/>
                </a:cubicBezTo>
                <a:cubicBezTo>
                  <a:pt x="696" y="401"/>
                  <a:pt x="696" y="401"/>
                  <a:pt x="696" y="401"/>
                </a:cubicBezTo>
                <a:cubicBezTo>
                  <a:pt x="697" y="399"/>
                  <a:pt x="697" y="399"/>
                  <a:pt x="697" y="399"/>
                </a:cubicBezTo>
                <a:cubicBezTo>
                  <a:pt x="691" y="392"/>
                  <a:pt x="691" y="392"/>
                  <a:pt x="691" y="392"/>
                </a:cubicBezTo>
                <a:cubicBezTo>
                  <a:pt x="686" y="389"/>
                  <a:pt x="686" y="389"/>
                  <a:pt x="686" y="389"/>
                </a:cubicBezTo>
                <a:cubicBezTo>
                  <a:pt x="685" y="388"/>
                  <a:pt x="685" y="388"/>
                  <a:pt x="685" y="388"/>
                </a:cubicBezTo>
                <a:cubicBezTo>
                  <a:pt x="684" y="386"/>
                  <a:pt x="684" y="386"/>
                  <a:pt x="684" y="386"/>
                </a:cubicBezTo>
                <a:cubicBezTo>
                  <a:pt x="684" y="384"/>
                  <a:pt x="684" y="384"/>
                  <a:pt x="684" y="384"/>
                </a:cubicBezTo>
                <a:cubicBezTo>
                  <a:pt x="680" y="380"/>
                  <a:pt x="680" y="380"/>
                  <a:pt x="680" y="380"/>
                </a:cubicBezTo>
                <a:cubicBezTo>
                  <a:pt x="680" y="379"/>
                  <a:pt x="680" y="379"/>
                  <a:pt x="680" y="379"/>
                </a:cubicBezTo>
                <a:cubicBezTo>
                  <a:pt x="676" y="377"/>
                  <a:pt x="676" y="377"/>
                  <a:pt x="676" y="377"/>
                </a:cubicBezTo>
                <a:cubicBezTo>
                  <a:pt x="676" y="375"/>
                  <a:pt x="676" y="375"/>
                  <a:pt x="676" y="375"/>
                </a:cubicBezTo>
                <a:cubicBezTo>
                  <a:pt x="675" y="375"/>
                  <a:pt x="675" y="375"/>
                  <a:pt x="675" y="375"/>
                </a:cubicBezTo>
                <a:cubicBezTo>
                  <a:pt x="675" y="373"/>
                  <a:pt x="675" y="373"/>
                  <a:pt x="675" y="373"/>
                </a:cubicBezTo>
                <a:cubicBezTo>
                  <a:pt x="675" y="373"/>
                  <a:pt x="675" y="373"/>
                  <a:pt x="675" y="373"/>
                </a:cubicBezTo>
                <a:cubicBezTo>
                  <a:pt x="675" y="371"/>
                  <a:pt x="675" y="371"/>
                  <a:pt x="675" y="371"/>
                </a:cubicBezTo>
                <a:cubicBezTo>
                  <a:pt x="670" y="365"/>
                  <a:pt x="670" y="365"/>
                  <a:pt x="670" y="365"/>
                </a:cubicBezTo>
                <a:cubicBezTo>
                  <a:pt x="669" y="365"/>
                  <a:pt x="669" y="365"/>
                  <a:pt x="669" y="365"/>
                </a:cubicBezTo>
                <a:cubicBezTo>
                  <a:pt x="662" y="369"/>
                  <a:pt x="662" y="369"/>
                  <a:pt x="662" y="369"/>
                </a:cubicBezTo>
                <a:cubicBezTo>
                  <a:pt x="658" y="370"/>
                  <a:pt x="658" y="370"/>
                  <a:pt x="658" y="370"/>
                </a:cubicBezTo>
                <a:cubicBezTo>
                  <a:pt x="659" y="370"/>
                  <a:pt x="659" y="370"/>
                  <a:pt x="659" y="370"/>
                </a:cubicBezTo>
                <a:cubicBezTo>
                  <a:pt x="660" y="371"/>
                  <a:pt x="660" y="371"/>
                  <a:pt x="660" y="371"/>
                </a:cubicBezTo>
                <a:cubicBezTo>
                  <a:pt x="660" y="371"/>
                  <a:pt x="660" y="372"/>
                  <a:pt x="660" y="372"/>
                </a:cubicBezTo>
                <a:cubicBezTo>
                  <a:pt x="660" y="372"/>
                  <a:pt x="659" y="374"/>
                  <a:pt x="659" y="374"/>
                </a:cubicBezTo>
                <a:cubicBezTo>
                  <a:pt x="657" y="374"/>
                  <a:pt x="657" y="374"/>
                  <a:pt x="657" y="374"/>
                </a:cubicBezTo>
                <a:cubicBezTo>
                  <a:pt x="657" y="378"/>
                  <a:pt x="657" y="378"/>
                  <a:pt x="657" y="378"/>
                </a:cubicBezTo>
                <a:cubicBezTo>
                  <a:pt x="656" y="381"/>
                  <a:pt x="656" y="381"/>
                  <a:pt x="656" y="381"/>
                </a:cubicBezTo>
                <a:cubicBezTo>
                  <a:pt x="652" y="381"/>
                  <a:pt x="652" y="381"/>
                  <a:pt x="652" y="381"/>
                </a:cubicBezTo>
                <a:cubicBezTo>
                  <a:pt x="643" y="388"/>
                  <a:pt x="643" y="388"/>
                  <a:pt x="643" y="388"/>
                </a:cubicBezTo>
                <a:cubicBezTo>
                  <a:pt x="642" y="379"/>
                  <a:pt x="642" y="379"/>
                  <a:pt x="642" y="379"/>
                </a:cubicBezTo>
                <a:cubicBezTo>
                  <a:pt x="629" y="365"/>
                  <a:pt x="629" y="365"/>
                  <a:pt x="629" y="365"/>
                </a:cubicBezTo>
                <a:cubicBezTo>
                  <a:pt x="629" y="364"/>
                  <a:pt x="629" y="364"/>
                  <a:pt x="629" y="364"/>
                </a:cubicBezTo>
                <a:cubicBezTo>
                  <a:pt x="628" y="362"/>
                  <a:pt x="628" y="362"/>
                  <a:pt x="628" y="362"/>
                </a:cubicBezTo>
                <a:cubicBezTo>
                  <a:pt x="624" y="360"/>
                  <a:pt x="624" y="360"/>
                  <a:pt x="624" y="360"/>
                </a:cubicBezTo>
                <a:cubicBezTo>
                  <a:pt x="622" y="358"/>
                  <a:pt x="622" y="358"/>
                  <a:pt x="622" y="358"/>
                </a:cubicBezTo>
                <a:cubicBezTo>
                  <a:pt x="622" y="358"/>
                  <a:pt x="622" y="356"/>
                  <a:pt x="622" y="356"/>
                </a:cubicBezTo>
                <a:cubicBezTo>
                  <a:pt x="622" y="356"/>
                  <a:pt x="623" y="353"/>
                  <a:pt x="623" y="353"/>
                </a:cubicBezTo>
                <a:cubicBezTo>
                  <a:pt x="623" y="353"/>
                  <a:pt x="623" y="351"/>
                  <a:pt x="623" y="351"/>
                </a:cubicBezTo>
                <a:cubicBezTo>
                  <a:pt x="615" y="351"/>
                  <a:pt x="615" y="351"/>
                  <a:pt x="615" y="351"/>
                </a:cubicBezTo>
                <a:cubicBezTo>
                  <a:pt x="612" y="355"/>
                  <a:pt x="612" y="355"/>
                  <a:pt x="612" y="355"/>
                </a:cubicBezTo>
                <a:cubicBezTo>
                  <a:pt x="612" y="355"/>
                  <a:pt x="606" y="351"/>
                  <a:pt x="606" y="352"/>
                </a:cubicBezTo>
                <a:cubicBezTo>
                  <a:pt x="606" y="352"/>
                  <a:pt x="605" y="354"/>
                  <a:pt x="605" y="354"/>
                </a:cubicBezTo>
                <a:cubicBezTo>
                  <a:pt x="599" y="352"/>
                  <a:pt x="599" y="352"/>
                  <a:pt x="599" y="352"/>
                </a:cubicBezTo>
                <a:cubicBezTo>
                  <a:pt x="599" y="64"/>
                  <a:pt x="599" y="64"/>
                  <a:pt x="599" y="64"/>
                </a:cubicBezTo>
                <a:cubicBezTo>
                  <a:pt x="598" y="64"/>
                  <a:pt x="598" y="64"/>
                  <a:pt x="598" y="64"/>
                </a:cubicBezTo>
                <a:cubicBezTo>
                  <a:pt x="597" y="64"/>
                  <a:pt x="597" y="63"/>
                  <a:pt x="597" y="64"/>
                </a:cubicBezTo>
                <a:cubicBezTo>
                  <a:pt x="596" y="64"/>
                  <a:pt x="596" y="65"/>
                  <a:pt x="595" y="65"/>
                </a:cubicBezTo>
                <a:cubicBezTo>
                  <a:pt x="595" y="65"/>
                  <a:pt x="594" y="65"/>
                  <a:pt x="594" y="64"/>
                </a:cubicBezTo>
                <a:cubicBezTo>
                  <a:pt x="593" y="63"/>
                  <a:pt x="592" y="63"/>
                  <a:pt x="591" y="62"/>
                </a:cubicBezTo>
                <a:cubicBezTo>
                  <a:pt x="591" y="62"/>
                  <a:pt x="591" y="61"/>
                  <a:pt x="590" y="60"/>
                </a:cubicBezTo>
                <a:cubicBezTo>
                  <a:pt x="590" y="61"/>
                  <a:pt x="589" y="61"/>
                  <a:pt x="588" y="61"/>
                </a:cubicBezTo>
                <a:cubicBezTo>
                  <a:pt x="589" y="61"/>
                  <a:pt x="589" y="60"/>
                  <a:pt x="590" y="60"/>
                </a:cubicBezTo>
                <a:cubicBezTo>
                  <a:pt x="588" y="60"/>
                  <a:pt x="587" y="59"/>
                  <a:pt x="586" y="59"/>
                </a:cubicBezTo>
                <a:cubicBezTo>
                  <a:pt x="586" y="59"/>
                  <a:pt x="585" y="59"/>
                  <a:pt x="585" y="59"/>
                </a:cubicBezTo>
                <a:cubicBezTo>
                  <a:pt x="585" y="58"/>
                  <a:pt x="585" y="58"/>
                  <a:pt x="585" y="58"/>
                </a:cubicBezTo>
                <a:cubicBezTo>
                  <a:pt x="586" y="58"/>
                  <a:pt x="585" y="57"/>
                  <a:pt x="584" y="57"/>
                </a:cubicBezTo>
                <a:cubicBezTo>
                  <a:pt x="584" y="57"/>
                  <a:pt x="583" y="57"/>
                  <a:pt x="583" y="57"/>
                </a:cubicBezTo>
                <a:cubicBezTo>
                  <a:pt x="583" y="57"/>
                  <a:pt x="583" y="56"/>
                  <a:pt x="583" y="56"/>
                </a:cubicBezTo>
                <a:cubicBezTo>
                  <a:pt x="583" y="56"/>
                  <a:pt x="582" y="56"/>
                  <a:pt x="582" y="55"/>
                </a:cubicBezTo>
                <a:cubicBezTo>
                  <a:pt x="581" y="55"/>
                  <a:pt x="581" y="54"/>
                  <a:pt x="581" y="54"/>
                </a:cubicBezTo>
                <a:cubicBezTo>
                  <a:pt x="581" y="54"/>
                  <a:pt x="580" y="54"/>
                  <a:pt x="580" y="54"/>
                </a:cubicBezTo>
                <a:cubicBezTo>
                  <a:pt x="579" y="53"/>
                  <a:pt x="579" y="53"/>
                  <a:pt x="579" y="53"/>
                </a:cubicBezTo>
                <a:cubicBezTo>
                  <a:pt x="579" y="52"/>
                  <a:pt x="579" y="52"/>
                  <a:pt x="579" y="51"/>
                </a:cubicBezTo>
                <a:cubicBezTo>
                  <a:pt x="579" y="51"/>
                  <a:pt x="579" y="51"/>
                  <a:pt x="578" y="51"/>
                </a:cubicBezTo>
                <a:cubicBezTo>
                  <a:pt x="578" y="51"/>
                  <a:pt x="577" y="50"/>
                  <a:pt x="576" y="50"/>
                </a:cubicBezTo>
                <a:cubicBezTo>
                  <a:pt x="576" y="49"/>
                  <a:pt x="576" y="49"/>
                  <a:pt x="575" y="49"/>
                </a:cubicBezTo>
                <a:cubicBezTo>
                  <a:pt x="574" y="49"/>
                  <a:pt x="573" y="49"/>
                  <a:pt x="573" y="48"/>
                </a:cubicBezTo>
                <a:cubicBezTo>
                  <a:pt x="572" y="48"/>
                  <a:pt x="572" y="48"/>
                  <a:pt x="572" y="48"/>
                </a:cubicBezTo>
                <a:cubicBezTo>
                  <a:pt x="571" y="48"/>
                  <a:pt x="571" y="48"/>
                  <a:pt x="571" y="48"/>
                </a:cubicBezTo>
                <a:cubicBezTo>
                  <a:pt x="570" y="48"/>
                  <a:pt x="570" y="48"/>
                  <a:pt x="570" y="48"/>
                </a:cubicBezTo>
                <a:cubicBezTo>
                  <a:pt x="569" y="49"/>
                  <a:pt x="568" y="48"/>
                  <a:pt x="568" y="48"/>
                </a:cubicBezTo>
                <a:cubicBezTo>
                  <a:pt x="567" y="48"/>
                  <a:pt x="566" y="49"/>
                  <a:pt x="565" y="48"/>
                </a:cubicBezTo>
                <a:cubicBezTo>
                  <a:pt x="565" y="48"/>
                  <a:pt x="565" y="47"/>
                  <a:pt x="565" y="46"/>
                </a:cubicBezTo>
                <a:cubicBezTo>
                  <a:pt x="565" y="46"/>
                  <a:pt x="564" y="46"/>
                  <a:pt x="564" y="47"/>
                </a:cubicBezTo>
                <a:cubicBezTo>
                  <a:pt x="564" y="47"/>
                  <a:pt x="564" y="48"/>
                  <a:pt x="564" y="48"/>
                </a:cubicBezTo>
                <a:cubicBezTo>
                  <a:pt x="564" y="48"/>
                  <a:pt x="563" y="48"/>
                  <a:pt x="563" y="49"/>
                </a:cubicBezTo>
                <a:cubicBezTo>
                  <a:pt x="562" y="49"/>
                  <a:pt x="561" y="49"/>
                  <a:pt x="561" y="49"/>
                </a:cubicBezTo>
                <a:cubicBezTo>
                  <a:pt x="560" y="49"/>
                  <a:pt x="560" y="50"/>
                  <a:pt x="559" y="50"/>
                </a:cubicBezTo>
                <a:cubicBezTo>
                  <a:pt x="558" y="50"/>
                  <a:pt x="557" y="50"/>
                  <a:pt x="557" y="51"/>
                </a:cubicBezTo>
                <a:cubicBezTo>
                  <a:pt x="556" y="51"/>
                  <a:pt x="556" y="52"/>
                  <a:pt x="555" y="52"/>
                </a:cubicBezTo>
                <a:cubicBezTo>
                  <a:pt x="555" y="52"/>
                  <a:pt x="555" y="51"/>
                  <a:pt x="555" y="51"/>
                </a:cubicBezTo>
                <a:cubicBezTo>
                  <a:pt x="554" y="51"/>
                  <a:pt x="554" y="51"/>
                  <a:pt x="554" y="52"/>
                </a:cubicBezTo>
                <a:cubicBezTo>
                  <a:pt x="552" y="52"/>
                  <a:pt x="551" y="52"/>
                  <a:pt x="549" y="53"/>
                </a:cubicBezTo>
                <a:cubicBezTo>
                  <a:pt x="549" y="53"/>
                  <a:pt x="548" y="53"/>
                  <a:pt x="548" y="53"/>
                </a:cubicBezTo>
                <a:cubicBezTo>
                  <a:pt x="548" y="53"/>
                  <a:pt x="548" y="52"/>
                  <a:pt x="548" y="52"/>
                </a:cubicBezTo>
                <a:cubicBezTo>
                  <a:pt x="546" y="52"/>
                  <a:pt x="545" y="52"/>
                  <a:pt x="543" y="51"/>
                </a:cubicBezTo>
                <a:cubicBezTo>
                  <a:pt x="543" y="51"/>
                  <a:pt x="543" y="50"/>
                  <a:pt x="542" y="50"/>
                </a:cubicBezTo>
                <a:cubicBezTo>
                  <a:pt x="541" y="50"/>
                  <a:pt x="541" y="50"/>
                  <a:pt x="540" y="50"/>
                </a:cubicBezTo>
                <a:cubicBezTo>
                  <a:pt x="540" y="49"/>
                  <a:pt x="540" y="49"/>
                  <a:pt x="540" y="49"/>
                </a:cubicBezTo>
                <a:cubicBezTo>
                  <a:pt x="539" y="48"/>
                  <a:pt x="539" y="48"/>
                  <a:pt x="538" y="47"/>
                </a:cubicBezTo>
                <a:cubicBezTo>
                  <a:pt x="538" y="47"/>
                  <a:pt x="538" y="47"/>
                  <a:pt x="538" y="47"/>
                </a:cubicBezTo>
                <a:cubicBezTo>
                  <a:pt x="538" y="47"/>
                  <a:pt x="538" y="47"/>
                  <a:pt x="537" y="47"/>
                </a:cubicBezTo>
                <a:cubicBezTo>
                  <a:pt x="536" y="48"/>
                  <a:pt x="535" y="48"/>
                  <a:pt x="534" y="49"/>
                </a:cubicBezTo>
                <a:cubicBezTo>
                  <a:pt x="534" y="48"/>
                  <a:pt x="535" y="48"/>
                  <a:pt x="535" y="48"/>
                </a:cubicBezTo>
                <a:cubicBezTo>
                  <a:pt x="535" y="48"/>
                  <a:pt x="535" y="48"/>
                  <a:pt x="536" y="47"/>
                </a:cubicBezTo>
                <a:cubicBezTo>
                  <a:pt x="536" y="47"/>
                  <a:pt x="535" y="47"/>
                  <a:pt x="535" y="47"/>
                </a:cubicBezTo>
                <a:cubicBezTo>
                  <a:pt x="533" y="45"/>
                  <a:pt x="532" y="45"/>
                  <a:pt x="530" y="45"/>
                </a:cubicBezTo>
                <a:cubicBezTo>
                  <a:pt x="528" y="45"/>
                  <a:pt x="526" y="45"/>
                  <a:pt x="523" y="45"/>
                </a:cubicBezTo>
                <a:cubicBezTo>
                  <a:pt x="522" y="46"/>
                  <a:pt x="521" y="46"/>
                  <a:pt x="520" y="46"/>
                </a:cubicBezTo>
                <a:cubicBezTo>
                  <a:pt x="519" y="46"/>
                  <a:pt x="519" y="45"/>
                  <a:pt x="518" y="45"/>
                </a:cubicBezTo>
                <a:cubicBezTo>
                  <a:pt x="518" y="46"/>
                  <a:pt x="518" y="47"/>
                  <a:pt x="518" y="48"/>
                </a:cubicBezTo>
                <a:cubicBezTo>
                  <a:pt x="518" y="48"/>
                  <a:pt x="518" y="47"/>
                  <a:pt x="518" y="46"/>
                </a:cubicBezTo>
                <a:cubicBezTo>
                  <a:pt x="518" y="45"/>
                  <a:pt x="517" y="45"/>
                  <a:pt x="516" y="45"/>
                </a:cubicBezTo>
                <a:cubicBezTo>
                  <a:pt x="515" y="45"/>
                  <a:pt x="514" y="45"/>
                  <a:pt x="514" y="44"/>
                </a:cubicBezTo>
                <a:cubicBezTo>
                  <a:pt x="513" y="44"/>
                  <a:pt x="512" y="43"/>
                  <a:pt x="510" y="43"/>
                </a:cubicBezTo>
                <a:cubicBezTo>
                  <a:pt x="510" y="43"/>
                  <a:pt x="509" y="44"/>
                  <a:pt x="509" y="44"/>
                </a:cubicBezTo>
                <a:cubicBezTo>
                  <a:pt x="508" y="46"/>
                  <a:pt x="507" y="47"/>
                  <a:pt x="505" y="49"/>
                </a:cubicBezTo>
                <a:cubicBezTo>
                  <a:pt x="504" y="50"/>
                  <a:pt x="503" y="51"/>
                  <a:pt x="502" y="52"/>
                </a:cubicBezTo>
                <a:cubicBezTo>
                  <a:pt x="502" y="52"/>
                  <a:pt x="501" y="53"/>
                  <a:pt x="500" y="54"/>
                </a:cubicBezTo>
                <a:cubicBezTo>
                  <a:pt x="499" y="55"/>
                  <a:pt x="500" y="57"/>
                  <a:pt x="500" y="59"/>
                </a:cubicBezTo>
                <a:cubicBezTo>
                  <a:pt x="500" y="60"/>
                  <a:pt x="500" y="61"/>
                  <a:pt x="501" y="62"/>
                </a:cubicBezTo>
                <a:cubicBezTo>
                  <a:pt x="501" y="65"/>
                  <a:pt x="502" y="67"/>
                  <a:pt x="503" y="70"/>
                </a:cubicBezTo>
                <a:cubicBezTo>
                  <a:pt x="503" y="70"/>
                  <a:pt x="504" y="71"/>
                  <a:pt x="504" y="72"/>
                </a:cubicBezTo>
                <a:cubicBezTo>
                  <a:pt x="504" y="72"/>
                  <a:pt x="504" y="72"/>
                  <a:pt x="504" y="73"/>
                </a:cubicBezTo>
                <a:cubicBezTo>
                  <a:pt x="504" y="73"/>
                  <a:pt x="505" y="73"/>
                  <a:pt x="505" y="74"/>
                </a:cubicBezTo>
                <a:cubicBezTo>
                  <a:pt x="505" y="74"/>
                  <a:pt x="505" y="74"/>
                  <a:pt x="504" y="73"/>
                </a:cubicBezTo>
                <a:cubicBezTo>
                  <a:pt x="504" y="73"/>
                  <a:pt x="504" y="73"/>
                  <a:pt x="504" y="72"/>
                </a:cubicBezTo>
                <a:cubicBezTo>
                  <a:pt x="504" y="72"/>
                  <a:pt x="503" y="71"/>
                  <a:pt x="503" y="71"/>
                </a:cubicBezTo>
                <a:cubicBezTo>
                  <a:pt x="502" y="70"/>
                  <a:pt x="502" y="70"/>
                  <a:pt x="502" y="69"/>
                </a:cubicBezTo>
                <a:cubicBezTo>
                  <a:pt x="502" y="68"/>
                  <a:pt x="501" y="68"/>
                  <a:pt x="501" y="67"/>
                </a:cubicBezTo>
                <a:cubicBezTo>
                  <a:pt x="500" y="63"/>
                  <a:pt x="499" y="60"/>
                  <a:pt x="499" y="56"/>
                </a:cubicBezTo>
                <a:cubicBezTo>
                  <a:pt x="499" y="55"/>
                  <a:pt x="500" y="53"/>
                  <a:pt x="500" y="51"/>
                </a:cubicBezTo>
                <a:cubicBezTo>
                  <a:pt x="501" y="50"/>
                  <a:pt x="502" y="48"/>
                  <a:pt x="502" y="47"/>
                </a:cubicBezTo>
                <a:cubicBezTo>
                  <a:pt x="503" y="46"/>
                  <a:pt x="503" y="44"/>
                  <a:pt x="504" y="44"/>
                </a:cubicBezTo>
                <a:cubicBezTo>
                  <a:pt x="504" y="43"/>
                  <a:pt x="505" y="43"/>
                  <a:pt x="505" y="43"/>
                </a:cubicBezTo>
                <a:cubicBezTo>
                  <a:pt x="505" y="42"/>
                  <a:pt x="506" y="41"/>
                  <a:pt x="506" y="40"/>
                </a:cubicBezTo>
                <a:cubicBezTo>
                  <a:pt x="506" y="40"/>
                  <a:pt x="506" y="39"/>
                  <a:pt x="505" y="39"/>
                </a:cubicBezTo>
                <a:cubicBezTo>
                  <a:pt x="505" y="40"/>
                  <a:pt x="505" y="40"/>
                  <a:pt x="504" y="40"/>
                </a:cubicBezTo>
                <a:cubicBezTo>
                  <a:pt x="504" y="40"/>
                  <a:pt x="504" y="40"/>
                  <a:pt x="503" y="40"/>
                </a:cubicBezTo>
                <a:cubicBezTo>
                  <a:pt x="503" y="40"/>
                  <a:pt x="502" y="40"/>
                  <a:pt x="502" y="40"/>
                </a:cubicBezTo>
                <a:cubicBezTo>
                  <a:pt x="502" y="40"/>
                  <a:pt x="503" y="39"/>
                  <a:pt x="503" y="39"/>
                </a:cubicBezTo>
                <a:cubicBezTo>
                  <a:pt x="503" y="38"/>
                  <a:pt x="503" y="38"/>
                  <a:pt x="503" y="38"/>
                </a:cubicBezTo>
                <a:cubicBezTo>
                  <a:pt x="503" y="37"/>
                  <a:pt x="503" y="37"/>
                  <a:pt x="502" y="37"/>
                </a:cubicBezTo>
                <a:cubicBezTo>
                  <a:pt x="502" y="37"/>
                  <a:pt x="502" y="37"/>
                  <a:pt x="501" y="37"/>
                </a:cubicBezTo>
                <a:cubicBezTo>
                  <a:pt x="501" y="36"/>
                  <a:pt x="500" y="36"/>
                  <a:pt x="500" y="36"/>
                </a:cubicBezTo>
                <a:cubicBezTo>
                  <a:pt x="499" y="36"/>
                  <a:pt x="499" y="36"/>
                  <a:pt x="498" y="37"/>
                </a:cubicBezTo>
                <a:cubicBezTo>
                  <a:pt x="498" y="37"/>
                  <a:pt x="498" y="37"/>
                  <a:pt x="497" y="37"/>
                </a:cubicBezTo>
                <a:cubicBezTo>
                  <a:pt x="497" y="38"/>
                  <a:pt x="497" y="39"/>
                  <a:pt x="497" y="41"/>
                </a:cubicBezTo>
                <a:cubicBezTo>
                  <a:pt x="497" y="42"/>
                  <a:pt x="496" y="43"/>
                  <a:pt x="496" y="44"/>
                </a:cubicBezTo>
                <a:cubicBezTo>
                  <a:pt x="496" y="45"/>
                  <a:pt x="496" y="46"/>
                  <a:pt x="495" y="47"/>
                </a:cubicBezTo>
                <a:cubicBezTo>
                  <a:pt x="494" y="48"/>
                  <a:pt x="494" y="48"/>
                  <a:pt x="493" y="49"/>
                </a:cubicBezTo>
                <a:cubicBezTo>
                  <a:pt x="493" y="49"/>
                  <a:pt x="493" y="50"/>
                  <a:pt x="492" y="50"/>
                </a:cubicBezTo>
                <a:cubicBezTo>
                  <a:pt x="492" y="50"/>
                  <a:pt x="491" y="50"/>
                  <a:pt x="491" y="50"/>
                </a:cubicBezTo>
                <a:cubicBezTo>
                  <a:pt x="491" y="50"/>
                  <a:pt x="491" y="50"/>
                  <a:pt x="491" y="50"/>
                </a:cubicBezTo>
                <a:cubicBezTo>
                  <a:pt x="492" y="49"/>
                  <a:pt x="493" y="48"/>
                  <a:pt x="493" y="47"/>
                </a:cubicBezTo>
                <a:cubicBezTo>
                  <a:pt x="494" y="46"/>
                  <a:pt x="495" y="45"/>
                  <a:pt x="495" y="44"/>
                </a:cubicBezTo>
                <a:cubicBezTo>
                  <a:pt x="495" y="43"/>
                  <a:pt x="496" y="42"/>
                  <a:pt x="496" y="41"/>
                </a:cubicBezTo>
                <a:cubicBezTo>
                  <a:pt x="496" y="40"/>
                  <a:pt x="495" y="39"/>
                  <a:pt x="496" y="39"/>
                </a:cubicBezTo>
                <a:cubicBezTo>
                  <a:pt x="496" y="38"/>
                  <a:pt x="496" y="38"/>
                  <a:pt x="496" y="38"/>
                </a:cubicBezTo>
                <a:cubicBezTo>
                  <a:pt x="496" y="37"/>
                  <a:pt x="496" y="36"/>
                  <a:pt x="496" y="36"/>
                </a:cubicBezTo>
                <a:cubicBezTo>
                  <a:pt x="496" y="35"/>
                  <a:pt x="496" y="35"/>
                  <a:pt x="496" y="35"/>
                </a:cubicBezTo>
                <a:cubicBezTo>
                  <a:pt x="496" y="35"/>
                  <a:pt x="496" y="35"/>
                  <a:pt x="496" y="35"/>
                </a:cubicBezTo>
                <a:cubicBezTo>
                  <a:pt x="495" y="34"/>
                  <a:pt x="495" y="34"/>
                  <a:pt x="494" y="33"/>
                </a:cubicBezTo>
                <a:cubicBezTo>
                  <a:pt x="492" y="33"/>
                  <a:pt x="489" y="32"/>
                  <a:pt x="487" y="33"/>
                </a:cubicBezTo>
                <a:cubicBezTo>
                  <a:pt x="486" y="33"/>
                  <a:pt x="486" y="33"/>
                  <a:pt x="485" y="32"/>
                </a:cubicBezTo>
                <a:cubicBezTo>
                  <a:pt x="485" y="32"/>
                  <a:pt x="485" y="32"/>
                  <a:pt x="485" y="32"/>
                </a:cubicBezTo>
                <a:cubicBezTo>
                  <a:pt x="485" y="32"/>
                  <a:pt x="485" y="32"/>
                  <a:pt x="484" y="32"/>
                </a:cubicBezTo>
                <a:cubicBezTo>
                  <a:pt x="484" y="33"/>
                  <a:pt x="483" y="33"/>
                  <a:pt x="483" y="34"/>
                </a:cubicBezTo>
                <a:cubicBezTo>
                  <a:pt x="483" y="34"/>
                  <a:pt x="482" y="35"/>
                  <a:pt x="482" y="35"/>
                </a:cubicBezTo>
                <a:cubicBezTo>
                  <a:pt x="481" y="35"/>
                  <a:pt x="481" y="35"/>
                  <a:pt x="480" y="35"/>
                </a:cubicBezTo>
                <a:cubicBezTo>
                  <a:pt x="479" y="36"/>
                  <a:pt x="478" y="37"/>
                  <a:pt x="477" y="37"/>
                </a:cubicBezTo>
                <a:cubicBezTo>
                  <a:pt x="476" y="38"/>
                  <a:pt x="475" y="38"/>
                  <a:pt x="475" y="39"/>
                </a:cubicBezTo>
                <a:cubicBezTo>
                  <a:pt x="474" y="39"/>
                  <a:pt x="474" y="40"/>
                  <a:pt x="474" y="40"/>
                </a:cubicBezTo>
                <a:cubicBezTo>
                  <a:pt x="474" y="41"/>
                  <a:pt x="474" y="41"/>
                  <a:pt x="473" y="42"/>
                </a:cubicBezTo>
                <a:cubicBezTo>
                  <a:pt x="473" y="42"/>
                  <a:pt x="472" y="42"/>
                  <a:pt x="472" y="41"/>
                </a:cubicBezTo>
                <a:cubicBezTo>
                  <a:pt x="472" y="41"/>
                  <a:pt x="472" y="40"/>
                  <a:pt x="472" y="40"/>
                </a:cubicBezTo>
                <a:cubicBezTo>
                  <a:pt x="472" y="40"/>
                  <a:pt x="473" y="39"/>
                  <a:pt x="473" y="39"/>
                </a:cubicBezTo>
                <a:cubicBezTo>
                  <a:pt x="473" y="38"/>
                  <a:pt x="473" y="38"/>
                  <a:pt x="473" y="37"/>
                </a:cubicBezTo>
                <a:cubicBezTo>
                  <a:pt x="473" y="37"/>
                  <a:pt x="474" y="36"/>
                  <a:pt x="474" y="36"/>
                </a:cubicBezTo>
                <a:cubicBezTo>
                  <a:pt x="475" y="35"/>
                  <a:pt x="474" y="34"/>
                  <a:pt x="474" y="34"/>
                </a:cubicBezTo>
                <a:cubicBezTo>
                  <a:pt x="475" y="34"/>
                  <a:pt x="475" y="34"/>
                  <a:pt x="476" y="33"/>
                </a:cubicBezTo>
                <a:cubicBezTo>
                  <a:pt x="476" y="33"/>
                  <a:pt x="476" y="33"/>
                  <a:pt x="475" y="32"/>
                </a:cubicBezTo>
                <a:cubicBezTo>
                  <a:pt x="475" y="32"/>
                  <a:pt x="475" y="32"/>
                  <a:pt x="475" y="32"/>
                </a:cubicBezTo>
                <a:cubicBezTo>
                  <a:pt x="474" y="33"/>
                  <a:pt x="474" y="33"/>
                  <a:pt x="473" y="33"/>
                </a:cubicBezTo>
                <a:cubicBezTo>
                  <a:pt x="473" y="34"/>
                  <a:pt x="472" y="34"/>
                  <a:pt x="472" y="34"/>
                </a:cubicBezTo>
                <a:cubicBezTo>
                  <a:pt x="471" y="34"/>
                  <a:pt x="470" y="35"/>
                  <a:pt x="470" y="36"/>
                </a:cubicBezTo>
                <a:cubicBezTo>
                  <a:pt x="470" y="36"/>
                  <a:pt x="470" y="36"/>
                  <a:pt x="470" y="37"/>
                </a:cubicBezTo>
                <a:cubicBezTo>
                  <a:pt x="469" y="37"/>
                  <a:pt x="469" y="37"/>
                  <a:pt x="468" y="37"/>
                </a:cubicBezTo>
                <a:cubicBezTo>
                  <a:pt x="468" y="37"/>
                  <a:pt x="468" y="37"/>
                  <a:pt x="468" y="37"/>
                </a:cubicBezTo>
                <a:cubicBezTo>
                  <a:pt x="468" y="37"/>
                  <a:pt x="467" y="37"/>
                  <a:pt x="467" y="37"/>
                </a:cubicBezTo>
                <a:cubicBezTo>
                  <a:pt x="466" y="36"/>
                  <a:pt x="466" y="36"/>
                  <a:pt x="465" y="36"/>
                </a:cubicBezTo>
                <a:cubicBezTo>
                  <a:pt x="464" y="35"/>
                  <a:pt x="463" y="35"/>
                  <a:pt x="462" y="35"/>
                </a:cubicBezTo>
                <a:cubicBezTo>
                  <a:pt x="461" y="35"/>
                  <a:pt x="460" y="35"/>
                  <a:pt x="458" y="35"/>
                </a:cubicBezTo>
                <a:cubicBezTo>
                  <a:pt x="458" y="34"/>
                  <a:pt x="459" y="34"/>
                  <a:pt x="459" y="34"/>
                </a:cubicBezTo>
                <a:cubicBezTo>
                  <a:pt x="460" y="33"/>
                  <a:pt x="461" y="32"/>
                  <a:pt x="460" y="31"/>
                </a:cubicBezTo>
                <a:cubicBezTo>
                  <a:pt x="460" y="30"/>
                  <a:pt x="459" y="30"/>
                  <a:pt x="458" y="30"/>
                </a:cubicBezTo>
                <a:cubicBezTo>
                  <a:pt x="457" y="30"/>
                  <a:pt x="456" y="31"/>
                  <a:pt x="455" y="31"/>
                </a:cubicBezTo>
                <a:cubicBezTo>
                  <a:pt x="453" y="31"/>
                  <a:pt x="452" y="31"/>
                  <a:pt x="450" y="30"/>
                </a:cubicBezTo>
                <a:cubicBezTo>
                  <a:pt x="451" y="30"/>
                  <a:pt x="452" y="30"/>
                  <a:pt x="453" y="30"/>
                </a:cubicBezTo>
                <a:cubicBezTo>
                  <a:pt x="454" y="30"/>
                  <a:pt x="454" y="30"/>
                  <a:pt x="455" y="30"/>
                </a:cubicBezTo>
                <a:cubicBezTo>
                  <a:pt x="456" y="30"/>
                  <a:pt x="456" y="30"/>
                  <a:pt x="456" y="29"/>
                </a:cubicBezTo>
                <a:cubicBezTo>
                  <a:pt x="455" y="29"/>
                  <a:pt x="455" y="29"/>
                  <a:pt x="454" y="29"/>
                </a:cubicBezTo>
                <a:cubicBezTo>
                  <a:pt x="454" y="28"/>
                  <a:pt x="454" y="28"/>
                  <a:pt x="453" y="28"/>
                </a:cubicBezTo>
                <a:cubicBezTo>
                  <a:pt x="452" y="28"/>
                  <a:pt x="451" y="27"/>
                  <a:pt x="451" y="26"/>
                </a:cubicBezTo>
                <a:cubicBezTo>
                  <a:pt x="451" y="26"/>
                  <a:pt x="452" y="25"/>
                  <a:pt x="452" y="24"/>
                </a:cubicBezTo>
                <a:cubicBezTo>
                  <a:pt x="453" y="23"/>
                  <a:pt x="453" y="22"/>
                  <a:pt x="454" y="21"/>
                </a:cubicBezTo>
                <a:cubicBezTo>
                  <a:pt x="454" y="21"/>
                  <a:pt x="455" y="20"/>
                  <a:pt x="454" y="20"/>
                </a:cubicBezTo>
                <a:cubicBezTo>
                  <a:pt x="454" y="20"/>
                  <a:pt x="454" y="20"/>
                  <a:pt x="454" y="20"/>
                </a:cubicBezTo>
                <a:cubicBezTo>
                  <a:pt x="452" y="19"/>
                  <a:pt x="450" y="18"/>
                  <a:pt x="448" y="18"/>
                </a:cubicBezTo>
                <a:cubicBezTo>
                  <a:pt x="449" y="18"/>
                  <a:pt x="449" y="19"/>
                  <a:pt x="448" y="20"/>
                </a:cubicBezTo>
                <a:cubicBezTo>
                  <a:pt x="448" y="20"/>
                  <a:pt x="447" y="19"/>
                  <a:pt x="448" y="18"/>
                </a:cubicBezTo>
                <a:cubicBezTo>
                  <a:pt x="447" y="19"/>
                  <a:pt x="446" y="18"/>
                  <a:pt x="445" y="17"/>
                </a:cubicBezTo>
                <a:cubicBezTo>
                  <a:pt x="444" y="16"/>
                  <a:pt x="443" y="16"/>
                  <a:pt x="441" y="16"/>
                </a:cubicBezTo>
                <a:cubicBezTo>
                  <a:pt x="441" y="16"/>
                  <a:pt x="440" y="17"/>
                  <a:pt x="439" y="17"/>
                </a:cubicBezTo>
                <a:cubicBezTo>
                  <a:pt x="437" y="18"/>
                  <a:pt x="434" y="17"/>
                  <a:pt x="432" y="18"/>
                </a:cubicBezTo>
                <a:cubicBezTo>
                  <a:pt x="433" y="19"/>
                  <a:pt x="432" y="20"/>
                  <a:pt x="431" y="21"/>
                </a:cubicBezTo>
                <a:cubicBezTo>
                  <a:pt x="430" y="21"/>
                  <a:pt x="430" y="21"/>
                  <a:pt x="430" y="22"/>
                </a:cubicBezTo>
                <a:cubicBezTo>
                  <a:pt x="429" y="22"/>
                  <a:pt x="429" y="22"/>
                  <a:pt x="429" y="22"/>
                </a:cubicBezTo>
                <a:cubicBezTo>
                  <a:pt x="429" y="22"/>
                  <a:pt x="429" y="22"/>
                  <a:pt x="429" y="22"/>
                </a:cubicBezTo>
                <a:cubicBezTo>
                  <a:pt x="429" y="21"/>
                  <a:pt x="428" y="21"/>
                  <a:pt x="427" y="22"/>
                </a:cubicBezTo>
                <a:cubicBezTo>
                  <a:pt x="427" y="22"/>
                  <a:pt x="427" y="23"/>
                  <a:pt x="426" y="24"/>
                </a:cubicBezTo>
                <a:cubicBezTo>
                  <a:pt x="426" y="24"/>
                  <a:pt x="425" y="24"/>
                  <a:pt x="425" y="24"/>
                </a:cubicBezTo>
                <a:cubicBezTo>
                  <a:pt x="424" y="24"/>
                  <a:pt x="424" y="23"/>
                  <a:pt x="425" y="23"/>
                </a:cubicBezTo>
                <a:cubicBezTo>
                  <a:pt x="424" y="23"/>
                  <a:pt x="424" y="23"/>
                  <a:pt x="423" y="22"/>
                </a:cubicBezTo>
                <a:cubicBezTo>
                  <a:pt x="423" y="22"/>
                  <a:pt x="424" y="22"/>
                  <a:pt x="424" y="21"/>
                </a:cubicBezTo>
                <a:cubicBezTo>
                  <a:pt x="424" y="21"/>
                  <a:pt x="425" y="21"/>
                  <a:pt x="424" y="20"/>
                </a:cubicBezTo>
                <a:cubicBezTo>
                  <a:pt x="424" y="20"/>
                  <a:pt x="424" y="20"/>
                  <a:pt x="424" y="20"/>
                </a:cubicBezTo>
                <a:cubicBezTo>
                  <a:pt x="423" y="19"/>
                  <a:pt x="423" y="18"/>
                  <a:pt x="424" y="18"/>
                </a:cubicBezTo>
                <a:cubicBezTo>
                  <a:pt x="423" y="18"/>
                  <a:pt x="423" y="18"/>
                  <a:pt x="423" y="17"/>
                </a:cubicBezTo>
                <a:cubicBezTo>
                  <a:pt x="423" y="17"/>
                  <a:pt x="424" y="16"/>
                  <a:pt x="424" y="15"/>
                </a:cubicBezTo>
                <a:cubicBezTo>
                  <a:pt x="424" y="14"/>
                  <a:pt x="424" y="12"/>
                  <a:pt x="423" y="12"/>
                </a:cubicBezTo>
                <a:cubicBezTo>
                  <a:pt x="423" y="12"/>
                  <a:pt x="423" y="12"/>
                  <a:pt x="423" y="11"/>
                </a:cubicBezTo>
                <a:cubicBezTo>
                  <a:pt x="422" y="11"/>
                  <a:pt x="422" y="11"/>
                  <a:pt x="422" y="11"/>
                </a:cubicBezTo>
                <a:cubicBezTo>
                  <a:pt x="422" y="10"/>
                  <a:pt x="421" y="10"/>
                  <a:pt x="420" y="9"/>
                </a:cubicBezTo>
                <a:cubicBezTo>
                  <a:pt x="419" y="9"/>
                  <a:pt x="418" y="8"/>
                  <a:pt x="418" y="8"/>
                </a:cubicBezTo>
                <a:cubicBezTo>
                  <a:pt x="418" y="7"/>
                  <a:pt x="417" y="8"/>
                  <a:pt x="418" y="8"/>
                </a:cubicBezTo>
                <a:cubicBezTo>
                  <a:pt x="418" y="9"/>
                  <a:pt x="418" y="9"/>
                  <a:pt x="418" y="9"/>
                </a:cubicBezTo>
                <a:cubicBezTo>
                  <a:pt x="419" y="10"/>
                  <a:pt x="419" y="10"/>
                  <a:pt x="418" y="11"/>
                </a:cubicBezTo>
                <a:cubicBezTo>
                  <a:pt x="418" y="11"/>
                  <a:pt x="417" y="10"/>
                  <a:pt x="417" y="10"/>
                </a:cubicBezTo>
                <a:cubicBezTo>
                  <a:pt x="417" y="9"/>
                  <a:pt x="416" y="9"/>
                  <a:pt x="416" y="9"/>
                </a:cubicBezTo>
                <a:cubicBezTo>
                  <a:pt x="416" y="9"/>
                  <a:pt x="415" y="9"/>
                  <a:pt x="415" y="10"/>
                </a:cubicBezTo>
                <a:cubicBezTo>
                  <a:pt x="416" y="10"/>
                  <a:pt x="416" y="10"/>
                  <a:pt x="416" y="11"/>
                </a:cubicBezTo>
                <a:cubicBezTo>
                  <a:pt x="416" y="11"/>
                  <a:pt x="417" y="12"/>
                  <a:pt x="417" y="12"/>
                </a:cubicBezTo>
                <a:cubicBezTo>
                  <a:pt x="417" y="13"/>
                  <a:pt x="416" y="14"/>
                  <a:pt x="415" y="14"/>
                </a:cubicBezTo>
                <a:cubicBezTo>
                  <a:pt x="416" y="13"/>
                  <a:pt x="415" y="13"/>
                  <a:pt x="415" y="12"/>
                </a:cubicBezTo>
                <a:cubicBezTo>
                  <a:pt x="414" y="13"/>
                  <a:pt x="413" y="14"/>
                  <a:pt x="413" y="16"/>
                </a:cubicBezTo>
                <a:cubicBezTo>
                  <a:pt x="412" y="17"/>
                  <a:pt x="412" y="17"/>
                  <a:pt x="412" y="18"/>
                </a:cubicBezTo>
                <a:cubicBezTo>
                  <a:pt x="412" y="19"/>
                  <a:pt x="411" y="19"/>
                  <a:pt x="411" y="20"/>
                </a:cubicBezTo>
                <a:cubicBezTo>
                  <a:pt x="410" y="20"/>
                  <a:pt x="410" y="20"/>
                  <a:pt x="409" y="19"/>
                </a:cubicBezTo>
                <a:cubicBezTo>
                  <a:pt x="408" y="19"/>
                  <a:pt x="408" y="20"/>
                  <a:pt x="407" y="20"/>
                </a:cubicBezTo>
                <a:cubicBezTo>
                  <a:pt x="407" y="20"/>
                  <a:pt x="406" y="21"/>
                  <a:pt x="406" y="20"/>
                </a:cubicBezTo>
                <a:cubicBezTo>
                  <a:pt x="406" y="20"/>
                  <a:pt x="406" y="20"/>
                  <a:pt x="406" y="20"/>
                </a:cubicBezTo>
                <a:cubicBezTo>
                  <a:pt x="406" y="19"/>
                  <a:pt x="407" y="19"/>
                  <a:pt x="407" y="19"/>
                </a:cubicBezTo>
                <a:cubicBezTo>
                  <a:pt x="406" y="19"/>
                  <a:pt x="406" y="19"/>
                  <a:pt x="406" y="19"/>
                </a:cubicBezTo>
                <a:cubicBezTo>
                  <a:pt x="405" y="19"/>
                  <a:pt x="404" y="19"/>
                  <a:pt x="404" y="18"/>
                </a:cubicBezTo>
                <a:cubicBezTo>
                  <a:pt x="404" y="18"/>
                  <a:pt x="404" y="18"/>
                  <a:pt x="404" y="18"/>
                </a:cubicBezTo>
                <a:cubicBezTo>
                  <a:pt x="404" y="18"/>
                  <a:pt x="404" y="18"/>
                  <a:pt x="404" y="18"/>
                </a:cubicBezTo>
                <a:cubicBezTo>
                  <a:pt x="404" y="18"/>
                  <a:pt x="404" y="18"/>
                  <a:pt x="405" y="18"/>
                </a:cubicBezTo>
                <a:cubicBezTo>
                  <a:pt x="405" y="18"/>
                  <a:pt x="406" y="18"/>
                  <a:pt x="406" y="17"/>
                </a:cubicBezTo>
                <a:cubicBezTo>
                  <a:pt x="406" y="17"/>
                  <a:pt x="406" y="17"/>
                  <a:pt x="406" y="17"/>
                </a:cubicBezTo>
                <a:cubicBezTo>
                  <a:pt x="406" y="17"/>
                  <a:pt x="406" y="17"/>
                  <a:pt x="406" y="17"/>
                </a:cubicBezTo>
                <a:cubicBezTo>
                  <a:pt x="406" y="16"/>
                  <a:pt x="405" y="17"/>
                  <a:pt x="405" y="17"/>
                </a:cubicBezTo>
                <a:cubicBezTo>
                  <a:pt x="405" y="17"/>
                  <a:pt x="404" y="16"/>
                  <a:pt x="404" y="16"/>
                </a:cubicBezTo>
                <a:cubicBezTo>
                  <a:pt x="404" y="16"/>
                  <a:pt x="404" y="16"/>
                  <a:pt x="404" y="16"/>
                </a:cubicBezTo>
                <a:cubicBezTo>
                  <a:pt x="405" y="16"/>
                  <a:pt x="405" y="16"/>
                  <a:pt x="405" y="16"/>
                </a:cubicBezTo>
                <a:cubicBezTo>
                  <a:pt x="406" y="16"/>
                  <a:pt x="406" y="15"/>
                  <a:pt x="406" y="15"/>
                </a:cubicBezTo>
                <a:cubicBezTo>
                  <a:pt x="406" y="15"/>
                  <a:pt x="407" y="15"/>
                  <a:pt x="408" y="14"/>
                </a:cubicBezTo>
                <a:cubicBezTo>
                  <a:pt x="408" y="14"/>
                  <a:pt x="409" y="14"/>
                  <a:pt x="409" y="14"/>
                </a:cubicBezTo>
                <a:cubicBezTo>
                  <a:pt x="409" y="13"/>
                  <a:pt x="409" y="13"/>
                  <a:pt x="409" y="13"/>
                </a:cubicBezTo>
                <a:cubicBezTo>
                  <a:pt x="410" y="12"/>
                  <a:pt x="410" y="12"/>
                  <a:pt x="410" y="12"/>
                </a:cubicBezTo>
                <a:cubicBezTo>
                  <a:pt x="410" y="12"/>
                  <a:pt x="411" y="11"/>
                  <a:pt x="411" y="11"/>
                </a:cubicBezTo>
                <a:cubicBezTo>
                  <a:pt x="411" y="10"/>
                  <a:pt x="412" y="10"/>
                  <a:pt x="412" y="10"/>
                </a:cubicBezTo>
                <a:cubicBezTo>
                  <a:pt x="412" y="10"/>
                  <a:pt x="412" y="10"/>
                  <a:pt x="412" y="9"/>
                </a:cubicBezTo>
                <a:cubicBezTo>
                  <a:pt x="412" y="9"/>
                  <a:pt x="412" y="9"/>
                  <a:pt x="412" y="9"/>
                </a:cubicBezTo>
                <a:cubicBezTo>
                  <a:pt x="412" y="9"/>
                  <a:pt x="411" y="8"/>
                  <a:pt x="411" y="7"/>
                </a:cubicBezTo>
                <a:cubicBezTo>
                  <a:pt x="411" y="7"/>
                  <a:pt x="411" y="7"/>
                  <a:pt x="411" y="7"/>
                </a:cubicBezTo>
                <a:cubicBezTo>
                  <a:pt x="411" y="6"/>
                  <a:pt x="411" y="6"/>
                  <a:pt x="411" y="6"/>
                </a:cubicBezTo>
                <a:cubicBezTo>
                  <a:pt x="410" y="6"/>
                  <a:pt x="410" y="6"/>
                  <a:pt x="410" y="6"/>
                </a:cubicBezTo>
                <a:cubicBezTo>
                  <a:pt x="409" y="5"/>
                  <a:pt x="408" y="5"/>
                  <a:pt x="407" y="5"/>
                </a:cubicBezTo>
                <a:cubicBezTo>
                  <a:pt x="407" y="5"/>
                  <a:pt x="407" y="5"/>
                  <a:pt x="406" y="6"/>
                </a:cubicBezTo>
                <a:cubicBezTo>
                  <a:pt x="406" y="6"/>
                  <a:pt x="405" y="6"/>
                  <a:pt x="405" y="6"/>
                </a:cubicBezTo>
                <a:cubicBezTo>
                  <a:pt x="405" y="5"/>
                  <a:pt x="405" y="5"/>
                  <a:pt x="405" y="5"/>
                </a:cubicBezTo>
                <a:cubicBezTo>
                  <a:pt x="406" y="5"/>
                  <a:pt x="405" y="4"/>
                  <a:pt x="405" y="4"/>
                </a:cubicBezTo>
                <a:cubicBezTo>
                  <a:pt x="405" y="4"/>
                  <a:pt x="404" y="3"/>
                  <a:pt x="404" y="3"/>
                </a:cubicBezTo>
                <a:cubicBezTo>
                  <a:pt x="404" y="3"/>
                  <a:pt x="404" y="3"/>
                  <a:pt x="404" y="3"/>
                </a:cubicBezTo>
                <a:cubicBezTo>
                  <a:pt x="403" y="2"/>
                  <a:pt x="403" y="2"/>
                  <a:pt x="403" y="2"/>
                </a:cubicBezTo>
                <a:cubicBezTo>
                  <a:pt x="402" y="2"/>
                  <a:pt x="401" y="2"/>
                  <a:pt x="400" y="2"/>
                </a:cubicBezTo>
                <a:cubicBezTo>
                  <a:pt x="399" y="2"/>
                  <a:pt x="399" y="1"/>
                  <a:pt x="398" y="1"/>
                </a:cubicBezTo>
                <a:cubicBezTo>
                  <a:pt x="398" y="1"/>
                  <a:pt x="397" y="0"/>
                  <a:pt x="398" y="0"/>
                </a:cubicBezTo>
                <a:cubicBezTo>
                  <a:pt x="394" y="3"/>
                  <a:pt x="393" y="7"/>
                  <a:pt x="390" y="11"/>
                </a:cubicBezTo>
                <a:cubicBezTo>
                  <a:pt x="388" y="14"/>
                  <a:pt x="385" y="18"/>
                  <a:pt x="380" y="19"/>
                </a:cubicBezTo>
                <a:cubicBezTo>
                  <a:pt x="379" y="19"/>
                  <a:pt x="378" y="19"/>
                  <a:pt x="376" y="20"/>
                </a:cubicBezTo>
                <a:cubicBezTo>
                  <a:pt x="376" y="20"/>
                  <a:pt x="375" y="21"/>
                  <a:pt x="375" y="21"/>
                </a:cubicBezTo>
                <a:cubicBezTo>
                  <a:pt x="375" y="21"/>
                  <a:pt x="374" y="21"/>
                  <a:pt x="374" y="21"/>
                </a:cubicBezTo>
                <a:cubicBezTo>
                  <a:pt x="373" y="20"/>
                  <a:pt x="372" y="22"/>
                  <a:pt x="371" y="22"/>
                </a:cubicBezTo>
                <a:cubicBezTo>
                  <a:pt x="370" y="22"/>
                  <a:pt x="369" y="21"/>
                  <a:pt x="368" y="21"/>
                </a:cubicBezTo>
                <a:cubicBezTo>
                  <a:pt x="368" y="21"/>
                  <a:pt x="368" y="22"/>
                  <a:pt x="367" y="22"/>
                </a:cubicBezTo>
                <a:cubicBezTo>
                  <a:pt x="367" y="22"/>
                  <a:pt x="366" y="22"/>
                  <a:pt x="366" y="22"/>
                </a:cubicBezTo>
                <a:cubicBezTo>
                  <a:pt x="365" y="22"/>
                  <a:pt x="364" y="22"/>
                  <a:pt x="364" y="23"/>
                </a:cubicBezTo>
                <a:cubicBezTo>
                  <a:pt x="364" y="23"/>
                  <a:pt x="364" y="24"/>
                  <a:pt x="365" y="24"/>
                </a:cubicBezTo>
                <a:cubicBezTo>
                  <a:pt x="365" y="25"/>
                  <a:pt x="365" y="25"/>
                  <a:pt x="365" y="26"/>
                </a:cubicBezTo>
                <a:cubicBezTo>
                  <a:pt x="364" y="25"/>
                  <a:pt x="363" y="24"/>
                  <a:pt x="363" y="23"/>
                </a:cubicBezTo>
                <a:cubicBezTo>
                  <a:pt x="363" y="22"/>
                  <a:pt x="363" y="21"/>
                  <a:pt x="362" y="21"/>
                </a:cubicBezTo>
                <a:cubicBezTo>
                  <a:pt x="364" y="21"/>
                  <a:pt x="365" y="20"/>
                  <a:pt x="365" y="19"/>
                </a:cubicBezTo>
                <a:cubicBezTo>
                  <a:pt x="364" y="19"/>
                  <a:pt x="362" y="19"/>
                  <a:pt x="360" y="20"/>
                </a:cubicBezTo>
                <a:cubicBezTo>
                  <a:pt x="359" y="21"/>
                  <a:pt x="358" y="23"/>
                  <a:pt x="356" y="24"/>
                </a:cubicBezTo>
                <a:cubicBezTo>
                  <a:pt x="356" y="24"/>
                  <a:pt x="355" y="25"/>
                  <a:pt x="355" y="26"/>
                </a:cubicBezTo>
                <a:cubicBezTo>
                  <a:pt x="354" y="26"/>
                  <a:pt x="354" y="26"/>
                  <a:pt x="354" y="27"/>
                </a:cubicBezTo>
                <a:cubicBezTo>
                  <a:pt x="354" y="27"/>
                  <a:pt x="354" y="28"/>
                  <a:pt x="354" y="28"/>
                </a:cubicBezTo>
                <a:cubicBezTo>
                  <a:pt x="354" y="28"/>
                  <a:pt x="355" y="28"/>
                  <a:pt x="356" y="29"/>
                </a:cubicBezTo>
                <a:cubicBezTo>
                  <a:pt x="356" y="30"/>
                  <a:pt x="356" y="31"/>
                  <a:pt x="357" y="32"/>
                </a:cubicBezTo>
                <a:cubicBezTo>
                  <a:pt x="357" y="32"/>
                  <a:pt x="358" y="33"/>
                  <a:pt x="359" y="33"/>
                </a:cubicBezTo>
                <a:cubicBezTo>
                  <a:pt x="359" y="33"/>
                  <a:pt x="360" y="33"/>
                  <a:pt x="360" y="32"/>
                </a:cubicBezTo>
                <a:cubicBezTo>
                  <a:pt x="361" y="32"/>
                  <a:pt x="362" y="32"/>
                  <a:pt x="364" y="32"/>
                </a:cubicBezTo>
                <a:cubicBezTo>
                  <a:pt x="363" y="33"/>
                  <a:pt x="362" y="33"/>
                  <a:pt x="361" y="33"/>
                </a:cubicBezTo>
                <a:cubicBezTo>
                  <a:pt x="360" y="33"/>
                  <a:pt x="360" y="33"/>
                  <a:pt x="359" y="34"/>
                </a:cubicBezTo>
                <a:cubicBezTo>
                  <a:pt x="359" y="34"/>
                  <a:pt x="358" y="34"/>
                  <a:pt x="357" y="34"/>
                </a:cubicBezTo>
                <a:cubicBezTo>
                  <a:pt x="357" y="34"/>
                  <a:pt x="356" y="35"/>
                  <a:pt x="356" y="36"/>
                </a:cubicBezTo>
                <a:cubicBezTo>
                  <a:pt x="356" y="37"/>
                  <a:pt x="356" y="38"/>
                  <a:pt x="356" y="39"/>
                </a:cubicBezTo>
                <a:cubicBezTo>
                  <a:pt x="357" y="40"/>
                  <a:pt x="357" y="41"/>
                  <a:pt x="356" y="42"/>
                </a:cubicBezTo>
                <a:cubicBezTo>
                  <a:pt x="355" y="41"/>
                  <a:pt x="355" y="39"/>
                  <a:pt x="355" y="37"/>
                </a:cubicBezTo>
                <a:cubicBezTo>
                  <a:pt x="354" y="38"/>
                  <a:pt x="353" y="39"/>
                  <a:pt x="352" y="39"/>
                </a:cubicBezTo>
                <a:cubicBezTo>
                  <a:pt x="354" y="37"/>
                  <a:pt x="355" y="35"/>
                  <a:pt x="355" y="33"/>
                </a:cubicBezTo>
                <a:cubicBezTo>
                  <a:pt x="355" y="33"/>
                  <a:pt x="354" y="34"/>
                  <a:pt x="353" y="33"/>
                </a:cubicBezTo>
                <a:cubicBezTo>
                  <a:pt x="354" y="33"/>
                  <a:pt x="354" y="33"/>
                  <a:pt x="355" y="32"/>
                </a:cubicBezTo>
                <a:cubicBezTo>
                  <a:pt x="356" y="31"/>
                  <a:pt x="356" y="30"/>
                  <a:pt x="355" y="30"/>
                </a:cubicBezTo>
                <a:cubicBezTo>
                  <a:pt x="354" y="30"/>
                  <a:pt x="354" y="30"/>
                  <a:pt x="354" y="30"/>
                </a:cubicBezTo>
                <a:cubicBezTo>
                  <a:pt x="353" y="30"/>
                  <a:pt x="353" y="30"/>
                  <a:pt x="352" y="30"/>
                </a:cubicBezTo>
                <a:cubicBezTo>
                  <a:pt x="352" y="30"/>
                  <a:pt x="352" y="30"/>
                  <a:pt x="351" y="30"/>
                </a:cubicBezTo>
                <a:cubicBezTo>
                  <a:pt x="349" y="32"/>
                  <a:pt x="347" y="36"/>
                  <a:pt x="345" y="38"/>
                </a:cubicBezTo>
                <a:cubicBezTo>
                  <a:pt x="343" y="39"/>
                  <a:pt x="342" y="39"/>
                  <a:pt x="340" y="40"/>
                </a:cubicBezTo>
                <a:cubicBezTo>
                  <a:pt x="339" y="41"/>
                  <a:pt x="338" y="42"/>
                  <a:pt x="336" y="43"/>
                </a:cubicBezTo>
                <a:cubicBezTo>
                  <a:pt x="335" y="43"/>
                  <a:pt x="333" y="42"/>
                  <a:pt x="333" y="43"/>
                </a:cubicBezTo>
                <a:cubicBezTo>
                  <a:pt x="332" y="44"/>
                  <a:pt x="332" y="45"/>
                  <a:pt x="331" y="44"/>
                </a:cubicBezTo>
                <a:cubicBezTo>
                  <a:pt x="330" y="44"/>
                  <a:pt x="330" y="44"/>
                  <a:pt x="330" y="43"/>
                </a:cubicBezTo>
                <a:cubicBezTo>
                  <a:pt x="331" y="43"/>
                  <a:pt x="331" y="42"/>
                  <a:pt x="332" y="42"/>
                </a:cubicBezTo>
                <a:cubicBezTo>
                  <a:pt x="332" y="42"/>
                  <a:pt x="332" y="42"/>
                  <a:pt x="332" y="42"/>
                </a:cubicBezTo>
                <a:cubicBezTo>
                  <a:pt x="333" y="42"/>
                  <a:pt x="333" y="42"/>
                  <a:pt x="333" y="42"/>
                </a:cubicBezTo>
                <a:cubicBezTo>
                  <a:pt x="332" y="42"/>
                  <a:pt x="330" y="41"/>
                  <a:pt x="330" y="40"/>
                </a:cubicBezTo>
                <a:cubicBezTo>
                  <a:pt x="329" y="43"/>
                  <a:pt x="327" y="45"/>
                  <a:pt x="325" y="46"/>
                </a:cubicBezTo>
                <a:cubicBezTo>
                  <a:pt x="325" y="47"/>
                  <a:pt x="324" y="48"/>
                  <a:pt x="324" y="49"/>
                </a:cubicBezTo>
                <a:cubicBezTo>
                  <a:pt x="324" y="49"/>
                  <a:pt x="325" y="49"/>
                  <a:pt x="325" y="50"/>
                </a:cubicBezTo>
                <a:cubicBezTo>
                  <a:pt x="327" y="51"/>
                  <a:pt x="328" y="52"/>
                  <a:pt x="329" y="54"/>
                </a:cubicBezTo>
                <a:cubicBezTo>
                  <a:pt x="327" y="53"/>
                  <a:pt x="326" y="51"/>
                  <a:pt x="324" y="50"/>
                </a:cubicBezTo>
                <a:cubicBezTo>
                  <a:pt x="324" y="50"/>
                  <a:pt x="324" y="50"/>
                  <a:pt x="324" y="50"/>
                </a:cubicBezTo>
                <a:cubicBezTo>
                  <a:pt x="323" y="50"/>
                  <a:pt x="323" y="50"/>
                  <a:pt x="323" y="50"/>
                </a:cubicBezTo>
                <a:cubicBezTo>
                  <a:pt x="323" y="52"/>
                  <a:pt x="321" y="54"/>
                  <a:pt x="320" y="56"/>
                </a:cubicBezTo>
                <a:cubicBezTo>
                  <a:pt x="320" y="56"/>
                  <a:pt x="320" y="56"/>
                  <a:pt x="319" y="57"/>
                </a:cubicBezTo>
                <a:cubicBezTo>
                  <a:pt x="319" y="57"/>
                  <a:pt x="319" y="58"/>
                  <a:pt x="318" y="58"/>
                </a:cubicBezTo>
                <a:cubicBezTo>
                  <a:pt x="318" y="59"/>
                  <a:pt x="317" y="60"/>
                  <a:pt x="316" y="60"/>
                </a:cubicBezTo>
                <a:cubicBezTo>
                  <a:pt x="316" y="61"/>
                  <a:pt x="316" y="61"/>
                  <a:pt x="315" y="61"/>
                </a:cubicBezTo>
                <a:cubicBezTo>
                  <a:pt x="315" y="61"/>
                  <a:pt x="315" y="61"/>
                  <a:pt x="316" y="62"/>
                </a:cubicBezTo>
                <a:cubicBezTo>
                  <a:pt x="316" y="62"/>
                  <a:pt x="316" y="62"/>
                  <a:pt x="316" y="62"/>
                </a:cubicBezTo>
                <a:cubicBezTo>
                  <a:pt x="316" y="62"/>
                  <a:pt x="316" y="62"/>
                  <a:pt x="317" y="63"/>
                </a:cubicBezTo>
                <a:cubicBezTo>
                  <a:pt x="317" y="63"/>
                  <a:pt x="316" y="64"/>
                  <a:pt x="316" y="64"/>
                </a:cubicBezTo>
                <a:cubicBezTo>
                  <a:pt x="316" y="64"/>
                  <a:pt x="316" y="64"/>
                  <a:pt x="316" y="64"/>
                </a:cubicBezTo>
                <a:cubicBezTo>
                  <a:pt x="316" y="64"/>
                  <a:pt x="316" y="64"/>
                  <a:pt x="316" y="64"/>
                </a:cubicBezTo>
                <a:cubicBezTo>
                  <a:pt x="316" y="64"/>
                  <a:pt x="316" y="64"/>
                  <a:pt x="316" y="65"/>
                </a:cubicBezTo>
                <a:cubicBezTo>
                  <a:pt x="316" y="65"/>
                  <a:pt x="316" y="65"/>
                  <a:pt x="316" y="65"/>
                </a:cubicBezTo>
                <a:cubicBezTo>
                  <a:pt x="316" y="65"/>
                  <a:pt x="315" y="65"/>
                  <a:pt x="315" y="65"/>
                </a:cubicBezTo>
                <a:cubicBezTo>
                  <a:pt x="315" y="65"/>
                  <a:pt x="315" y="65"/>
                  <a:pt x="315" y="66"/>
                </a:cubicBezTo>
                <a:cubicBezTo>
                  <a:pt x="315" y="66"/>
                  <a:pt x="315" y="66"/>
                  <a:pt x="315" y="67"/>
                </a:cubicBezTo>
                <a:cubicBezTo>
                  <a:pt x="315" y="67"/>
                  <a:pt x="315" y="67"/>
                  <a:pt x="315" y="67"/>
                </a:cubicBezTo>
                <a:cubicBezTo>
                  <a:pt x="315" y="67"/>
                  <a:pt x="315" y="67"/>
                  <a:pt x="315" y="68"/>
                </a:cubicBezTo>
                <a:cubicBezTo>
                  <a:pt x="316" y="68"/>
                  <a:pt x="315" y="69"/>
                  <a:pt x="315" y="69"/>
                </a:cubicBezTo>
                <a:cubicBezTo>
                  <a:pt x="316" y="70"/>
                  <a:pt x="316" y="70"/>
                  <a:pt x="316" y="70"/>
                </a:cubicBezTo>
                <a:cubicBezTo>
                  <a:pt x="315" y="70"/>
                  <a:pt x="315" y="70"/>
                  <a:pt x="315" y="71"/>
                </a:cubicBezTo>
                <a:cubicBezTo>
                  <a:pt x="315" y="71"/>
                  <a:pt x="315" y="71"/>
                  <a:pt x="315" y="71"/>
                </a:cubicBezTo>
                <a:cubicBezTo>
                  <a:pt x="315" y="71"/>
                  <a:pt x="315" y="71"/>
                  <a:pt x="315" y="71"/>
                </a:cubicBezTo>
                <a:cubicBezTo>
                  <a:pt x="315" y="71"/>
                  <a:pt x="315" y="71"/>
                  <a:pt x="315" y="71"/>
                </a:cubicBezTo>
                <a:cubicBezTo>
                  <a:pt x="315" y="71"/>
                  <a:pt x="315" y="72"/>
                  <a:pt x="315" y="72"/>
                </a:cubicBezTo>
                <a:cubicBezTo>
                  <a:pt x="315" y="73"/>
                  <a:pt x="314" y="75"/>
                  <a:pt x="314" y="76"/>
                </a:cubicBezTo>
                <a:cubicBezTo>
                  <a:pt x="313" y="77"/>
                  <a:pt x="313" y="78"/>
                  <a:pt x="312" y="79"/>
                </a:cubicBezTo>
                <a:cubicBezTo>
                  <a:pt x="310" y="82"/>
                  <a:pt x="308" y="85"/>
                  <a:pt x="305" y="87"/>
                </a:cubicBezTo>
                <a:cubicBezTo>
                  <a:pt x="302" y="89"/>
                  <a:pt x="299" y="91"/>
                  <a:pt x="295" y="91"/>
                </a:cubicBezTo>
                <a:cubicBezTo>
                  <a:pt x="296" y="92"/>
                  <a:pt x="296" y="92"/>
                  <a:pt x="296" y="93"/>
                </a:cubicBezTo>
                <a:cubicBezTo>
                  <a:pt x="293" y="91"/>
                  <a:pt x="290" y="92"/>
                  <a:pt x="287" y="93"/>
                </a:cubicBezTo>
                <a:cubicBezTo>
                  <a:pt x="283" y="94"/>
                  <a:pt x="279" y="94"/>
                  <a:pt x="275" y="93"/>
                </a:cubicBezTo>
                <a:cubicBezTo>
                  <a:pt x="275" y="92"/>
                  <a:pt x="274" y="92"/>
                  <a:pt x="274" y="93"/>
                </a:cubicBezTo>
                <a:cubicBezTo>
                  <a:pt x="274" y="93"/>
                  <a:pt x="274" y="93"/>
                  <a:pt x="274" y="94"/>
                </a:cubicBezTo>
                <a:cubicBezTo>
                  <a:pt x="275" y="97"/>
                  <a:pt x="275" y="100"/>
                  <a:pt x="274" y="103"/>
                </a:cubicBezTo>
                <a:cubicBezTo>
                  <a:pt x="273" y="106"/>
                  <a:pt x="272" y="109"/>
                  <a:pt x="270" y="111"/>
                </a:cubicBezTo>
                <a:cubicBezTo>
                  <a:pt x="270" y="111"/>
                  <a:pt x="269" y="111"/>
                  <a:pt x="268" y="112"/>
                </a:cubicBezTo>
                <a:cubicBezTo>
                  <a:pt x="271" y="111"/>
                  <a:pt x="273" y="112"/>
                  <a:pt x="275" y="114"/>
                </a:cubicBezTo>
                <a:cubicBezTo>
                  <a:pt x="276" y="116"/>
                  <a:pt x="277" y="119"/>
                  <a:pt x="279" y="120"/>
                </a:cubicBezTo>
                <a:cubicBezTo>
                  <a:pt x="280" y="121"/>
                  <a:pt x="281" y="121"/>
                  <a:pt x="283" y="121"/>
                </a:cubicBezTo>
                <a:cubicBezTo>
                  <a:pt x="285" y="122"/>
                  <a:pt x="287" y="124"/>
                  <a:pt x="289" y="126"/>
                </a:cubicBezTo>
                <a:cubicBezTo>
                  <a:pt x="290" y="127"/>
                  <a:pt x="292" y="129"/>
                  <a:pt x="294" y="130"/>
                </a:cubicBezTo>
                <a:cubicBezTo>
                  <a:pt x="294" y="131"/>
                  <a:pt x="295" y="131"/>
                  <a:pt x="295" y="131"/>
                </a:cubicBezTo>
                <a:cubicBezTo>
                  <a:pt x="296" y="132"/>
                  <a:pt x="296" y="132"/>
                  <a:pt x="296" y="133"/>
                </a:cubicBezTo>
                <a:cubicBezTo>
                  <a:pt x="297" y="134"/>
                  <a:pt x="300" y="134"/>
                  <a:pt x="301" y="136"/>
                </a:cubicBezTo>
                <a:cubicBezTo>
                  <a:pt x="302" y="137"/>
                  <a:pt x="302" y="139"/>
                  <a:pt x="303" y="140"/>
                </a:cubicBezTo>
                <a:cubicBezTo>
                  <a:pt x="304" y="140"/>
                  <a:pt x="304" y="140"/>
                  <a:pt x="304" y="140"/>
                </a:cubicBezTo>
                <a:cubicBezTo>
                  <a:pt x="304" y="141"/>
                  <a:pt x="303" y="141"/>
                  <a:pt x="303" y="142"/>
                </a:cubicBezTo>
                <a:cubicBezTo>
                  <a:pt x="303" y="142"/>
                  <a:pt x="304" y="143"/>
                  <a:pt x="304" y="143"/>
                </a:cubicBezTo>
                <a:cubicBezTo>
                  <a:pt x="305" y="143"/>
                  <a:pt x="306" y="143"/>
                  <a:pt x="306" y="144"/>
                </a:cubicBezTo>
                <a:cubicBezTo>
                  <a:pt x="306" y="144"/>
                  <a:pt x="306" y="144"/>
                  <a:pt x="305" y="145"/>
                </a:cubicBezTo>
                <a:cubicBezTo>
                  <a:pt x="305" y="146"/>
                  <a:pt x="306" y="148"/>
                  <a:pt x="306" y="149"/>
                </a:cubicBezTo>
                <a:cubicBezTo>
                  <a:pt x="306" y="149"/>
                  <a:pt x="306" y="150"/>
                  <a:pt x="306" y="150"/>
                </a:cubicBezTo>
                <a:cubicBezTo>
                  <a:pt x="306" y="151"/>
                  <a:pt x="306" y="151"/>
                  <a:pt x="306" y="151"/>
                </a:cubicBezTo>
                <a:cubicBezTo>
                  <a:pt x="306" y="151"/>
                  <a:pt x="306" y="151"/>
                  <a:pt x="307" y="151"/>
                </a:cubicBezTo>
                <a:cubicBezTo>
                  <a:pt x="307" y="151"/>
                  <a:pt x="308" y="152"/>
                  <a:pt x="308" y="152"/>
                </a:cubicBezTo>
                <a:cubicBezTo>
                  <a:pt x="309" y="152"/>
                  <a:pt x="309" y="152"/>
                  <a:pt x="309" y="152"/>
                </a:cubicBezTo>
                <a:cubicBezTo>
                  <a:pt x="310" y="153"/>
                  <a:pt x="309" y="153"/>
                  <a:pt x="309" y="153"/>
                </a:cubicBezTo>
                <a:cubicBezTo>
                  <a:pt x="309" y="153"/>
                  <a:pt x="309" y="153"/>
                  <a:pt x="308" y="153"/>
                </a:cubicBezTo>
                <a:cubicBezTo>
                  <a:pt x="308" y="153"/>
                  <a:pt x="307" y="153"/>
                  <a:pt x="307" y="153"/>
                </a:cubicBezTo>
                <a:cubicBezTo>
                  <a:pt x="307" y="153"/>
                  <a:pt x="307" y="154"/>
                  <a:pt x="307" y="154"/>
                </a:cubicBezTo>
                <a:cubicBezTo>
                  <a:pt x="308" y="154"/>
                  <a:pt x="308" y="154"/>
                  <a:pt x="309" y="154"/>
                </a:cubicBezTo>
                <a:cubicBezTo>
                  <a:pt x="309" y="155"/>
                  <a:pt x="310" y="154"/>
                  <a:pt x="311" y="155"/>
                </a:cubicBezTo>
                <a:cubicBezTo>
                  <a:pt x="312" y="155"/>
                  <a:pt x="313" y="156"/>
                  <a:pt x="313" y="156"/>
                </a:cubicBezTo>
                <a:cubicBezTo>
                  <a:pt x="314" y="156"/>
                  <a:pt x="314" y="156"/>
                  <a:pt x="315" y="156"/>
                </a:cubicBezTo>
                <a:cubicBezTo>
                  <a:pt x="315" y="156"/>
                  <a:pt x="315" y="156"/>
                  <a:pt x="316" y="156"/>
                </a:cubicBezTo>
                <a:cubicBezTo>
                  <a:pt x="316" y="156"/>
                  <a:pt x="317" y="156"/>
                  <a:pt x="317" y="156"/>
                </a:cubicBezTo>
                <a:cubicBezTo>
                  <a:pt x="318" y="155"/>
                  <a:pt x="319" y="155"/>
                  <a:pt x="319" y="156"/>
                </a:cubicBezTo>
                <a:cubicBezTo>
                  <a:pt x="320" y="156"/>
                  <a:pt x="320" y="157"/>
                  <a:pt x="321" y="157"/>
                </a:cubicBezTo>
                <a:cubicBezTo>
                  <a:pt x="321" y="156"/>
                  <a:pt x="322" y="156"/>
                  <a:pt x="322" y="155"/>
                </a:cubicBezTo>
                <a:cubicBezTo>
                  <a:pt x="323" y="155"/>
                  <a:pt x="323" y="154"/>
                  <a:pt x="323" y="153"/>
                </a:cubicBezTo>
                <a:cubicBezTo>
                  <a:pt x="322" y="152"/>
                  <a:pt x="321" y="153"/>
                  <a:pt x="320" y="152"/>
                </a:cubicBezTo>
                <a:cubicBezTo>
                  <a:pt x="320" y="151"/>
                  <a:pt x="321" y="151"/>
                  <a:pt x="322" y="150"/>
                </a:cubicBezTo>
                <a:cubicBezTo>
                  <a:pt x="322" y="151"/>
                  <a:pt x="321" y="151"/>
                  <a:pt x="321" y="152"/>
                </a:cubicBezTo>
                <a:cubicBezTo>
                  <a:pt x="321" y="152"/>
                  <a:pt x="321" y="152"/>
                  <a:pt x="322" y="152"/>
                </a:cubicBezTo>
                <a:cubicBezTo>
                  <a:pt x="322" y="152"/>
                  <a:pt x="323" y="152"/>
                  <a:pt x="324" y="153"/>
                </a:cubicBezTo>
                <a:cubicBezTo>
                  <a:pt x="324" y="154"/>
                  <a:pt x="323" y="154"/>
                  <a:pt x="323" y="155"/>
                </a:cubicBezTo>
                <a:cubicBezTo>
                  <a:pt x="322" y="156"/>
                  <a:pt x="322" y="157"/>
                  <a:pt x="323" y="158"/>
                </a:cubicBezTo>
                <a:cubicBezTo>
                  <a:pt x="325" y="158"/>
                  <a:pt x="328" y="156"/>
                  <a:pt x="330" y="156"/>
                </a:cubicBezTo>
                <a:cubicBezTo>
                  <a:pt x="331" y="156"/>
                  <a:pt x="332" y="156"/>
                  <a:pt x="332" y="157"/>
                </a:cubicBezTo>
                <a:cubicBezTo>
                  <a:pt x="333" y="157"/>
                  <a:pt x="334" y="157"/>
                  <a:pt x="334" y="158"/>
                </a:cubicBezTo>
                <a:cubicBezTo>
                  <a:pt x="335" y="159"/>
                  <a:pt x="335" y="160"/>
                  <a:pt x="334" y="160"/>
                </a:cubicBezTo>
                <a:cubicBezTo>
                  <a:pt x="333" y="160"/>
                  <a:pt x="333" y="159"/>
                  <a:pt x="333" y="159"/>
                </a:cubicBezTo>
                <a:cubicBezTo>
                  <a:pt x="332" y="160"/>
                  <a:pt x="332" y="161"/>
                  <a:pt x="331" y="162"/>
                </a:cubicBezTo>
                <a:cubicBezTo>
                  <a:pt x="331" y="163"/>
                  <a:pt x="331" y="164"/>
                  <a:pt x="331" y="165"/>
                </a:cubicBezTo>
                <a:cubicBezTo>
                  <a:pt x="330" y="165"/>
                  <a:pt x="330" y="166"/>
                  <a:pt x="330" y="166"/>
                </a:cubicBezTo>
                <a:cubicBezTo>
                  <a:pt x="330" y="166"/>
                  <a:pt x="331" y="167"/>
                  <a:pt x="331" y="167"/>
                </a:cubicBezTo>
                <a:cubicBezTo>
                  <a:pt x="332" y="169"/>
                  <a:pt x="333" y="170"/>
                  <a:pt x="335" y="170"/>
                </a:cubicBezTo>
                <a:cubicBezTo>
                  <a:pt x="335" y="170"/>
                  <a:pt x="334" y="170"/>
                  <a:pt x="334" y="171"/>
                </a:cubicBezTo>
                <a:cubicBezTo>
                  <a:pt x="335" y="171"/>
                  <a:pt x="335" y="171"/>
                  <a:pt x="336" y="171"/>
                </a:cubicBezTo>
                <a:cubicBezTo>
                  <a:pt x="336" y="172"/>
                  <a:pt x="336" y="172"/>
                  <a:pt x="335" y="173"/>
                </a:cubicBezTo>
                <a:cubicBezTo>
                  <a:pt x="336" y="173"/>
                  <a:pt x="336" y="173"/>
                  <a:pt x="337" y="173"/>
                </a:cubicBezTo>
                <a:cubicBezTo>
                  <a:pt x="337" y="173"/>
                  <a:pt x="338" y="172"/>
                  <a:pt x="338" y="171"/>
                </a:cubicBezTo>
                <a:cubicBezTo>
                  <a:pt x="338" y="170"/>
                  <a:pt x="339" y="169"/>
                  <a:pt x="341" y="169"/>
                </a:cubicBezTo>
                <a:cubicBezTo>
                  <a:pt x="341" y="169"/>
                  <a:pt x="342" y="169"/>
                  <a:pt x="342" y="168"/>
                </a:cubicBezTo>
                <a:cubicBezTo>
                  <a:pt x="343" y="168"/>
                  <a:pt x="343" y="168"/>
                  <a:pt x="343" y="168"/>
                </a:cubicBezTo>
                <a:cubicBezTo>
                  <a:pt x="343" y="168"/>
                  <a:pt x="344" y="169"/>
                  <a:pt x="344" y="169"/>
                </a:cubicBezTo>
                <a:cubicBezTo>
                  <a:pt x="345" y="170"/>
                  <a:pt x="347" y="170"/>
                  <a:pt x="348" y="170"/>
                </a:cubicBezTo>
                <a:cubicBezTo>
                  <a:pt x="349" y="170"/>
                  <a:pt x="351" y="169"/>
                  <a:pt x="352" y="168"/>
                </a:cubicBezTo>
                <a:cubicBezTo>
                  <a:pt x="353" y="168"/>
                  <a:pt x="355" y="168"/>
                  <a:pt x="355" y="169"/>
                </a:cubicBezTo>
                <a:cubicBezTo>
                  <a:pt x="355" y="169"/>
                  <a:pt x="356" y="168"/>
                  <a:pt x="356" y="168"/>
                </a:cubicBezTo>
                <a:cubicBezTo>
                  <a:pt x="357" y="168"/>
                  <a:pt x="358" y="168"/>
                  <a:pt x="358" y="168"/>
                </a:cubicBezTo>
                <a:cubicBezTo>
                  <a:pt x="358" y="169"/>
                  <a:pt x="358" y="170"/>
                  <a:pt x="357" y="169"/>
                </a:cubicBezTo>
                <a:cubicBezTo>
                  <a:pt x="357" y="169"/>
                  <a:pt x="357" y="169"/>
                  <a:pt x="357" y="169"/>
                </a:cubicBezTo>
                <a:cubicBezTo>
                  <a:pt x="356" y="169"/>
                  <a:pt x="356" y="170"/>
                  <a:pt x="356" y="170"/>
                </a:cubicBezTo>
                <a:cubicBezTo>
                  <a:pt x="355" y="171"/>
                  <a:pt x="355" y="171"/>
                  <a:pt x="354" y="170"/>
                </a:cubicBezTo>
                <a:cubicBezTo>
                  <a:pt x="354" y="170"/>
                  <a:pt x="354" y="169"/>
                  <a:pt x="354" y="169"/>
                </a:cubicBezTo>
                <a:cubicBezTo>
                  <a:pt x="352" y="169"/>
                  <a:pt x="351" y="170"/>
                  <a:pt x="351" y="171"/>
                </a:cubicBezTo>
                <a:cubicBezTo>
                  <a:pt x="352" y="172"/>
                  <a:pt x="352" y="173"/>
                  <a:pt x="352" y="174"/>
                </a:cubicBezTo>
                <a:cubicBezTo>
                  <a:pt x="352" y="175"/>
                  <a:pt x="351" y="176"/>
                  <a:pt x="351" y="177"/>
                </a:cubicBezTo>
                <a:cubicBezTo>
                  <a:pt x="350" y="177"/>
                  <a:pt x="350" y="177"/>
                  <a:pt x="349" y="178"/>
                </a:cubicBezTo>
                <a:cubicBezTo>
                  <a:pt x="347" y="178"/>
                  <a:pt x="344" y="178"/>
                  <a:pt x="343" y="176"/>
                </a:cubicBezTo>
                <a:cubicBezTo>
                  <a:pt x="342" y="175"/>
                  <a:pt x="341" y="173"/>
                  <a:pt x="339" y="173"/>
                </a:cubicBezTo>
                <a:cubicBezTo>
                  <a:pt x="338" y="173"/>
                  <a:pt x="337" y="174"/>
                  <a:pt x="336" y="174"/>
                </a:cubicBezTo>
                <a:cubicBezTo>
                  <a:pt x="336" y="175"/>
                  <a:pt x="335" y="175"/>
                  <a:pt x="334" y="175"/>
                </a:cubicBezTo>
                <a:cubicBezTo>
                  <a:pt x="332" y="175"/>
                  <a:pt x="332" y="174"/>
                  <a:pt x="331" y="173"/>
                </a:cubicBezTo>
                <a:cubicBezTo>
                  <a:pt x="330" y="172"/>
                  <a:pt x="330" y="172"/>
                  <a:pt x="330" y="172"/>
                </a:cubicBezTo>
                <a:cubicBezTo>
                  <a:pt x="330" y="172"/>
                  <a:pt x="330" y="171"/>
                  <a:pt x="330" y="171"/>
                </a:cubicBezTo>
                <a:cubicBezTo>
                  <a:pt x="329" y="170"/>
                  <a:pt x="329" y="170"/>
                  <a:pt x="328" y="169"/>
                </a:cubicBezTo>
                <a:cubicBezTo>
                  <a:pt x="328" y="169"/>
                  <a:pt x="328" y="169"/>
                  <a:pt x="327" y="169"/>
                </a:cubicBezTo>
                <a:cubicBezTo>
                  <a:pt x="327" y="168"/>
                  <a:pt x="327" y="168"/>
                  <a:pt x="327" y="167"/>
                </a:cubicBezTo>
                <a:cubicBezTo>
                  <a:pt x="328" y="167"/>
                  <a:pt x="328" y="166"/>
                  <a:pt x="328" y="166"/>
                </a:cubicBezTo>
                <a:cubicBezTo>
                  <a:pt x="329" y="166"/>
                  <a:pt x="329" y="165"/>
                  <a:pt x="329" y="165"/>
                </a:cubicBezTo>
                <a:cubicBezTo>
                  <a:pt x="328" y="164"/>
                  <a:pt x="328" y="164"/>
                  <a:pt x="327" y="164"/>
                </a:cubicBezTo>
                <a:cubicBezTo>
                  <a:pt x="327" y="164"/>
                  <a:pt x="327" y="163"/>
                  <a:pt x="326" y="163"/>
                </a:cubicBezTo>
                <a:cubicBezTo>
                  <a:pt x="326" y="162"/>
                  <a:pt x="325" y="161"/>
                  <a:pt x="325" y="160"/>
                </a:cubicBezTo>
                <a:cubicBezTo>
                  <a:pt x="325" y="160"/>
                  <a:pt x="325" y="159"/>
                  <a:pt x="324" y="159"/>
                </a:cubicBezTo>
                <a:cubicBezTo>
                  <a:pt x="324" y="159"/>
                  <a:pt x="324" y="159"/>
                  <a:pt x="324" y="159"/>
                </a:cubicBezTo>
                <a:cubicBezTo>
                  <a:pt x="324" y="159"/>
                  <a:pt x="323" y="159"/>
                  <a:pt x="323" y="159"/>
                </a:cubicBezTo>
                <a:cubicBezTo>
                  <a:pt x="322" y="159"/>
                  <a:pt x="322" y="159"/>
                  <a:pt x="322" y="159"/>
                </a:cubicBezTo>
                <a:cubicBezTo>
                  <a:pt x="322" y="159"/>
                  <a:pt x="322" y="160"/>
                  <a:pt x="322" y="160"/>
                </a:cubicBezTo>
                <a:cubicBezTo>
                  <a:pt x="322" y="160"/>
                  <a:pt x="321" y="161"/>
                  <a:pt x="321" y="161"/>
                </a:cubicBezTo>
                <a:cubicBezTo>
                  <a:pt x="321" y="161"/>
                  <a:pt x="321" y="162"/>
                  <a:pt x="321" y="162"/>
                </a:cubicBezTo>
                <a:cubicBezTo>
                  <a:pt x="321" y="162"/>
                  <a:pt x="321" y="162"/>
                  <a:pt x="321" y="163"/>
                </a:cubicBezTo>
                <a:cubicBezTo>
                  <a:pt x="321" y="163"/>
                  <a:pt x="322" y="164"/>
                  <a:pt x="322" y="164"/>
                </a:cubicBezTo>
                <a:cubicBezTo>
                  <a:pt x="322" y="165"/>
                  <a:pt x="322" y="165"/>
                  <a:pt x="322" y="165"/>
                </a:cubicBezTo>
                <a:cubicBezTo>
                  <a:pt x="323" y="165"/>
                  <a:pt x="323" y="166"/>
                  <a:pt x="323" y="166"/>
                </a:cubicBezTo>
                <a:cubicBezTo>
                  <a:pt x="324" y="166"/>
                  <a:pt x="326" y="167"/>
                  <a:pt x="326" y="168"/>
                </a:cubicBezTo>
                <a:cubicBezTo>
                  <a:pt x="327" y="168"/>
                  <a:pt x="327" y="169"/>
                  <a:pt x="328" y="170"/>
                </a:cubicBezTo>
                <a:cubicBezTo>
                  <a:pt x="328" y="170"/>
                  <a:pt x="329" y="171"/>
                  <a:pt x="329" y="171"/>
                </a:cubicBezTo>
                <a:cubicBezTo>
                  <a:pt x="329" y="172"/>
                  <a:pt x="330" y="173"/>
                  <a:pt x="330" y="173"/>
                </a:cubicBezTo>
                <a:cubicBezTo>
                  <a:pt x="330" y="174"/>
                  <a:pt x="330" y="175"/>
                  <a:pt x="330" y="176"/>
                </a:cubicBezTo>
                <a:cubicBezTo>
                  <a:pt x="330" y="176"/>
                  <a:pt x="330" y="178"/>
                  <a:pt x="330" y="178"/>
                </a:cubicBezTo>
                <a:cubicBezTo>
                  <a:pt x="331" y="178"/>
                  <a:pt x="331" y="177"/>
                  <a:pt x="332" y="177"/>
                </a:cubicBezTo>
                <a:cubicBezTo>
                  <a:pt x="332" y="177"/>
                  <a:pt x="333" y="176"/>
                  <a:pt x="334" y="177"/>
                </a:cubicBezTo>
                <a:cubicBezTo>
                  <a:pt x="337" y="177"/>
                  <a:pt x="340" y="179"/>
                  <a:pt x="341" y="181"/>
                </a:cubicBezTo>
                <a:cubicBezTo>
                  <a:pt x="341" y="181"/>
                  <a:pt x="341" y="182"/>
                  <a:pt x="341" y="182"/>
                </a:cubicBezTo>
                <a:cubicBezTo>
                  <a:pt x="341" y="182"/>
                  <a:pt x="341" y="182"/>
                  <a:pt x="341" y="183"/>
                </a:cubicBezTo>
                <a:cubicBezTo>
                  <a:pt x="341" y="183"/>
                  <a:pt x="341" y="184"/>
                  <a:pt x="340" y="185"/>
                </a:cubicBezTo>
                <a:cubicBezTo>
                  <a:pt x="339" y="185"/>
                  <a:pt x="340" y="184"/>
                  <a:pt x="340" y="183"/>
                </a:cubicBezTo>
                <a:cubicBezTo>
                  <a:pt x="340" y="183"/>
                  <a:pt x="340" y="182"/>
                  <a:pt x="340" y="182"/>
                </a:cubicBezTo>
                <a:cubicBezTo>
                  <a:pt x="340" y="183"/>
                  <a:pt x="339" y="183"/>
                  <a:pt x="338" y="183"/>
                </a:cubicBezTo>
                <a:cubicBezTo>
                  <a:pt x="338" y="182"/>
                  <a:pt x="338" y="182"/>
                  <a:pt x="337" y="182"/>
                </a:cubicBezTo>
                <a:cubicBezTo>
                  <a:pt x="337" y="181"/>
                  <a:pt x="336" y="181"/>
                  <a:pt x="336" y="181"/>
                </a:cubicBezTo>
                <a:cubicBezTo>
                  <a:pt x="335" y="181"/>
                  <a:pt x="335" y="182"/>
                  <a:pt x="335" y="182"/>
                </a:cubicBezTo>
                <a:cubicBezTo>
                  <a:pt x="333" y="185"/>
                  <a:pt x="332" y="187"/>
                  <a:pt x="331" y="190"/>
                </a:cubicBezTo>
                <a:cubicBezTo>
                  <a:pt x="330" y="190"/>
                  <a:pt x="330" y="190"/>
                  <a:pt x="330" y="190"/>
                </a:cubicBezTo>
                <a:cubicBezTo>
                  <a:pt x="330" y="189"/>
                  <a:pt x="330" y="189"/>
                  <a:pt x="330" y="189"/>
                </a:cubicBezTo>
                <a:cubicBezTo>
                  <a:pt x="329" y="189"/>
                  <a:pt x="329" y="187"/>
                  <a:pt x="328" y="187"/>
                </a:cubicBezTo>
                <a:cubicBezTo>
                  <a:pt x="327" y="187"/>
                  <a:pt x="326" y="188"/>
                  <a:pt x="324" y="188"/>
                </a:cubicBezTo>
                <a:cubicBezTo>
                  <a:pt x="323" y="189"/>
                  <a:pt x="321" y="187"/>
                  <a:pt x="320" y="188"/>
                </a:cubicBezTo>
                <a:cubicBezTo>
                  <a:pt x="320" y="188"/>
                  <a:pt x="320" y="187"/>
                  <a:pt x="319" y="187"/>
                </a:cubicBezTo>
                <a:cubicBezTo>
                  <a:pt x="318" y="187"/>
                  <a:pt x="318" y="187"/>
                  <a:pt x="317" y="187"/>
                </a:cubicBezTo>
                <a:cubicBezTo>
                  <a:pt x="316" y="187"/>
                  <a:pt x="315" y="187"/>
                  <a:pt x="313" y="187"/>
                </a:cubicBezTo>
                <a:cubicBezTo>
                  <a:pt x="311" y="187"/>
                  <a:pt x="308" y="187"/>
                  <a:pt x="305" y="188"/>
                </a:cubicBezTo>
                <a:cubicBezTo>
                  <a:pt x="305" y="187"/>
                  <a:pt x="305" y="187"/>
                  <a:pt x="305" y="186"/>
                </a:cubicBezTo>
                <a:cubicBezTo>
                  <a:pt x="305" y="186"/>
                  <a:pt x="305" y="185"/>
                  <a:pt x="305" y="184"/>
                </a:cubicBezTo>
                <a:cubicBezTo>
                  <a:pt x="304" y="184"/>
                  <a:pt x="304" y="183"/>
                  <a:pt x="303" y="183"/>
                </a:cubicBezTo>
                <a:cubicBezTo>
                  <a:pt x="303" y="184"/>
                  <a:pt x="302" y="184"/>
                  <a:pt x="302" y="183"/>
                </a:cubicBezTo>
                <a:cubicBezTo>
                  <a:pt x="302" y="182"/>
                  <a:pt x="304" y="182"/>
                  <a:pt x="304" y="182"/>
                </a:cubicBezTo>
                <a:cubicBezTo>
                  <a:pt x="305" y="181"/>
                  <a:pt x="305" y="179"/>
                  <a:pt x="305" y="178"/>
                </a:cubicBezTo>
                <a:cubicBezTo>
                  <a:pt x="305" y="177"/>
                  <a:pt x="305" y="175"/>
                  <a:pt x="307" y="174"/>
                </a:cubicBezTo>
                <a:cubicBezTo>
                  <a:pt x="306" y="174"/>
                  <a:pt x="306" y="173"/>
                  <a:pt x="306" y="172"/>
                </a:cubicBezTo>
                <a:cubicBezTo>
                  <a:pt x="305" y="171"/>
                  <a:pt x="305" y="171"/>
                  <a:pt x="304" y="171"/>
                </a:cubicBezTo>
                <a:cubicBezTo>
                  <a:pt x="305" y="171"/>
                  <a:pt x="305" y="171"/>
                  <a:pt x="306" y="170"/>
                </a:cubicBezTo>
                <a:cubicBezTo>
                  <a:pt x="304" y="170"/>
                  <a:pt x="302" y="170"/>
                  <a:pt x="300" y="170"/>
                </a:cubicBezTo>
                <a:cubicBezTo>
                  <a:pt x="298" y="170"/>
                  <a:pt x="297" y="171"/>
                  <a:pt x="295" y="171"/>
                </a:cubicBezTo>
                <a:cubicBezTo>
                  <a:pt x="294" y="172"/>
                  <a:pt x="293" y="173"/>
                  <a:pt x="292" y="174"/>
                </a:cubicBezTo>
                <a:cubicBezTo>
                  <a:pt x="291" y="175"/>
                  <a:pt x="291" y="175"/>
                  <a:pt x="291" y="176"/>
                </a:cubicBezTo>
                <a:cubicBezTo>
                  <a:pt x="290" y="176"/>
                  <a:pt x="290" y="176"/>
                  <a:pt x="290" y="177"/>
                </a:cubicBezTo>
                <a:cubicBezTo>
                  <a:pt x="290" y="177"/>
                  <a:pt x="290" y="177"/>
                  <a:pt x="289" y="177"/>
                </a:cubicBezTo>
                <a:cubicBezTo>
                  <a:pt x="289" y="177"/>
                  <a:pt x="289" y="176"/>
                  <a:pt x="289" y="175"/>
                </a:cubicBezTo>
                <a:cubicBezTo>
                  <a:pt x="288" y="176"/>
                  <a:pt x="288" y="176"/>
                  <a:pt x="287" y="176"/>
                </a:cubicBezTo>
                <a:cubicBezTo>
                  <a:pt x="288" y="175"/>
                  <a:pt x="288" y="175"/>
                  <a:pt x="288" y="175"/>
                </a:cubicBezTo>
                <a:cubicBezTo>
                  <a:pt x="288" y="174"/>
                  <a:pt x="287" y="174"/>
                  <a:pt x="287" y="175"/>
                </a:cubicBezTo>
                <a:cubicBezTo>
                  <a:pt x="286" y="175"/>
                  <a:pt x="285" y="177"/>
                  <a:pt x="283" y="177"/>
                </a:cubicBezTo>
                <a:cubicBezTo>
                  <a:pt x="282" y="177"/>
                  <a:pt x="282" y="177"/>
                  <a:pt x="281" y="178"/>
                </a:cubicBezTo>
                <a:cubicBezTo>
                  <a:pt x="281" y="178"/>
                  <a:pt x="281" y="178"/>
                  <a:pt x="281" y="179"/>
                </a:cubicBezTo>
                <a:cubicBezTo>
                  <a:pt x="281" y="179"/>
                  <a:pt x="280" y="179"/>
                  <a:pt x="280" y="180"/>
                </a:cubicBezTo>
                <a:cubicBezTo>
                  <a:pt x="279" y="180"/>
                  <a:pt x="279" y="180"/>
                  <a:pt x="279" y="181"/>
                </a:cubicBezTo>
                <a:cubicBezTo>
                  <a:pt x="279" y="181"/>
                  <a:pt x="279" y="182"/>
                  <a:pt x="279" y="182"/>
                </a:cubicBezTo>
                <a:cubicBezTo>
                  <a:pt x="279" y="182"/>
                  <a:pt x="279" y="182"/>
                  <a:pt x="279" y="182"/>
                </a:cubicBezTo>
                <a:cubicBezTo>
                  <a:pt x="279" y="182"/>
                  <a:pt x="279" y="183"/>
                  <a:pt x="280" y="183"/>
                </a:cubicBezTo>
                <a:cubicBezTo>
                  <a:pt x="280" y="183"/>
                  <a:pt x="280" y="183"/>
                  <a:pt x="280" y="183"/>
                </a:cubicBezTo>
                <a:cubicBezTo>
                  <a:pt x="281" y="183"/>
                  <a:pt x="282" y="184"/>
                  <a:pt x="283" y="184"/>
                </a:cubicBezTo>
                <a:cubicBezTo>
                  <a:pt x="283" y="185"/>
                  <a:pt x="283" y="185"/>
                  <a:pt x="283" y="185"/>
                </a:cubicBezTo>
                <a:cubicBezTo>
                  <a:pt x="283" y="185"/>
                  <a:pt x="283" y="185"/>
                  <a:pt x="283" y="185"/>
                </a:cubicBezTo>
                <a:cubicBezTo>
                  <a:pt x="282" y="186"/>
                  <a:pt x="281" y="186"/>
                  <a:pt x="280" y="186"/>
                </a:cubicBezTo>
                <a:cubicBezTo>
                  <a:pt x="279" y="186"/>
                  <a:pt x="278" y="186"/>
                  <a:pt x="277" y="186"/>
                </a:cubicBezTo>
                <a:cubicBezTo>
                  <a:pt x="276" y="186"/>
                  <a:pt x="276" y="185"/>
                  <a:pt x="275" y="185"/>
                </a:cubicBezTo>
                <a:cubicBezTo>
                  <a:pt x="275" y="185"/>
                  <a:pt x="275" y="184"/>
                  <a:pt x="275" y="184"/>
                </a:cubicBezTo>
                <a:cubicBezTo>
                  <a:pt x="272" y="185"/>
                  <a:pt x="271" y="186"/>
                  <a:pt x="268" y="187"/>
                </a:cubicBezTo>
                <a:cubicBezTo>
                  <a:pt x="268" y="187"/>
                  <a:pt x="268" y="188"/>
                  <a:pt x="267" y="188"/>
                </a:cubicBezTo>
                <a:cubicBezTo>
                  <a:pt x="267" y="188"/>
                  <a:pt x="267" y="188"/>
                  <a:pt x="267" y="189"/>
                </a:cubicBezTo>
                <a:cubicBezTo>
                  <a:pt x="267" y="189"/>
                  <a:pt x="267" y="189"/>
                  <a:pt x="267" y="189"/>
                </a:cubicBezTo>
                <a:cubicBezTo>
                  <a:pt x="267" y="190"/>
                  <a:pt x="266" y="190"/>
                  <a:pt x="266" y="190"/>
                </a:cubicBezTo>
                <a:cubicBezTo>
                  <a:pt x="266" y="190"/>
                  <a:pt x="265" y="190"/>
                  <a:pt x="265" y="190"/>
                </a:cubicBezTo>
                <a:cubicBezTo>
                  <a:pt x="264" y="190"/>
                  <a:pt x="265" y="190"/>
                  <a:pt x="265" y="191"/>
                </a:cubicBezTo>
                <a:cubicBezTo>
                  <a:pt x="265" y="191"/>
                  <a:pt x="265" y="191"/>
                  <a:pt x="265" y="192"/>
                </a:cubicBezTo>
                <a:cubicBezTo>
                  <a:pt x="265" y="192"/>
                  <a:pt x="265" y="192"/>
                  <a:pt x="265" y="192"/>
                </a:cubicBezTo>
                <a:cubicBezTo>
                  <a:pt x="264" y="193"/>
                  <a:pt x="263" y="194"/>
                  <a:pt x="262" y="194"/>
                </a:cubicBezTo>
                <a:cubicBezTo>
                  <a:pt x="261" y="194"/>
                  <a:pt x="261" y="194"/>
                  <a:pt x="261" y="193"/>
                </a:cubicBezTo>
                <a:cubicBezTo>
                  <a:pt x="260" y="194"/>
                  <a:pt x="259" y="194"/>
                  <a:pt x="258" y="195"/>
                </a:cubicBezTo>
                <a:cubicBezTo>
                  <a:pt x="257" y="195"/>
                  <a:pt x="257" y="195"/>
                  <a:pt x="257" y="195"/>
                </a:cubicBezTo>
                <a:cubicBezTo>
                  <a:pt x="257" y="195"/>
                  <a:pt x="258" y="195"/>
                  <a:pt x="258" y="195"/>
                </a:cubicBezTo>
                <a:cubicBezTo>
                  <a:pt x="257" y="196"/>
                  <a:pt x="257" y="196"/>
                  <a:pt x="257" y="196"/>
                </a:cubicBezTo>
                <a:cubicBezTo>
                  <a:pt x="257" y="196"/>
                  <a:pt x="258" y="196"/>
                  <a:pt x="258" y="197"/>
                </a:cubicBezTo>
                <a:cubicBezTo>
                  <a:pt x="258" y="197"/>
                  <a:pt x="258" y="197"/>
                  <a:pt x="258" y="198"/>
                </a:cubicBezTo>
                <a:cubicBezTo>
                  <a:pt x="257" y="198"/>
                  <a:pt x="257" y="198"/>
                  <a:pt x="257" y="198"/>
                </a:cubicBezTo>
                <a:cubicBezTo>
                  <a:pt x="256" y="198"/>
                  <a:pt x="256" y="199"/>
                  <a:pt x="256" y="199"/>
                </a:cubicBezTo>
                <a:cubicBezTo>
                  <a:pt x="255" y="199"/>
                  <a:pt x="255" y="199"/>
                  <a:pt x="254" y="199"/>
                </a:cubicBezTo>
                <a:cubicBezTo>
                  <a:pt x="253" y="199"/>
                  <a:pt x="253" y="201"/>
                  <a:pt x="252" y="201"/>
                </a:cubicBezTo>
                <a:cubicBezTo>
                  <a:pt x="252" y="201"/>
                  <a:pt x="251" y="201"/>
                  <a:pt x="251" y="200"/>
                </a:cubicBezTo>
                <a:cubicBezTo>
                  <a:pt x="251" y="200"/>
                  <a:pt x="251" y="200"/>
                  <a:pt x="251" y="200"/>
                </a:cubicBezTo>
                <a:cubicBezTo>
                  <a:pt x="251" y="200"/>
                  <a:pt x="251" y="199"/>
                  <a:pt x="251" y="199"/>
                </a:cubicBezTo>
                <a:cubicBezTo>
                  <a:pt x="252" y="198"/>
                  <a:pt x="253" y="198"/>
                  <a:pt x="253" y="198"/>
                </a:cubicBezTo>
                <a:cubicBezTo>
                  <a:pt x="254" y="197"/>
                  <a:pt x="255" y="197"/>
                  <a:pt x="255" y="196"/>
                </a:cubicBezTo>
                <a:cubicBezTo>
                  <a:pt x="255" y="196"/>
                  <a:pt x="255" y="196"/>
                  <a:pt x="255" y="196"/>
                </a:cubicBezTo>
                <a:cubicBezTo>
                  <a:pt x="255" y="196"/>
                  <a:pt x="255" y="196"/>
                  <a:pt x="255" y="196"/>
                </a:cubicBezTo>
                <a:cubicBezTo>
                  <a:pt x="254" y="196"/>
                  <a:pt x="253" y="197"/>
                  <a:pt x="252" y="198"/>
                </a:cubicBezTo>
                <a:cubicBezTo>
                  <a:pt x="251" y="198"/>
                  <a:pt x="251" y="198"/>
                  <a:pt x="250" y="199"/>
                </a:cubicBezTo>
                <a:cubicBezTo>
                  <a:pt x="250" y="200"/>
                  <a:pt x="250" y="200"/>
                  <a:pt x="250" y="201"/>
                </a:cubicBezTo>
                <a:cubicBezTo>
                  <a:pt x="250" y="202"/>
                  <a:pt x="251" y="203"/>
                  <a:pt x="252" y="204"/>
                </a:cubicBezTo>
                <a:cubicBezTo>
                  <a:pt x="254" y="205"/>
                  <a:pt x="255" y="206"/>
                  <a:pt x="256" y="207"/>
                </a:cubicBezTo>
                <a:cubicBezTo>
                  <a:pt x="257" y="208"/>
                  <a:pt x="259" y="208"/>
                  <a:pt x="260" y="208"/>
                </a:cubicBezTo>
                <a:cubicBezTo>
                  <a:pt x="262" y="209"/>
                  <a:pt x="263" y="209"/>
                  <a:pt x="265" y="209"/>
                </a:cubicBezTo>
                <a:cubicBezTo>
                  <a:pt x="266" y="209"/>
                  <a:pt x="268" y="209"/>
                  <a:pt x="269" y="210"/>
                </a:cubicBezTo>
                <a:cubicBezTo>
                  <a:pt x="271" y="211"/>
                  <a:pt x="273" y="211"/>
                  <a:pt x="275" y="212"/>
                </a:cubicBezTo>
                <a:cubicBezTo>
                  <a:pt x="275" y="212"/>
                  <a:pt x="276" y="213"/>
                  <a:pt x="277" y="213"/>
                </a:cubicBezTo>
                <a:cubicBezTo>
                  <a:pt x="277" y="214"/>
                  <a:pt x="277" y="214"/>
                  <a:pt x="277" y="215"/>
                </a:cubicBezTo>
                <a:cubicBezTo>
                  <a:pt x="278" y="215"/>
                  <a:pt x="278" y="215"/>
                  <a:pt x="279" y="215"/>
                </a:cubicBezTo>
                <a:cubicBezTo>
                  <a:pt x="280" y="215"/>
                  <a:pt x="280" y="215"/>
                  <a:pt x="280" y="215"/>
                </a:cubicBezTo>
                <a:cubicBezTo>
                  <a:pt x="281" y="215"/>
                  <a:pt x="281" y="214"/>
                  <a:pt x="280" y="214"/>
                </a:cubicBezTo>
                <a:cubicBezTo>
                  <a:pt x="280" y="213"/>
                  <a:pt x="279" y="213"/>
                  <a:pt x="279" y="212"/>
                </a:cubicBezTo>
                <a:cubicBezTo>
                  <a:pt x="279" y="212"/>
                  <a:pt x="280" y="211"/>
                  <a:pt x="280" y="211"/>
                </a:cubicBezTo>
                <a:cubicBezTo>
                  <a:pt x="280" y="212"/>
                  <a:pt x="280" y="213"/>
                  <a:pt x="281" y="213"/>
                </a:cubicBezTo>
                <a:cubicBezTo>
                  <a:pt x="281" y="214"/>
                  <a:pt x="282" y="214"/>
                  <a:pt x="282" y="215"/>
                </a:cubicBezTo>
                <a:cubicBezTo>
                  <a:pt x="283" y="215"/>
                  <a:pt x="284" y="215"/>
                  <a:pt x="284" y="215"/>
                </a:cubicBezTo>
                <a:cubicBezTo>
                  <a:pt x="284" y="215"/>
                  <a:pt x="284" y="214"/>
                  <a:pt x="284" y="214"/>
                </a:cubicBezTo>
                <a:cubicBezTo>
                  <a:pt x="285" y="214"/>
                  <a:pt x="285" y="214"/>
                  <a:pt x="285" y="215"/>
                </a:cubicBezTo>
                <a:cubicBezTo>
                  <a:pt x="285" y="215"/>
                  <a:pt x="285" y="216"/>
                  <a:pt x="285" y="216"/>
                </a:cubicBezTo>
                <a:cubicBezTo>
                  <a:pt x="284" y="217"/>
                  <a:pt x="283" y="218"/>
                  <a:pt x="282" y="219"/>
                </a:cubicBezTo>
                <a:cubicBezTo>
                  <a:pt x="281" y="219"/>
                  <a:pt x="281" y="219"/>
                  <a:pt x="281" y="219"/>
                </a:cubicBezTo>
                <a:cubicBezTo>
                  <a:pt x="281" y="219"/>
                  <a:pt x="281" y="219"/>
                  <a:pt x="281" y="219"/>
                </a:cubicBezTo>
                <a:cubicBezTo>
                  <a:pt x="280" y="218"/>
                  <a:pt x="279" y="217"/>
                  <a:pt x="278" y="217"/>
                </a:cubicBezTo>
                <a:cubicBezTo>
                  <a:pt x="278" y="216"/>
                  <a:pt x="277" y="215"/>
                  <a:pt x="276" y="215"/>
                </a:cubicBezTo>
                <a:cubicBezTo>
                  <a:pt x="276" y="215"/>
                  <a:pt x="276" y="214"/>
                  <a:pt x="276" y="214"/>
                </a:cubicBezTo>
                <a:cubicBezTo>
                  <a:pt x="276" y="213"/>
                  <a:pt x="275" y="213"/>
                  <a:pt x="274" y="213"/>
                </a:cubicBezTo>
                <a:cubicBezTo>
                  <a:pt x="273" y="212"/>
                  <a:pt x="272" y="212"/>
                  <a:pt x="272" y="213"/>
                </a:cubicBezTo>
                <a:cubicBezTo>
                  <a:pt x="271" y="214"/>
                  <a:pt x="271" y="215"/>
                  <a:pt x="270" y="216"/>
                </a:cubicBezTo>
                <a:cubicBezTo>
                  <a:pt x="269" y="217"/>
                  <a:pt x="267" y="217"/>
                  <a:pt x="266" y="216"/>
                </a:cubicBezTo>
                <a:cubicBezTo>
                  <a:pt x="266" y="216"/>
                  <a:pt x="266" y="216"/>
                  <a:pt x="266" y="216"/>
                </a:cubicBezTo>
                <a:cubicBezTo>
                  <a:pt x="266" y="216"/>
                  <a:pt x="265" y="217"/>
                  <a:pt x="266" y="217"/>
                </a:cubicBezTo>
                <a:cubicBezTo>
                  <a:pt x="266" y="217"/>
                  <a:pt x="266" y="218"/>
                  <a:pt x="266" y="218"/>
                </a:cubicBezTo>
                <a:cubicBezTo>
                  <a:pt x="267" y="218"/>
                  <a:pt x="268" y="219"/>
                  <a:pt x="268" y="219"/>
                </a:cubicBezTo>
                <a:cubicBezTo>
                  <a:pt x="268" y="220"/>
                  <a:pt x="268" y="220"/>
                  <a:pt x="268" y="221"/>
                </a:cubicBezTo>
                <a:cubicBezTo>
                  <a:pt x="269" y="222"/>
                  <a:pt x="271" y="222"/>
                  <a:pt x="272" y="224"/>
                </a:cubicBezTo>
                <a:cubicBezTo>
                  <a:pt x="272" y="225"/>
                  <a:pt x="272" y="225"/>
                  <a:pt x="272" y="225"/>
                </a:cubicBezTo>
                <a:cubicBezTo>
                  <a:pt x="272" y="226"/>
                  <a:pt x="272" y="226"/>
                  <a:pt x="273" y="226"/>
                </a:cubicBezTo>
                <a:cubicBezTo>
                  <a:pt x="272" y="227"/>
                  <a:pt x="271" y="226"/>
                  <a:pt x="271" y="227"/>
                </a:cubicBezTo>
                <a:cubicBezTo>
                  <a:pt x="270" y="227"/>
                  <a:pt x="270" y="227"/>
                  <a:pt x="271" y="227"/>
                </a:cubicBezTo>
                <a:cubicBezTo>
                  <a:pt x="271" y="230"/>
                  <a:pt x="272" y="232"/>
                  <a:pt x="274" y="233"/>
                </a:cubicBezTo>
                <a:cubicBezTo>
                  <a:pt x="275" y="233"/>
                  <a:pt x="277" y="234"/>
                  <a:pt x="278" y="234"/>
                </a:cubicBezTo>
                <a:cubicBezTo>
                  <a:pt x="282" y="235"/>
                  <a:pt x="286" y="235"/>
                  <a:pt x="289" y="238"/>
                </a:cubicBezTo>
                <a:cubicBezTo>
                  <a:pt x="290" y="238"/>
                  <a:pt x="291" y="237"/>
                  <a:pt x="291" y="236"/>
                </a:cubicBezTo>
                <a:cubicBezTo>
                  <a:pt x="292" y="236"/>
                  <a:pt x="293" y="235"/>
                  <a:pt x="293" y="235"/>
                </a:cubicBezTo>
                <a:cubicBezTo>
                  <a:pt x="294" y="235"/>
                  <a:pt x="294" y="235"/>
                  <a:pt x="294" y="235"/>
                </a:cubicBezTo>
                <a:cubicBezTo>
                  <a:pt x="295" y="236"/>
                  <a:pt x="296" y="235"/>
                  <a:pt x="297" y="235"/>
                </a:cubicBezTo>
                <a:cubicBezTo>
                  <a:pt x="297" y="234"/>
                  <a:pt x="298" y="233"/>
                  <a:pt x="299" y="233"/>
                </a:cubicBezTo>
                <a:cubicBezTo>
                  <a:pt x="300" y="233"/>
                  <a:pt x="301" y="234"/>
                  <a:pt x="302" y="234"/>
                </a:cubicBezTo>
                <a:cubicBezTo>
                  <a:pt x="304" y="234"/>
                  <a:pt x="305" y="233"/>
                  <a:pt x="307" y="233"/>
                </a:cubicBezTo>
                <a:cubicBezTo>
                  <a:pt x="309" y="233"/>
                  <a:pt x="311" y="235"/>
                  <a:pt x="313" y="237"/>
                </a:cubicBezTo>
                <a:cubicBezTo>
                  <a:pt x="313" y="238"/>
                  <a:pt x="313" y="238"/>
                  <a:pt x="313" y="238"/>
                </a:cubicBezTo>
                <a:cubicBezTo>
                  <a:pt x="314" y="238"/>
                  <a:pt x="315" y="237"/>
                  <a:pt x="315" y="236"/>
                </a:cubicBezTo>
                <a:cubicBezTo>
                  <a:pt x="315" y="236"/>
                  <a:pt x="314" y="235"/>
                  <a:pt x="313" y="235"/>
                </a:cubicBezTo>
                <a:cubicBezTo>
                  <a:pt x="312" y="234"/>
                  <a:pt x="311" y="234"/>
                  <a:pt x="311" y="233"/>
                </a:cubicBezTo>
                <a:cubicBezTo>
                  <a:pt x="311" y="233"/>
                  <a:pt x="311" y="232"/>
                  <a:pt x="311" y="232"/>
                </a:cubicBezTo>
                <a:cubicBezTo>
                  <a:pt x="311" y="231"/>
                  <a:pt x="312" y="231"/>
                  <a:pt x="313" y="231"/>
                </a:cubicBezTo>
                <a:cubicBezTo>
                  <a:pt x="313" y="231"/>
                  <a:pt x="314" y="232"/>
                  <a:pt x="314" y="232"/>
                </a:cubicBezTo>
                <a:cubicBezTo>
                  <a:pt x="315" y="233"/>
                  <a:pt x="316" y="234"/>
                  <a:pt x="317" y="235"/>
                </a:cubicBezTo>
                <a:cubicBezTo>
                  <a:pt x="317" y="237"/>
                  <a:pt x="318" y="238"/>
                  <a:pt x="318" y="239"/>
                </a:cubicBezTo>
                <a:cubicBezTo>
                  <a:pt x="318" y="239"/>
                  <a:pt x="318" y="240"/>
                  <a:pt x="318" y="240"/>
                </a:cubicBezTo>
                <a:cubicBezTo>
                  <a:pt x="319" y="241"/>
                  <a:pt x="320" y="240"/>
                  <a:pt x="320" y="240"/>
                </a:cubicBezTo>
                <a:cubicBezTo>
                  <a:pt x="321" y="239"/>
                  <a:pt x="321" y="239"/>
                  <a:pt x="321" y="238"/>
                </a:cubicBezTo>
                <a:cubicBezTo>
                  <a:pt x="321" y="237"/>
                  <a:pt x="321" y="237"/>
                  <a:pt x="321" y="236"/>
                </a:cubicBezTo>
                <a:cubicBezTo>
                  <a:pt x="321" y="236"/>
                  <a:pt x="322" y="235"/>
                  <a:pt x="322" y="235"/>
                </a:cubicBezTo>
                <a:cubicBezTo>
                  <a:pt x="323" y="234"/>
                  <a:pt x="324" y="233"/>
                  <a:pt x="325" y="232"/>
                </a:cubicBezTo>
                <a:cubicBezTo>
                  <a:pt x="326" y="231"/>
                  <a:pt x="327" y="230"/>
                  <a:pt x="328" y="229"/>
                </a:cubicBezTo>
                <a:cubicBezTo>
                  <a:pt x="327" y="229"/>
                  <a:pt x="327" y="229"/>
                  <a:pt x="327" y="228"/>
                </a:cubicBezTo>
                <a:cubicBezTo>
                  <a:pt x="327" y="228"/>
                  <a:pt x="327" y="227"/>
                  <a:pt x="328" y="228"/>
                </a:cubicBezTo>
                <a:cubicBezTo>
                  <a:pt x="328" y="228"/>
                  <a:pt x="328" y="228"/>
                  <a:pt x="328" y="228"/>
                </a:cubicBezTo>
                <a:cubicBezTo>
                  <a:pt x="328" y="228"/>
                  <a:pt x="328" y="229"/>
                  <a:pt x="329" y="229"/>
                </a:cubicBezTo>
                <a:cubicBezTo>
                  <a:pt x="330" y="229"/>
                  <a:pt x="330" y="228"/>
                  <a:pt x="331" y="228"/>
                </a:cubicBezTo>
                <a:cubicBezTo>
                  <a:pt x="331" y="228"/>
                  <a:pt x="332" y="227"/>
                  <a:pt x="332" y="227"/>
                </a:cubicBezTo>
                <a:cubicBezTo>
                  <a:pt x="332" y="227"/>
                  <a:pt x="332" y="227"/>
                  <a:pt x="331" y="227"/>
                </a:cubicBezTo>
                <a:cubicBezTo>
                  <a:pt x="331" y="226"/>
                  <a:pt x="332" y="226"/>
                  <a:pt x="332" y="226"/>
                </a:cubicBezTo>
                <a:cubicBezTo>
                  <a:pt x="332" y="226"/>
                  <a:pt x="332" y="226"/>
                  <a:pt x="333" y="227"/>
                </a:cubicBezTo>
                <a:cubicBezTo>
                  <a:pt x="333" y="228"/>
                  <a:pt x="335" y="228"/>
                  <a:pt x="336" y="227"/>
                </a:cubicBezTo>
                <a:cubicBezTo>
                  <a:pt x="336" y="227"/>
                  <a:pt x="337" y="226"/>
                  <a:pt x="337" y="226"/>
                </a:cubicBezTo>
                <a:cubicBezTo>
                  <a:pt x="338" y="225"/>
                  <a:pt x="338" y="224"/>
                  <a:pt x="339" y="222"/>
                </a:cubicBezTo>
                <a:cubicBezTo>
                  <a:pt x="340" y="225"/>
                  <a:pt x="342" y="227"/>
                  <a:pt x="344" y="229"/>
                </a:cubicBezTo>
                <a:cubicBezTo>
                  <a:pt x="345" y="230"/>
                  <a:pt x="345" y="231"/>
                  <a:pt x="344" y="232"/>
                </a:cubicBezTo>
                <a:cubicBezTo>
                  <a:pt x="343" y="233"/>
                  <a:pt x="342" y="233"/>
                  <a:pt x="342" y="234"/>
                </a:cubicBezTo>
                <a:cubicBezTo>
                  <a:pt x="342" y="234"/>
                  <a:pt x="342" y="235"/>
                  <a:pt x="342" y="235"/>
                </a:cubicBezTo>
                <a:cubicBezTo>
                  <a:pt x="341" y="235"/>
                  <a:pt x="341" y="235"/>
                  <a:pt x="341" y="235"/>
                </a:cubicBezTo>
                <a:cubicBezTo>
                  <a:pt x="340" y="235"/>
                  <a:pt x="339" y="235"/>
                  <a:pt x="338" y="235"/>
                </a:cubicBezTo>
                <a:cubicBezTo>
                  <a:pt x="338" y="235"/>
                  <a:pt x="337" y="235"/>
                  <a:pt x="337" y="235"/>
                </a:cubicBezTo>
                <a:cubicBezTo>
                  <a:pt x="337" y="235"/>
                  <a:pt x="337" y="234"/>
                  <a:pt x="337" y="234"/>
                </a:cubicBezTo>
                <a:cubicBezTo>
                  <a:pt x="337" y="234"/>
                  <a:pt x="337" y="234"/>
                  <a:pt x="336" y="234"/>
                </a:cubicBezTo>
                <a:cubicBezTo>
                  <a:pt x="336" y="235"/>
                  <a:pt x="336" y="235"/>
                  <a:pt x="335" y="236"/>
                </a:cubicBezTo>
                <a:cubicBezTo>
                  <a:pt x="335" y="236"/>
                  <a:pt x="336" y="237"/>
                  <a:pt x="335" y="238"/>
                </a:cubicBezTo>
                <a:cubicBezTo>
                  <a:pt x="335" y="238"/>
                  <a:pt x="334" y="238"/>
                  <a:pt x="334" y="238"/>
                </a:cubicBezTo>
                <a:cubicBezTo>
                  <a:pt x="335" y="239"/>
                  <a:pt x="335" y="238"/>
                  <a:pt x="336" y="238"/>
                </a:cubicBezTo>
                <a:cubicBezTo>
                  <a:pt x="336" y="238"/>
                  <a:pt x="336" y="237"/>
                  <a:pt x="337" y="237"/>
                </a:cubicBezTo>
                <a:cubicBezTo>
                  <a:pt x="337" y="237"/>
                  <a:pt x="337" y="237"/>
                  <a:pt x="337" y="237"/>
                </a:cubicBezTo>
                <a:cubicBezTo>
                  <a:pt x="337" y="237"/>
                  <a:pt x="337" y="237"/>
                  <a:pt x="337" y="237"/>
                </a:cubicBezTo>
                <a:cubicBezTo>
                  <a:pt x="337" y="238"/>
                  <a:pt x="338" y="239"/>
                  <a:pt x="338" y="239"/>
                </a:cubicBezTo>
                <a:cubicBezTo>
                  <a:pt x="339" y="240"/>
                  <a:pt x="340" y="242"/>
                  <a:pt x="341" y="243"/>
                </a:cubicBezTo>
                <a:cubicBezTo>
                  <a:pt x="341" y="243"/>
                  <a:pt x="342" y="244"/>
                  <a:pt x="342" y="244"/>
                </a:cubicBezTo>
                <a:cubicBezTo>
                  <a:pt x="342" y="245"/>
                  <a:pt x="342" y="246"/>
                  <a:pt x="342" y="247"/>
                </a:cubicBezTo>
                <a:cubicBezTo>
                  <a:pt x="342" y="248"/>
                  <a:pt x="342" y="249"/>
                  <a:pt x="342" y="249"/>
                </a:cubicBezTo>
                <a:cubicBezTo>
                  <a:pt x="343" y="249"/>
                  <a:pt x="343" y="250"/>
                  <a:pt x="343" y="250"/>
                </a:cubicBezTo>
                <a:cubicBezTo>
                  <a:pt x="343" y="251"/>
                  <a:pt x="344" y="252"/>
                  <a:pt x="344" y="253"/>
                </a:cubicBezTo>
                <a:cubicBezTo>
                  <a:pt x="344" y="253"/>
                  <a:pt x="344" y="254"/>
                  <a:pt x="345" y="254"/>
                </a:cubicBezTo>
                <a:cubicBezTo>
                  <a:pt x="345" y="254"/>
                  <a:pt x="345" y="254"/>
                  <a:pt x="345" y="254"/>
                </a:cubicBezTo>
                <a:cubicBezTo>
                  <a:pt x="345" y="255"/>
                  <a:pt x="345" y="255"/>
                  <a:pt x="345" y="255"/>
                </a:cubicBezTo>
                <a:cubicBezTo>
                  <a:pt x="344" y="255"/>
                  <a:pt x="345" y="256"/>
                  <a:pt x="345" y="256"/>
                </a:cubicBezTo>
                <a:cubicBezTo>
                  <a:pt x="345" y="257"/>
                  <a:pt x="344" y="257"/>
                  <a:pt x="344" y="258"/>
                </a:cubicBezTo>
                <a:cubicBezTo>
                  <a:pt x="344" y="259"/>
                  <a:pt x="343" y="260"/>
                  <a:pt x="342" y="261"/>
                </a:cubicBezTo>
                <a:cubicBezTo>
                  <a:pt x="342" y="262"/>
                  <a:pt x="341" y="263"/>
                  <a:pt x="340" y="264"/>
                </a:cubicBezTo>
                <a:cubicBezTo>
                  <a:pt x="339" y="265"/>
                  <a:pt x="338" y="266"/>
                  <a:pt x="336" y="266"/>
                </a:cubicBezTo>
                <a:cubicBezTo>
                  <a:pt x="336" y="266"/>
                  <a:pt x="335" y="266"/>
                  <a:pt x="335" y="266"/>
                </a:cubicBezTo>
                <a:cubicBezTo>
                  <a:pt x="334" y="266"/>
                  <a:pt x="334" y="267"/>
                  <a:pt x="333" y="266"/>
                </a:cubicBezTo>
                <a:cubicBezTo>
                  <a:pt x="333" y="266"/>
                  <a:pt x="333" y="266"/>
                  <a:pt x="333" y="266"/>
                </a:cubicBezTo>
                <a:cubicBezTo>
                  <a:pt x="333" y="266"/>
                  <a:pt x="332" y="266"/>
                  <a:pt x="332" y="266"/>
                </a:cubicBezTo>
                <a:cubicBezTo>
                  <a:pt x="330" y="267"/>
                  <a:pt x="329" y="267"/>
                  <a:pt x="328" y="266"/>
                </a:cubicBezTo>
                <a:cubicBezTo>
                  <a:pt x="328" y="266"/>
                  <a:pt x="328" y="265"/>
                  <a:pt x="329" y="265"/>
                </a:cubicBezTo>
                <a:cubicBezTo>
                  <a:pt x="328" y="265"/>
                  <a:pt x="327" y="265"/>
                  <a:pt x="327" y="265"/>
                </a:cubicBezTo>
                <a:cubicBezTo>
                  <a:pt x="326" y="264"/>
                  <a:pt x="326" y="264"/>
                  <a:pt x="325" y="265"/>
                </a:cubicBezTo>
                <a:cubicBezTo>
                  <a:pt x="325" y="265"/>
                  <a:pt x="325" y="265"/>
                  <a:pt x="325" y="265"/>
                </a:cubicBezTo>
                <a:cubicBezTo>
                  <a:pt x="325" y="266"/>
                  <a:pt x="324" y="267"/>
                  <a:pt x="324" y="267"/>
                </a:cubicBezTo>
                <a:cubicBezTo>
                  <a:pt x="323" y="267"/>
                  <a:pt x="323" y="268"/>
                  <a:pt x="323" y="268"/>
                </a:cubicBezTo>
                <a:cubicBezTo>
                  <a:pt x="323" y="268"/>
                  <a:pt x="323" y="269"/>
                  <a:pt x="323" y="269"/>
                </a:cubicBezTo>
                <a:cubicBezTo>
                  <a:pt x="323" y="269"/>
                  <a:pt x="323" y="269"/>
                  <a:pt x="323" y="269"/>
                </a:cubicBezTo>
                <a:cubicBezTo>
                  <a:pt x="323" y="269"/>
                  <a:pt x="323" y="270"/>
                  <a:pt x="322" y="270"/>
                </a:cubicBezTo>
                <a:cubicBezTo>
                  <a:pt x="322" y="270"/>
                  <a:pt x="322" y="270"/>
                  <a:pt x="321" y="271"/>
                </a:cubicBezTo>
                <a:cubicBezTo>
                  <a:pt x="319" y="273"/>
                  <a:pt x="318" y="275"/>
                  <a:pt x="316" y="276"/>
                </a:cubicBezTo>
                <a:cubicBezTo>
                  <a:pt x="316" y="277"/>
                  <a:pt x="315" y="277"/>
                  <a:pt x="315" y="277"/>
                </a:cubicBezTo>
                <a:cubicBezTo>
                  <a:pt x="315" y="277"/>
                  <a:pt x="314" y="278"/>
                  <a:pt x="314" y="278"/>
                </a:cubicBezTo>
                <a:cubicBezTo>
                  <a:pt x="313" y="278"/>
                  <a:pt x="312" y="278"/>
                  <a:pt x="311" y="278"/>
                </a:cubicBezTo>
                <a:cubicBezTo>
                  <a:pt x="311" y="277"/>
                  <a:pt x="311" y="277"/>
                  <a:pt x="311" y="277"/>
                </a:cubicBezTo>
                <a:cubicBezTo>
                  <a:pt x="310" y="277"/>
                  <a:pt x="310" y="277"/>
                  <a:pt x="310" y="277"/>
                </a:cubicBezTo>
                <a:cubicBezTo>
                  <a:pt x="310" y="278"/>
                  <a:pt x="310" y="278"/>
                  <a:pt x="310" y="278"/>
                </a:cubicBezTo>
                <a:cubicBezTo>
                  <a:pt x="309" y="278"/>
                  <a:pt x="309" y="278"/>
                  <a:pt x="309" y="278"/>
                </a:cubicBezTo>
                <a:cubicBezTo>
                  <a:pt x="309" y="278"/>
                  <a:pt x="308" y="278"/>
                  <a:pt x="307" y="278"/>
                </a:cubicBezTo>
                <a:cubicBezTo>
                  <a:pt x="307" y="278"/>
                  <a:pt x="307" y="278"/>
                  <a:pt x="307" y="278"/>
                </a:cubicBezTo>
                <a:cubicBezTo>
                  <a:pt x="307" y="277"/>
                  <a:pt x="308" y="277"/>
                  <a:pt x="308" y="277"/>
                </a:cubicBezTo>
                <a:cubicBezTo>
                  <a:pt x="308" y="276"/>
                  <a:pt x="309" y="276"/>
                  <a:pt x="309" y="275"/>
                </a:cubicBezTo>
                <a:cubicBezTo>
                  <a:pt x="309" y="275"/>
                  <a:pt x="309" y="275"/>
                  <a:pt x="309" y="275"/>
                </a:cubicBezTo>
                <a:cubicBezTo>
                  <a:pt x="308" y="275"/>
                  <a:pt x="308" y="275"/>
                  <a:pt x="308" y="275"/>
                </a:cubicBezTo>
                <a:cubicBezTo>
                  <a:pt x="308" y="275"/>
                  <a:pt x="307" y="275"/>
                  <a:pt x="307" y="275"/>
                </a:cubicBezTo>
                <a:cubicBezTo>
                  <a:pt x="306" y="275"/>
                  <a:pt x="306" y="274"/>
                  <a:pt x="306" y="274"/>
                </a:cubicBezTo>
                <a:cubicBezTo>
                  <a:pt x="306" y="274"/>
                  <a:pt x="306" y="275"/>
                  <a:pt x="306" y="275"/>
                </a:cubicBezTo>
                <a:cubicBezTo>
                  <a:pt x="306" y="275"/>
                  <a:pt x="306" y="275"/>
                  <a:pt x="306" y="275"/>
                </a:cubicBezTo>
                <a:cubicBezTo>
                  <a:pt x="306" y="276"/>
                  <a:pt x="306" y="276"/>
                  <a:pt x="306" y="276"/>
                </a:cubicBezTo>
                <a:cubicBezTo>
                  <a:pt x="306" y="277"/>
                  <a:pt x="305" y="277"/>
                  <a:pt x="305" y="277"/>
                </a:cubicBezTo>
                <a:cubicBezTo>
                  <a:pt x="304" y="277"/>
                  <a:pt x="304" y="277"/>
                  <a:pt x="304" y="276"/>
                </a:cubicBezTo>
                <a:cubicBezTo>
                  <a:pt x="304" y="276"/>
                  <a:pt x="304" y="276"/>
                  <a:pt x="304" y="276"/>
                </a:cubicBezTo>
                <a:cubicBezTo>
                  <a:pt x="304" y="276"/>
                  <a:pt x="305" y="275"/>
                  <a:pt x="305" y="275"/>
                </a:cubicBezTo>
                <a:cubicBezTo>
                  <a:pt x="305" y="275"/>
                  <a:pt x="305" y="274"/>
                  <a:pt x="305" y="274"/>
                </a:cubicBezTo>
                <a:cubicBezTo>
                  <a:pt x="304" y="273"/>
                  <a:pt x="303" y="272"/>
                  <a:pt x="302" y="272"/>
                </a:cubicBezTo>
                <a:cubicBezTo>
                  <a:pt x="302" y="272"/>
                  <a:pt x="301" y="272"/>
                  <a:pt x="301" y="272"/>
                </a:cubicBezTo>
                <a:cubicBezTo>
                  <a:pt x="299" y="272"/>
                  <a:pt x="297" y="273"/>
                  <a:pt x="295" y="275"/>
                </a:cubicBezTo>
                <a:cubicBezTo>
                  <a:pt x="296" y="275"/>
                  <a:pt x="296" y="275"/>
                  <a:pt x="297" y="275"/>
                </a:cubicBezTo>
                <a:cubicBezTo>
                  <a:pt x="297" y="275"/>
                  <a:pt x="296" y="276"/>
                  <a:pt x="296" y="276"/>
                </a:cubicBezTo>
                <a:cubicBezTo>
                  <a:pt x="296" y="277"/>
                  <a:pt x="297" y="276"/>
                  <a:pt x="297" y="276"/>
                </a:cubicBezTo>
                <a:cubicBezTo>
                  <a:pt x="297" y="277"/>
                  <a:pt x="297" y="277"/>
                  <a:pt x="298" y="277"/>
                </a:cubicBezTo>
                <a:cubicBezTo>
                  <a:pt x="298" y="278"/>
                  <a:pt x="299" y="278"/>
                  <a:pt x="300" y="278"/>
                </a:cubicBezTo>
                <a:cubicBezTo>
                  <a:pt x="301" y="278"/>
                  <a:pt x="302" y="279"/>
                  <a:pt x="302" y="280"/>
                </a:cubicBezTo>
                <a:cubicBezTo>
                  <a:pt x="302" y="281"/>
                  <a:pt x="302" y="281"/>
                  <a:pt x="302" y="281"/>
                </a:cubicBezTo>
                <a:cubicBezTo>
                  <a:pt x="302" y="281"/>
                  <a:pt x="303" y="281"/>
                  <a:pt x="303" y="281"/>
                </a:cubicBezTo>
                <a:cubicBezTo>
                  <a:pt x="304" y="281"/>
                  <a:pt x="304" y="281"/>
                  <a:pt x="305" y="281"/>
                </a:cubicBezTo>
                <a:cubicBezTo>
                  <a:pt x="305" y="282"/>
                  <a:pt x="304" y="283"/>
                  <a:pt x="304" y="283"/>
                </a:cubicBezTo>
                <a:cubicBezTo>
                  <a:pt x="304" y="283"/>
                  <a:pt x="303" y="283"/>
                  <a:pt x="303" y="283"/>
                </a:cubicBezTo>
                <a:cubicBezTo>
                  <a:pt x="303" y="284"/>
                  <a:pt x="302" y="284"/>
                  <a:pt x="302" y="284"/>
                </a:cubicBezTo>
                <a:cubicBezTo>
                  <a:pt x="301" y="284"/>
                  <a:pt x="301" y="283"/>
                  <a:pt x="301" y="283"/>
                </a:cubicBezTo>
                <a:cubicBezTo>
                  <a:pt x="301" y="282"/>
                  <a:pt x="301" y="281"/>
                  <a:pt x="300" y="281"/>
                </a:cubicBezTo>
                <a:cubicBezTo>
                  <a:pt x="300" y="281"/>
                  <a:pt x="300" y="281"/>
                  <a:pt x="299" y="281"/>
                </a:cubicBezTo>
                <a:cubicBezTo>
                  <a:pt x="299" y="281"/>
                  <a:pt x="298" y="281"/>
                  <a:pt x="298" y="280"/>
                </a:cubicBezTo>
                <a:cubicBezTo>
                  <a:pt x="298" y="280"/>
                  <a:pt x="298" y="280"/>
                  <a:pt x="298" y="279"/>
                </a:cubicBezTo>
                <a:cubicBezTo>
                  <a:pt x="297" y="280"/>
                  <a:pt x="296" y="279"/>
                  <a:pt x="295" y="278"/>
                </a:cubicBezTo>
                <a:cubicBezTo>
                  <a:pt x="294" y="278"/>
                  <a:pt x="294" y="279"/>
                  <a:pt x="293" y="280"/>
                </a:cubicBezTo>
                <a:cubicBezTo>
                  <a:pt x="293" y="281"/>
                  <a:pt x="292" y="281"/>
                  <a:pt x="292" y="282"/>
                </a:cubicBezTo>
                <a:cubicBezTo>
                  <a:pt x="292" y="283"/>
                  <a:pt x="293" y="283"/>
                  <a:pt x="293" y="284"/>
                </a:cubicBezTo>
                <a:cubicBezTo>
                  <a:pt x="293" y="285"/>
                  <a:pt x="293" y="286"/>
                  <a:pt x="292" y="286"/>
                </a:cubicBezTo>
                <a:cubicBezTo>
                  <a:pt x="292" y="286"/>
                  <a:pt x="292" y="287"/>
                  <a:pt x="292" y="287"/>
                </a:cubicBezTo>
                <a:cubicBezTo>
                  <a:pt x="291" y="287"/>
                  <a:pt x="291" y="287"/>
                  <a:pt x="291" y="288"/>
                </a:cubicBezTo>
                <a:cubicBezTo>
                  <a:pt x="292" y="288"/>
                  <a:pt x="292" y="288"/>
                  <a:pt x="292" y="288"/>
                </a:cubicBezTo>
                <a:cubicBezTo>
                  <a:pt x="292" y="288"/>
                  <a:pt x="292" y="289"/>
                  <a:pt x="292" y="289"/>
                </a:cubicBezTo>
                <a:cubicBezTo>
                  <a:pt x="291" y="289"/>
                  <a:pt x="291" y="290"/>
                  <a:pt x="291" y="290"/>
                </a:cubicBezTo>
                <a:cubicBezTo>
                  <a:pt x="291" y="290"/>
                  <a:pt x="292" y="290"/>
                  <a:pt x="293" y="290"/>
                </a:cubicBezTo>
                <a:cubicBezTo>
                  <a:pt x="294" y="289"/>
                  <a:pt x="295" y="288"/>
                  <a:pt x="296" y="288"/>
                </a:cubicBezTo>
                <a:cubicBezTo>
                  <a:pt x="296" y="288"/>
                  <a:pt x="295" y="289"/>
                  <a:pt x="294" y="290"/>
                </a:cubicBezTo>
                <a:cubicBezTo>
                  <a:pt x="294" y="290"/>
                  <a:pt x="293" y="290"/>
                  <a:pt x="293" y="291"/>
                </a:cubicBezTo>
                <a:cubicBezTo>
                  <a:pt x="292" y="292"/>
                  <a:pt x="293" y="293"/>
                  <a:pt x="293" y="293"/>
                </a:cubicBezTo>
                <a:cubicBezTo>
                  <a:pt x="293" y="294"/>
                  <a:pt x="293" y="294"/>
                  <a:pt x="293" y="294"/>
                </a:cubicBezTo>
                <a:cubicBezTo>
                  <a:pt x="293" y="294"/>
                  <a:pt x="293" y="294"/>
                  <a:pt x="293" y="294"/>
                </a:cubicBezTo>
                <a:cubicBezTo>
                  <a:pt x="292" y="294"/>
                  <a:pt x="291" y="293"/>
                  <a:pt x="291" y="292"/>
                </a:cubicBezTo>
                <a:cubicBezTo>
                  <a:pt x="290" y="292"/>
                  <a:pt x="289" y="292"/>
                  <a:pt x="288" y="293"/>
                </a:cubicBezTo>
                <a:cubicBezTo>
                  <a:pt x="288" y="294"/>
                  <a:pt x="287" y="294"/>
                  <a:pt x="287" y="295"/>
                </a:cubicBezTo>
                <a:cubicBezTo>
                  <a:pt x="286" y="296"/>
                  <a:pt x="286" y="296"/>
                  <a:pt x="286" y="296"/>
                </a:cubicBezTo>
                <a:cubicBezTo>
                  <a:pt x="286" y="297"/>
                  <a:pt x="286" y="297"/>
                  <a:pt x="286" y="297"/>
                </a:cubicBezTo>
                <a:cubicBezTo>
                  <a:pt x="283" y="300"/>
                  <a:pt x="281" y="303"/>
                  <a:pt x="280" y="306"/>
                </a:cubicBezTo>
                <a:cubicBezTo>
                  <a:pt x="280" y="307"/>
                  <a:pt x="280" y="307"/>
                  <a:pt x="280" y="308"/>
                </a:cubicBezTo>
                <a:cubicBezTo>
                  <a:pt x="281" y="309"/>
                  <a:pt x="281" y="310"/>
                  <a:pt x="282" y="310"/>
                </a:cubicBezTo>
                <a:cubicBezTo>
                  <a:pt x="282" y="311"/>
                  <a:pt x="282" y="311"/>
                  <a:pt x="282" y="311"/>
                </a:cubicBezTo>
                <a:cubicBezTo>
                  <a:pt x="282" y="311"/>
                  <a:pt x="281" y="311"/>
                  <a:pt x="281" y="311"/>
                </a:cubicBezTo>
                <a:cubicBezTo>
                  <a:pt x="281" y="311"/>
                  <a:pt x="280" y="311"/>
                  <a:pt x="280" y="311"/>
                </a:cubicBezTo>
                <a:cubicBezTo>
                  <a:pt x="280" y="312"/>
                  <a:pt x="280" y="312"/>
                  <a:pt x="280" y="312"/>
                </a:cubicBezTo>
                <a:cubicBezTo>
                  <a:pt x="280" y="312"/>
                  <a:pt x="279" y="312"/>
                  <a:pt x="279" y="312"/>
                </a:cubicBezTo>
                <a:cubicBezTo>
                  <a:pt x="278" y="312"/>
                  <a:pt x="277" y="312"/>
                  <a:pt x="276" y="312"/>
                </a:cubicBezTo>
                <a:cubicBezTo>
                  <a:pt x="276" y="312"/>
                  <a:pt x="276" y="313"/>
                  <a:pt x="276" y="313"/>
                </a:cubicBezTo>
                <a:cubicBezTo>
                  <a:pt x="276" y="313"/>
                  <a:pt x="277" y="313"/>
                  <a:pt x="277" y="313"/>
                </a:cubicBezTo>
                <a:cubicBezTo>
                  <a:pt x="277" y="313"/>
                  <a:pt x="277" y="314"/>
                  <a:pt x="277" y="314"/>
                </a:cubicBezTo>
                <a:cubicBezTo>
                  <a:pt x="277" y="314"/>
                  <a:pt x="278" y="315"/>
                  <a:pt x="278" y="315"/>
                </a:cubicBezTo>
                <a:cubicBezTo>
                  <a:pt x="279" y="316"/>
                  <a:pt x="279" y="316"/>
                  <a:pt x="279" y="316"/>
                </a:cubicBezTo>
                <a:cubicBezTo>
                  <a:pt x="279" y="316"/>
                  <a:pt x="279" y="316"/>
                  <a:pt x="278" y="316"/>
                </a:cubicBezTo>
                <a:cubicBezTo>
                  <a:pt x="278" y="316"/>
                  <a:pt x="277" y="317"/>
                  <a:pt x="276" y="317"/>
                </a:cubicBezTo>
                <a:cubicBezTo>
                  <a:pt x="276" y="317"/>
                  <a:pt x="276" y="316"/>
                  <a:pt x="275" y="317"/>
                </a:cubicBezTo>
                <a:cubicBezTo>
                  <a:pt x="275" y="317"/>
                  <a:pt x="275" y="317"/>
                  <a:pt x="275" y="318"/>
                </a:cubicBezTo>
                <a:cubicBezTo>
                  <a:pt x="275" y="318"/>
                  <a:pt x="275" y="318"/>
                  <a:pt x="275" y="319"/>
                </a:cubicBezTo>
                <a:cubicBezTo>
                  <a:pt x="275" y="319"/>
                  <a:pt x="275" y="319"/>
                  <a:pt x="275" y="319"/>
                </a:cubicBezTo>
                <a:cubicBezTo>
                  <a:pt x="275" y="319"/>
                  <a:pt x="275" y="320"/>
                  <a:pt x="275" y="320"/>
                </a:cubicBezTo>
                <a:cubicBezTo>
                  <a:pt x="275" y="320"/>
                  <a:pt x="275" y="320"/>
                  <a:pt x="276" y="320"/>
                </a:cubicBezTo>
                <a:cubicBezTo>
                  <a:pt x="276" y="320"/>
                  <a:pt x="276" y="320"/>
                  <a:pt x="276" y="320"/>
                </a:cubicBezTo>
                <a:cubicBezTo>
                  <a:pt x="276" y="320"/>
                  <a:pt x="277" y="320"/>
                  <a:pt x="277" y="319"/>
                </a:cubicBezTo>
                <a:cubicBezTo>
                  <a:pt x="277" y="319"/>
                  <a:pt x="278" y="319"/>
                  <a:pt x="278" y="319"/>
                </a:cubicBezTo>
                <a:cubicBezTo>
                  <a:pt x="278" y="319"/>
                  <a:pt x="278" y="319"/>
                  <a:pt x="278" y="320"/>
                </a:cubicBezTo>
                <a:cubicBezTo>
                  <a:pt x="278" y="320"/>
                  <a:pt x="279" y="320"/>
                  <a:pt x="279" y="320"/>
                </a:cubicBezTo>
                <a:cubicBezTo>
                  <a:pt x="279" y="320"/>
                  <a:pt x="280" y="320"/>
                  <a:pt x="280" y="320"/>
                </a:cubicBezTo>
                <a:cubicBezTo>
                  <a:pt x="280" y="321"/>
                  <a:pt x="280" y="321"/>
                  <a:pt x="280" y="321"/>
                </a:cubicBezTo>
                <a:cubicBezTo>
                  <a:pt x="280" y="322"/>
                  <a:pt x="279" y="322"/>
                  <a:pt x="279" y="323"/>
                </a:cubicBezTo>
                <a:cubicBezTo>
                  <a:pt x="278" y="323"/>
                  <a:pt x="278" y="323"/>
                  <a:pt x="278" y="324"/>
                </a:cubicBezTo>
                <a:cubicBezTo>
                  <a:pt x="278" y="324"/>
                  <a:pt x="278" y="324"/>
                  <a:pt x="278" y="324"/>
                </a:cubicBezTo>
                <a:cubicBezTo>
                  <a:pt x="278" y="325"/>
                  <a:pt x="278" y="325"/>
                  <a:pt x="278" y="325"/>
                </a:cubicBezTo>
                <a:cubicBezTo>
                  <a:pt x="278" y="325"/>
                  <a:pt x="278" y="325"/>
                  <a:pt x="279" y="325"/>
                </a:cubicBezTo>
                <a:cubicBezTo>
                  <a:pt x="279" y="326"/>
                  <a:pt x="279" y="326"/>
                  <a:pt x="279" y="326"/>
                </a:cubicBezTo>
                <a:cubicBezTo>
                  <a:pt x="279" y="326"/>
                  <a:pt x="280" y="326"/>
                  <a:pt x="280" y="326"/>
                </a:cubicBezTo>
                <a:cubicBezTo>
                  <a:pt x="280" y="326"/>
                  <a:pt x="281" y="326"/>
                  <a:pt x="281" y="327"/>
                </a:cubicBezTo>
                <a:cubicBezTo>
                  <a:pt x="282" y="328"/>
                  <a:pt x="281" y="330"/>
                  <a:pt x="282" y="331"/>
                </a:cubicBezTo>
                <a:cubicBezTo>
                  <a:pt x="283" y="331"/>
                  <a:pt x="283" y="331"/>
                  <a:pt x="283" y="332"/>
                </a:cubicBezTo>
                <a:cubicBezTo>
                  <a:pt x="284" y="332"/>
                  <a:pt x="285" y="332"/>
                  <a:pt x="285" y="331"/>
                </a:cubicBezTo>
                <a:cubicBezTo>
                  <a:pt x="286" y="331"/>
                  <a:pt x="285" y="330"/>
                  <a:pt x="285" y="328"/>
                </a:cubicBezTo>
                <a:cubicBezTo>
                  <a:pt x="284" y="327"/>
                  <a:pt x="286" y="327"/>
                  <a:pt x="287" y="327"/>
                </a:cubicBezTo>
                <a:cubicBezTo>
                  <a:pt x="286" y="328"/>
                  <a:pt x="286" y="328"/>
                  <a:pt x="286" y="328"/>
                </a:cubicBezTo>
                <a:cubicBezTo>
                  <a:pt x="286" y="329"/>
                  <a:pt x="286" y="329"/>
                  <a:pt x="286" y="329"/>
                </a:cubicBezTo>
                <a:cubicBezTo>
                  <a:pt x="286" y="329"/>
                  <a:pt x="286" y="329"/>
                  <a:pt x="286" y="329"/>
                </a:cubicBezTo>
                <a:cubicBezTo>
                  <a:pt x="286" y="329"/>
                  <a:pt x="287" y="330"/>
                  <a:pt x="286" y="330"/>
                </a:cubicBezTo>
                <a:cubicBezTo>
                  <a:pt x="287" y="330"/>
                  <a:pt x="288" y="330"/>
                  <a:pt x="288" y="330"/>
                </a:cubicBezTo>
                <a:cubicBezTo>
                  <a:pt x="288" y="330"/>
                  <a:pt x="288" y="331"/>
                  <a:pt x="288" y="332"/>
                </a:cubicBezTo>
                <a:cubicBezTo>
                  <a:pt x="288" y="332"/>
                  <a:pt x="289" y="333"/>
                  <a:pt x="290" y="332"/>
                </a:cubicBezTo>
                <a:cubicBezTo>
                  <a:pt x="290" y="332"/>
                  <a:pt x="290" y="331"/>
                  <a:pt x="291" y="331"/>
                </a:cubicBezTo>
                <a:cubicBezTo>
                  <a:pt x="291" y="331"/>
                  <a:pt x="291" y="331"/>
                  <a:pt x="291" y="331"/>
                </a:cubicBezTo>
                <a:cubicBezTo>
                  <a:pt x="292" y="331"/>
                  <a:pt x="292" y="331"/>
                  <a:pt x="292" y="331"/>
                </a:cubicBezTo>
                <a:cubicBezTo>
                  <a:pt x="292" y="332"/>
                  <a:pt x="293" y="332"/>
                  <a:pt x="294" y="333"/>
                </a:cubicBezTo>
                <a:cubicBezTo>
                  <a:pt x="293" y="333"/>
                  <a:pt x="293" y="333"/>
                  <a:pt x="292" y="333"/>
                </a:cubicBezTo>
                <a:cubicBezTo>
                  <a:pt x="291" y="333"/>
                  <a:pt x="291" y="333"/>
                  <a:pt x="290" y="333"/>
                </a:cubicBezTo>
                <a:cubicBezTo>
                  <a:pt x="290" y="333"/>
                  <a:pt x="290" y="333"/>
                  <a:pt x="289" y="334"/>
                </a:cubicBezTo>
                <a:cubicBezTo>
                  <a:pt x="289" y="334"/>
                  <a:pt x="290" y="334"/>
                  <a:pt x="290" y="335"/>
                </a:cubicBezTo>
                <a:cubicBezTo>
                  <a:pt x="290" y="335"/>
                  <a:pt x="289" y="335"/>
                  <a:pt x="289" y="335"/>
                </a:cubicBezTo>
                <a:cubicBezTo>
                  <a:pt x="289" y="334"/>
                  <a:pt x="288" y="334"/>
                  <a:pt x="288" y="334"/>
                </a:cubicBezTo>
                <a:cubicBezTo>
                  <a:pt x="287" y="334"/>
                  <a:pt x="288" y="335"/>
                  <a:pt x="288" y="335"/>
                </a:cubicBezTo>
                <a:cubicBezTo>
                  <a:pt x="288" y="335"/>
                  <a:pt x="288" y="336"/>
                  <a:pt x="288" y="336"/>
                </a:cubicBezTo>
                <a:cubicBezTo>
                  <a:pt x="289" y="337"/>
                  <a:pt x="290" y="335"/>
                  <a:pt x="291" y="336"/>
                </a:cubicBezTo>
                <a:cubicBezTo>
                  <a:pt x="292" y="336"/>
                  <a:pt x="292" y="336"/>
                  <a:pt x="292" y="336"/>
                </a:cubicBezTo>
                <a:cubicBezTo>
                  <a:pt x="293" y="336"/>
                  <a:pt x="293" y="336"/>
                  <a:pt x="294" y="336"/>
                </a:cubicBezTo>
                <a:cubicBezTo>
                  <a:pt x="294" y="336"/>
                  <a:pt x="294" y="336"/>
                  <a:pt x="295" y="337"/>
                </a:cubicBezTo>
                <a:cubicBezTo>
                  <a:pt x="295" y="337"/>
                  <a:pt x="295" y="337"/>
                  <a:pt x="295" y="337"/>
                </a:cubicBezTo>
                <a:cubicBezTo>
                  <a:pt x="295" y="338"/>
                  <a:pt x="296" y="338"/>
                  <a:pt x="296" y="338"/>
                </a:cubicBezTo>
                <a:cubicBezTo>
                  <a:pt x="297" y="338"/>
                  <a:pt x="297" y="337"/>
                  <a:pt x="298" y="337"/>
                </a:cubicBezTo>
                <a:cubicBezTo>
                  <a:pt x="298" y="337"/>
                  <a:pt x="299" y="338"/>
                  <a:pt x="299" y="338"/>
                </a:cubicBezTo>
                <a:cubicBezTo>
                  <a:pt x="300" y="338"/>
                  <a:pt x="301" y="338"/>
                  <a:pt x="301" y="337"/>
                </a:cubicBezTo>
                <a:cubicBezTo>
                  <a:pt x="301" y="337"/>
                  <a:pt x="301" y="336"/>
                  <a:pt x="301" y="336"/>
                </a:cubicBezTo>
                <a:cubicBezTo>
                  <a:pt x="301" y="335"/>
                  <a:pt x="302" y="335"/>
                  <a:pt x="302" y="334"/>
                </a:cubicBezTo>
                <a:cubicBezTo>
                  <a:pt x="302" y="334"/>
                  <a:pt x="302" y="334"/>
                  <a:pt x="302" y="333"/>
                </a:cubicBezTo>
                <a:cubicBezTo>
                  <a:pt x="302" y="333"/>
                  <a:pt x="302" y="333"/>
                  <a:pt x="302" y="333"/>
                </a:cubicBezTo>
                <a:cubicBezTo>
                  <a:pt x="303" y="333"/>
                  <a:pt x="303" y="333"/>
                  <a:pt x="303" y="334"/>
                </a:cubicBezTo>
                <a:cubicBezTo>
                  <a:pt x="303" y="334"/>
                  <a:pt x="303" y="334"/>
                  <a:pt x="303" y="335"/>
                </a:cubicBezTo>
                <a:cubicBezTo>
                  <a:pt x="303" y="335"/>
                  <a:pt x="304" y="336"/>
                  <a:pt x="304" y="336"/>
                </a:cubicBezTo>
                <a:cubicBezTo>
                  <a:pt x="303" y="337"/>
                  <a:pt x="302" y="337"/>
                  <a:pt x="302" y="337"/>
                </a:cubicBezTo>
                <a:cubicBezTo>
                  <a:pt x="302" y="338"/>
                  <a:pt x="303" y="338"/>
                  <a:pt x="303" y="338"/>
                </a:cubicBezTo>
                <a:cubicBezTo>
                  <a:pt x="304" y="338"/>
                  <a:pt x="304" y="337"/>
                  <a:pt x="304" y="337"/>
                </a:cubicBezTo>
                <a:cubicBezTo>
                  <a:pt x="305" y="336"/>
                  <a:pt x="306" y="335"/>
                  <a:pt x="307" y="334"/>
                </a:cubicBezTo>
                <a:cubicBezTo>
                  <a:pt x="307" y="335"/>
                  <a:pt x="307" y="335"/>
                  <a:pt x="306" y="336"/>
                </a:cubicBezTo>
                <a:cubicBezTo>
                  <a:pt x="306" y="336"/>
                  <a:pt x="305" y="337"/>
                  <a:pt x="305" y="337"/>
                </a:cubicBezTo>
                <a:cubicBezTo>
                  <a:pt x="306" y="338"/>
                  <a:pt x="306" y="338"/>
                  <a:pt x="307" y="338"/>
                </a:cubicBezTo>
                <a:cubicBezTo>
                  <a:pt x="308" y="339"/>
                  <a:pt x="308" y="339"/>
                  <a:pt x="308" y="339"/>
                </a:cubicBezTo>
                <a:cubicBezTo>
                  <a:pt x="308" y="338"/>
                  <a:pt x="308" y="338"/>
                  <a:pt x="308" y="338"/>
                </a:cubicBezTo>
                <a:cubicBezTo>
                  <a:pt x="309" y="338"/>
                  <a:pt x="309" y="337"/>
                  <a:pt x="309" y="337"/>
                </a:cubicBezTo>
                <a:cubicBezTo>
                  <a:pt x="310" y="337"/>
                  <a:pt x="310" y="337"/>
                  <a:pt x="310" y="338"/>
                </a:cubicBezTo>
                <a:cubicBezTo>
                  <a:pt x="311" y="338"/>
                  <a:pt x="311" y="338"/>
                  <a:pt x="311" y="338"/>
                </a:cubicBezTo>
                <a:cubicBezTo>
                  <a:pt x="311" y="339"/>
                  <a:pt x="310" y="339"/>
                  <a:pt x="310" y="339"/>
                </a:cubicBezTo>
                <a:cubicBezTo>
                  <a:pt x="309" y="339"/>
                  <a:pt x="309" y="340"/>
                  <a:pt x="309" y="340"/>
                </a:cubicBezTo>
                <a:cubicBezTo>
                  <a:pt x="310" y="340"/>
                  <a:pt x="310" y="340"/>
                  <a:pt x="310" y="341"/>
                </a:cubicBezTo>
                <a:cubicBezTo>
                  <a:pt x="310" y="341"/>
                  <a:pt x="310" y="341"/>
                  <a:pt x="310" y="342"/>
                </a:cubicBezTo>
                <a:cubicBezTo>
                  <a:pt x="310" y="342"/>
                  <a:pt x="310" y="343"/>
                  <a:pt x="309" y="343"/>
                </a:cubicBezTo>
                <a:cubicBezTo>
                  <a:pt x="309" y="344"/>
                  <a:pt x="308" y="344"/>
                  <a:pt x="308" y="345"/>
                </a:cubicBezTo>
                <a:cubicBezTo>
                  <a:pt x="307" y="345"/>
                  <a:pt x="307" y="345"/>
                  <a:pt x="307" y="345"/>
                </a:cubicBezTo>
                <a:cubicBezTo>
                  <a:pt x="306" y="345"/>
                  <a:pt x="305" y="345"/>
                  <a:pt x="305" y="344"/>
                </a:cubicBezTo>
                <a:cubicBezTo>
                  <a:pt x="305" y="344"/>
                  <a:pt x="305" y="343"/>
                  <a:pt x="305" y="342"/>
                </a:cubicBezTo>
                <a:cubicBezTo>
                  <a:pt x="306" y="342"/>
                  <a:pt x="306" y="342"/>
                  <a:pt x="306" y="342"/>
                </a:cubicBezTo>
                <a:cubicBezTo>
                  <a:pt x="306" y="342"/>
                  <a:pt x="306" y="341"/>
                  <a:pt x="305" y="341"/>
                </a:cubicBezTo>
                <a:cubicBezTo>
                  <a:pt x="305" y="341"/>
                  <a:pt x="305" y="340"/>
                  <a:pt x="304" y="340"/>
                </a:cubicBezTo>
                <a:cubicBezTo>
                  <a:pt x="303" y="340"/>
                  <a:pt x="302" y="341"/>
                  <a:pt x="302" y="341"/>
                </a:cubicBezTo>
                <a:cubicBezTo>
                  <a:pt x="302" y="342"/>
                  <a:pt x="301" y="342"/>
                  <a:pt x="301" y="342"/>
                </a:cubicBezTo>
                <a:cubicBezTo>
                  <a:pt x="301" y="343"/>
                  <a:pt x="301" y="343"/>
                  <a:pt x="301" y="343"/>
                </a:cubicBezTo>
                <a:cubicBezTo>
                  <a:pt x="300" y="343"/>
                  <a:pt x="300" y="343"/>
                  <a:pt x="300" y="343"/>
                </a:cubicBezTo>
                <a:cubicBezTo>
                  <a:pt x="299" y="344"/>
                  <a:pt x="299" y="345"/>
                  <a:pt x="298" y="345"/>
                </a:cubicBezTo>
                <a:cubicBezTo>
                  <a:pt x="298" y="344"/>
                  <a:pt x="299" y="344"/>
                  <a:pt x="299" y="343"/>
                </a:cubicBezTo>
                <a:cubicBezTo>
                  <a:pt x="300" y="342"/>
                  <a:pt x="300" y="341"/>
                  <a:pt x="299" y="340"/>
                </a:cubicBezTo>
                <a:cubicBezTo>
                  <a:pt x="299" y="340"/>
                  <a:pt x="299" y="340"/>
                  <a:pt x="299" y="340"/>
                </a:cubicBezTo>
                <a:cubicBezTo>
                  <a:pt x="299" y="340"/>
                  <a:pt x="299" y="340"/>
                  <a:pt x="299" y="340"/>
                </a:cubicBezTo>
                <a:cubicBezTo>
                  <a:pt x="297" y="339"/>
                  <a:pt x="295" y="339"/>
                  <a:pt x="294" y="338"/>
                </a:cubicBezTo>
                <a:cubicBezTo>
                  <a:pt x="294" y="338"/>
                  <a:pt x="294" y="337"/>
                  <a:pt x="294" y="337"/>
                </a:cubicBezTo>
                <a:cubicBezTo>
                  <a:pt x="293" y="337"/>
                  <a:pt x="293" y="337"/>
                  <a:pt x="292" y="337"/>
                </a:cubicBezTo>
                <a:cubicBezTo>
                  <a:pt x="292" y="337"/>
                  <a:pt x="292" y="337"/>
                  <a:pt x="291" y="337"/>
                </a:cubicBezTo>
                <a:cubicBezTo>
                  <a:pt x="291" y="338"/>
                  <a:pt x="291" y="338"/>
                  <a:pt x="290" y="339"/>
                </a:cubicBezTo>
                <a:cubicBezTo>
                  <a:pt x="291" y="338"/>
                  <a:pt x="291" y="338"/>
                  <a:pt x="292" y="338"/>
                </a:cubicBezTo>
                <a:cubicBezTo>
                  <a:pt x="292" y="339"/>
                  <a:pt x="290" y="339"/>
                  <a:pt x="290" y="340"/>
                </a:cubicBezTo>
                <a:cubicBezTo>
                  <a:pt x="290" y="341"/>
                  <a:pt x="290" y="341"/>
                  <a:pt x="290" y="342"/>
                </a:cubicBezTo>
                <a:cubicBezTo>
                  <a:pt x="290" y="342"/>
                  <a:pt x="289" y="342"/>
                  <a:pt x="289" y="343"/>
                </a:cubicBezTo>
                <a:cubicBezTo>
                  <a:pt x="288" y="343"/>
                  <a:pt x="288" y="343"/>
                  <a:pt x="287" y="344"/>
                </a:cubicBezTo>
                <a:cubicBezTo>
                  <a:pt x="287" y="344"/>
                  <a:pt x="287" y="345"/>
                  <a:pt x="286" y="345"/>
                </a:cubicBezTo>
                <a:cubicBezTo>
                  <a:pt x="286" y="345"/>
                  <a:pt x="286" y="345"/>
                  <a:pt x="285" y="345"/>
                </a:cubicBezTo>
                <a:cubicBezTo>
                  <a:pt x="285" y="345"/>
                  <a:pt x="285" y="346"/>
                  <a:pt x="285" y="346"/>
                </a:cubicBezTo>
                <a:cubicBezTo>
                  <a:pt x="285" y="347"/>
                  <a:pt x="286" y="347"/>
                  <a:pt x="286" y="347"/>
                </a:cubicBezTo>
                <a:cubicBezTo>
                  <a:pt x="287" y="348"/>
                  <a:pt x="288" y="347"/>
                  <a:pt x="288" y="347"/>
                </a:cubicBezTo>
                <a:cubicBezTo>
                  <a:pt x="289" y="346"/>
                  <a:pt x="290" y="346"/>
                  <a:pt x="290" y="347"/>
                </a:cubicBezTo>
                <a:cubicBezTo>
                  <a:pt x="291" y="347"/>
                  <a:pt x="290" y="347"/>
                  <a:pt x="290" y="348"/>
                </a:cubicBezTo>
                <a:cubicBezTo>
                  <a:pt x="289" y="348"/>
                  <a:pt x="289" y="348"/>
                  <a:pt x="289" y="349"/>
                </a:cubicBezTo>
                <a:cubicBezTo>
                  <a:pt x="289" y="349"/>
                  <a:pt x="289" y="350"/>
                  <a:pt x="289" y="350"/>
                </a:cubicBezTo>
                <a:cubicBezTo>
                  <a:pt x="292" y="353"/>
                  <a:pt x="296" y="354"/>
                  <a:pt x="297" y="357"/>
                </a:cubicBezTo>
                <a:cubicBezTo>
                  <a:pt x="298" y="358"/>
                  <a:pt x="298" y="359"/>
                  <a:pt x="298" y="359"/>
                </a:cubicBezTo>
                <a:cubicBezTo>
                  <a:pt x="299" y="359"/>
                  <a:pt x="299" y="359"/>
                  <a:pt x="299" y="359"/>
                </a:cubicBezTo>
                <a:cubicBezTo>
                  <a:pt x="300" y="359"/>
                  <a:pt x="300" y="360"/>
                  <a:pt x="301" y="360"/>
                </a:cubicBezTo>
                <a:cubicBezTo>
                  <a:pt x="301" y="360"/>
                  <a:pt x="301" y="361"/>
                  <a:pt x="301" y="361"/>
                </a:cubicBezTo>
                <a:cubicBezTo>
                  <a:pt x="301" y="361"/>
                  <a:pt x="301" y="361"/>
                  <a:pt x="300" y="361"/>
                </a:cubicBezTo>
                <a:cubicBezTo>
                  <a:pt x="300" y="361"/>
                  <a:pt x="300" y="362"/>
                  <a:pt x="300" y="362"/>
                </a:cubicBezTo>
                <a:cubicBezTo>
                  <a:pt x="301" y="362"/>
                  <a:pt x="301" y="363"/>
                  <a:pt x="301" y="363"/>
                </a:cubicBezTo>
                <a:cubicBezTo>
                  <a:pt x="301" y="364"/>
                  <a:pt x="301" y="364"/>
                  <a:pt x="301" y="364"/>
                </a:cubicBezTo>
                <a:cubicBezTo>
                  <a:pt x="302" y="364"/>
                  <a:pt x="302" y="365"/>
                  <a:pt x="302" y="365"/>
                </a:cubicBezTo>
                <a:cubicBezTo>
                  <a:pt x="308" y="367"/>
                  <a:pt x="315" y="365"/>
                  <a:pt x="319" y="360"/>
                </a:cubicBezTo>
                <a:cubicBezTo>
                  <a:pt x="319" y="361"/>
                  <a:pt x="320" y="361"/>
                  <a:pt x="321" y="361"/>
                </a:cubicBezTo>
                <a:cubicBezTo>
                  <a:pt x="322" y="360"/>
                  <a:pt x="322" y="359"/>
                  <a:pt x="322" y="359"/>
                </a:cubicBezTo>
                <a:cubicBezTo>
                  <a:pt x="323" y="357"/>
                  <a:pt x="323" y="356"/>
                  <a:pt x="322" y="355"/>
                </a:cubicBezTo>
                <a:cubicBezTo>
                  <a:pt x="321" y="354"/>
                  <a:pt x="320" y="354"/>
                  <a:pt x="320" y="354"/>
                </a:cubicBezTo>
                <a:cubicBezTo>
                  <a:pt x="320" y="352"/>
                  <a:pt x="322" y="351"/>
                  <a:pt x="322" y="350"/>
                </a:cubicBezTo>
                <a:cubicBezTo>
                  <a:pt x="323" y="349"/>
                  <a:pt x="323" y="348"/>
                  <a:pt x="323" y="347"/>
                </a:cubicBezTo>
                <a:cubicBezTo>
                  <a:pt x="324" y="347"/>
                  <a:pt x="324" y="346"/>
                  <a:pt x="324" y="345"/>
                </a:cubicBezTo>
                <a:cubicBezTo>
                  <a:pt x="324" y="345"/>
                  <a:pt x="324" y="344"/>
                  <a:pt x="325" y="344"/>
                </a:cubicBezTo>
                <a:cubicBezTo>
                  <a:pt x="325" y="344"/>
                  <a:pt x="326" y="344"/>
                  <a:pt x="326" y="343"/>
                </a:cubicBezTo>
                <a:cubicBezTo>
                  <a:pt x="326" y="343"/>
                  <a:pt x="327" y="343"/>
                  <a:pt x="327" y="342"/>
                </a:cubicBezTo>
                <a:cubicBezTo>
                  <a:pt x="327" y="342"/>
                  <a:pt x="327" y="342"/>
                  <a:pt x="327" y="342"/>
                </a:cubicBezTo>
                <a:cubicBezTo>
                  <a:pt x="327" y="342"/>
                  <a:pt x="328" y="343"/>
                  <a:pt x="328" y="342"/>
                </a:cubicBezTo>
                <a:cubicBezTo>
                  <a:pt x="329" y="342"/>
                  <a:pt x="329" y="342"/>
                  <a:pt x="330" y="342"/>
                </a:cubicBezTo>
                <a:cubicBezTo>
                  <a:pt x="329" y="344"/>
                  <a:pt x="327" y="345"/>
                  <a:pt x="326" y="346"/>
                </a:cubicBezTo>
                <a:cubicBezTo>
                  <a:pt x="325" y="348"/>
                  <a:pt x="325" y="349"/>
                  <a:pt x="324" y="350"/>
                </a:cubicBezTo>
                <a:cubicBezTo>
                  <a:pt x="324" y="351"/>
                  <a:pt x="323" y="352"/>
                  <a:pt x="323" y="353"/>
                </a:cubicBezTo>
                <a:cubicBezTo>
                  <a:pt x="324" y="354"/>
                  <a:pt x="325" y="354"/>
                  <a:pt x="326" y="355"/>
                </a:cubicBezTo>
                <a:cubicBezTo>
                  <a:pt x="327" y="357"/>
                  <a:pt x="325" y="359"/>
                  <a:pt x="326" y="361"/>
                </a:cubicBezTo>
                <a:cubicBezTo>
                  <a:pt x="326" y="361"/>
                  <a:pt x="327" y="361"/>
                  <a:pt x="327" y="362"/>
                </a:cubicBezTo>
                <a:cubicBezTo>
                  <a:pt x="327" y="362"/>
                  <a:pt x="327" y="362"/>
                  <a:pt x="327" y="363"/>
                </a:cubicBezTo>
                <a:cubicBezTo>
                  <a:pt x="329" y="366"/>
                  <a:pt x="330" y="369"/>
                  <a:pt x="332" y="372"/>
                </a:cubicBezTo>
                <a:cubicBezTo>
                  <a:pt x="332" y="372"/>
                  <a:pt x="332" y="373"/>
                  <a:pt x="332" y="374"/>
                </a:cubicBezTo>
                <a:cubicBezTo>
                  <a:pt x="332" y="374"/>
                  <a:pt x="331" y="374"/>
                  <a:pt x="331" y="374"/>
                </a:cubicBezTo>
                <a:cubicBezTo>
                  <a:pt x="331" y="374"/>
                  <a:pt x="331" y="375"/>
                  <a:pt x="331" y="375"/>
                </a:cubicBezTo>
                <a:cubicBezTo>
                  <a:pt x="330" y="375"/>
                  <a:pt x="330" y="375"/>
                  <a:pt x="329" y="376"/>
                </a:cubicBezTo>
                <a:cubicBezTo>
                  <a:pt x="329" y="376"/>
                  <a:pt x="329" y="377"/>
                  <a:pt x="329" y="377"/>
                </a:cubicBezTo>
                <a:cubicBezTo>
                  <a:pt x="329" y="378"/>
                  <a:pt x="329" y="379"/>
                  <a:pt x="329" y="379"/>
                </a:cubicBezTo>
                <a:cubicBezTo>
                  <a:pt x="329" y="380"/>
                  <a:pt x="329" y="380"/>
                  <a:pt x="328" y="380"/>
                </a:cubicBezTo>
                <a:cubicBezTo>
                  <a:pt x="328" y="381"/>
                  <a:pt x="328" y="381"/>
                  <a:pt x="328" y="381"/>
                </a:cubicBezTo>
                <a:cubicBezTo>
                  <a:pt x="329" y="381"/>
                  <a:pt x="329" y="381"/>
                  <a:pt x="329" y="382"/>
                </a:cubicBezTo>
                <a:cubicBezTo>
                  <a:pt x="329" y="382"/>
                  <a:pt x="329" y="383"/>
                  <a:pt x="329" y="383"/>
                </a:cubicBezTo>
                <a:cubicBezTo>
                  <a:pt x="329" y="384"/>
                  <a:pt x="330" y="383"/>
                  <a:pt x="330" y="383"/>
                </a:cubicBezTo>
                <a:cubicBezTo>
                  <a:pt x="330" y="383"/>
                  <a:pt x="331" y="383"/>
                  <a:pt x="331" y="383"/>
                </a:cubicBezTo>
                <a:cubicBezTo>
                  <a:pt x="331" y="383"/>
                  <a:pt x="332" y="383"/>
                  <a:pt x="332" y="383"/>
                </a:cubicBezTo>
                <a:cubicBezTo>
                  <a:pt x="333" y="383"/>
                  <a:pt x="333" y="383"/>
                  <a:pt x="334" y="383"/>
                </a:cubicBezTo>
                <a:cubicBezTo>
                  <a:pt x="334" y="384"/>
                  <a:pt x="333" y="384"/>
                  <a:pt x="333" y="385"/>
                </a:cubicBezTo>
                <a:cubicBezTo>
                  <a:pt x="332" y="385"/>
                  <a:pt x="332" y="385"/>
                  <a:pt x="332" y="385"/>
                </a:cubicBezTo>
                <a:cubicBezTo>
                  <a:pt x="332" y="385"/>
                  <a:pt x="332" y="385"/>
                  <a:pt x="331" y="385"/>
                </a:cubicBezTo>
                <a:cubicBezTo>
                  <a:pt x="331" y="385"/>
                  <a:pt x="331" y="385"/>
                  <a:pt x="331" y="386"/>
                </a:cubicBezTo>
                <a:cubicBezTo>
                  <a:pt x="331" y="386"/>
                  <a:pt x="331" y="387"/>
                  <a:pt x="331" y="388"/>
                </a:cubicBezTo>
                <a:cubicBezTo>
                  <a:pt x="331" y="388"/>
                  <a:pt x="331" y="389"/>
                  <a:pt x="331" y="389"/>
                </a:cubicBezTo>
                <a:cubicBezTo>
                  <a:pt x="331" y="389"/>
                  <a:pt x="331" y="389"/>
                  <a:pt x="331" y="390"/>
                </a:cubicBezTo>
                <a:cubicBezTo>
                  <a:pt x="331" y="390"/>
                  <a:pt x="332" y="390"/>
                  <a:pt x="332" y="390"/>
                </a:cubicBezTo>
                <a:cubicBezTo>
                  <a:pt x="332" y="390"/>
                  <a:pt x="332" y="390"/>
                  <a:pt x="332" y="390"/>
                </a:cubicBezTo>
                <a:cubicBezTo>
                  <a:pt x="332" y="390"/>
                  <a:pt x="332" y="390"/>
                  <a:pt x="333" y="390"/>
                </a:cubicBezTo>
                <a:cubicBezTo>
                  <a:pt x="333" y="389"/>
                  <a:pt x="333" y="389"/>
                  <a:pt x="334" y="389"/>
                </a:cubicBezTo>
                <a:cubicBezTo>
                  <a:pt x="334" y="389"/>
                  <a:pt x="334" y="389"/>
                  <a:pt x="334" y="390"/>
                </a:cubicBezTo>
                <a:cubicBezTo>
                  <a:pt x="334" y="390"/>
                  <a:pt x="334" y="390"/>
                  <a:pt x="334" y="390"/>
                </a:cubicBezTo>
                <a:cubicBezTo>
                  <a:pt x="333" y="390"/>
                  <a:pt x="333" y="390"/>
                  <a:pt x="333" y="390"/>
                </a:cubicBezTo>
                <a:cubicBezTo>
                  <a:pt x="333" y="391"/>
                  <a:pt x="333" y="391"/>
                  <a:pt x="333" y="391"/>
                </a:cubicBezTo>
                <a:cubicBezTo>
                  <a:pt x="333" y="391"/>
                  <a:pt x="332" y="391"/>
                  <a:pt x="332" y="392"/>
                </a:cubicBezTo>
                <a:cubicBezTo>
                  <a:pt x="332" y="392"/>
                  <a:pt x="332" y="392"/>
                  <a:pt x="332" y="392"/>
                </a:cubicBezTo>
                <a:cubicBezTo>
                  <a:pt x="332" y="392"/>
                  <a:pt x="332" y="392"/>
                  <a:pt x="331" y="392"/>
                </a:cubicBezTo>
                <a:cubicBezTo>
                  <a:pt x="331" y="392"/>
                  <a:pt x="330" y="392"/>
                  <a:pt x="330" y="393"/>
                </a:cubicBezTo>
                <a:cubicBezTo>
                  <a:pt x="331" y="393"/>
                  <a:pt x="331" y="393"/>
                  <a:pt x="331" y="393"/>
                </a:cubicBezTo>
                <a:cubicBezTo>
                  <a:pt x="331" y="394"/>
                  <a:pt x="331" y="394"/>
                  <a:pt x="330" y="394"/>
                </a:cubicBezTo>
                <a:cubicBezTo>
                  <a:pt x="330" y="394"/>
                  <a:pt x="330" y="394"/>
                  <a:pt x="329" y="394"/>
                </a:cubicBezTo>
                <a:cubicBezTo>
                  <a:pt x="329" y="394"/>
                  <a:pt x="329" y="394"/>
                  <a:pt x="329" y="394"/>
                </a:cubicBezTo>
                <a:cubicBezTo>
                  <a:pt x="328" y="394"/>
                  <a:pt x="328" y="394"/>
                  <a:pt x="327" y="394"/>
                </a:cubicBezTo>
                <a:cubicBezTo>
                  <a:pt x="327" y="394"/>
                  <a:pt x="327" y="394"/>
                  <a:pt x="327" y="394"/>
                </a:cubicBezTo>
                <a:cubicBezTo>
                  <a:pt x="327" y="394"/>
                  <a:pt x="327" y="395"/>
                  <a:pt x="328" y="395"/>
                </a:cubicBezTo>
                <a:cubicBezTo>
                  <a:pt x="329" y="395"/>
                  <a:pt x="330" y="395"/>
                  <a:pt x="330" y="395"/>
                </a:cubicBezTo>
                <a:cubicBezTo>
                  <a:pt x="331" y="395"/>
                  <a:pt x="331" y="395"/>
                  <a:pt x="331" y="395"/>
                </a:cubicBezTo>
                <a:cubicBezTo>
                  <a:pt x="331" y="395"/>
                  <a:pt x="331" y="396"/>
                  <a:pt x="331" y="396"/>
                </a:cubicBezTo>
                <a:cubicBezTo>
                  <a:pt x="331" y="396"/>
                  <a:pt x="331" y="396"/>
                  <a:pt x="332" y="397"/>
                </a:cubicBezTo>
                <a:cubicBezTo>
                  <a:pt x="332" y="397"/>
                  <a:pt x="332" y="396"/>
                  <a:pt x="333" y="396"/>
                </a:cubicBezTo>
                <a:cubicBezTo>
                  <a:pt x="334" y="395"/>
                  <a:pt x="336" y="395"/>
                  <a:pt x="336" y="394"/>
                </a:cubicBezTo>
                <a:cubicBezTo>
                  <a:pt x="337" y="393"/>
                  <a:pt x="337" y="393"/>
                  <a:pt x="337" y="392"/>
                </a:cubicBezTo>
                <a:cubicBezTo>
                  <a:pt x="338" y="392"/>
                  <a:pt x="338" y="391"/>
                  <a:pt x="339" y="390"/>
                </a:cubicBezTo>
                <a:cubicBezTo>
                  <a:pt x="339" y="390"/>
                  <a:pt x="339" y="390"/>
                  <a:pt x="339" y="390"/>
                </a:cubicBezTo>
                <a:cubicBezTo>
                  <a:pt x="340" y="390"/>
                  <a:pt x="340" y="390"/>
                  <a:pt x="340" y="390"/>
                </a:cubicBezTo>
                <a:cubicBezTo>
                  <a:pt x="340" y="391"/>
                  <a:pt x="341" y="390"/>
                  <a:pt x="341" y="390"/>
                </a:cubicBezTo>
                <a:cubicBezTo>
                  <a:pt x="342" y="389"/>
                  <a:pt x="342" y="389"/>
                  <a:pt x="343" y="389"/>
                </a:cubicBezTo>
                <a:cubicBezTo>
                  <a:pt x="343" y="389"/>
                  <a:pt x="343" y="389"/>
                  <a:pt x="343" y="389"/>
                </a:cubicBezTo>
                <a:cubicBezTo>
                  <a:pt x="343" y="389"/>
                  <a:pt x="344" y="389"/>
                  <a:pt x="344" y="389"/>
                </a:cubicBezTo>
                <a:cubicBezTo>
                  <a:pt x="346" y="387"/>
                  <a:pt x="348" y="386"/>
                  <a:pt x="350" y="384"/>
                </a:cubicBezTo>
                <a:cubicBezTo>
                  <a:pt x="350" y="385"/>
                  <a:pt x="350" y="385"/>
                  <a:pt x="351" y="386"/>
                </a:cubicBezTo>
                <a:cubicBezTo>
                  <a:pt x="350" y="386"/>
                  <a:pt x="350" y="386"/>
                  <a:pt x="350" y="387"/>
                </a:cubicBezTo>
                <a:cubicBezTo>
                  <a:pt x="350" y="387"/>
                  <a:pt x="350" y="387"/>
                  <a:pt x="351" y="387"/>
                </a:cubicBezTo>
                <a:cubicBezTo>
                  <a:pt x="351" y="387"/>
                  <a:pt x="351" y="388"/>
                  <a:pt x="351" y="388"/>
                </a:cubicBezTo>
                <a:cubicBezTo>
                  <a:pt x="352" y="388"/>
                  <a:pt x="352" y="388"/>
                  <a:pt x="352" y="388"/>
                </a:cubicBezTo>
                <a:cubicBezTo>
                  <a:pt x="352" y="388"/>
                  <a:pt x="353" y="389"/>
                  <a:pt x="353" y="389"/>
                </a:cubicBezTo>
                <a:cubicBezTo>
                  <a:pt x="353" y="389"/>
                  <a:pt x="354" y="389"/>
                  <a:pt x="354" y="389"/>
                </a:cubicBezTo>
                <a:cubicBezTo>
                  <a:pt x="354" y="388"/>
                  <a:pt x="354" y="388"/>
                  <a:pt x="355" y="388"/>
                </a:cubicBezTo>
                <a:cubicBezTo>
                  <a:pt x="355" y="389"/>
                  <a:pt x="355" y="389"/>
                  <a:pt x="355" y="389"/>
                </a:cubicBezTo>
                <a:cubicBezTo>
                  <a:pt x="355" y="389"/>
                  <a:pt x="355" y="390"/>
                  <a:pt x="355" y="390"/>
                </a:cubicBezTo>
                <a:cubicBezTo>
                  <a:pt x="355" y="391"/>
                  <a:pt x="356" y="391"/>
                  <a:pt x="356" y="391"/>
                </a:cubicBezTo>
                <a:cubicBezTo>
                  <a:pt x="356" y="391"/>
                  <a:pt x="356" y="390"/>
                  <a:pt x="356" y="390"/>
                </a:cubicBezTo>
                <a:cubicBezTo>
                  <a:pt x="357" y="389"/>
                  <a:pt x="357" y="389"/>
                  <a:pt x="357" y="388"/>
                </a:cubicBezTo>
                <a:cubicBezTo>
                  <a:pt x="358" y="388"/>
                  <a:pt x="357" y="388"/>
                  <a:pt x="357" y="388"/>
                </a:cubicBezTo>
                <a:cubicBezTo>
                  <a:pt x="357" y="387"/>
                  <a:pt x="358" y="387"/>
                  <a:pt x="359" y="387"/>
                </a:cubicBezTo>
                <a:cubicBezTo>
                  <a:pt x="359" y="387"/>
                  <a:pt x="360" y="388"/>
                  <a:pt x="359" y="388"/>
                </a:cubicBezTo>
                <a:cubicBezTo>
                  <a:pt x="359" y="388"/>
                  <a:pt x="359" y="389"/>
                  <a:pt x="359" y="389"/>
                </a:cubicBezTo>
                <a:cubicBezTo>
                  <a:pt x="359" y="390"/>
                  <a:pt x="360" y="390"/>
                  <a:pt x="360" y="390"/>
                </a:cubicBezTo>
                <a:cubicBezTo>
                  <a:pt x="361" y="390"/>
                  <a:pt x="361" y="390"/>
                  <a:pt x="362" y="391"/>
                </a:cubicBezTo>
                <a:cubicBezTo>
                  <a:pt x="363" y="391"/>
                  <a:pt x="363" y="394"/>
                  <a:pt x="364" y="395"/>
                </a:cubicBezTo>
                <a:cubicBezTo>
                  <a:pt x="365" y="396"/>
                  <a:pt x="365" y="397"/>
                  <a:pt x="366" y="398"/>
                </a:cubicBezTo>
                <a:cubicBezTo>
                  <a:pt x="366" y="399"/>
                  <a:pt x="366" y="399"/>
                  <a:pt x="366" y="399"/>
                </a:cubicBezTo>
                <a:cubicBezTo>
                  <a:pt x="367" y="400"/>
                  <a:pt x="368" y="400"/>
                  <a:pt x="368" y="400"/>
                </a:cubicBezTo>
                <a:cubicBezTo>
                  <a:pt x="369" y="400"/>
                  <a:pt x="370" y="400"/>
                  <a:pt x="370" y="399"/>
                </a:cubicBezTo>
                <a:cubicBezTo>
                  <a:pt x="371" y="399"/>
                  <a:pt x="371" y="399"/>
                  <a:pt x="371" y="399"/>
                </a:cubicBezTo>
                <a:cubicBezTo>
                  <a:pt x="371" y="399"/>
                  <a:pt x="371" y="398"/>
                  <a:pt x="371" y="398"/>
                </a:cubicBezTo>
                <a:cubicBezTo>
                  <a:pt x="370" y="397"/>
                  <a:pt x="370" y="396"/>
                  <a:pt x="370" y="396"/>
                </a:cubicBezTo>
                <a:cubicBezTo>
                  <a:pt x="369" y="395"/>
                  <a:pt x="368" y="394"/>
                  <a:pt x="369" y="393"/>
                </a:cubicBezTo>
                <a:cubicBezTo>
                  <a:pt x="369" y="393"/>
                  <a:pt x="369" y="392"/>
                  <a:pt x="370" y="392"/>
                </a:cubicBezTo>
                <a:cubicBezTo>
                  <a:pt x="370" y="391"/>
                  <a:pt x="370" y="390"/>
                  <a:pt x="370" y="389"/>
                </a:cubicBezTo>
                <a:cubicBezTo>
                  <a:pt x="370" y="389"/>
                  <a:pt x="371" y="389"/>
                  <a:pt x="371" y="389"/>
                </a:cubicBezTo>
                <a:cubicBezTo>
                  <a:pt x="372" y="388"/>
                  <a:pt x="373" y="387"/>
                  <a:pt x="374" y="385"/>
                </a:cubicBezTo>
                <a:cubicBezTo>
                  <a:pt x="374" y="385"/>
                  <a:pt x="374" y="385"/>
                  <a:pt x="374" y="384"/>
                </a:cubicBezTo>
                <a:cubicBezTo>
                  <a:pt x="375" y="384"/>
                  <a:pt x="375" y="384"/>
                  <a:pt x="375" y="384"/>
                </a:cubicBezTo>
                <a:cubicBezTo>
                  <a:pt x="376" y="384"/>
                  <a:pt x="376" y="384"/>
                  <a:pt x="376" y="385"/>
                </a:cubicBezTo>
                <a:cubicBezTo>
                  <a:pt x="377" y="385"/>
                  <a:pt x="377" y="385"/>
                  <a:pt x="378" y="385"/>
                </a:cubicBezTo>
                <a:cubicBezTo>
                  <a:pt x="378" y="385"/>
                  <a:pt x="379" y="386"/>
                  <a:pt x="379" y="386"/>
                </a:cubicBezTo>
                <a:cubicBezTo>
                  <a:pt x="379" y="387"/>
                  <a:pt x="380" y="387"/>
                  <a:pt x="381" y="387"/>
                </a:cubicBezTo>
                <a:cubicBezTo>
                  <a:pt x="381" y="387"/>
                  <a:pt x="381" y="388"/>
                  <a:pt x="380" y="388"/>
                </a:cubicBezTo>
                <a:cubicBezTo>
                  <a:pt x="380" y="388"/>
                  <a:pt x="380" y="388"/>
                  <a:pt x="380" y="388"/>
                </a:cubicBezTo>
                <a:cubicBezTo>
                  <a:pt x="380" y="389"/>
                  <a:pt x="380" y="389"/>
                  <a:pt x="380" y="389"/>
                </a:cubicBezTo>
                <a:cubicBezTo>
                  <a:pt x="380" y="389"/>
                  <a:pt x="380" y="389"/>
                  <a:pt x="380" y="388"/>
                </a:cubicBezTo>
                <a:cubicBezTo>
                  <a:pt x="379" y="388"/>
                  <a:pt x="379" y="387"/>
                  <a:pt x="378" y="386"/>
                </a:cubicBezTo>
                <a:cubicBezTo>
                  <a:pt x="378" y="386"/>
                  <a:pt x="377" y="385"/>
                  <a:pt x="376" y="385"/>
                </a:cubicBezTo>
                <a:cubicBezTo>
                  <a:pt x="376" y="385"/>
                  <a:pt x="375" y="385"/>
                  <a:pt x="374" y="386"/>
                </a:cubicBezTo>
                <a:cubicBezTo>
                  <a:pt x="374" y="386"/>
                  <a:pt x="374" y="387"/>
                  <a:pt x="374" y="388"/>
                </a:cubicBezTo>
                <a:cubicBezTo>
                  <a:pt x="374" y="388"/>
                  <a:pt x="373" y="389"/>
                  <a:pt x="373" y="389"/>
                </a:cubicBezTo>
                <a:cubicBezTo>
                  <a:pt x="373" y="390"/>
                  <a:pt x="373" y="390"/>
                  <a:pt x="373" y="391"/>
                </a:cubicBezTo>
                <a:cubicBezTo>
                  <a:pt x="373" y="391"/>
                  <a:pt x="374" y="391"/>
                  <a:pt x="374" y="391"/>
                </a:cubicBezTo>
                <a:cubicBezTo>
                  <a:pt x="374" y="391"/>
                  <a:pt x="374" y="391"/>
                  <a:pt x="374" y="391"/>
                </a:cubicBezTo>
                <a:cubicBezTo>
                  <a:pt x="375" y="392"/>
                  <a:pt x="376" y="392"/>
                  <a:pt x="376" y="393"/>
                </a:cubicBezTo>
                <a:cubicBezTo>
                  <a:pt x="376" y="393"/>
                  <a:pt x="375" y="394"/>
                  <a:pt x="375" y="394"/>
                </a:cubicBezTo>
                <a:cubicBezTo>
                  <a:pt x="376" y="394"/>
                  <a:pt x="376" y="394"/>
                  <a:pt x="376" y="394"/>
                </a:cubicBezTo>
                <a:cubicBezTo>
                  <a:pt x="376" y="394"/>
                  <a:pt x="376" y="395"/>
                  <a:pt x="377" y="395"/>
                </a:cubicBezTo>
                <a:cubicBezTo>
                  <a:pt x="377" y="395"/>
                  <a:pt x="377" y="395"/>
                  <a:pt x="377" y="395"/>
                </a:cubicBezTo>
                <a:cubicBezTo>
                  <a:pt x="379" y="395"/>
                  <a:pt x="381" y="394"/>
                  <a:pt x="382" y="394"/>
                </a:cubicBezTo>
                <a:cubicBezTo>
                  <a:pt x="384" y="392"/>
                  <a:pt x="386" y="391"/>
                  <a:pt x="388" y="390"/>
                </a:cubicBezTo>
                <a:cubicBezTo>
                  <a:pt x="389" y="390"/>
                  <a:pt x="389" y="390"/>
                  <a:pt x="390" y="390"/>
                </a:cubicBezTo>
                <a:cubicBezTo>
                  <a:pt x="390" y="389"/>
                  <a:pt x="391" y="389"/>
                  <a:pt x="392" y="389"/>
                </a:cubicBezTo>
                <a:cubicBezTo>
                  <a:pt x="392" y="389"/>
                  <a:pt x="392" y="389"/>
                  <a:pt x="392" y="389"/>
                </a:cubicBezTo>
                <a:cubicBezTo>
                  <a:pt x="392" y="388"/>
                  <a:pt x="393" y="388"/>
                  <a:pt x="393" y="388"/>
                </a:cubicBezTo>
                <a:cubicBezTo>
                  <a:pt x="393" y="389"/>
                  <a:pt x="393" y="390"/>
                  <a:pt x="393" y="391"/>
                </a:cubicBezTo>
                <a:cubicBezTo>
                  <a:pt x="392" y="391"/>
                  <a:pt x="392" y="391"/>
                  <a:pt x="392" y="391"/>
                </a:cubicBezTo>
                <a:cubicBezTo>
                  <a:pt x="392" y="391"/>
                  <a:pt x="392" y="392"/>
                  <a:pt x="392" y="392"/>
                </a:cubicBezTo>
                <a:cubicBezTo>
                  <a:pt x="392" y="392"/>
                  <a:pt x="393" y="392"/>
                  <a:pt x="393" y="393"/>
                </a:cubicBezTo>
                <a:cubicBezTo>
                  <a:pt x="392" y="393"/>
                  <a:pt x="391" y="393"/>
                  <a:pt x="391" y="394"/>
                </a:cubicBezTo>
                <a:cubicBezTo>
                  <a:pt x="390" y="395"/>
                  <a:pt x="390" y="396"/>
                  <a:pt x="389" y="396"/>
                </a:cubicBezTo>
                <a:cubicBezTo>
                  <a:pt x="388" y="397"/>
                  <a:pt x="387" y="398"/>
                  <a:pt x="386" y="400"/>
                </a:cubicBezTo>
                <a:cubicBezTo>
                  <a:pt x="386" y="401"/>
                  <a:pt x="387" y="403"/>
                  <a:pt x="386" y="404"/>
                </a:cubicBezTo>
                <a:cubicBezTo>
                  <a:pt x="386" y="404"/>
                  <a:pt x="386" y="404"/>
                  <a:pt x="387" y="404"/>
                </a:cubicBezTo>
                <a:cubicBezTo>
                  <a:pt x="387" y="404"/>
                  <a:pt x="387" y="404"/>
                  <a:pt x="388" y="405"/>
                </a:cubicBezTo>
                <a:cubicBezTo>
                  <a:pt x="388" y="404"/>
                  <a:pt x="389" y="404"/>
                  <a:pt x="390" y="405"/>
                </a:cubicBezTo>
                <a:cubicBezTo>
                  <a:pt x="388" y="405"/>
                  <a:pt x="387" y="406"/>
                  <a:pt x="386" y="407"/>
                </a:cubicBezTo>
                <a:cubicBezTo>
                  <a:pt x="385" y="407"/>
                  <a:pt x="385" y="408"/>
                  <a:pt x="385" y="408"/>
                </a:cubicBezTo>
                <a:cubicBezTo>
                  <a:pt x="385" y="409"/>
                  <a:pt x="386" y="410"/>
                  <a:pt x="385" y="411"/>
                </a:cubicBezTo>
                <a:cubicBezTo>
                  <a:pt x="385" y="411"/>
                  <a:pt x="385" y="411"/>
                  <a:pt x="385" y="411"/>
                </a:cubicBezTo>
                <a:cubicBezTo>
                  <a:pt x="384" y="412"/>
                  <a:pt x="385" y="413"/>
                  <a:pt x="385" y="414"/>
                </a:cubicBezTo>
                <a:cubicBezTo>
                  <a:pt x="385" y="415"/>
                  <a:pt x="384" y="415"/>
                  <a:pt x="384" y="416"/>
                </a:cubicBezTo>
                <a:cubicBezTo>
                  <a:pt x="383" y="417"/>
                  <a:pt x="383" y="418"/>
                  <a:pt x="384" y="419"/>
                </a:cubicBezTo>
                <a:cubicBezTo>
                  <a:pt x="384" y="419"/>
                  <a:pt x="385" y="420"/>
                  <a:pt x="385" y="419"/>
                </a:cubicBezTo>
                <a:cubicBezTo>
                  <a:pt x="385" y="419"/>
                  <a:pt x="385" y="419"/>
                  <a:pt x="385" y="418"/>
                </a:cubicBezTo>
                <a:cubicBezTo>
                  <a:pt x="385" y="418"/>
                  <a:pt x="386" y="418"/>
                  <a:pt x="386" y="418"/>
                </a:cubicBezTo>
                <a:cubicBezTo>
                  <a:pt x="386" y="418"/>
                  <a:pt x="386" y="418"/>
                  <a:pt x="386" y="418"/>
                </a:cubicBezTo>
                <a:cubicBezTo>
                  <a:pt x="386" y="419"/>
                  <a:pt x="386" y="420"/>
                  <a:pt x="386" y="421"/>
                </a:cubicBezTo>
                <a:cubicBezTo>
                  <a:pt x="386" y="422"/>
                  <a:pt x="386" y="422"/>
                  <a:pt x="385" y="422"/>
                </a:cubicBezTo>
                <a:cubicBezTo>
                  <a:pt x="385" y="422"/>
                  <a:pt x="385" y="422"/>
                  <a:pt x="385" y="422"/>
                </a:cubicBezTo>
                <a:cubicBezTo>
                  <a:pt x="384" y="422"/>
                  <a:pt x="383" y="422"/>
                  <a:pt x="383" y="421"/>
                </a:cubicBezTo>
                <a:cubicBezTo>
                  <a:pt x="382" y="422"/>
                  <a:pt x="381" y="423"/>
                  <a:pt x="380" y="425"/>
                </a:cubicBezTo>
                <a:cubicBezTo>
                  <a:pt x="380" y="425"/>
                  <a:pt x="380" y="426"/>
                  <a:pt x="379" y="426"/>
                </a:cubicBezTo>
                <a:cubicBezTo>
                  <a:pt x="379" y="427"/>
                  <a:pt x="378" y="427"/>
                  <a:pt x="378" y="427"/>
                </a:cubicBezTo>
                <a:cubicBezTo>
                  <a:pt x="378" y="427"/>
                  <a:pt x="378" y="427"/>
                  <a:pt x="377" y="427"/>
                </a:cubicBezTo>
                <a:cubicBezTo>
                  <a:pt x="377" y="427"/>
                  <a:pt x="377" y="427"/>
                  <a:pt x="377" y="427"/>
                </a:cubicBezTo>
                <a:cubicBezTo>
                  <a:pt x="377" y="428"/>
                  <a:pt x="376" y="428"/>
                  <a:pt x="376" y="428"/>
                </a:cubicBezTo>
                <a:cubicBezTo>
                  <a:pt x="375" y="429"/>
                  <a:pt x="374" y="430"/>
                  <a:pt x="374" y="431"/>
                </a:cubicBezTo>
                <a:cubicBezTo>
                  <a:pt x="373" y="432"/>
                  <a:pt x="372" y="433"/>
                  <a:pt x="372" y="433"/>
                </a:cubicBezTo>
                <a:cubicBezTo>
                  <a:pt x="371" y="434"/>
                  <a:pt x="371" y="436"/>
                  <a:pt x="372" y="437"/>
                </a:cubicBezTo>
                <a:cubicBezTo>
                  <a:pt x="372" y="437"/>
                  <a:pt x="372" y="438"/>
                  <a:pt x="371" y="439"/>
                </a:cubicBezTo>
                <a:cubicBezTo>
                  <a:pt x="371" y="439"/>
                  <a:pt x="370" y="439"/>
                  <a:pt x="370" y="439"/>
                </a:cubicBezTo>
                <a:cubicBezTo>
                  <a:pt x="369" y="439"/>
                  <a:pt x="369" y="439"/>
                  <a:pt x="368" y="439"/>
                </a:cubicBezTo>
                <a:cubicBezTo>
                  <a:pt x="368" y="439"/>
                  <a:pt x="367" y="438"/>
                  <a:pt x="367" y="439"/>
                </a:cubicBezTo>
                <a:cubicBezTo>
                  <a:pt x="367" y="439"/>
                  <a:pt x="367" y="439"/>
                  <a:pt x="366" y="439"/>
                </a:cubicBezTo>
                <a:cubicBezTo>
                  <a:pt x="365" y="440"/>
                  <a:pt x="364" y="442"/>
                  <a:pt x="362" y="443"/>
                </a:cubicBezTo>
                <a:cubicBezTo>
                  <a:pt x="361" y="443"/>
                  <a:pt x="360" y="443"/>
                  <a:pt x="359" y="444"/>
                </a:cubicBezTo>
                <a:cubicBezTo>
                  <a:pt x="358" y="444"/>
                  <a:pt x="356" y="445"/>
                  <a:pt x="355" y="446"/>
                </a:cubicBezTo>
                <a:cubicBezTo>
                  <a:pt x="353" y="448"/>
                  <a:pt x="351" y="449"/>
                  <a:pt x="350" y="451"/>
                </a:cubicBezTo>
                <a:cubicBezTo>
                  <a:pt x="351" y="451"/>
                  <a:pt x="351" y="451"/>
                  <a:pt x="352" y="451"/>
                </a:cubicBezTo>
                <a:cubicBezTo>
                  <a:pt x="352" y="452"/>
                  <a:pt x="352" y="452"/>
                  <a:pt x="351" y="452"/>
                </a:cubicBezTo>
                <a:cubicBezTo>
                  <a:pt x="351" y="452"/>
                  <a:pt x="351" y="452"/>
                  <a:pt x="351" y="452"/>
                </a:cubicBezTo>
                <a:cubicBezTo>
                  <a:pt x="350" y="452"/>
                  <a:pt x="349" y="452"/>
                  <a:pt x="349" y="453"/>
                </a:cubicBezTo>
                <a:cubicBezTo>
                  <a:pt x="348" y="454"/>
                  <a:pt x="348" y="454"/>
                  <a:pt x="348" y="455"/>
                </a:cubicBezTo>
                <a:cubicBezTo>
                  <a:pt x="349" y="455"/>
                  <a:pt x="348" y="456"/>
                  <a:pt x="348" y="456"/>
                </a:cubicBezTo>
                <a:cubicBezTo>
                  <a:pt x="348" y="456"/>
                  <a:pt x="347" y="457"/>
                  <a:pt x="347" y="457"/>
                </a:cubicBezTo>
                <a:cubicBezTo>
                  <a:pt x="347" y="457"/>
                  <a:pt x="347" y="457"/>
                  <a:pt x="347" y="457"/>
                </a:cubicBezTo>
                <a:cubicBezTo>
                  <a:pt x="348" y="459"/>
                  <a:pt x="349" y="460"/>
                  <a:pt x="350" y="461"/>
                </a:cubicBezTo>
                <a:cubicBezTo>
                  <a:pt x="351" y="461"/>
                  <a:pt x="351" y="461"/>
                  <a:pt x="351" y="462"/>
                </a:cubicBezTo>
                <a:cubicBezTo>
                  <a:pt x="351" y="462"/>
                  <a:pt x="350" y="462"/>
                  <a:pt x="350" y="462"/>
                </a:cubicBezTo>
                <a:cubicBezTo>
                  <a:pt x="349" y="462"/>
                  <a:pt x="349" y="462"/>
                  <a:pt x="348" y="462"/>
                </a:cubicBezTo>
                <a:cubicBezTo>
                  <a:pt x="349" y="462"/>
                  <a:pt x="348" y="461"/>
                  <a:pt x="348" y="461"/>
                </a:cubicBezTo>
                <a:cubicBezTo>
                  <a:pt x="347" y="460"/>
                  <a:pt x="347" y="461"/>
                  <a:pt x="346" y="461"/>
                </a:cubicBezTo>
                <a:cubicBezTo>
                  <a:pt x="346" y="461"/>
                  <a:pt x="345" y="460"/>
                  <a:pt x="344" y="460"/>
                </a:cubicBezTo>
                <a:cubicBezTo>
                  <a:pt x="344" y="460"/>
                  <a:pt x="344" y="461"/>
                  <a:pt x="344" y="461"/>
                </a:cubicBezTo>
                <a:cubicBezTo>
                  <a:pt x="344" y="461"/>
                  <a:pt x="345" y="461"/>
                  <a:pt x="345" y="462"/>
                </a:cubicBezTo>
                <a:cubicBezTo>
                  <a:pt x="345" y="462"/>
                  <a:pt x="345" y="463"/>
                  <a:pt x="345" y="464"/>
                </a:cubicBezTo>
                <a:cubicBezTo>
                  <a:pt x="344" y="464"/>
                  <a:pt x="343" y="463"/>
                  <a:pt x="343" y="462"/>
                </a:cubicBezTo>
                <a:cubicBezTo>
                  <a:pt x="342" y="461"/>
                  <a:pt x="342" y="460"/>
                  <a:pt x="341" y="459"/>
                </a:cubicBezTo>
                <a:cubicBezTo>
                  <a:pt x="341" y="459"/>
                  <a:pt x="341" y="459"/>
                  <a:pt x="340" y="458"/>
                </a:cubicBezTo>
                <a:cubicBezTo>
                  <a:pt x="340" y="458"/>
                  <a:pt x="338" y="459"/>
                  <a:pt x="338" y="458"/>
                </a:cubicBezTo>
                <a:cubicBezTo>
                  <a:pt x="337" y="459"/>
                  <a:pt x="336" y="458"/>
                  <a:pt x="335" y="459"/>
                </a:cubicBezTo>
                <a:cubicBezTo>
                  <a:pt x="334" y="459"/>
                  <a:pt x="334" y="459"/>
                  <a:pt x="333" y="459"/>
                </a:cubicBezTo>
                <a:cubicBezTo>
                  <a:pt x="329" y="462"/>
                  <a:pt x="324" y="465"/>
                  <a:pt x="321" y="470"/>
                </a:cubicBezTo>
                <a:cubicBezTo>
                  <a:pt x="322" y="470"/>
                  <a:pt x="322" y="470"/>
                  <a:pt x="322" y="471"/>
                </a:cubicBezTo>
                <a:cubicBezTo>
                  <a:pt x="322" y="471"/>
                  <a:pt x="321" y="472"/>
                  <a:pt x="321" y="472"/>
                </a:cubicBezTo>
                <a:cubicBezTo>
                  <a:pt x="320" y="472"/>
                  <a:pt x="320" y="472"/>
                  <a:pt x="319" y="473"/>
                </a:cubicBezTo>
                <a:cubicBezTo>
                  <a:pt x="319" y="473"/>
                  <a:pt x="318" y="474"/>
                  <a:pt x="318" y="474"/>
                </a:cubicBezTo>
                <a:cubicBezTo>
                  <a:pt x="318" y="475"/>
                  <a:pt x="318" y="475"/>
                  <a:pt x="317" y="475"/>
                </a:cubicBezTo>
                <a:cubicBezTo>
                  <a:pt x="317" y="476"/>
                  <a:pt x="317" y="476"/>
                  <a:pt x="317" y="476"/>
                </a:cubicBezTo>
                <a:cubicBezTo>
                  <a:pt x="316" y="476"/>
                  <a:pt x="315" y="476"/>
                  <a:pt x="314" y="476"/>
                </a:cubicBezTo>
                <a:cubicBezTo>
                  <a:pt x="314" y="476"/>
                  <a:pt x="314" y="476"/>
                  <a:pt x="313" y="476"/>
                </a:cubicBezTo>
                <a:cubicBezTo>
                  <a:pt x="313" y="477"/>
                  <a:pt x="312" y="478"/>
                  <a:pt x="312" y="478"/>
                </a:cubicBezTo>
                <a:cubicBezTo>
                  <a:pt x="312" y="479"/>
                  <a:pt x="312" y="480"/>
                  <a:pt x="312" y="481"/>
                </a:cubicBezTo>
                <a:cubicBezTo>
                  <a:pt x="312" y="482"/>
                  <a:pt x="311" y="482"/>
                  <a:pt x="311" y="483"/>
                </a:cubicBezTo>
                <a:cubicBezTo>
                  <a:pt x="311" y="483"/>
                  <a:pt x="311" y="484"/>
                  <a:pt x="311" y="485"/>
                </a:cubicBezTo>
                <a:cubicBezTo>
                  <a:pt x="312" y="484"/>
                  <a:pt x="313" y="483"/>
                  <a:pt x="314" y="482"/>
                </a:cubicBezTo>
                <a:cubicBezTo>
                  <a:pt x="314" y="482"/>
                  <a:pt x="314" y="482"/>
                  <a:pt x="315" y="482"/>
                </a:cubicBezTo>
                <a:cubicBezTo>
                  <a:pt x="315" y="481"/>
                  <a:pt x="314" y="480"/>
                  <a:pt x="313" y="480"/>
                </a:cubicBezTo>
                <a:cubicBezTo>
                  <a:pt x="313" y="479"/>
                  <a:pt x="314" y="478"/>
                  <a:pt x="315" y="478"/>
                </a:cubicBezTo>
                <a:cubicBezTo>
                  <a:pt x="315" y="478"/>
                  <a:pt x="316" y="479"/>
                  <a:pt x="316" y="479"/>
                </a:cubicBezTo>
                <a:cubicBezTo>
                  <a:pt x="316" y="480"/>
                  <a:pt x="316" y="480"/>
                  <a:pt x="316" y="481"/>
                </a:cubicBezTo>
                <a:cubicBezTo>
                  <a:pt x="317" y="481"/>
                  <a:pt x="318" y="482"/>
                  <a:pt x="318" y="481"/>
                </a:cubicBezTo>
                <a:cubicBezTo>
                  <a:pt x="319" y="481"/>
                  <a:pt x="320" y="481"/>
                  <a:pt x="320" y="480"/>
                </a:cubicBezTo>
                <a:cubicBezTo>
                  <a:pt x="321" y="480"/>
                  <a:pt x="321" y="480"/>
                  <a:pt x="321" y="479"/>
                </a:cubicBezTo>
                <a:cubicBezTo>
                  <a:pt x="321" y="478"/>
                  <a:pt x="320" y="478"/>
                  <a:pt x="321" y="477"/>
                </a:cubicBezTo>
                <a:cubicBezTo>
                  <a:pt x="321" y="477"/>
                  <a:pt x="320" y="476"/>
                  <a:pt x="320" y="475"/>
                </a:cubicBezTo>
                <a:cubicBezTo>
                  <a:pt x="320" y="475"/>
                  <a:pt x="320" y="475"/>
                  <a:pt x="320" y="475"/>
                </a:cubicBezTo>
                <a:cubicBezTo>
                  <a:pt x="319" y="475"/>
                  <a:pt x="320" y="474"/>
                  <a:pt x="320" y="474"/>
                </a:cubicBezTo>
                <a:cubicBezTo>
                  <a:pt x="321" y="474"/>
                  <a:pt x="322" y="475"/>
                  <a:pt x="322" y="476"/>
                </a:cubicBezTo>
                <a:cubicBezTo>
                  <a:pt x="322" y="476"/>
                  <a:pt x="322" y="476"/>
                  <a:pt x="322" y="476"/>
                </a:cubicBezTo>
                <a:cubicBezTo>
                  <a:pt x="322" y="477"/>
                  <a:pt x="322" y="477"/>
                  <a:pt x="323" y="477"/>
                </a:cubicBezTo>
                <a:cubicBezTo>
                  <a:pt x="322" y="477"/>
                  <a:pt x="322" y="477"/>
                  <a:pt x="322" y="478"/>
                </a:cubicBezTo>
                <a:cubicBezTo>
                  <a:pt x="322" y="478"/>
                  <a:pt x="322" y="478"/>
                  <a:pt x="322" y="478"/>
                </a:cubicBezTo>
                <a:cubicBezTo>
                  <a:pt x="322" y="478"/>
                  <a:pt x="322" y="478"/>
                  <a:pt x="323" y="479"/>
                </a:cubicBezTo>
                <a:cubicBezTo>
                  <a:pt x="323" y="479"/>
                  <a:pt x="323" y="479"/>
                  <a:pt x="323" y="479"/>
                </a:cubicBezTo>
                <a:cubicBezTo>
                  <a:pt x="323" y="479"/>
                  <a:pt x="323" y="479"/>
                  <a:pt x="323" y="479"/>
                </a:cubicBezTo>
                <a:cubicBezTo>
                  <a:pt x="324" y="479"/>
                  <a:pt x="325" y="479"/>
                  <a:pt x="325" y="479"/>
                </a:cubicBezTo>
                <a:cubicBezTo>
                  <a:pt x="325" y="478"/>
                  <a:pt x="326" y="477"/>
                  <a:pt x="327" y="477"/>
                </a:cubicBezTo>
                <a:cubicBezTo>
                  <a:pt x="327" y="477"/>
                  <a:pt x="327" y="476"/>
                  <a:pt x="327" y="477"/>
                </a:cubicBezTo>
                <a:cubicBezTo>
                  <a:pt x="327" y="477"/>
                  <a:pt x="327" y="477"/>
                  <a:pt x="327" y="477"/>
                </a:cubicBezTo>
                <a:cubicBezTo>
                  <a:pt x="327" y="478"/>
                  <a:pt x="327" y="478"/>
                  <a:pt x="328" y="479"/>
                </a:cubicBezTo>
                <a:cubicBezTo>
                  <a:pt x="328" y="479"/>
                  <a:pt x="329" y="478"/>
                  <a:pt x="329" y="478"/>
                </a:cubicBezTo>
                <a:cubicBezTo>
                  <a:pt x="329" y="477"/>
                  <a:pt x="329" y="476"/>
                  <a:pt x="329" y="476"/>
                </a:cubicBezTo>
                <a:cubicBezTo>
                  <a:pt x="328" y="476"/>
                  <a:pt x="328" y="475"/>
                  <a:pt x="329" y="475"/>
                </a:cubicBezTo>
                <a:cubicBezTo>
                  <a:pt x="329" y="475"/>
                  <a:pt x="329" y="475"/>
                  <a:pt x="329" y="475"/>
                </a:cubicBezTo>
                <a:cubicBezTo>
                  <a:pt x="329" y="475"/>
                  <a:pt x="330" y="475"/>
                  <a:pt x="330" y="475"/>
                </a:cubicBezTo>
                <a:cubicBezTo>
                  <a:pt x="330" y="475"/>
                  <a:pt x="330" y="475"/>
                  <a:pt x="330" y="475"/>
                </a:cubicBezTo>
                <a:cubicBezTo>
                  <a:pt x="331" y="474"/>
                  <a:pt x="331" y="474"/>
                  <a:pt x="331" y="473"/>
                </a:cubicBezTo>
                <a:cubicBezTo>
                  <a:pt x="332" y="472"/>
                  <a:pt x="332" y="471"/>
                  <a:pt x="332" y="470"/>
                </a:cubicBezTo>
                <a:cubicBezTo>
                  <a:pt x="333" y="469"/>
                  <a:pt x="333" y="469"/>
                  <a:pt x="333" y="468"/>
                </a:cubicBezTo>
                <a:cubicBezTo>
                  <a:pt x="333" y="468"/>
                  <a:pt x="334" y="467"/>
                  <a:pt x="334" y="466"/>
                </a:cubicBezTo>
                <a:cubicBezTo>
                  <a:pt x="335" y="466"/>
                  <a:pt x="335" y="466"/>
                  <a:pt x="336" y="466"/>
                </a:cubicBezTo>
                <a:cubicBezTo>
                  <a:pt x="336" y="466"/>
                  <a:pt x="336" y="466"/>
                  <a:pt x="337" y="466"/>
                </a:cubicBezTo>
                <a:cubicBezTo>
                  <a:pt x="338" y="467"/>
                  <a:pt x="338" y="468"/>
                  <a:pt x="339" y="468"/>
                </a:cubicBezTo>
                <a:cubicBezTo>
                  <a:pt x="339" y="469"/>
                  <a:pt x="338" y="469"/>
                  <a:pt x="338" y="468"/>
                </a:cubicBezTo>
                <a:cubicBezTo>
                  <a:pt x="338" y="468"/>
                  <a:pt x="337" y="468"/>
                  <a:pt x="337" y="468"/>
                </a:cubicBezTo>
                <a:cubicBezTo>
                  <a:pt x="337" y="468"/>
                  <a:pt x="337" y="468"/>
                  <a:pt x="336" y="468"/>
                </a:cubicBezTo>
                <a:cubicBezTo>
                  <a:pt x="336" y="468"/>
                  <a:pt x="336" y="469"/>
                  <a:pt x="336" y="469"/>
                </a:cubicBezTo>
                <a:cubicBezTo>
                  <a:pt x="335" y="470"/>
                  <a:pt x="335" y="471"/>
                  <a:pt x="335" y="472"/>
                </a:cubicBezTo>
                <a:cubicBezTo>
                  <a:pt x="338" y="472"/>
                  <a:pt x="340" y="472"/>
                  <a:pt x="342" y="470"/>
                </a:cubicBezTo>
                <a:cubicBezTo>
                  <a:pt x="342" y="469"/>
                  <a:pt x="343" y="468"/>
                  <a:pt x="344" y="469"/>
                </a:cubicBezTo>
                <a:cubicBezTo>
                  <a:pt x="344" y="469"/>
                  <a:pt x="344" y="470"/>
                  <a:pt x="345" y="470"/>
                </a:cubicBezTo>
                <a:cubicBezTo>
                  <a:pt x="345" y="470"/>
                  <a:pt x="346" y="470"/>
                  <a:pt x="346" y="469"/>
                </a:cubicBezTo>
                <a:cubicBezTo>
                  <a:pt x="346" y="469"/>
                  <a:pt x="345" y="469"/>
                  <a:pt x="345" y="469"/>
                </a:cubicBezTo>
                <a:cubicBezTo>
                  <a:pt x="345" y="468"/>
                  <a:pt x="345" y="468"/>
                  <a:pt x="345" y="468"/>
                </a:cubicBezTo>
                <a:cubicBezTo>
                  <a:pt x="345" y="468"/>
                  <a:pt x="345" y="468"/>
                  <a:pt x="345" y="468"/>
                </a:cubicBezTo>
                <a:cubicBezTo>
                  <a:pt x="345" y="467"/>
                  <a:pt x="346" y="467"/>
                  <a:pt x="347" y="468"/>
                </a:cubicBezTo>
                <a:cubicBezTo>
                  <a:pt x="347" y="468"/>
                  <a:pt x="347" y="468"/>
                  <a:pt x="347" y="469"/>
                </a:cubicBezTo>
                <a:cubicBezTo>
                  <a:pt x="347" y="469"/>
                  <a:pt x="347" y="469"/>
                  <a:pt x="348" y="469"/>
                </a:cubicBezTo>
                <a:cubicBezTo>
                  <a:pt x="348" y="469"/>
                  <a:pt x="348" y="469"/>
                  <a:pt x="348" y="469"/>
                </a:cubicBezTo>
                <a:cubicBezTo>
                  <a:pt x="348" y="468"/>
                  <a:pt x="348" y="468"/>
                  <a:pt x="349" y="467"/>
                </a:cubicBezTo>
                <a:cubicBezTo>
                  <a:pt x="349" y="467"/>
                  <a:pt x="349" y="466"/>
                  <a:pt x="350" y="466"/>
                </a:cubicBezTo>
                <a:cubicBezTo>
                  <a:pt x="350" y="466"/>
                  <a:pt x="350" y="466"/>
                  <a:pt x="350" y="466"/>
                </a:cubicBezTo>
                <a:cubicBezTo>
                  <a:pt x="350" y="466"/>
                  <a:pt x="351" y="466"/>
                  <a:pt x="351" y="466"/>
                </a:cubicBezTo>
                <a:cubicBezTo>
                  <a:pt x="351" y="465"/>
                  <a:pt x="352" y="465"/>
                  <a:pt x="352" y="465"/>
                </a:cubicBezTo>
                <a:cubicBezTo>
                  <a:pt x="352" y="465"/>
                  <a:pt x="353" y="465"/>
                  <a:pt x="353" y="465"/>
                </a:cubicBezTo>
                <a:cubicBezTo>
                  <a:pt x="354" y="464"/>
                  <a:pt x="354" y="463"/>
                  <a:pt x="355" y="462"/>
                </a:cubicBezTo>
                <a:cubicBezTo>
                  <a:pt x="356" y="462"/>
                  <a:pt x="357" y="462"/>
                  <a:pt x="357" y="461"/>
                </a:cubicBezTo>
                <a:cubicBezTo>
                  <a:pt x="358" y="461"/>
                  <a:pt x="358" y="461"/>
                  <a:pt x="359" y="462"/>
                </a:cubicBezTo>
                <a:cubicBezTo>
                  <a:pt x="359" y="462"/>
                  <a:pt x="359" y="462"/>
                  <a:pt x="359" y="462"/>
                </a:cubicBezTo>
                <a:cubicBezTo>
                  <a:pt x="359" y="462"/>
                  <a:pt x="359" y="462"/>
                  <a:pt x="359" y="462"/>
                </a:cubicBezTo>
                <a:cubicBezTo>
                  <a:pt x="358" y="463"/>
                  <a:pt x="358" y="465"/>
                  <a:pt x="359" y="466"/>
                </a:cubicBezTo>
                <a:cubicBezTo>
                  <a:pt x="359" y="466"/>
                  <a:pt x="359" y="466"/>
                  <a:pt x="359" y="466"/>
                </a:cubicBezTo>
                <a:cubicBezTo>
                  <a:pt x="359" y="466"/>
                  <a:pt x="359" y="467"/>
                  <a:pt x="358" y="467"/>
                </a:cubicBezTo>
                <a:cubicBezTo>
                  <a:pt x="358" y="467"/>
                  <a:pt x="358" y="467"/>
                  <a:pt x="358" y="467"/>
                </a:cubicBezTo>
                <a:cubicBezTo>
                  <a:pt x="359" y="467"/>
                  <a:pt x="360" y="466"/>
                  <a:pt x="360" y="465"/>
                </a:cubicBezTo>
                <a:cubicBezTo>
                  <a:pt x="360" y="464"/>
                  <a:pt x="360" y="462"/>
                  <a:pt x="361" y="462"/>
                </a:cubicBezTo>
                <a:cubicBezTo>
                  <a:pt x="361" y="462"/>
                  <a:pt x="362" y="462"/>
                  <a:pt x="362" y="462"/>
                </a:cubicBezTo>
                <a:cubicBezTo>
                  <a:pt x="362" y="461"/>
                  <a:pt x="362" y="461"/>
                  <a:pt x="363" y="461"/>
                </a:cubicBezTo>
                <a:cubicBezTo>
                  <a:pt x="364" y="460"/>
                  <a:pt x="366" y="459"/>
                  <a:pt x="367" y="459"/>
                </a:cubicBezTo>
                <a:cubicBezTo>
                  <a:pt x="367" y="459"/>
                  <a:pt x="368" y="459"/>
                  <a:pt x="368" y="459"/>
                </a:cubicBezTo>
                <a:cubicBezTo>
                  <a:pt x="368" y="459"/>
                  <a:pt x="369" y="458"/>
                  <a:pt x="369" y="458"/>
                </a:cubicBezTo>
                <a:cubicBezTo>
                  <a:pt x="369" y="458"/>
                  <a:pt x="370" y="458"/>
                  <a:pt x="371" y="458"/>
                </a:cubicBezTo>
                <a:cubicBezTo>
                  <a:pt x="371" y="457"/>
                  <a:pt x="372" y="456"/>
                  <a:pt x="372" y="455"/>
                </a:cubicBezTo>
                <a:cubicBezTo>
                  <a:pt x="372" y="454"/>
                  <a:pt x="372" y="454"/>
                  <a:pt x="373" y="453"/>
                </a:cubicBezTo>
                <a:cubicBezTo>
                  <a:pt x="373" y="453"/>
                  <a:pt x="374" y="453"/>
                  <a:pt x="374" y="453"/>
                </a:cubicBezTo>
                <a:cubicBezTo>
                  <a:pt x="373" y="454"/>
                  <a:pt x="373" y="455"/>
                  <a:pt x="373" y="457"/>
                </a:cubicBezTo>
                <a:cubicBezTo>
                  <a:pt x="373" y="457"/>
                  <a:pt x="373" y="457"/>
                  <a:pt x="373" y="457"/>
                </a:cubicBezTo>
                <a:cubicBezTo>
                  <a:pt x="373" y="458"/>
                  <a:pt x="374" y="457"/>
                  <a:pt x="374" y="457"/>
                </a:cubicBezTo>
                <a:cubicBezTo>
                  <a:pt x="374" y="456"/>
                  <a:pt x="374" y="456"/>
                  <a:pt x="374" y="455"/>
                </a:cubicBezTo>
                <a:cubicBezTo>
                  <a:pt x="375" y="455"/>
                  <a:pt x="375" y="454"/>
                  <a:pt x="376" y="453"/>
                </a:cubicBezTo>
                <a:cubicBezTo>
                  <a:pt x="376" y="453"/>
                  <a:pt x="376" y="451"/>
                  <a:pt x="377" y="451"/>
                </a:cubicBezTo>
                <a:cubicBezTo>
                  <a:pt x="377" y="451"/>
                  <a:pt x="377" y="450"/>
                  <a:pt x="377" y="450"/>
                </a:cubicBezTo>
                <a:cubicBezTo>
                  <a:pt x="376" y="450"/>
                  <a:pt x="376" y="450"/>
                  <a:pt x="376" y="450"/>
                </a:cubicBezTo>
                <a:cubicBezTo>
                  <a:pt x="376" y="450"/>
                  <a:pt x="376" y="450"/>
                  <a:pt x="375" y="450"/>
                </a:cubicBezTo>
                <a:cubicBezTo>
                  <a:pt x="375" y="451"/>
                  <a:pt x="374" y="450"/>
                  <a:pt x="374" y="450"/>
                </a:cubicBezTo>
                <a:cubicBezTo>
                  <a:pt x="373" y="450"/>
                  <a:pt x="373" y="451"/>
                  <a:pt x="373" y="451"/>
                </a:cubicBezTo>
                <a:cubicBezTo>
                  <a:pt x="373" y="451"/>
                  <a:pt x="372" y="452"/>
                  <a:pt x="372" y="451"/>
                </a:cubicBezTo>
                <a:cubicBezTo>
                  <a:pt x="372" y="451"/>
                  <a:pt x="372" y="451"/>
                  <a:pt x="372" y="451"/>
                </a:cubicBezTo>
                <a:cubicBezTo>
                  <a:pt x="373" y="450"/>
                  <a:pt x="374" y="449"/>
                  <a:pt x="375" y="448"/>
                </a:cubicBezTo>
                <a:cubicBezTo>
                  <a:pt x="375" y="448"/>
                  <a:pt x="376" y="447"/>
                  <a:pt x="376" y="447"/>
                </a:cubicBezTo>
                <a:cubicBezTo>
                  <a:pt x="377" y="447"/>
                  <a:pt x="377" y="447"/>
                  <a:pt x="378" y="446"/>
                </a:cubicBezTo>
                <a:cubicBezTo>
                  <a:pt x="378" y="446"/>
                  <a:pt x="378" y="446"/>
                  <a:pt x="379" y="446"/>
                </a:cubicBezTo>
                <a:cubicBezTo>
                  <a:pt x="380" y="444"/>
                  <a:pt x="381" y="443"/>
                  <a:pt x="383" y="442"/>
                </a:cubicBezTo>
                <a:cubicBezTo>
                  <a:pt x="384" y="443"/>
                  <a:pt x="385" y="444"/>
                  <a:pt x="386" y="443"/>
                </a:cubicBezTo>
                <a:cubicBezTo>
                  <a:pt x="386" y="443"/>
                  <a:pt x="387" y="442"/>
                  <a:pt x="387" y="442"/>
                </a:cubicBezTo>
                <a:cubicBezTo>
                  <a:pt x="386" y="442"/>
                  <a:pt x="386" y="442"/>
                  <a:pt x="385" y="442"/>
                </a:cubicBezTo>
                <a:cubicBezTo>
                  <a:pt x="386" y="441"/>
                  <a:pt x="386" y="440"/>
                  <a:pt x="387" y="440"/>
                </a:cubicBezTo>
                <a:cubicBezTo>
                  <a:pt x="387" y="439"/>
                  <a:pt x="387" y="439"/>
                  <a:pt x="387" y="439"/>
                </a:cubicBezTo>
                <a:cubicBezTo>
                  <a:pt x="387" y="439"/>
                  <a:pt x="387" y="438"/>
                  <a:pt x="387" y="438"/>
                </a:cubicBezTo>
                <a:cubicBezTo>
                  <a:pt x="388" y="437"/>
                  <a:pt x="388" y="438"/>
                  <a:pt x="389" y="438"/>
                </a:cubicBezTo>
                <a:cubicBezTo>
                  <a:pt x="389" y="438"/>
                  <a:pt x="389" y="439"/>
                  <a:pt x="389" y="439"/>
                </a:cubicBezTo>
                <a:cubicBezTo>
                  <a:pt x="390" y="439"/>
                  <a:pt x="391" y="439"/>
                  <a:pt x="392" y="438"/>
                </a:cubicBezTo>
                <a:cubicBezTo>
                  <a:pt x="392" y="437"/>
                  <a:pt x="393" y="436"/>
                  <a:pt x="394" y="436"/>
                </a:cubicBezTo>
                <a:cubicBezTo>
                  <a:pt x="395" y="436"/>
                  <a:pt x="395" y="436"/>
                  <a:pt x="395" y="436"/>
                </a:cubicBezTo>
                <a:cubicBezTo>
                  <a:pt x="395" y="436"/>
                  <a:pt x="396" y="436"/>
                  <a:pt x="396" y="435"/>
                </a:cubicBezTo>
                <a:cubicBezTo>
                  <a:pt x="396" y="435"/>
                  <a:pt x="396" y="434"/>
                  <a:pt x="396" y="434"/>
                </a:cubicBezTo>
                <a:cubicBezTo>
                  <a:pt x="396" y="434"/>
                  <a:pt x="397" y="433"/>
                  <a:pt x="397" y="434"/>
                </a:cubicBezTo>
                <a:cubicBezTo>
                  <a:pt x="397" y="434"/>
                  <a:pt x="397" y="435"/>
                  <a:pt x="398" y="435"/>
                </a:cubicBezTo>
                <a:cubicBezTo>
                  <a:pt x="398" y="435"/>
                  <a:pt x="399" y="434"/>
                  <a:pt x="399" y="434"/>
                </a:cubicBezTo>
                <a:cubicBezTo>
                  <a:pt x="399" y="433"/>
                  <a:pt x="399" y="433"/>
                  <a:pt x="399" y="433"/>
                </a:cubicBezTo>
                <a:cubicBezTo>
                  <a:pt x="400" y="432"/>
                  <a:pt x="400" y="431"/>
                  <a:pt x="401" y="431"/>
                </a:cubicBezTo>
                <a:cubicBezTo>
                  <a:pt x="401" y="431"/>
                  <a:pt x="401" y="430"/>
                  <a:pt x="401" y="430"/>
                </a:cubicBezTo>
                <a:cubicBezTo>
                  <a:pt x="402" y="430"/>
                  <a:pt x="402" y="430"/>
                  <a:pt x="401" y="429"/>
                </a:cubicBezTo>
                <a:cubicBezTo>
                  <a:pt x="401" y="429"/>
                  <a:pt x="401" y="429"/>
                  <a:pt x="401" y="429"/>
                </a:cubicBezTo>
                <a:cubicBezTo>
                  <a:pt x="401" y="429"/>
                  <a:pt x="401" y="429"/>
                  <a:pt x="401" y="428"/>
                </a:cubicBezTo>
                <a:cubicBezTo>
                  <a:pt x="401" y="428"/>
                  <a:pt x="402" y="428"/>
                  <a:pt x="402" y="427"/>
                </a:cubicBezTo>
                <a:cubicBezTo>
                  <a:pt x="402" y="427"/>
                  <a:pt x="401" y="427"/>
                  <a:pt x="401" y="426"/>
                </a:cubicBezTo>
                <a:cubicBezTo>
                  <a:pt x="401" y="426"/>
                  <a:pt x="400" y="427"/>
                  <a:pt x="400" y="427"/>
                </a:cubicBezTo>
                <a:cubicBezTo>
                  <a:pt x="400" y="427"/>
                  <a:pt x="399" y="427"/>
                  <a:pt x="399" y="427"/>
                </a:cubicBezTo>
                <a:cubicBezTo>
                  <a:pt x="399" y="427"/>
                  <a:pt x="399" y="426"/>
                  <a:pt x="399" y="426"/>
                </a:cubicBezTo>
                <a:cubicBezTo>
                  <a:pt x="400" y="425"/>
                  <a:pt x="401" y="425"/>
                  <a:pt x="402" y="424"/>
                </a:cubicBezTo>
                <a:cubicBezTo>
                  <a:pt x="402" y="424"/>
                  <a:pt x="403" y="424"/>
                  <a:pt x="403" y="424"/>
                </a:cubicBezTo>
                <a:cubicBezTo>
                  <a:pt x="403" y="424"/>
                  <a:pt x="403" y="423"/>
                  <a:pt x="404" y="423"/>
                </a:cubicBezTo>
                <a:cubicBezTo>
                  <a:pt x="404" y="423"/>
                  <a:pt x="404" y="423"/>
                  <a:pt x="404" y="423"/>
                </a:cubicBezTo>
                <a:cubicBezTo>
                  <a:pt x="405" y="423"/>
                  <a:pt x="405" y="424"/>
                  <a:pt x="405" y="424"/>
                </a:cubicBezTo>
                <a:cubicBezTo>
                  <a:pt x="405" y="424"/>
                  <a:pt x="405" y="423"/>
                  <a:pt x="405" y="423"/>
                </a:cubicBezTo>
                <a:cubicBezTo>
                  <a:pt x="405" y="422"/>
                  <a:pt x="406" y="421"/>
                  <a:pt x="407" y="421"/>
                </a:cubicBezTo>
                <a:cubicBezTo>
                  <a:pt x="408" y="421"/>
                  <a:pt x="408" y="421"/>
                  <a:pt x="409" y="421"/>
                </a:cubicBezTo>
                <a:cubicBezTo>
                  <a:pt x="409" y="421"/>
                  <a:pt x="409" y="420"/>
                  <a:pt x="410" y="419"/>
                </a:cubicBezTo>
                <a:cubicBezTo>
                  <a:pt x="410" y="419"/>
                  <a:pt x="410" y="419"/>
                  <a:pt x="411" y="419"/>
                </a:cubicBezTo>
                <a:cubicBezTo>
                  <a:pt x="411" y="419"/>
                  <a:pt x="411" y="418"/>
                  <a:pt x="411" y="418"/>
                </a:cubicBezTo>
                <a:cubicBezTo>
                  <a:pt x="411" y="418"/>
                  <a:pt x="411" y="418"/>
                  <a:pt x="410" y="418"/>
                </a:cubicBezTo>
                <a:cubicBezTo>
                  <a:pt x="410" y="418"/>
                  <a:pt x="410" y="417"/>
                  <a:pt x="410" y="417"/>
                </a:cubicBezTo>
                <a:cubicBezTo>
                  <a:pt x="410" y="417"/>
                  <a:pt x="410" y="416"/>
                  <a:pt x="411" y="415"/>
                </a:cubicBezTo>
                <a:cubicBezTo>
                  <a:pt x="411" y="415"/>
                  <a:pt x="412" y="415"/>
                  <a:pt x="412" y="416"/>
                </a:cubicBezTo>
                <a:cubicBezTo>
                  <a:pt x="412" y="416"/>
                  <a:pt x="412" y="416"/>
                  <a:pt x="412" y="416"/>
                </a:cubicBezTo>
                <a:cubicBezTo>
                  <a:pt x="412" y="417"/>
                  <a:pt x="413" y="417"/>
                  <a:pt x="413" y="417"/>
                </a:cubicBezTo>
                <a:cubicBezTo>
                  <a:pt x="413" y="417"/>
                  <a:pt x="414" y="417"/>
                  <a:pt x="414" y="417"/>
                </a:cubicBezTo>
                <a:cubicBezTo>
                  <a:pt x="414" y="417"/>
                  <a:pt x="414" y="417"/>
                  <a:pt x="414" y="417"/>
                </a:cubicBezTo>
                <a:cubicBezTo>
                  <a:pt x="415" y="416"/>
                  <a:pt x="415" y="415"/>
                  <a:pt x="416" y="414"/>
                </a:cubicBezTo>
                <a:cubicBezTo>
                  <a:pt x="416" y="414"/>
                  <a:pt x="417" y="414"/>
                  <a:pt x="417" y="414"/>
                </a:cubicBezTo>
                <a:cubicBezTo>
                  <a:pt x="417" y="413"/>
                  <a:pt x="418" y="413"/>
                  <a:pt x="418" y="412"/>
                </a:cubicBezTo>
                <a:cubicBezTo>
                  <a:pt x="418" y="412"/>
                  <a:pt x="417" y="412"/>
                  <a:pt x="417" y="412"/>
                </a:cubicBezTo>
                <a:cubicBezTo>
                  <a:pt x="417" y="412"/>
                  <a:pt x="418" y="411"/>
                  <a:pt x="418" y="411"/>
                </a:cubicBezTo>
                <a:cubicBezTo>
                  <a:pt x="418" y="411"/>
                  <a:pt x="418" y="411"/>
                  <a:pt x="418" y="410"/>
                </a:cubicBezTo>
                <a:cubicBezTo>
                  <a:pt x="418" y="410"/>
                  <a:pt x="418" y="410"/>
                  <a:pt x="418" y="410"/>
                </a:cubicBezTo>
                <a:cubicBezTo>
                  <a:pt x="417" y="410"/>
                  <a:pt x="417" y="410"/>
                  <a:pt x="417" y="410"/>
                </a:cubicBezTo>
                <a:cubicBezTo>
                  <a:pt x="418" y="409"/>
                  <a:pt x="418" y="408"/>
                  <a:pt x="418" y="407"/>
                </a:cubicBezTo>
                <a:cubicBezTo>
                  <a:pt x="418" y="407"/>
                  <a:pt x="418" y="406"/>
                  <a:pt x="418" y="406"/>
                </a:cubicBezTo>
                <a:cubicBezTo>
                  <a:pt x="418" y="406"/>
                  <a:pt x="418" y="406"/>
                  <a:pt x="418" y="406"/>
                </a:cubicBezTo>
                <a:cubicBezTo>
                  <a:pt x="419" y="406"/>
                  <a:pt x="419" y="406"/>
                  <a:pt x="419" y="406"/>
                </a:cubicBezTo>
                <a:cubicBezTo>
                  <a:pt x="419" y="407"/>
                  <a:pt x="419" y="407"/>
                  <a:pt x="419" y="407"/>
                </a:cubicBezTo>
                <a:cubicBezTo>
                  <a:pt x="419" y="408"/>
                  <a:pt x="420" y="408"/>
                  <a:pt x="420" y="408"/>
                </a:cubicBezTo>
                <a:cubicBezTo>
                  <a:pt x="420" y="408"/>
                  <a:pt x="419" y="409"/>
                  <a:pt x="419" y="410"/>
                </a:cubicBezTo>
                <a:cubicBezTo>
                  <a:pt x="419" y="409"/>
                  <a:pt x="420" y="409"/>
                  <a:pt x="420" y="410"/>
                </a:cubicBezTo>
                <a:cubicBezTo>
                  <a:pt x="420" y="410"/>
                  <a:pt x="421" y="410"/>
                  <a:pt x="421" y="410"/>
                </a:cubicBezTo>
                <a:cubicBezTo>
                  <a:pt x="421" y="410"/>
                  <a:pt x="422" y="410"/>
                  <a:pt x="422" y="410"/>
                </a:cubicBezTo>
                <a:cubicBezTo>
                  <a:pt x="422" y="409"/>
                  <a:pt x="422" y="409"/>
                  <a:pt x="423" y="409"/>
                </a:cubicBezTo>
                <a:cubicBezTo>
                  <a:pt x="423" y="409"/>
                  <a:pt x="424" y="409"/>
                  <a:pt x="424" y="409"/>
                </a:cubicBezTo>
                <a:cubicBezTo>
                  <a:pt x="424" y="409"/>
                  <a:pt x="424" y="409"/>
                  <a:pt x="424" y="409"/>
                </a:cubicBezTo>
                <a:cubicBezTo>
                  <a:pt x="425" y="408"/>
                  <a:pt x="426" y="408"/>
                  <a:pt x="426" y="407"/>
                </a:cubicBezTo>
                <a:cubicBezTo>
                  <a:pt x="426" y="408"/>
                  <a:pt x="427" y="408"/>
                  <a:pt x="427" y="408"/>
                </a:cubicBezTo>
                <a:cubicBezTo>
                  <a:pt x="427" y="408"/>
                  <a:pt x="428" y="407"/>
                  <a:pt x="428" y="407"/>
                </a:cubicBezTo>
                <a:cubicBezTo>
                  <a:pt x="428" y="407"/>
                  <a:pt x="428" y="407"/>
                  <a:pt x="428" y="406"/>
                </a:cubicBezTo>
                <a:cubicBezTo>
                  <a:pt x="428" y="406"/>
                  <a:pt x="428" y="406"/>
                  <a:pt x="428" y="406"/>
                </a:cubicBezTo>
                <a:cubicBezTo>
                  <a:pt x="428" y="406"/>
                  <a:pt x="429" y="405"/>
                  <a:pt x="429" y="405"/>
                </a:cubicBezTo>
                <a:cubicBezTo>
                  <a:pt x="429" y="404"/>
                  <a:pt x="429" y="404"/>
                  <a:pt x="429" y="404"/>
                </a:cubicBezTo>
                <a:cubicBezTo>
                  <a:pt x="429" y="404"/>
                  <a:pt x="430" y="403"/>
                  <a:pt x="430" y="403"/>
                </a:cubicBezTo>
                <a:cubicBezTo>
                  <a:pt x="429" y="403"/>
                  <a:pt x="427" y="403"/>
                  <a:pt x="426" y="404"/>
                </a:cubicBezTo>
                <a:cubicBezTo>
                  <a:pt x="426" y="403"/>
                  <a:pt x="427" y="403"/>
                  <a:pt x="428" y="403"/>
                </a:cubicBezTo>
                <a:cubicBezTo>
                  <a:pt x="429" y="402"/>
                  <a:pt x="429" y="402"/>
                  <a:pt x="430" y="402"/>
                </a:cubicBezTo>
                <a:cubicBezTo>
                  <a:pt x="430" y="402"/>
                  <a:pt x="430" y="401"/>
                  <a:pt x="431" y="401"/>
                </a:cubicBezTo>
                <a:cubicBezTo>
                  <a:pt x="431" y="401"/>
                  <a:pt x="431" y="401"/>
                  <a:pt x="431" y="401"/>
                </a:cubicBezTo>
                <a:cubicBezTo>
                  <a:pt x="431" y="400"/>
                  <a:pt x="431" y="400"/>
                  <a:pt x="431" y="400"/>
                </a:cubicBezTo>
                <a:cubicBezTo>
                  <a:pt x="430" y="400"/>
                  <a:pt x="430" y="399"/>
                  <a:pt x="431" y="399"/>
                </a:cubicBezTo>
                <a:cubicBezTo>
                  <a:pt x="431" y="398"/>
                  <a:pt x="432" y="398"/>
                  <a:pt x="432" y="397"/>
                </a:cubicBezTo>
                <a:cubicBezTo>
                  <a:pt x="433" y="397"/>
                  <a:pt x="433" y="396"/>
                  <a:pt x="433" y="395"/>
                </a:cubicBezTo>
                <a:cubicBezTo>
                  <a:pt x="433" y="395"/>
                  <a:pt x="434" y="395"/>
                  <a:pt x="435" y="395"/>
                </a:cubicBezTo>
                <a:cubicBezTo>
                  <a:pt x="436" y="395"/>
                  <a:pt x="437" y="394"/>
                  <a:pt x="438" y="393"/>
                </a:cubicBezTo>
                <a:cubicBezTo>
                  <a:pt x="439" y="392"/>
                  <a:pt x="439" y="391"/>
                  <a:pt x="440" y="390"/>
                </a:cubicBezTo>
                <a:cubicBezTo>
                  <a:pt x="440" y="389"/>
                  <a:pt x="440" y="387"/>
                  <a:pt x="439" y="386"/>
                </a:cubicBezTo>
                <a:cubicBezTo>
                  <a:pt x="439" y="386"/>
                  <a:pt x="439" y="386"/>
                  <a:pt x="439" y="386"/>
                </a:cubicBezTo>
                <a:cubicBezTo>
                  <a:pt x="439" y="386"/>
                  <a:pt x="438" y="386"/>
                  <a:pt x="438" y="386"/>
                </a:cubicBezTo>
                <a:cubicBezTo>
                  <a:pt x="438" y="386"/>
                  <a:pt x="437" y="386"/>
                  <a:pt x="436" y="385"/>
                </a:cubicBezTo>
                <a:cubicBezTo>
                  <a:pt x="436" y="385"/>
                  <a:pt x="436" y="385"/>
                  <a:pt x="436" y="384"/>
                </a:cubicBezTo>
                <a:cubicBezTo>
                  <a:pt x="436" y="384"/>
                  <a:pt x="435" y="384"/>
                  <a:pt x="435" y="384"/>
                </a:cubicBezTo>
                <a:cubicBezTo>
                  <a:pt x="435" y="384"/>
                  <a:pt x="434" y="384"/>
                  <a:pt x="434" y="384"/>
                </a:cubicBezTo>
                <a:cubicBezTo>
                  <a:pt x="434" y="384"/>
                  <a:pt x="434" y="384"/>
                  <a:pt x="433" y="384"/>
                </a:cubicBezTo>
                <a:cubicBezTo>
                  <a:pt x="433" y="384"/>
                  <a:pt x="433" y="384"/>
                  <a:pt x="433" y="384"/>
                </a:cubicBezTo>
                <a:cubicBezTo>
                  <a:pt x="432" y="384"/>
                  <a:pt x="432" y="383"/>
                  <a:pt x="431" y="384"/>
                </a:cubicBezTo>
                <a:cubicBezTo>
                  <a:pt x="430" y="384"/>
                  <a:pt x="430" y="385"/>
                  <a:pt x="430" y="385"/>
                </a:cubicBezTo>
                <a:cubicBezTo>
                  <a:pt x="429" y="385"/>
                  <a:pt x="429" y="385"/>
                  <a:pt x="429" y="385"/>
                </a:cubicBezTo>
                <a:cubicBezTo>
                  <a:pt x="429" y="385"/>
                  <a:pt x="429" y="384"/>
                  <a:pt x="429" y="384"/>
                </a:cubicBezTo>
                <a:cubicBezTo>
                  <a:pt x="429" y="384"/>
                  <a:pt x="429" y="384"/>
                  <a:pt x="429" y="384"/>
                </a:cubicBezTo>
                <a:cubicBezTo>
                  <a:pt x="429" y="383"/>
                  <a:pt x="429" y="383"/>
                  <a:pt x="429" y="383"/>
                </a:cubicBezTo>
                <a:cubicBezTo>
                  <a:pt x="429" y="383"/>
                  <a:pt x="429" y="382"/>
                  <a:pt x="429" y="382"/>
                </a:cubicBezTo>
                <a:cubicBezTo>
                  <a:pt x="429" y="382"/>
                  <a:pt x="428" y="382"/>
                  <a:pt x="428" y="382"/>
                </a:cubicBezTo>
                <a:cubicBezTo>
                  <a:pt x="428" y="382"/>
                  <a:pt x="428" y="382"/>
                  <a:pt x="429" y="382"/>
                </a:cubicBezTo>
                <a:cubicBezTo>
                  <a:pt x="429" y="381"/>
                  <a:pt x="429" y="381"/>
                  <a:pt x="429" y="380"/>
                </a:cubicBezTo>
                <a:cubicBezTo>
                  <a:pt x="430" y="380"/>
                  <a:pt x="430" y="379"/>
                  <a:pt x="430" y="378"/>
                </a:cubicBezTo>
                <a:cubicBezTo>
                  <a:pt x="430" y="377"/>
                  <a:pt x="431" y="377"/>
                  <a:pt x="432" y="377"/>
                </a:cubicBezTo>
                <a:cubicBezTo>
                  <a:pt x="432" y="377"/>
                  <a:pt x="432" y="377"/>
                  <a:pt x="432" y="377"/>
                </a:cubicBezTo>
                <a:cubicBezTo>
                  <a:pt x="432" y="376"/>
                  <a:pt x="432" y="376"/>
                  <a:pt x="432" y="376"/>
                </a:cubicBezTo>
                <a:cubicBezTo>
                  <a:pt x="431" y="376"/>
                  <a:pt x="431" y="376"/>
                  <a:pt x="431" y="376"/>
                </a:cubicBezTo>
                <a:cubicBezTo>
                  <a:pt x="432" y="376"/>
                  <a:pt x="432" y="376"/>
                  <a:pt x="432" y="375"/>
                </a:cubicBezTo>
                <a:cubicBezTo>
                  <a:pt x="433" y="375"/>
                  <a:pt x="434" y="375"/>
                  <a:pt x="434" y="375"/>
                </a:cubicBezTo>
                <a:cubicBezTo>
                  <a:pt x="435" y="374"/>
                  <a:pt x="435" y="374"/>
                  <a:pt x="435" y="374"/>
                </a:cubicBezTo>
                <a:cubicBezTo>
                  <a:pt x="435" y="373"/>
                  <a:pt x="435" y="373"/>
                  <a:pt x="435" y="373"/>
                </a:cubicBezTo>
                <a:cubicBezTo>
                  <a:pt x="435" y="373"/>
                  <a:pt x="435" y="373"/>
                  <a:pt x="435" y="373"/>
                </a:cubicBezTo>
                <a:cubicBezTo>
                  <a:pt x="435" y="373"/>
                  <a:pt x="435" y="372"/>
                  <a:pt x="435" y="372"/>
                </a:cubicBezTo>
                <a:cubicBezTo>
                  <a:pt x="435" y="372"/>
                  <a:pt x="435" y="372"/>
                  <a:pt x="435" y="372"/>
                </a:cubicBezTo>
                <a:cubicBezTo>
                  <a:pt x="436" y="372"/>
                  <a:pt x="436" y="372"/>
                  <a:pt x="436" y="372"/>
                </a:cubicBezTo>
                <a:cubicBezTo>
                  <a:pt x="437" y="372"/>
                  <a:pt x="437" y="372"/>
                  <a:pt x="437" y="372"/>
                </a:cubicBezTo>
                <a:cubicBezTo>
                  <a:pt x="437" y="371"/>
                  <a:pt x="437" y="371"/>
                  <a:pt x="437" y="370"/>
                </a:cubicBezTo>
                <a:cubicBezTo>
                  <a:pt x="437" y="370"/>
                  <a:pt x="436" y="370"/>
                  <a:pt x="436" y="370"/>
                </a:cubicBezTo>
                <a:cubicBezTo>
                  <a:pt x="436" y="370"/>
                  <a:pt x="436" y="370"/>
                  <a:pt x="436" y="369"/>
                </a:cubicBezTo>
                <a:cubicBezTo>
                  <a:pt x="436" y="369"/>
                  <a:pt x="436" y="369"/>
                  <a:pt x="436" y="369"/>
                </a:cubicBezTo>
                <a:cubicBezTo>
                  <a:pt x="436" y="369"/>
                  <a:pt x="436" y="369"/>
                  <a:pt x="436" y="369"/>
                </a:cubicBezTo>
                <a:cubicBezTo>
                  <a:pt x="436" y="369"/>
                  <a:pt x="436" y="369"/>
                  <a:pt x="437" y="369"/>
                </a:cubicBezTo>
                <a:cubicBezTo>
                  <a:pt x="437" y="369"/>
                  <a:pt x="437" y="369"/>
                  <a:pt x="437" y="369"/>
                </a:cubicBezTo>
                <a:cubicBezTo>
                  <a:pt x="437" y="370"/>
                  <a:pt x="438" y="370"/>
                  <a:pt x="438" y="369"/>
                </a:cubicBezTo>
                <a:cubicBezTo>
                  <a:pt x="438" y="369"/>
                  <a:pt x="438" y="369"/>
                  <a:pt x="438" y="369"/>
                </a:cubicBezTo>
                <a:cubicBezTo>
                  <a:pt x="438" y="368"/>
                  <a:pt x="439" y="367"/>
                  <a:pt x="439" y="367"/>
                </a:cubicBezTo>
                <a:cubicBezTo>
                  <a:pt x="438" y="366"/>
                  <a:pt x="438" y="366"/>
                  <a:pt x="438" y="366"/>
                </a:cubicBezTo>
                <a:cubicBezTo>
                  <a:pt x="438" y="366"/>
                  <a:pt x="439" y="365"/>
                  <a:pt x="439" y="365"/>
                </a:cubicBezTo>
                <a:cubicBezTo>
                  <a:pt x="439" y="365"/>
                  <a:pt x="439" y="366"/>
                  <a:pt x="439" y="366"/>
                </a:cubicBezTo>
                <a:cubicBezTo>
                  <a:pt x="440" y="366"/>
                  <a:pt x="440" y="366"/>
                  <a:pt x="440" y="367"/>
                </a:cubicBezTo>
                <a:cubicBezTo>
                  <a:pt x="440" y="367"/>
                  <a:pt x="439" y="368"/>
                  <a:pt x="439" y="368"/>
                </a:cubicBezTo>
                <a:cubicBezTo>
                  <a:pt x="439" y="369"/>
                  <a:pt x="439" y="369"/>
                  <a:pt x="439" y="369"/>
                </a:cubicBezTo>
                <a:cubicBezTo>
                  <a:pt x="439" y="369"/>
                  <a:pt x="439" y="370"/>
                  <a:pt x="439" y="370"/>
                </a:cubicBezTo>
                <a:cubicBezTo>
                  <a:pt x="439" y="370"/>
                  <a:pt x="440" y="370"/>
                  <a:pt x="440" y="370"/>
                </a:cubicBezTo>
                <a:cubicBezTo>
                  <a:pt x="441" y="370"/>
                  <a:pt x="441" y="370"/>
                  <a:pt x="441" y="369"/>
                </a:cubicBezTo>
                <a:cubicBezTo>
                  <a:pt x="442" y="369"/>
                  <a:pt x="442" y="369"/>
                  <a:pt x="442" y="369"/>
                </a:cubicBezTo>
                <a:cubicBezTo>
                  <a:pt x="443" y="369"/>
                  <a:pt x="443" y="368"/>
                  <a:pt x="443" y="368"/>
                </a:cubicBezTo>
                <a:cubicBezTo>
                  <a:pt x="443" y="367"/>
                  <a:pt x="445" y="365"/>
                  <a:pt x="444" y="364"/>
                </a:cubicBezTo>
                <a:cubicBezTo>
                  <a:pt x="444" y="364"/>
                  <a:pt x="444" y="364"/>
                  <a:pt x="444" y="364"/>
                </a:cubicBezTo>
                <a:cubicBezTo>
                  <a:pt x="443" y="364"/>
                  <a:pt x="443" y="364"/>
                  <a:pt x="442" y="364"/>
                </a:cubicBezTo>
                <a:cubicBezTo>
                  <a:pt x="442" y="364"/>
                  <a:pt x="442" y="364"/>
                  <a:pt x="442" y="364"/>
                </a:cubicBezTo>
                <a:cubicBezTo>
                  <a:pt x="442" y="364"/>
                  <a:pt x="441" y="364"/>
                  <a:pt x="442" y="364"/>
                </a:cubicBezTo>
                <a:cubicBezTo>
                  <a:pt x="443" y="363"/>
                  <a:pt x="445" y="364"/>
                  <a:pt x="446" y="363"/>
                </a:cubicBezTo>
                <a:cubicBezTo>
                  <a:pt x="447" y="363"/>
                  <a:pt x="447" y="363"/>
                  <a:pt x="448" y="363"/>
                </a:cubicBezTo>
                <a:cubicBezTo>
                  <a:pt x="448" y="363"/>
                  <a:pt x="448" y="362"/>
                  <a:pt x="448" y="362"/>
                </a:cubicBezTo>
                <a:cubicBezTo>
                  <a:pt x="449" y="361"/>
                  <a:pt x="449" y="361"/>
                  <a:pt x="449" y="360"/>
                </a:cubicBezTo>
                <a:cubicBezTo>
                  <a:pt x="449" y="360"/>
                  <a:pt x="449" y="359"/>
                  <a:pt x="449" y="359"/>
                </a:cubicBezTo>
                <a:cubicBezTo>
                  <a:pt x="449" y="358"/>
                  <a:pt x="449" y="358"/>
                  <a:pt x="449" y="357"/>
                </a:cubicBezTo>
                <a:cubicBezTo>
                  <a:pt x="448" y="357"/>
                  <a:pt x="448" y="356"/>
                  <a:pt x="447" y="355"/>
                </a:cubicBezTo>
                <a:cubicBezTo>
                  <a:pt x="447" y="355"/>
                  <a:pt x="446" y="355"/>
                  <a:pt x="446" y="354"/>
                </a:cubicBezTo>
                <a:cubicBezTo>
                  <a:pt x="445" y="354"/>
                  <a:pt x="445" y="354"/>
                  <a:pt x="445" y="354"/>
                </a:cubicBezTo>
                <a:cubicBezTo>
                  <a:pt x="445" y="353"/>
                  <a:pt x="446" y="353"/>
                  <a:pt x="446" y="353"/>
                </a:cubicBezTo>
                <a:cubicBezTo>
                  <a:pt x="446" y="353"/>
                  <a:pt x="447" y="354"/>
                  <a:pt x="447" y="354"/>
                </a:cubicBezTo>
                <a:cubicBezTo>
                  <a:pt x="447" y="354"/>
                  <a:pt x="447" y="354"/>
                  <a:pt x="448" y="355"/>
                </a:cubicBezTo>
                <a:cubicBezTo>
                  <a:pt x="448" y="355"/>
                  <a:pt x="448" y="354"/>
                  <a:pt x="449" y="354"/>
                </a:cubicBezTo>
                <a:cubicBezTo>
                  <a:pt x="449" y="354"/>
                  <a:pt x="449" y="354"/>
                  <a:pt x="449" y="354"/>
                </a:cubicBezTo>
                <a:cubicBezTo>
                  <a:pt x="450" y="355"/>
                  <a:pt x="450" y="354"/>
                  <a:pt x="451" y="354"/>
                </a:cubicBezTo>
                <a:cubicBezTo>
                  <a:pt x="451" y="354"/>
                  <a:pt x="452" y="353"/>
                  <a:pt x="452" y="352"/>
                </a:cubicBezTo>
                <a:cubicBezTo>
                  <a:pt x="452" y="352"/>
                  <a:pt x="452" y="352"/>
                  <a:pt x="453" y="352"/>
                </a:cubicBezTo>
                <a:cubicBezTo>
                  <a:pt x="453" y="351"/>
                  <a:pt x="453" y="351"/>
                  <a:pt x="454" y="351"/>
                </a:cubicBezTo>
                <a:cubicBezTo>
                  <a:pt x="454" y="350"/>
                  <a:pt x="454" y="350"/>
                  <a:pt x="454" y="349"/>
                </a:cubicBezTo>
                <a:cubicBezTo>
                  <a:pt x="454" y="349"/>
                  <a:pt x="453" y="349"/>
                  <a:pt x="453" y="349"/>
                </a:cubicBezTo>
                <a:cubicBezTo>
                  <a:pt x="453" y="349"/>
                  <a:pt x="453" y="348"/>
                  <a:pt x="453" y="348"/>
                </a:cubicBezTo>
                <a:cubicBezTo>
                  <a:pt x="453" y="348"/>
                  <a:pt x="453" y="347"/>
                  <a:pt x="454" y="347"/>
                </a:cubicBezTo>
                <a:cubicBezTo>
                  <a:pt x="455" y="346"/>
                  <a:pt x="456" y="344"/>
                  <a:pt x="457" y="342"/>
                </a:cubicBezTo>
                <a:cubicBezTo>
                  <a:pt x="458" y="342"/>
                  <a:pt x="458" y="341"/>
                  <a:pt x="459" y="341"/>
                </a:cubicBezTo>
                <a:cubicBezTo>
                  <a:pt x="459" y="341"/>
                  <a:pt x="460" y="342"/>
                  <a:pt x="461" y="342"/>
                </a:cubicBezTo>
                <a:cubicBezTo>
                  <a:pt x="461" y="341"/>
                  <a:pt x="461" y="341"/>
                  <a:pt x="461" y="340"/>
                </a:cubicBezTo>
                <a:cubicBezTo>
                  <a:pt x="461" y="339"/>
                  <a:pt x="460" y="339"/>
                  <a:pt x="460" y="338"/>
                </a:cubicBezTo>
                <a:cubicBezTo>
                  <a:pt x="460" y="337"/>
                  <a:pt x="461" y="336"/>
                  <a:pt x="462" y="335"/>
                </a:cubicBezTo>
                <a:cubicBezTo>
                  <a:pt x="464" y="334"/>
                  <a:pt x="465" y="334"/>
                  <a:pt x="466" y="333"/>
                </a:cubicBezTo>
                <a:cubicBezTo>
                  <a:pt x="467" y="333"/>
                  <a:pt x="468" y="331"/>
                  <a:pt x="469" y="330"/>
                </a:cubicBezTo>
                <a:cubicBezTo>
                  <a:pt x="471" y="329"/>
                  <a:pt x="473" y="328"/>
                  <a:pt x="474" y="326"/>
                </a:cubicBezTo>
                <a:cubicBezTo>
                  <a:pt x="475" y="325"/>
                  <a:pt x="475" y="324"/>
                  <a:pt x="475" y="322"/>
                </a:cubicBezTo>
                <a:cubicBezTo>
                  <a:pt x="475" y="321"/>
                  <a:pt x="475" y="321"/>
                  <a:pt x="476" y="320"/>
                </a:cubicBezTo>
                <a:cubicBezTo>
                  <a:pt x="476" y="321"/>
                  <a:pt x="477" y="322"/>
                  <a:pt x="476" y="322"/>
                </a:cubicBezTo>
                <a:cubicBezTo>
                  <a:pt x="476" y="323"/>
                  <a:pt x="476" y="324"/>
                  <a:pt x="476" y="325"/>
                </a:cubicBezTo>
                <a:cubicBezTo>
                  <a:pt x="476" y="326"/>
                  <a:pt x="476" y="326"/>
                  <a:pt x="476" y="326"/>
                </a:cubicBezTo>
                <a:cubicBezTo>
                  <a:pt x="477" y="327"/>
                  <a:pt x="477" y="327"/>
                  <a:pt x="478" y="327"/>
                </a:cubicBezTo>
                <a:cubicBezTo>
                  <a:pt x="479" y="327"/>
                  <a:pt x="479" y="327"/>
                  <a:pt x="480" y="327"/>
                </a:cubicBezTo>
                <a:cubicBezTo>
                  <a:pt x="481" y="327"/>
                  <a:pt x="482" y="328"/>
                  <a:pt x="483" y="328"/>
                </a:cubicBezTo>
                <a:cubicBezTo>
                  <a:pt x="484" y="327"/>
                  <a:pt x="484" y="326"/>
                  <a:pt x="484" y="326"/>
                </a:cubicBezTo>
                <a:cubicBezTo>
                  <a:pt x="484" y="324"/>
                  <a:pt x="485" y="323"/>
                  <a:pt x="486" y="322"/>
                </a:cubicBezTo>
                <a:cubicBezTo>
                  <a:pt x="487" y="321"/>
                  <a:pt x="488" y="321"/>
                  <a:pt x="489" y="321"/>
                </a:cubicBezTo>
                <a:cubicBezTo>
                  <a:pt x="490" y="321"/>
                  <a:pt x="491" y="321"/>
                  <a:pt x="492" y="320"/>
                </a:cubicBezTo>
                <a:cubicBezTo>
                  <a:pt x="493" y="320"/>
                  <a:pt x="494" y="320"/>
                  <a:pt x="494" y="320"/>
                </a:cubicBezTo>
                <a:cubicBezTo>
                  <a:pt x="492" y="322"/>
                  <a:pt x="488" y="323"/>
                  <a:pt x="486" y="325"/>
                </a:cubicBezTo>
                <a:cubicBezTo>
                  <a:pt x="485" y="326"/>
                  <a:pt x="485" y="327"/>
                  <a:pt x="484" y="328"/>
                </a:cubicBezTo>
                <a:cubicBezTo>
                  <a:pt x="483" y="329"/>
                  <a:pt x="483" y="329"/>
                  <a:pt x="482" y="330"/>
                </a:cubicBezTo>
                <a:cubicBezTo>
                  <a:pt x="483" y="330"/>
                  <a:pt x="484" y="331"/>
                  <a:pt x="485" y="332"/>
                </a:cubicBezTo>
                <a:cubicBezTo>
                  <a:pt x="485" y="332"/>
                  <a:pt x="485" y="333"/>
                  <a:pt x="486" y="333"/>
                </a:cubicBezTo>
                <a:cubicBezTo>
                  <a:pt x="487" y="333"/>
                  <a:pt x="487" y="333"/>
                  <a:pt x="488" y="334"/>
                </a:cubicBezTo>
                <a:cubicBezTo>
                  <a:pt x="489" y="334"/>
                  <a:pt x="491" y="335"/>
                  <a:pt x="492" y="336"/>
                </a:cubicBezTo>
                <a:cubicBezTo>
                  <a:pt x="493" y="335"/>
                  <a:pt x="495" y="336"/>
                  <a:pt x="496" y="338"/>
                </a:cubicBezTo>
                <a:cubicBezTo>
                  <a:pt x="492" y="337"/>
                  <a:pt x="489" y="335"/>
                  <a:pt x="486" y="335"/>
                </a:cubicBezTo>
                <a:cubicBezTo>
                  <a:pt x="485" y="335"/>
                  <a:pt x="483" y="336"/>
                  <a:pt x="482" y="336"/>
                </a:cubicBezTo>
                <a:cubicBezTo>
                  <a:pt x="481" y="336"/>
                  <a:pt x="480" y="336"/>
                  <a:pt x="479" y="335"/>
                </a:cubicBezTo>
                <a:cubicBezTo>
                  <a:pt x="479" y="334"/>
                  <a:pt x="479" y="334"/>
                  <a:pt x="478" y="333"/>
                </a:cubicBezTo>
                <a:cubicBezTo>
                  <a:pt x="478" y="333"/>
                  <a:pt x="477" y="333"/>
                  <a:pt x="477" y="334"/>
                </a:cubicBezTo>
                <a:cubicBezTo>
                  <a:pt x="475" y="335"/>
                  <a:pt x="474" y="336"/>
                  <a:pt x="473" y="337"/>
                </a:cubicBezTo>
                <a:cubicBezTo>
                  <a:pt x="472" y="337"/>
                  <a:pt x="471" y="338"/>
                  <a:pt x="470" y="339"/>
                </a:cubicBezTo>
                <a:cubicBezTo>
                  <a:pt x="469" y="340"/>
                  <a:pt x="467" y="340"/>
                  <a:pt x="466" y="342"/>
                </a:cubicBezTo>
                <a:cubicBezTo>
                  <a:pt x="465" y="342"/>
                  <a:pt x="465" y="343"/>
                  <a:pt x="465" y="343"/>
                </a:cubicBezTo>
                <a:cubicBezTo>
                  <a:pt x="465" y="343"/>
                  <a:pt x="465" y="344"/>
                  <a:pt x="465" y="344"/>
                </a:cubicBezTo>
                <a:cubicBezTo>
                  <a:pt x="466" y="345"/>
                  <a:pt x="466" y="346"/>
                  <a:pt x="467" y="347"/>
                </a:cubicBezTo>
                <a:cubicBezTo>
                  <a:pt x="467" y="348"/>
                  <a:pt x="467" y="349"/>
                  <a:pt x="466" y="350"/>
                </a:cubicBezTo>
                <a:cubicBezTo>
                  <a:pt x="466" y="350"/>
                  <a:pt x="466" y="350"/>
                  <a:pt x="466" y="351"/>
                </a:cubicBezTo>
                <a:cubicBezTo>
                  <a:pt x="465" y="351"/>
                  <a:pt x="465" y="352"/>
                  <a:pt x="465" y="353"/>
                </a:cubicBezTo>
                <a:cubicBezTo>
                  <a:pt x="465" y="354"/>
                  <a:pt x="464" y="355"/>
                  <a:pt x="463" y="356"/>
                </a:cubicBezTo>
                <a:cubicBezTo>
                  <a:pt x="462" y="358"/>
                  <a:pt x="461" y="359"/>
                  <a:pt x="461" y="361"/>
                </a:cubicBezTo>
                <a:cubicBezTo>
                  <a:pt x="461" y="362"/>
                  <a:pt x="460" y="363"/>
                  <a:pt x="460" y="364"/>
                </a:cubicBezTo>
                <a:cubicBezTo>
                  <a:pt x="460" y="364"/>
                  <a:pt x="459" y="365"/>
                  <a:pt x="459" y="366"/>
                </a:cubicBezTo>
                <a:cubicBezTo>
                  <a:pt x="459" y="366"/>
                  <a:pt x="460" y="367"/>
                  <a:pt x="460" y="368"/>
                </a:cubicBezTo>
                <a:cubicBezTo>
                  <a:pt x="461" y="368"/>
                  <a:pt x="462" y="369"/>
                  <a:pt x="462" y="369"/>
                </a:cubicBezTo>
                <a:cubicBezTo>
                  <a:pt x="463" y="369"/>
                  <a:pt x="463" y="369"/>
                  <a:pt x="463" y="369"/>
                </a:cubicBezTo>
                <a:cubicBezTo>
                  <a:pt x="464" y="369"/>
                  <a:pt x="465" y="369"/>
                  <a:pt x="465" y="369"/>
                </a:cubicBezTo>
                <a:cubicBezTo>
                  <a:pt x="466" y="368"/>
                  <a:pt x="467" y="368"/>
                  <a:pt x="468" y="367"/>
                </a:cubicBezTo>
                <a:cubicBezTo>
                  <a:pt x="468" y="366"/>
                  <a:pt x="469" y="366"/>
                  <a:pt x="469" y="366"/>
                </a:cubicBezTo>
                <a:cubicBezTo>
                  <a:pt x="469" y="366"/>
                  <a:pt x="470" y="366"/>
                  <a:pt x="470" y="366"/>
                </a:cubicBezTo>
                <a:cubicBezTo>
                  <a:pt x="469" y="367"/>
                  <a:pt x="469" y="368"/>
                  <a:pt x="468" y="369"/>
                </a:cubicBezTo>
                <a:cubicBezTo>
                  <a:pt x="468" y="369"/>
                  <a:pt x="468" y="369"/>
                  <a:pt x="468" y="369"/>
                </a:cubicBezTo>
                <a:cubicBezTo>
                  <a:pt x="467" y="369"/>
                  <a:pt x="467" y="369"/>
                  <a:pt x="468" y="370"/>
                </a:cubicBezTo>
                <a:cubicBezTo>
                  <a:pt x="468" y="370"/>
                  <a:pt x="468" y="370"/>
                  <a:pt x="468" y="370"/>
                </a:cubicBezTo>
                <a:cubicBezTo>
                  <a:pt x="468" y="370"/>
                  <a:pt x="468" y="370"/>
                  <a:pt x="469" y="371"/>
                </a:cubicBezTo>
                <a:cubicBezTo>
                  <a:pt x="468" y="371"/>
                  <a:pt x="467" y="371"/>
                  <a:pt x="467" y="371"/>
                </a:cubicBezTo>
                <a:cubicBezTo>
                  <a:pt x="467" y="371"/>
                  <a:pt x="466" y="371"/>
                  <a:pt x="466" y="371"/>
                </a:cubicBezTo>
                <a:cubicBezTo>
                  <a:pt x="466" y="372"/>
                  <a:pt x="465" y="371"/>
                  <a:pt x="465" y="372"/>
                </a:cubicBezTo>
                <a:cubicBezTo>
                  <a:pt x="465" y="372"/>
                  <a:pt x="464" y="372"/>
                  <a:pt x="464" y="372"/>
                </a:cubicBezTo>
                <a:cubicBezTo>
                  <a:pt x="464" y="373"/>
                  <a:pt x="465" y="373"/>
                  <a:pt x="465" y="373"/>
                </a:cubicBezTo>
                <a:cubicBezTo>
                  <a:pt x="465" y="374"/>
                  <a:pt x="465" y="374"/>
                  <a:pt x="464" y="374"/>
                </a:cubicBezTo>
                <a:cubicBezTo>
                  <a:pt x="464" y="374"/>
                  <a:pt x="463" y="374"/>
                  <a:pt x="462" y="374"/>
                </a:cubicBezTo>
                <a:cubicBezTo>
                  <a:pt x="462" y="374"/>
                  <a:pt x="461" y="374"/>
                  <a:pt x="461" y="374"/>
                </a:cubicBezTo>
                <a:cubicBezTo>
                  <a:pt x="461" y="375"/>
                  <a:pt x="460" y="374"/>
                  <a:pt x="460" y="374"/>
                </a:cubicBezTo>
                <a:cubicBezTo>
                  <a:pt x="460" y="374"/>
                  <a:pt x="459" y="375"/>
                  <a:pt x="459" y="375"/>
                </a:cubicBezTo>
                <a:cubicBezTo>
                  <a:pt x="459" y="375"/>
                  <a:pt x="459" y="375"/>
                  <a:pt x="459" y="375"/>
                </a:cubicBezTo>
                <a:cubicBezTo>
                  <a:pt x="459" y="375"/>
                  <a:pt x="459" y="376"/>
                  <a:pt x="459" y="376"/>
                </a:cubicBezTo>
                <a:cubicBezTo>
                  <a:pt x="459" y="376"/>
                  <a:pt x="459" y="376"/>
                  <a:pt x="459" y="376"/>
                </a:cubicBezTo>
                <a:cubicBezTo>
                  <a:pt x="459" y="376"/>
                  <a:pt x="459" y="376"/>
                  <a:pt x="459" y="376"/>
                </a:cubicBezTo>
                <a:cubicBezTo>
                  <a:pt x="459" y="377"/>
                  <a:pt x="459" y="377"/>
                  <a:pt x="458" y="377"/>
                </a:cubicBezTo>
                <a:cubicBezTo>
                  <a:pt x="458" y="377"/>
                  <a:pt x="458" y="377"/>
                  <a:pt x="457" y="377"/>
                </a:cubicBezTo>
                <a:cubicBezTo>
                  <a:pt x="457" y="377"/>
                  <a:pt x="457" y="378"/>
                  <a:pt x="457" y="378"/>
                </a:cubicBezTo>
                <a:cubicBezTo>
                  <a:pt x="458" y="379"/>
                  <a:pt x="458" y="379"/>
                  <a:pt x="458" y="379"/>
                </a:cubicBezTo>
                <a:cubicBezTo>
                  <a:pt x="458" y="380"/>
                  <a:pt x="458" y="380"/>
                  <a:pt x="458" y="380"/>
                </a:cubicBezTo>
                <a:cubicBezTo>
                  <a:pt x="458" y="380"/>
                  <a:pt x="459" y="381"/>
                  <a:pt x="460" y="380"/>
                </a:cubicBezTo>
                <a:cubicBezTo>
                  <a:pt x="460" y="380"/>
                  <a:pt x="460" y="380"/>
                  <a:pt x="460" y="380"/>
                </a:cubicBezTo>
                <a:cubicBezTo>
                  <a:pt x="460" y="381"/>
                  <a:pt x="460" y="381"/>
                  <a:pt x="460" y="381"/>
                </a:cubicBezTo>
                <a:cubicBezTo>
                  <a:pt x="460" y="381"/>
                  <a:pt x="461" y="381"/>
                  <a:pt x="461" y="381"/>
                </a:cubicBezTo>
                <a:cubicBezTo>
                  <a:pt x="462" y="381"/>
                  <a:pt x="462" y="381"/>
                  <a:pt x="462" y="381"/>
                </a:cubicBezTo>
                <a:cubicBezTo>
                  <a:pt x="463" y="381"/>
                  <a:pt x="463" y="380"/>
                  <a:pt x="463" y="380"/>
                </a:cubicBezTo>
                <a:cubicBezTo>
                  <a:pt x="463" y="380"/>
                  <a:pt x="463" y="380"/>
                  <a:pt x="463" y="380"/>
                </a:cubicBezTo>
                <a:cubicBezTo>
                  <a:pt x="464" y="380"/>
                  <a:pt x="464" y="380"/>
                  <a:pt x="465" y="380"/>
                </a:cubicBezTo>
                <a:cubicBezTo>
                  <a:pt x="465" y="379"/>
                  <a:pt x="466" y="380"/>
                  <a:pt x="466" y="380"/>
                </a:cubicBezTo>
                <a:cubicBezTo>
                  <a:pt x="466" y="380"/>
                  <a:pt x="467" y="381"/>
                  <a:pt x="467" y="381"/>
                </a:cubicBezTo>
                <a:cubicBezTo>
                  <a:pt x="467" y="381"/>
                  <a:pt x="468" y="381"/>
                  <a:pt x="468" y="381"/>
                </a:cubicBezTo>
                <a:cubicBezTo>
                  <a:pt x="469" y="380"/>
                  <a:pt x="469" y="380"/>
                  <a:pt x="469" y="379"/>
                </a:cubicBezTo>
                <a:cubicBezTo>
                  <a:pt x="469" y="379"/>
                  <a:pt x="469" y="379"/>
                  <a:pt x="469" y="379"/>
                </a:cubicBezTo>
                <a:cubicBezTo>
                  <a:pt x="469" y="379"/>
                  <a:pt x="469" y="379"/>
                  <a:pt x="469" y="379"/>
                </a:cubicBezTo>
                <a:cubicBezTo>
                  <a:pt x="468" y="379"/>
                  <a:pt x="468" y="378"/>
                  <a:pt x="467" y="378"/>
                </a:cubicBezTo>
                <a:cubicBezTo>
                  <a:pt x="467" y="378"/>
                  <a:pt x="467" y="378"/>
                  <a:pt x="466" y="378"/>
                </a:cubicBezTo>
                <a:cubicBezTo>
                  <a:pt x="466" y="378"/>
                  <a:pt x="466" y="378"/>
                  <a:pt x="466" y="378"/>
                </a:cubicBezTo>
                <a:cubicBezTo>
                  <a:pt x="468" y="378"/>
                  <a:pt x="469" y="378"/>
                  <a:pt x="470" y="379"/>
                </a:cubicBezTo>
                <a:cubicBezTo>
                  <a:pt x="470" y="379"/>
                  <a:pt x="470" y="379"/>
                  <a:pt x="470" y="379"/>
                </a:cubicBezTo>
                <a:cubicBezTo>
                  <a:pt x="470" y="379"/>
                  <a:pt x="470" y="380"/>
                  <a:pt x="470" y="380"/>
                </a:cubicBezTo>
                <a:cubicBezTo>
                  <a:pt x="470" y="380"/>
                  <a:pt x="470" y="380"/>
                  <a:pt x="470" y="380"/>
                </a:cubicBezTo>
                <a:cubicBezTo>
                  <a:pt x="471" y="380"/>
                  <a:pt x="471" y="380"/>
                  <a:pt x="471" y="380"/>
                </a:cubicBezTo>
                <a:cubicBezTo>
                  <a:pt x="471" y="379"/>
                  <a:pt x="472" y="379"/>
                  <a:pt x="471" y="379"/>
                </a:cubicBezTo>
                <a:cubicBezTo>
                  <a:pt x="471" y="378"/>
                  <a:pt x="471" y="378"/>
                  <a:pt x="471" y="378"/>
                </a:cubicBezTo>
                <a:cubicBezTo>
                  <a:pt x="471" y="378"/>
                  <a:pt x="471" y="378"/>
                  <a:pt x="471" y="377"/>
                </a:cubicBezTo>
                <a:cubicBezTo>
                  <a:pt x="472" y="377"/>
                  <a:pt x="472" y="377"/>
                  <a:pt x="472" y="377"/>
                </a:cubicBezTo>
                <a:cubicBezTo>
                  <a:pt x="473" y="377"/>
                  <a:pt x="473" y="376"/>
                  <a:pt x="473" y="376"/>
                </a:cubicBezTo>
                <a:cubicBezTo>
                  <a:pt x="473" y="375"/>
                  <a:pt x="473" y="375"/>
                  <a:pt x="474" y="375"/>
                </a:cubicBezTo>
                <a:cubicBezTo>
                  <a:pt x="474" y="375"/>
                  <a:pt x="474" y="375"/>
                  <a:pt x="475" y="374"/>
                </a:cubicBezTo>
                <a:cubicBezTo>
                  <a:pt x="475" y="374"/>
                  <a:pt x="475" y="374"/>
                  <a:pt x="475" y="373"/>
                </a:cubicBezTo>
                <a:cubicBezTo>
                  <a:pt x="475" y="373"/>
                  <a:pt x="475" y="372"/>
                  <a:pt x="475" y="372"/>
                </a:cubicBezTo>
                <a:cubicBezTo>
                  <a:pt x="476" y="371"/>
                  <a:pt x="476" y="371"/>
                  <a:pt x="477" y="371"/>
                </a:cubicBezTo>
                <a:cubicBezTo>
                  <a:pt x="477" y="372"/>
                  <a:pt x="476" y="372"/>
                  <a:pt x="476" y="372"/>
                </a:cubicBezTo>
                <a:cubicBezTo>
                  <a:pt x="476" y="373"/>
                  <a:pt x="477" y="373"/>
                  <a:pt x="477" y="373"/>
                </a:cubicBezTo>
                <a:cubicBezTo>
                  <a:pt x="477" y="373"/>
                  <a:pt x="477" y="372"/>
                  <a:pt x="477" y="372"/>
                </a:cubicBezTo>
                <a:cubicBezTo>
                  <a:pt x="477" y="372"/>
                  <a:pt x="478" y="371"/>
                  <a:pt x="478" y="371"/>
                </a:cubicBezTo>
                <a:cubicBezTo>
                  <a:pt x="479" y="370"/>
                  <a:pt x="479" y="369"/>
                  <a:pt x="479" y="369"/>
                </a:cubicBezTo>
                <a:cubicBezTo>
                  <a:pt x="479" y="368"/>
                  <a:pt x="480" y="368"/>
                  <a:pt x="480" y="368"/>
                </a:cubicBezTo>
                <a:cubicBezTo>
                  <a:pt x="480" y="370"/>
                  <a:pt x="479" y="371"/>
                  <a:pt x="478" y="373"/>
                </a:cubicBezTo>
                <a:cubicBezTo>
                  <a:pt x="478" y="373"/>
                  <a:pt x="478" y="374"/>
                  <a:pt x="478" y="374"/>
                </a:cubicBezTo>
                <a:cubicBezTo>
                  <a:pt x="478" y="375"/>
                  <a:pt x="479" y="375"/>
                  <a:pt x="479" y="375"/>
                </a:cubicBezTo>
                <a:cubicBezTo>
                  <a:pt x="479" y="375"/>
                  <a:pt x="479" y="374"/>
                  <a:pt x="479" y="373"/>
                </a:cubicBezTo>
                <a:cubicBezTo>
                  <a:pt x="479" y="373"/>
                  <a:pt x="479" y="373"/>
                  <a:pt x="480" y="373"/>
                </a:cubicBezTo>
                <a:cubicBezTo>
                  <a:pt x="480" y="372"/>
                  <a:pt x="480" y="372"/>
                  <a:pt x="481" y="372"/>
                </a:cubicBezTo>
                <a:cubicBezTo>
                  <a:pt x="481" y="372"/>
                  <a:pt x="481" y="372"/>
                  <a:pt x="481" y="371"/>
                </a:cubicBezTo>
                <a:cubicBezTo>
                  <a:pt x="481" y="371"/>
                  <a:pt x="481" y="371"/>
                  <a:pt x="481" y="371"/>
                </a:cubicBezTo>
                <a:cubicBezTo>
                  <a:pt x="481" y="370"/>
                  <a:pt x="482" y="370"/>
                  <a:pt x="482" y="370"/>
                </a:cubicBezTo>
                <a:cubicBezTo>
                  <a:pt x="482" y="369"/>
                  <a:pt x="483" y="369"/>
                  <a:pt x="483" y="369"/>
                </a:cubicBezTo>
                <a:cubicBezTo>
                  <a:pt x="483" y="369"/>
                  <a:pt x="484" y="369"/>
                  <a:pt x="484" y="369"/>
                </a:cubicBezTo>
                <a:cubicBezTo>
                  <a:pt x="484" y="368"/>
                  <a:pt x="484" y="368"/>
                  <a:pt x="483" y="368"/>
                </a:cubicBezTo>
                <a:cubicBezTo>
                  <a:pt x="484" y="368"/>
                  <a:pt x="484" y="367"/>
                  <a:pt x="483" y="367"/>
                </a:cubicBezTo>
                <a:cubicBezTo>
                  <a:pt x="483" y="367"/>
                  <a:pt x="483" y="367"/>
                  <a:pt x="483" y="366"/>
                </a:cubicBezTo>
                <a:cubicBezTo>
                  <a:pt x="482" y="366"/>
                  <a:pt x="483" y="365"/>
                  <a:pt x="483" y="365"/>
                </a:cubicBezTo>
                <a:cubicBezTo>
                  <a:pt x="484" y="365"/>
                  <a:pt x="484" y="366"/>
                  <a:pt x="484" y="366"/>
                </a:cubicBezTo>
                <a:cubicBezTo>
                  <a:pt x="484" y="367"/>
                  <a:pt x="485" y="367"/>
                  <a:pt x="485" y="367"/>
                </a:cubicBezTo>
                <a:cubicBezTo>
                  <a:pt x="485" y="367"/>
                  <a:pt x="485" y="367"/>
                  <a:pt x="485" y="367"/>
                </a:cubicBezTo>
                <a:cubicBezTo>
                  <a:pt x="485" y="368"/>
                  <a:pt x="486" y="368"/>
                  <a:pt x="486" y="367"/>
                </a:cubicBezTo>
                <a:cubicBezTo>
                  <a:pt x="487" y="367"/>
                  <a:pt x="486" y="366"/>
                  <a:pt x="486" y="366"/>
                </a:cubicBezTo>
                <a:cubicBezTo>
                  <a:pt x="486" y="366"/>
                  <a:pt x="486" y="365"/>
                  <a:pt x="486" y="365"/>
                </a:cubicBezTo>
                <a:cubicBezTo>
                  <a:pt x="486" y="365"/>
                  <a:pt x="486" y="365"/>
                  <a:pt x="486" y="365"/>
                </a:cubicBezTo>
                <a:cubicBezTo>
                  <a:pt x="486" y="364"/>
                  <a:pt x="486" y="364"/>
                  <a:pt x="486" y="363"/>
                </a:cubicBezTo>
                <a:cubicBezTo>
                  <a:pt x="486" y="363"/>
                  <a:pt x="486" y="362"/>
                  <a:pt x="486" y="362"/>
                </a:cubicBezTo>
                <a:cubicBezTo>
                  <a:pt x="487" y="361"/>
                  <a:pt x="487" y="362"/>
                  <a:pt x="487" y="362"/>
                </a:cubicBezTo>
                <a:cubicBezTo>
                  <a:pt x="487" y="363"/>
                  <a:pt x="487" y="363"/>
                  <a:pt x="487" y="364"/>
                </a:cubicBezTo>
                <a:cubicBezTo>
                  <a:pt x="487" y="364"/>
                  <a:pt x="487" y="365"/>
                  <a:pt x="487" y="365"/>
                </a:cubicBezTo>
                <a:cubicBezTo>
                  <a:pt x="488" y="366"/>
                  <a:pt x="488" y="366"/>
                  <a:pt x="489" y="366"/>
                </a:cubicBezTo>
                <a:cubicBezTo>
                  <a:pt x="489" y="365"/>
                  <a:pt x="488" y="365"/>
                  <a:pt x="488" y="364"/>
                </a:cubicBezTo>
                <a:cubicBezTo>
                  <a:pt x="488" y="364"/>
                  <a:pt x="488" y="363"/>
                  <a:pt x="488" y="363"/>
                </a:cubicBezTo>
                <a:cubicBezTo>
                  <a:pt x="488" y="363"/>
                  <a:pt x="488" y="363"/>
                  <a:pt x="488" y="362"/>
                </a:cubicBezTo>
                <a:cubicBezTo>
                  <a:pt x="488" y="362"/>
                  <a:pt x="489" y="362"/>
                  <a:pt x="489" y="362"/>
                </a:cubicBezTo>
                <a:cubicBezTo>
                  <a:pt x="489" y="362"/>
                  <a:pt x="489" y="362"/>
                  <a:pt x="489" y="362"/>
                </a:cubicBezTo>
                <a:cubicBezTo>
                  <a:pt x="490" y="362"/>
                  <a:pt x="490" y="362"/>
                  <a:pt x="490" y="361"/>
                </a:cubicBezTo>
                <a:cubicBezTo>
                  <a:pt x="490" y="361"/>
                  <a:pt x="490" y="361"/>
                  <a:pt x="490" y="360"/>
                </a:cubicBezTo>
                <a:cubicBezTo>
                  <a:pt x="490" y="360"/>
                  <a:pt x="490" y="359"/>
                  <a:pt x="490" y="359"/>
                </a:cubicBezTo>
                <a:cubicBezTo>
                  <a:pt x="490" y="358"/>
                  <a:pt x="490" y="358"/>
                  <a:pt x="490" y="358"/>
                </a:cubicBezTo>
                <a:cubicBezTo>
                  <a:pt x="490" y="358"/>
                  <a:pt x="491" y="358"/>
                  <a:pt x="491" y="358"/>
                </a:cubicBezTo>
                <a:cubicBezTo>
                  <a:pt x="491" y="358"/>
                  <a:pt x="491" y="358"/>
                  <a:pt x="491" y="358"/>
                </a:cubicBezTo>
                <a:cubicBezTo>
                  <a:pt x="491" y="359"/>
                  <a:pt x="491" y="360"/>
                  <a:pt x="491" y="361"/>
                </a:cubicBezTo>
                <a:cubicBezTo>
                  <a:pt x="491" y="361"/>
                  <a:pt x="491" y="362"/>
                  <a:pt x="492" y="362"/>
                </a:cubicBezTo>
                <a:cubicBezTo>
                  <a:pt x="492" y="363"/>
                  <a:pt x="492" y="363"/>
                  <a:pt x="493" y="363"/>
                </a:cubicBezTo>
                <a:cubicBezTo>
                  <a:pt x="493" y="362"/>
                  <a:pt x="493" y="361"/>
                  <a:pt x="493" y="360"/>
                </a:cubicBezTo>
                <a:cubicBezTo>
                  <a:pt x="493" y="360"/>
                  <a:pt x="493" y="360"/>
                  <a:pt x="493" y="359"/>
                </a:cubicBezTo>
                <a:cubicBezTo>
                  <a:pt x="494" y="359"/>
                  <a:pt x="494" y="359"/>
                  <a:pt x="494" y="359"/>
                </a:cubicBezTo>
                <a:cubicBezTo>
                  <a:pt x="494" y="360"/>
                  <a:pt x="494" y="360"/>
                  <a:pt x="494" y="361"/>
                </a:cubicBezTo>
                <a:cubicBezTo>
                  <a:pt x="494" y="362"/>
                  <a:pt x="496" y="362"/>
                  <a:pt x="497" y="361"/>
                </a:cubicBezTo>
                <a:cubicBezTo>
                  <a:pt x="497" y="362"/>
                  <a:pt x="497" y="362"/>
                  <a:pt x="497" y="362"/>
                </a:cubicBezTo>
                <a:cubicBezTo>
                  <a:pt x="498" y="362"/>
                  <a:pt x="498" y="362"/>
                  <a:pt x="499" y="362"/>
                </a:cubicBezTo>
                <a:cubicBezTo>
                  <a:pt x="499" y="362"/>
                  <a:pt x="499" y="361"/>
                  <a:pt x="499" y="361"/>
                </a:cubicBezTo>
                <a:cubicBezTo>
                  <a:pt x="500" y="361"/>
                  <a:pt x="500" y="362"/>
                  <a:pt x="500" y="362"/>
                </a:cubicBezTo>
                <a:cubicBezTo>
                  <a:pt x="500" y="363"/>
                  <a:pt x="501" y="362"/>
                  <a:pt x="501" y="362"/>
                </a:cubicBezTo>
                <a:cubicBezTo>
                  <a:pt x="501" y="361"/>
                  <a:pt x="501" y="361"/>
                  <a:pt x="501" y="360"/>
                </a:cubicBezTo>
                <a:cubicBezTo>
                  <a:pt x="501" y="360"/>
                  <a:pt x="501" y="359"/>
                  <a:pt x="502" y="359"/>
                </a:cubicBezTo>
                <a:cubicBezTo>
                  <a:pt x="502" y="360"/>
                  <a:pt x="502" y="360"/>
                  <a:pt x="502" y="361"/>
                </a:cubicBezTo>
                <a:cubicBezTo>
                  <a:pt x="502" y="361"/>
                  <a:pt x="502" y="361"/>
                  <a:pt x="502" y="361"/>
                </a:cubicBezTo>
                <a:cubicBezTo>
                  <a:pt x="503" y="362"/>
                  <a:pt x="504" y="362"/>
                  <a:pt x="504" y="361"/>
                </a:cubicBezTo>
                <a:cubicBezTo>
                  <a:pt x="504" y="360"/>
                  <a:pt x="504" y="360"/>
                  <a:pt x="504" y="359"/>
                </a:cubicBezTo>
                <a:cubicBezTo>
                  <a:pt x="503" y="359"/>
                  <a:pt x="503" y="358"/>
                  <a:pt x="503" y="357"/>
                </a:cubicBezTo>
                <a:cubicBezTo>
                  <a:pt x="504" y="357"/>
                  <a:pt x="504" y="356"/>
                  <a:pt x="504" y="356"/>
                </a:cubicBezTo>
                <a:cubicBezTo>
                  <a:pt x="505" y="357"/>
                  <a:pt x="505" y="357"/>
                  <a:pt x="505" y="358"/>
                </a:cubicBezTo>
                <a:cubicBezTo>
                  <a:pt x="505" y="358"/>
                  <a:pt x="506" y="358"/>
                  <a:pt x="506" y="358"/>
                </a:cubicBezTo>
                <a:cubicBezTo>
                  <a:pt x="506" y="358"/>
                  <a:pt x="505" y="359"/>
                  <a:pt x="505" y="359"/>
                </a:cubicBezTo>
                <a:cubicBezTo>
                  <a:pt x="506" y="359"/>
                  <a:pt x="507" y="359"/>
                  <a:pt x="507" y="360"/>
                </a:cubicBezTo>
                <a:cubicBezTo>
                  <a:pt x="507" y="360"/>
                  <a:pt x="507" y="360"/>
                  <a:pt x="507" y="360"/>
                </a:cubicBezTo>
                <a:cubicBezTo>
                  <a:pt x="507" y="360"/>
                  <a:pt x="508" y="359"/>
                  <a:pt x="508" y="359"/>
                </a:cubicBezTo>
                <a:cubicBezTo>
                  <a:pt x="508" y="359"/>
                  <a:pt x="508" y="358"/>
                  <a:pt x="508" y="358"/>
                </a:cubicBezTo>
                <a:cubicBezTo>
                  <a:pt x="509" y="358"/>
                  <a:pt x="509" y="358"/>
                  <a:pt x="510" y="358"/>
                </a:cubicBezTo>
                <a:cubicBezTo>
                  <a:pt x="510" y="357"/>
                  <a:pt x="510" y="357"/>
                  <a:pt x="509" y="357"/>
                </a:cubicBezTo>
                <a:cubicBezTo>
                  <a:pt x="509" y="357"/>
                  <a:pt x="509" y="357"/>
                  <a:pt x="509" y="357"/>
                </a:cubicBezTo>
                <a:cubicBezTo>
                  <a:pt x="509" y="357"/>
                  <a:pt x="508" y="357"/>
                  <a:pt x="508" y="357"/>
                </a:cubicBezTo>
                <a:cubicBezTo>
                  <a:pt x="508" y="357"/>
                  <a:pt x="508" y="358"/>
                  <a:pt x="507" y="358"/>
                </a:cubicBezTo>
                <a:cubicBezTo>
                  <a:pt x="507" y="358"/>
                  <a:pt x="507" y="357"/>
                  <a:pt x="507" y="357"/>
                </a:cubicBezTo>
                <a:cubicBezTo>
                  <a:pt x="507" y="357"/>
                  <a:pt x="507" y="356"/>
                  <a:pt x="507" y="356"/>
                </a:cubicBezTo>
                <a:cubicBezTo>
                  <a:pt x="507" y="356"/>
                  <a:pt x="507" y="356"/>
                  <a:pt x="507" y="355"/>
                </a:cubicBezTo>
                <a:cubicBezTo>
                  <a:pt x="507" y="355"/>
                  <a:pt x="508" y="355"/>
                  <a:pt x="508" y="355"/>
                </a:cubicBezTo>
                <a:cubicBezTo>
                  <a:pt x="508" y="355"/>
                  <a:pt x="507" y="355"/>
                  <a:pt x="507" y="355"/>
                </a:cubicBezTo>
                <a:cubicBezTo>
                  <a:pt x="507" y="355"/>
                  <a:pt x="507" y="355"/>
                  <a:pt x="507" y="355"/>
                </a:cubicBezTo>
                <a:cubicBezTo>
                  <a:pt x="506" y="355"/>
                  <a:pt x="506" y="354"/>
                  <a:pt x="506" y="354"/>
                </a:cubicBezTo>
                <a:cubicBezTo>
                  <a:pt x="505" y="354"/>
                  <a:pt x="505" y="354"/>
                  <a:pt x="505" y="354"/>
                </a:cubicBezTo>
                <a:cubicBezTo>
                  <a:pt x="505" y="355"/>
                  <a:pt x="504" y="355"/>
                  <a:pt x="504" y="355"/>
                </a:cubicBezTo>
                <a:cubicBezTo>
                  <a:pt x="504" y="355"/>
                  <a:pt x="504" y="354"/>
                  <a:pt x="504" y="354"/>
                </a:cubicBezTo>
                <a:cubicBezTo>
                  <a:pt x="505" y="354"/>
                  <a:pt x="505" y="353"/>
                  <a:pt x="504" y="353"/>
                </a:cubicBezTo>
                <a:cubicBezTo>
                  <a:pt x="504" y="353"/>
                  <a:pt x="504" y="353"/>
                  <a:pt x="504" y="353"/>
                </a:cubicBezTo>
                <a:cubicBezTo>
                  <a:pt x="504" y="353"/>
                  <a:pt x="504" y="353"/>
                  <a:pt x="504" y="353"/>
                </a:cubicBezTo>
                <a:cubicBezTo>
                  <a:pt x="504" y="353"/>
                  <a:pt x="505" y="353"/>
                  <a:pt x="506" y="353"/>
                </a:cubicBezTo>
                <a:cubicBezTo>
                  <a:pt x="506" y="353"/>
                  <a:pt x="507" y="352"/>
                  <a:pt x="507" y="352"/>
                </a:cubicBezTo>
                <a:cubicBezTo>
                  <a:pt x="508" y="351"/>
                  <a:pt x="508" y="351"/>
                  <a:pt x="508" y="351"/>
                </a:cubicBezTo>
                <a:cubicBezTo>
                  <a:pt x="508" y="350"/>
                  <a:pt x="509" y="350"/>
                  <a:pt x="509" y="350"/>
                </a:cubicBezTo>
                <a:cubicBezTo>
                  <a:pt x="509" y="349"/>
                  <a:pt x="510" y="349"/>
                  <a:pt x="509" y="349"/>
                </a:cubicBezTo>
                <a:cubicBezTo>
                  <a:pt x="509" y="348"/>
                  <a:pt x="509" y="348"/>
                  <a:pt x="509" y="348"/>
                </a:cubicBezTo>
                <a:cubicBezTo>
                  <a:pt x="509" y="348"/>
                  <a:pt x="509" y="348"/>
                  <a:pt x="509" y="347"/>
                </a:cubicBezTo>
                <a:cubicBezTo>
                  <a:pt x="509" y="347"/>
                  <a:pt x="509" y="346"/>
                  <a:pt x="509" y="346"/>
                </a:cubicBezTo>
                <a:cubicBezTo>
                  <a:pt x="508" y="346"/>
                  <a:pt x="508" y="346"/>
                  <a:pt x="508" y="346"/>
                </a:cubicBezTo>
                <a:cubicBezTo>
                  <a:pt x="508" y="346"/>
                  <a:pt x="508" y="346"/>
                  <a:pt x="508" y="345"/>
                </a:cubicBezTo>
                <a:cubicBezTo>
                  <a:pt x="508" y="345"/>
                  <a:pt x="508" y="345"/>
                  <a:pt x="507" y="345"/>
                </a:cubicBezTo>
                <a:cubicBezTo>
                  <a:pt x="507" y="345"/>
                  <a:pt x="507" y="345"/>
                  <a:pt x="507" y="346"/>
                </a:cubicBezTo>
                <a:cubicBezTo>
                  <a:pt x="507" y="346"/>
                  <a:pt x="507" y="346"/>
                  <a:pt x="506" y="347"/>
                </a:cubicBezTo>
                <a:cubicBezTo>
                  <a:pt x="506" y="347"/>
                  <a:pt x="506" y="348"/>
                  <a:pt x="505" y="348"/>
                </a:cubicBezTo>
                <a:cubicBezTo>
                  <a:pt x="504" y="348"/>
                  <a:pt x="504" y="347"/>
                  <a:pt x="503" y="347"/>
                </a:cubicBezTo>
                <a:cubicBezTo>
                  <a:pt x="503" y="347"/>
                  <a:pt x="503" y="346"/>
                  <a:pt x="502" y="347"/>
                </a:cubicBezTo>
                <a:cubicBezTo>
                  <a:pt x="501" y="347"/>
                  <a:pt x="501" y="347"/>
                  <a:pt x="501" y="348"/>
                </a:cubicBezTo>
                <a:cubicBezTo>
                  <a:pt x="500" y="348"/>
                  <a:pt x="500" y="349"/>
                  <a:pt x="499" y="349"/>
                </a:cubicBezTo>
                <a:cubicBezTo>
                  <a:pt x="499" y="348"/>
                  <a:pt x="499" y="348"/>
                  <a:pt x="500" y="347"/>
                </a:cubicBezTo>
                <a:cubicBezTo>
                  <a:pt x="501" y="347"/>
                  <a:pt x="501" y="346"/>
                  <a:pt x="502" y="346"/>
                </a:cubicBezTo>
                <a:cubicBezTo>
                  <a:pt x="502" y="345"/>
                  <a:pt x="503" y="345"/>
                  <a:pt x="503" y="345"/>
                </a:cubicBezTo>
                <a:cubicBezTo>
                  <a:pt x="503" y="346"/>
                  <a:pt x="503" y="346"/>
                  <a:pt x="504" y="346"/>
                </a:cubicBezTo>
                <a:cubicBezTo>
                  <a:pt x="504" y="346"/>
                  <a:pt x="504" y="346"/>
                  <a:pt x="504" y="346"/>
                </a:cubicBezTo>
                <a:cubicBezTo>
                  <a:pt x="504" y="346"/>
                  <a:pt x="505" y="346"/>
                  <a:pt x="505" y="345"/>
                </a:cubicBezTo>
                <a:cubicBezTo>
                  <a:pt x="505" y="345"/>
                  <a:pt x="505" y="345"/>
                  <a:pt x="505" y="345"/>
                </a:cubicBezTo>
                <a:cubicBezTo>
                  <a:pt x="506" y="345"/>
                  <a:pt x="506" y="344"/>
                  <a:pt x="506" y="344"/>
                </a:cubicBezTo>
                <a:cubicBezTo>
                  <a:pt x="506" y="344"/>
                  <a:pt x="506" y="344"/>
                  <a:pt x="506" y="343"/>
                </a:cubicBezTo>
                <a:cubicBezTo>
                  <a:pt x="506" y="343"/>
                  <a:pt x="506" y="343"/>
                  <a:pt x="505" y="343"/>
                </a:cubicBezTo>
                <a:cubicBezTo>
                  <a:pt x="505" y="343"/>
                  <a:pt x="506" y="342"/>
                  <a:pt x="506" y="342"/>
                </a:cubicBezTo>
                <a:cubicBezTo>
                  <a:pt x="506" y="342"/>
                  <a:pt x="506" y="342"/>
                  <a:pt x="507" y="343"/>
                </a:cubicBezTo>
                <a:cubicBezTo>
                  <a:pt x="507" y="343"/>
                  <a:pt x="507" y="343"/>
                  <a:pt x="507" y="343"/>
                </a:cubicBezTo>
                <a:cubicBezTo>
                  <a:pt x="507" y="343"/>
                  <a:pt x="508" y="343"/>
                  <a:pt x="508" y="343"/>
                </a:cubicBezTo>
                <a:cubicBezTo>
                  <a:pt x="508" y="343"/>
                  <a:pt x="508" y="343"/>
                  <a:pt x="507" y="342"/>
                </a:cubicBezTo>
                <a:cubicBezTo>
                  <a:pt x="507" y="342"/>
                  <a:pt x="507" y="342"/>
                  <a:pt x="507" y="341"/>
                </a:cubicBezTo>
                <a:cubicBezTo>
                  <a:pt x="506" y="341"/>
                  <a:pt x="505" y="341"/>
                  <a:pt x="505" y="342"/>
                </a:cubicBezTo>
                <a:cubicBezTo>
                  <a:pt x="505" y="342"/>
                  <a:pt x="505" y="343"/>
                  <a:pt x="505" y="343"/>
                </a:cubicBezTo>
                <a:cubicBezTo>
                  <a:pt x="505" y="343"/>
                  <a:pt x="504" y="344"/>
                  <a:pt x="504" y="344"/>
                </a:cubicBezTo>
                <a:cubicBezTo>
                  <a:pt x="504" y="344"/>
                  <a:pt x="503" y="344"/>
                  <a:pt x="503" y="344"/>
                </a:cubicBezTo>
                <a:cubicBezTo>
                  <a:pt x="503" y="343"/>
                  <a:pt x="503" y="343"/>
                  <a:pt x="504" y="343"/>
                </a:cubicBezTo>
                <a:cubicBezTo>
                  <a:pt x="504" y="342"/>
                  <a:pt x="504" y="342"/>
                  <a:pt x="504" y="342"/>
                </a:cubicBezTo>
                <a:cubicBezTo>
                  <a:pt x="504" y="341"/>
                  <a:pt x="504" y="340"/>
                  <a:pt x="503" y="340"/>
                </a:cubicBezTo>
                <a:cubicBezTo>
                  <a:pt x="503" y="340"/>
                  <a:pt x="502" y="341"/>
                  <a:pt x="502" y="341"/>
                </a:cubicBezTo>
                <a:cubicBezTo>
                  <a:pt x="502" y="341"/>
                  <a:pt x="501" y="342"/>
                  <a:pt x="501" y="342"/>
                </a:cubicBezTo>
                <a:cubicBezTo>
                  <a:pt x="501" y="342"/>
                  <a:pt x="500" y="343"/>
                  <a:pt x="500" y="342"/>
                </a:cubicBezTo>
                <a:cubicBezTo>
                  <a:pt x="500" y="342"/>
                  <a:pt x="500" y="342"/>
                  <a:pt x="500" y="342"/>
                </a:cubicBezTo>
                <a:cubicBezTo>
                  <a:pt x="500" y="341"/>
                  <a:pt x="500" y="341"/>
                  <a:pt x="500" y="341"/>
                </a:cubicBezTo>
                <a:cubicBezTo>
                  <a:pt x="501" y="341"/>
                  <a:pt x="501" y="341"/>
                  <a:pt x="501" y="340"/>
                </a:cubicBezTo>
                <a:cubicBezTo>
                  <a:pt x="502" y="340"/>
                  <a:pt x="502" y="340"/>
                  <a:pt x="502" y="339"/>
                </a:cubicBezTo>
                <a:cubicBezTo>
                  <a:pt x="502" y="339"/>
                  <a:pt x="502" y="339"/>
                  <a:pt x="502" y="339"/>
                </a:cubicBezTo>
                <a:cubicBezTo>
                  <a:pt x="502" y="339"/>
                  <a:pt x="502" y="339"/>
                  <a:pt x="503" y="339"/>
                </a:cubicBezTo>
                <a:cubicBezTo>
                  <a:pt x="503" y="338"/>
                  <a:pt x="503" y="338"/>
                  <a:pt x="504" y="338"/>
                </a:cubicBezTo>
                <a:cubicBezTo>
                  <a:pt x="504" y="338"/>
                  <a:pt x="504" y="338"/>
                  <a:pt x="505" y="338"/>
                </a:cubicBezTo>
                <a:cubicBezTo>
                  <a:pt x="505" y="338"/>
                  <a:pt x="505" y="338"/>
                  <a:pt x="505" y="337"/>
                </a:cubicBezTo>
                <a:cubicBezTo>
                  <a:pt x="505" y="337"/>
                  <a:pt x="505" y="336"/>
                  <a:pt x="505" y="335"/>
                </a:cubicBezTo>
                <a:cubicBezTo>
                  <a:pt x="506" y="335"/>
                  <a:pt x="506" y="335"/>
                  <a:pt x="506" y="334"/>
                </a:cubicBezTo>
                <a:cubicBezTo>
                  <a:pt x="506" y="334"/>
                  <a:pt x="506" y="333"/>
                  <a:pt x="506" y="333"/>
                </a:cubicBezTo>
                <a:cubicBezTo>
                  <a:pt x="505" y="333"/>
                  <a:pt x="505" y="333"/>
                  <a:pt x="505" y="333"/>
                </a:cubicBezTo>
                <a:cubicBezTo>
                  <a:pt x="504" y="334"/>
                  <a:pt x="504" y="334"/>
                  <a:pt x="504" y="334"/>
                </a:cubicBezTo>
                <a:cubicBezTo>
                  <a:pt x="504" y="333"/>
                  <a:pt x="505" y="332"/>
                  <a:pt x="506" y="332"/>
                </a:cubicBezTo>
                <a:cubicBezTo>
                  <a:pt x="506" y="332"/>
                  <a:pt x="507" y="332"/>
                  <a:pt x="507" y="332"/>
                </a:cubicBezTo>
                <a:cubicBezTo>
                  <a:pt x="507" y="332"/>
                  <a:pt x="507" y="333"/>
                  <a:pt x="507" y="333"/>
                </a:cubicBezTo>
                <a:cubicBezTo>
                  <a:pt x="508" y="333"/>
                  <a:pt x="508" y="333"/>
                  <a:pt x="508" y="332"/>
                </a:cubicBezTo>
                <a:cubicBezTo>
                  <a:pt x="509" y="331"/>
                  <a:pt x="510" y="329"/>
                  <a:pt x="512" y="328"/>
                </a:cubicBezTo>
                <a:cubicBezTo>
                  <a:pt x="512" y="327"/>
                  <a:pt x="512" y="327"/>
                  <a:pt x="513" y="327"/>
                </a:cubicBezTo>
                <a:cubicBezTo>
                  <a:pt x="513" y="328"/>
                  <a:pt x="513" y="328"/>
                  <a:pt x="513" y="328"/>
                </a:cubicBezTo>
                <a:cubicBezTo>
                  <a:pt x="511" y="329"/>
                  <a:pt x="510" y="332"/>
                  <a:pt x="509" y="334"/>
                </a:cubicBezTo>
                <a:cubicBezTo>
                  <a:pt x="509" y="335"/>
                  <a:pt x="509" y="336"/>
                  <a:pt x="509" y="336"/>
                </a:cubicBezTo>
                <a:cubicBezTo>
                  <a:pt x="508" y="337"/>
                  <a:pt x="508" y="337"/>
                  <a:pt x="508" y="337"/>
                </a:cubicBezTo>
                <a:cubicBezTo>
                  <a:pt x="507" y="338"/>
                  <a:pt x="507" y="338"/>
                  <a:pt x="507" y="339"/>
                </a:cubicBezTo>
                <a:cubicBezTo>
                  <a:pt x="507" y="339"/>
                  <a:pt x="508" y="340"/>
                  <a:pt x="508" y="339"/>
                </a:cubicBezTo>
                <a:cubicBezTo>
                  <a:pt x="509" y="339"/>
                  <a:pt x="510" y="338"/>
                  <a:pt x="511" y="339"/>
                </a:cubicBezTo>
                <a:cubicBezTo>
                  <a:pt x="511" y="339"/>
                  <a:pt x="511" y="339"/>
                  <a:pt x="511" y="339"/>
                </a:cubicBezTo>
                <a:cubicBezTo>
                  <a:pt x="511" y="339"/>
                  <a:pt x="511" y="338"/>
                  <a:pt x="511" y="338"/>
                </a:cubicBezTo>
                <a:cubicBezTo>
                  <a:pt x="511" y="338"/>
                  <a:pt x="511" y="337"/>
                  <a:pt x="512" y="337"/>
                </a:cubicBezTo>
                <a:cubicBezTo>
                  <a:pt x="512" y="337"/>
                  <a:pt x="513" y="336"/>
                  <a:pt x="513" y="337"/>
                </a:cubicBezTo>
                <a:cubicBezTo>
                  <a:pt x="513" y="337"/>
                  <a:pt x="512" y="338"/>
                  <a:pt x="513" y="338"/>
                </a:cubicBezTo>
                <a:cubicBezTo>
                  <a:pt x="513" y="338"/>
                  <a:pt x="513" y="338"/>
                  <a:pt x="514" y="338"/>
                </a:cubicBezTo>
                <a:cubicBezTo>
                  <a:pt x="514" y="338"/>
                  <a:pt x="514" y="337"/>
                  <a:pt x="514" y="337"/>
                </a:cubicBezTo>
                <a:cubicBezTo>
                  <a:pt x="514" y="336"/>
                  <a:pt x="515" y="335"/>
                  <a:pt x="516" y="335"/>
                </a:cubicBezTo>
                <a:cubicBezTo>
                  <a:pt x="516" y="335"/>
                  <a:pt x="516" y="336"/>
                  <a:pt x="516" y="336"/>
                </a:cubicBezTo>
                <a:cubicBezTo>
                  <a:pt x="516" y="337"/>
                  <a:pt x="517" y="337"/>
                  <a:pt x="517" y="337"/>
                </a:cubicBezTo>
                <a:cubicBezTo>
                  <a:pt x="518" y="336"/>
                  <a:pt x="518" y="336"/>
                  <a:pt x="518" y="336"/>
                </a:cubicBezTo>
                <a:cubicBezTo>
                  <a:pt x="519" y="336"/>
                  <a:pt x="519" y="336"/>
                  <a:pt x="519" y="335"/>
                </a:cubicBezTo>
                <a:cubicBezTo>
                  <a:pt x="520" y="335"/>
                  <a:pt x="520" y="334"/>
                  <a:pt x="520" y="334"/>
                </a:cubicBezTo>
                <a:cubicBezTo>
                  <a:pt x="520" y="333"/>
                  <a:pt x="521" y="332"/>
                  <a:pt x="521" y="333"/>
                </a:cubicBezTo>
                <a:cubicBezTo>
                  <a:pt x="522" y="333"/>
                  <a:pt x="522" y="333"/>
                  <a:pt x="522" y="334"/>
                </a:cubicBezTo>
                <a:cubicBezTo>
                  <a:pt x="522" y="334"/>
                  <a:pt x="522" y="335"/>
                  <a:pt x="521" y="335"/>
                </a:cubicBezTo>
                <a:cubicBezTo>
                  <a:pt x="522" y="335"/>
                  <a:pt x="522" y="336"/>
                  <a:pt x="523" y="335"/>
                </a:cubicBezTo>
                <a:cubicBezTo>
                  <a:pt x="523" y="335"/>
                  <a:pt x="524" y="335"/>
                  <a:pt x="524" y="334"/>
                </a:cubicBezTo>
                <a:cubicBezTo>
                  <a:pt x="524" y="333"/>
                  <a:pt x="525" y="332"/>
                  <a:pt x="526" y="332"/>
                </a:cubicBezTo>
                <a:cubicBezTo>
                  <a:pt x="526" y="331"/>
                  <a:pt x="527" y="331"/>
                  <a:pt x="527" y="331"/>
                </a:cubicBezTo>
                <a:cubicBezTo>
                  <a:pt x="528" y="330"/>
                  <a:pt x="528" y="331"/>
                  <a:pt x="529" y="331"/>
                </a:cubicBezTo>
                <a:cubicBezTo>
                  <a:pt x="531" y="331"/>
                  <a:pt x="534" y="332"/>
                  <a:pt x="536" y="333"/>
                </a:cubicBezTo>
                <a:cubicBezTo>
                  <a:pt x="535" y="333"/>
                  <a:pt x="534" y="333"/>
                  <a:pt x="533" y="332"/>
                </a:cubicBezTo>
                <a:cubicBezTo>
                  <a:pt x="531" y="332"/>
                  <a:pt x="529" y="331"/>
                  <a:pt x="528" y="332"/>
                </a:cubicBezTo>
                <a:cubicBezTo>
                  <a:pt x="527" y="332"/>
                  <a:pt x="527" y="332"/>
                  <a:pt x="527" y="332"/>
                </a:cubicBezTo>
                <a:cubicBezTo>
                  <a:pt x="527" y="332"/>
                  <a:pt x="527" y="332"/>
                  <a:pt x="527" y="333"/>
                </a:cubicBezTo>
                <a:cubicBezTo>
                  <a:pt x="527" y="333"/>
                  <a:pt x="526" y="334"/>
                  <a:pt x="526" y="335"/>
                </a:cubicBezTo>
                <a:cubicBezTo>
                  <a:pt x="526" y="335"/>
                  <a:pt x="526" y="335"/>
                  <a:pt x="526" y="335"/>
                </a:cubicBezTo>
                <a:cubicBezTo>
                  <a:pt x="526" y="336"/>
                  <a:pt x="526" y="336"/>
                  <a:pt x="526" y="336"/>
                </a:cubicBezTo>
                <a:cubicBezTo>
                  <a:pt x="525" y="336"/>
                  <a:pt x="525" y="337"/>
                  <a:pt x="526" y="337"/>
                </a:cubicBezTo>
                <a:cubicBezTo>
                  <a:pt x="526" y="338"/>
                  <a:pt x="526" y="338"/>
                  <a:pt x="526" y="338"/>
                </a:cubicBezTo>
                <a:cubicBezTo>
                  <a:pt x="527" y="338"/>
                  <a:pt x="527" y="338"/>
                  <a:pt x="527" y="338"/>
                </a:cubicBezTo>
                <a:cubicBezTo>
                  <a:pt x="527" y="339"/>
                  <a:pt x="528" y="339"/>
                  <a:pt x="528" y="339"/>
                </a:cubicBezTo>
                <a:cubicBezTo>
                  <a:pt x="529" y="339"/>
                  <a:pt x="529" y="339"/>
                  <a:pt x="530" y="338"/>
                </a:cubicBezTo>
                <a:cubicBezTo>
                  <a:pt x="531" y="338"/>
                  <a:pt x="531" y="337"/>
                  <a:pt x="532" y="337"/>
                </a:cubicBezTo>
                <a:cubicBezTo>
                  <a:pt x="531" y="339"/>
                  <a:pt x="529" y="340"/>
                  <a:pt x="528" y="341"/>
                </a:cubicBezTo>
                <a:cubicBezTo>
                  <a:pt x="527" y="341"/>
                  <a:pt x="527" y="341"/>
                  <a:pt x="526" y="341"/>
                </a:cubicBezTo>
                <a:cubicBezTo>
                  <a:pt x="526" y="341"/>
                  <a:pt x="526" y="342"/>
                  <a:pt x="526" y="342"/>
                </a:cubicBezTo>
                <a:cubicBezTo>
                  <a:pt x="527" y="343"/>
                  <a:pt x="528" y="342"/>
                  <a:pt x="529" y="342"/>
                </a:cubicBezTo>
                <a:cubicBezTo>
                  <a:pt x="529" y="342"/>
                  <a:pt x="529" y="342"/>
                  <a:pt x="530" y="341"/>
                </a:cubicBezTo>
                <a:cubicBezTo>
                  <a:pt x="530" y="341"/>
                  <a:pt x="531" y="341"/>
                  <a:pt x="531" y="341"/>
                </a:cubicBezTo>
                <a:cubicBezTo>
                  <a:pt x="532" y="341"/>
                  <a:pt x="533" y="341"/>
                  <a:pt x="534" y="341"/>
                </a:cubicBezTo>
                <a:cubicBezTo>
                  <a:pt x="533" y="341"/>
                  <a:pt x="533" y="342"/>
                  <a:pt x="532" y="342"/>
                </a:cubicBezTo>
                <a:cubicBezTo>
                  <a:pt x="532" y="343"/>
                  <a:pt x="532" y="343"/>
                  <a:pt x="532" y="343"/>
                </a:cubicBezTo>
                <a:cubicBezTo>
                  <a:pt x="531" y="344"/>
                  <a:pt x="532" y="344"/>
                  <a:pt x="532" y="344"/>
                </a:cubicBezTo>
                <a:cubicBezTo>
                  <a:pt x="532" y="344"/>
                  <a:pt x="533" y="344"/>
                  <a:pt x="533" y="343"/>
                </a:cubicBezTo>
                <a:cubicBezTo>
                  <a:pt x="533" y="343"/>
                  <a:pt x="534" y="343"/>
                  <a:pt x="534" y="343"/>
                </a:cubicBezTo>
                <a:cubicBezTo>
                  <a:pt x="534" y="343"/>
                  <a:pt x="534" y="343"/>
                  <a:pt x="534" y="344"/>
                </a:cubicBezTo>
                <a:cubicBezTo>
                  <a:pt x="535" y="343"/>
                  <a:pt x="536" y="343"/>
                  <a:pt x="536" y="344"/>
                </a:cubicBezTo>
                <a:cubicBezTo>
                  <a:pt x="536" y="344"/>
                  <a:pt x="537" y="344"/>
                  <a:pt x="537" y="344"/>
                </a:cubicBezTo>
                <a:cubicBezTo>
                  <a:pt x="537" y="344"/>
                  <a:pt x="538" y="344"/>
                  <a:pt x="538" y="343"/>
                </a:cubicBezTo>
                <a:cubicBezTo>
                  <a:pt x="539" y="342"/>
                  <a:pt x="540" y="341"/>
                  <a:pt x="541" y="340"/>
                </a:cubicBezTo>
                <a:cubicBezTo>
                  <a:pt x="541" y="340"/>
                  <a:pt x="541" y="340"/>
                  <a:pt x="541" y="340"/>
                </a:cubicBezTo>
                <a:cubicBezTo>
                  <a:pt x="542" y="340"/>
                  <a:pt x="542" y="340"/>
                  <a:pt x="542" y="341"/>
                </a:cubicBezTo>
                <a:cubicBezTo>
                  <a:pt x="542" y="341"/>
                  <a:pt x="542" y="341"/>
                  <a:pt x="542" y="341"/>
                </a:cubicBezTo>
                <a:cubicBezTo>
                  <a:pt x="541" y="341"/>
                  <a:pt x="541" y="342"/>
                  <a:pt x="541" y="342"/>
                </a:cubicBezTo>
                <a:cubicBezTo>
                  <a:pt x="539" y="344"/>
                  <a:pt x="538" y="346"/>
                  <a:pt x="537" y="347"/>
                </a:cubicBezTo>
                <a:cubicBezTo>
                  <a:pt x="536" y="347"/>
                  <a:pt x="536" y="347"/>
                  <a:pt x="536" y="348"/>
                </a:cubicBezTo>
                <a:cubicBezTo>
                  <a:pt x="536" y="348"/>
                  <a:pt x="536" y="348"/>
                  <a:pt x="536" y="348"/>
                </a:cubicBezTo>
                <a:cubicBezTo>
                  <a:pt x="536" y="349"/>
                  <a:pt x="537" y="348"/>
                  <a:pt x="537" y="348"/>
                </a:cubicBezTo>
                <a:cubicBezTo>
                  <a:pt x="539" y="347"/>
                  <a:pt x="541" y="350"/>
                  <a:pt x="543" y="349"/>
                </a:cubicBezTo>
                <a:cubicBezTo>
                  <a:pt x="543" y="350"/>
                  <a:pt x="543" y="350"/>
                  <a:pt x="542" y="350"/>
                </a:cubicBezTo>
                <a:cubicBezTo>
                  <a:pt x="542" y="350"/>
                  <a:pt x="541" y="350"/>
                  <a:pt x="541" y="350"/>
                </a:cubicBezTo>
                <a:cubicBezTo>
                  <a:pt x="542" y="350"/>
                  <a:pt x="542" y="351"/>
                  <a:pt x="543" y="351"/>
                </a:cubicBezTo>
                <a:cubicBezTo>
                  <a:pt x="543" y="351"/>
                  <a:pt x="544" y="352"/>
                  <a:pt x="544" y="352"/>
                </a:cubicBezTo>
                <a:cubicBezTo>
                  <a:pt x="545" y="352"/>
                  <a:pt x="545" y="351"/>
                  <a:pt x="545" y="351"/>
                </a:cubicBezTo>
                <a:cubicBezTo>
                  <a:pt x="544" y="351"/>
                  <a:pt x="544" y="351"/>
                  <a:pt x="544" y="350"/>
                </a:cubicBezTo>
                <a:cubicBezTo>
                  <a:pt x="544" y="350"/>
                  <a:pt x="545" y="350"/>
                  <a:pt x="545" y="350"/>
                </a:cubicBezTo>
                <a:cubicBezTo>
                  <a:pt x="545" y="350"/>
                  <a:pt x="546" y="349"/>
                  <a:pt x="546" y="348"/>
                </a:cubicBezTo>
                <a:cubicBezTo>
                  <a:pt x="547" y="347"/>
                  <a:pt x="547" y="346"/>
                  <a:pt x="548" y="346"/>
                </a:cubicBezTo>
                <a:cubicBezTo>
                  <a:pt x="548" y="345"/>
                  <a:pt x="549" y="345"/>
                  <a:pt x="549" y="344"/>
                </a:cubicBezTo>
                <a:cubicBezTo>
                  <a:pt x="550" y="344"/>
                  <a:pt x="550" y="344"/>
                  <a:pt x="550" y="345"/>
                </a:cubicBezTo>
                <a:cubicBezTo>
                  <a:pt x="550" y="345"/>
                  <a:pt x="550" y="346"/>
                  <a:pt x="550" y="346"/>
                </a:cubicBezTo>
                <a:cubicBezTo>
                  <a:pt x="550" y="347"/>
                  <a:pt x="550" y="348"/>
                  <a:pt x="550" y="349"/>
                </a:cubicBezTo>
                <a:cubicBezTo>
                  <a:pt x="550" y="349"/>
                  <a:pt x="549" y="350"/>
                  <a:pt x="549" y="350"/>
                </a:cubicBezTo>
                <a:cubicBezTo>
                  <a:pt x="548" y="351"/>
                  <a:pt x="548" y="352"/>
                  <a:pt x="549" y="352"/>
                </a:cubicBezTo>
                <a:cubicBezTo>
                  <a:pt x="549" y="353"/>
                  <a:pt x="550" y="353"/>
                  <a:pt x="551" y="353"/>
                </a:cubicBezTo>
                <a:cubicBezTo>
                  <a:pt x="551" y="353"/>
                  <a:pt x="551" y="354"/>
                  <a:pt x="551" y="355"/>
                </a:cubicBezTo>
                <a:cubicBezTo>
                  <a:pt x="551" y="355"/>
                  <a:pt x="552" y="355"/>
                  <a:pt x="552" y="355"/>
                </a:cubicBezTo>
                <a:cubicBezTo>
                  <a:pt x="553" y="355"/>
                  <a:pt x="554" y="356"/>
                  <a:pt x="554" y="356"/>
                </a:cubicBezTo>
                <a:cubicBezTo>
                  <a:pt x="555" y="356"/>
                  <a:pt x="556" y="355"/>
                  <a:pt x="557" y="355"/>
                </a:cubicBezTo>
                <a:cubicBezTo>
                  <a:pt x="558" y="355"/>
                  <a:pt x="557" y="356"/>
                  <a:pt x="557" y="356"/>
                </a:cubicBezTo>
                <a:cubicBezTo>
                  <a:pt x="557" y="357"/>
                  <a:pt x="557" y="357"/>
                  <a:pt x="557" y="357"/>
                </a:cubicBezTo>
                <a:cubicBezTo>
                  <a:pt x="558" y="357"/>
                  <a:pt x="558" y="357"/>
                  <a:pt x="559" y="358"/>
                </a:cubicBezTo>
                <a:cubicBezTo>
                  <a:pt x="559" y="358"/>
                  <a:pt x="560" y="359"/>
                  <a:pt x="560" y="359"/>
                </a:cubicBezTo>
                <a:cubicBezTo>
                  <a:pt x="560" y="360"/>
                  <a:pt x="561" y="361"/>
                  <a:pt x="562" y="361"/>
                </a:cubicBezTo>
                <a:cubicBezTo>
                  <a:pt x="562" y="361"/>
                  <a:pt x="563" y="361"/>
                  <a:pt x="563" y="360"/>
                </a:cubicBezTo>
                <a:cubicBezTo>
                  <a:pt x="565" y="359"/>
                  <a:pt x="568" y="358"/>
                  <a:pt x="571" y="358"/>
                </a:cubicBezTo>
                <a:cubicBezTo>
                  <a:pt x="575" y="358"/>
                  <a:pt x="579" y="358"/>
                  <a:pt x="582" y="359"/>
                </a:cubicBezTo>
                <a:cubicBezTo>
                  <a:pt x="583" y="359"/>
                  <a:pt x="584" y="359"/>
                  <a:pt x="584" y="360"/>
                </a:cubicBezTo>
                <a:cubicBezTo>
                  <a:pt x="585" y="360"/>
                  <a:pt x="586" y="360"/>
                  <a:pt x="586" y="360"/>
                </a:cubicBezTo>
                <a:cubicBezTo>
                  <a:pt x="587" y="360"/>
                  <a:pt x="588" y="361"/>
                  <a:pt x="589" y="361"/>
                </a:cubicBezTo>
                <a:cubicBezTo>
                  <a:pt x="590" y="361"/>
                  <a:pt x="592" y="361"/>
                  <a:pt x="593" y="361"/>
                </a:cubicBezTo>
                <a:cubicBezTo>
                  <a:pt x="594" y="360"/>
                  <a:pt x="594" y="359"/>
                  <a:pt x="594" y="359"/>
                </a:cubicBezTo>
                <a:cubicBezTo>
                  <a:pt x="593" y="359"/>
                  <a:pt x="593" y="358"/>
                  <a:pt x="593" y="358"/>
                </a:cubicBezTo>
                <a:cubicBezTo>
                  <a:pt x="592" y="358"/>
                  <a:pt x="592" y="357"/>
                  <a:pt x="592" y="357"/>
                </a:cubicBezTo>
                <a:cubicBezTo>
                  <a:pt x="592" y="356"/>
                  <a:pt x="593" y="356"/>
                  <a:pt x="593" y="356"/>
                </a:cubicBezTo>
                <a:cubicBezTo>
                  <a:pt x="594" y="356"/>
                  <a:pt x="594" y="356"/>
                  <a:pt x="594" y="356"/>
                </a:cubicBezTo>
                <a:cubicBezTo>
                  <a:pt x="594" y="357"/>
                  <a:pt x="594" y="357"/>
                  <a:pt x="595" y="358"/>
                </a:cubicBezTo>
                <a:cubicBezTo>
                  <a:pt x="596" y="357"/>
                  <a:pt x="596" y="356"/>
                  <a:pt x="597" y="357"/>
                </a:cubicBezTo>
                <a:cubicBezTo>
                  <a:pt x="597" y="358"/>
                  <a:pt x="596" y="358"/>
                  <a:pt x="595" y="358"/>
                </a:cubicBezTo>
                <a:cubicBezTo>
                  <a:pt x="595" y="358"/>
                  <a:pt x="595" y="359"/>
                  <a:pt x="595" y="359"/>
                </a:cubicBezTo>
                <a:cubicBezTo>
                  <a:pt x="595" y="359"/>
                  <a:pt x="595" y="359"/>
                  <a:pt x="595" y="359"/>
                </a:cubicBezTo>
                <a:cubicBezTo>
                  <a:pt x="596" y="359"/>
                  <a:pt x="596" y="360"/>
                  <a:pt x="596" y="360"/>
                </a:cubicBezTo>
                <a:cubicBezTo>
                  <a:pt x="596" y="360"/>
                  <a:pt x="596" y="361"/>
                  <a:pt x="596" y="361"/>
                </a:cubicBezTo>
                <a:cubicBezTo>
                  <a:pt x="596" y="361"/>
                  <a:pt x="595" y="362"/>
                  <a:pt x="595" y="362"/>
                </a:cubicBezTo>
                <a:cubicBezTo>
                  <a:pt x="594" y="362"/>
                  <a:pt x="594" y="362"/>
                  <a:pt x="594" y="362"/>
                </a:cubicBezTo>
                <a:cubicBezTo>
                  <a:pt x="593" y="363"/>
                  <a:pt x="594" y="363"/>
                  <a:pt x="594" y="363"/>
                </a:cubicBezTo>
                <a:cubicBezTo>
                  <a:pt x="594" y="364"/>
                  <a:pt x="595" y="364"/>
                  <a:pt x="595" y="364"/>
                </a:cubicBezTo>
                <a:cubicBezTo>
                  <a:pt x="596" y="364"/>
                  <a:pt x="597" y="365"/>
                  <a:pt x="597" y="365"/>
                </a:cubicBezTo>
                <a:cubicBezTo>
                  <a:pt x="598" y="365"/>
                  <a:pt x="598" y="366"/>
                  <a:pt x="599" y="366"/>
                </a:cubicBezTo>
                <a:cubicBezTo>
                  <a:pt x="600" y="367"/>
                  <a:pt x="601" y="367"/>
                  <a:pt x="602" y="367"/>
                </a:cubicBezTo>
                <a:cubicBezTo>
                  <a:pt x="604" y="368"/>
                  <a:pt x="606" y="368"/>
                  <a:pt x="608" y="368"/>
                </a:cubicBezTo>
                <a:cubicBezTo>
                  <a:pt x="608" y="368"/>
                  <a:pt x="609" y="368"/>
                  <a:pt x="609" y="367"/>
                </a:cubicBezTo>
                <a:cubicBezTo>
                  <a:pt x="610" y="367"/>
                  <a:pt x="611" y="366"/>
                  <a:pt x="612" y="366"/>
                </a:cubicBezTo>
                <a:cubicBezTo>
                  <a:pt x="612" y="366"/>
                  <a:pt x="612" y="366"/>
                  <a:pt x="613" y="365"/>
                </a:cubicBezTo>
                <a:cubicBezTo>
                  <a:pt x="613" y="365"/>
                  <a:pt x="613" y="365"/>
                  <a:pt x="613" y="365"/>
                </a:cubicBezTo>
                <a:cubicBezTo>
                  <a:pt x="613" y="365"/>
                  <a:pt x="612" y="365"/>
                  <a:pt x="612" y="364"/>
                </a:cubicBezTo>
                <a:cubicBezTo>
                  <a:pt x="612" y="364"/>
                  <a:pt x="612" y="363"/>
                  <a:pt x="613" y="363"/>
                </a:cubicBezTo>
                <a:cubicBezTo>
                  <a:pt x="613" y="363"/>
                  <a:pt x="613" y="363"/>
                  <a:pt x="614" y="363"/>
                </a:cubicBezTo>
                <a:cubicBezTo>
                  <a:pt x="615" y="363"/>
                  <a:pt x="616" y="362"/>
                  <a:pt x="616" y="361"/>
                </a:cubicBezTo>
                <a:cubicBezTo>
                  <a:pt x="617" y="361"/>
                  <a:pt x="617" y="360"/>
                  <a:pt x="617" y="360"/>
                </a:cubicBezTo>
                <a:cubicBezTo>
                  <a:pt x="618" y="360"/>
                  <a:pt x="619" y="360"/>
                  <a:pt x="619" y="360"/>
                </a:cubicBezTo>
                <a:cubicBezTo>
                  <a:pt x="620" y="361"/>
                  <a:pt x="620" y="361"/>
                  <a:pt x="621" y="362"/>
                </a:cubicBezTo>
                <a:cubicBezTo>
                  <a:pt x="621" y="362"/>
                  <a:pt x="621" y="363"/>
                  <a:pt x="622" y="363"/>
                </a:cubicBezTo>
                <a:cubicBezTo>
                  <a:pt x="622" y="364"/>
                  <a:pt x="622" y="364"/>
                  <a:pt x="623" y="364"/>
                </a:cubicBezTo>
                <a:cubicBezTo>
                  <a:pt x="623" y="364"/>
                  <a:pt x="623" y="364"/>
                  <a:pt x="623" y="364"/>
                </a:cubicBezTo>
                <a:cubicBezTo>
                  <a:pt x="623" y="365"/>
                  <a:pt x="623" y="365"/>
                  <a:pt x="623" y="365"/>
                </a:cubicBezTo>
                <a:cubicBezTo>
                  <a:pt x="622" y="365"/>
                  <a:pt x="622" y="365"/>
                  <a:pt x="621" y="365"/>
                </a:cubicBezTo>
                <a:cubicBezTo>
                  <a:pt x="621" y="366"/>
                  <a:pt x="621" y="367"/>
                  <a:pt x="621" y="368"/>
                </a:cubicBezTo>
                <a:cubicBezTo>
                  <a:pt x="621" y="369"/>
                  <a:pt x="621" y="369"/>
                  <a:pt x="621" y="369"/>
                </a:cubicBezTo>
                <a:cubicBezTo>
                  <a:pt x="621" y="370"/>
                  <a:pt x="621" y="370"/>
                  <a:pt x="621" y="371"/>
                </a:cubicBezTo>
                <a:cubicBezTo>
                  <a:pt x="621" y="371"/>
                  <a:pt x="620" y="371"/>
                  <a:pt x="620" y="370"/>
                </a:cubicBezTo>
                <a:cubicBezTo>
                  <a:pt x="621" y="370"/>
                  <a:pt x="621" y="370"/>
                  <a:pt x="620" y="369"/>
                </a:cubicBezTo>
                <a:cubicBezTo>
                  <a:pt x="620" y="368"/>
                  <a:pt x="620" y="368"/>
                  <a:pt x="620" y="367"/>
                </a:cubicBezTo>
                <a:cubicBezTo>
                  <a:pt x="620" y="367"/>
                  <a:pt x="620" y="367"/>
                  <a:pt x="619" y="367"/>
                </a:cubicBezTo>
                <a:cubicBezTo>
                  <a:pt x="619" y="366"/>
                  <a:pt x="620" y="366"/>
                  <a:pt x="620" y="365"/>
                </a:cubicBezTo>
                <a:cubicBezTo>
                  <a:pt x="620" y="364"/>
                  <a:pt x="620" y="364"/>
                  <a:pt x="620" y="363"/>
                </a:cubicBezTo>
                <a:cubicBezTo>
                  <a:pt x="619" y="362"/>
                  <a:pt x="619" y="362"/>
                  <a:pt x="618" y="361"/>
                </a:cubicBezTo>
                <a:cubicBezTo>
                  <a:pt x="618" y="362"/>
                  <a:pt x="617" y="362"/>
                  <a:pt x="617" y="363"/>
                </a:cubicBezTo>
                <a:cubicBezTo>
                  <a:pt x="616" y="363"/>
                  <a:pt x="616" y="364"/>
                  <a:pt x="616" y="364"/>
                </a:cubicBezTo>
                <a:cubicBezTo>
                  <a:pt x="616" y="364"/>
                  <a:pt x="617" y="365"/>
                  <a:pt x="617" y="365"/>
                </a:cubicBezTo>
                <a:cubicBezTo>
                  <a:pt x="617" y="365"/>
                  <a:pt x="618" y="366"/>
                  <a:pt x="617" y="367"/>
                </a:cubicBezTo>
                <a:cubicBezTo>
                  <a:pt x="617" y="367"/>
                  <a:pt x="617" y="367"/>
                  <a:pt x="617" y="368"/>
                </a:cubicBezTo>
                <a:cubicBezTo>
                  <a:pt x="617" y="368"/>
                  <a:pt x="618" y="368"/>
                  <a:pt x="618" y="368"/>
                </a:cubicBezTo>
                <a:cubicBezTo>
                  <a:pt x="618" y="369"/>
                  <a:pt x="618" y="369"/>
                  <a:pt x="617" y="369"/>
                </a:cubicBezTo>
                <a:cubicBezTo>
                  <a:pt x="617" y="369"/>
                  <a:pt x="617" y="370"/>
                  <a:pt x="617" y="370"/>
                </a:cubicBezTo>
                <a:cubicBezTo>
                  <a:pt x="616" y="371"/>
                  <a:pt x="616" y="370"/>
                  <a:pt x="616" y="370"/>
                </a:cubicBezTo>
                <a:cubicBezTo>
                  <a:pt x="616" y="371"/>
                  <a:pt x="615" y="371"/>
                  <a:pt x="615" y="371"/>
                </a:cubicBezTo>
                <a:cubicBezTo>
                  <a:pt x="615" y="372"/>
                  <a:pt x="614" y="372"/>
                  <a:pt x="614" y="372"/>
                </a:cubicBezTo>
                <a:cubicBezTo>
                  <a:pt x="615" y="373"/>
                  <a:pt x="617" y="374"/>
                  <a:pt x="618" y="375"/>
                </a:cubicBezTo>
                <a:cubicBezTo>
                  <a:pt x="619" y="375"/>
                  <a:pt x="619" y="375"/>
                  <a:pt x="619" y="376"/>
                </a:cubicBezTo>
                <a:cubicBezTo>
                  <a:pt x="620" y="376"/>
                  <a:pt x="620" y="376"/>
                  <a:pt x="620" y="376"/>
                </a:cubicBezTo>
                <a:cubicBezTo>
                  <a:pt x="620" y="376"/>
                  <a:pt x="620" y="376"/>
                  <a:pt x="620" y="376"/>
                </a:cubicBezTo>
                <a:cubicBezTo>
                  <a:pt x="622" y="376"/>
                  <a:pt x="623" y="375"/>
                  <a:pt x="625" y="374"/>
                </a:cubicBezTo>
                <a:cubicBezTo>
                  <a:pt x="625" y="374"/>
                  <a:pt x="626" y="373"/>
                  <a:pt x="626" y="374"/>
                </a:cubicBezTo>
                <a:cubicBezTo>
                  <a:pt x="626" y="374"/>
                  <a:pt x="625" y="375"/>
                  <a:pt x="625" y="375"/>
                </a:cubicBezTo>
                <a:cubicBezTo>
                  <a:pt x="625" y="375"/>
                  <a:pt x="624" y="375"/>
                  <a:pt x="624" y="375"/>
                </a:cubicBezTo>
                <a:cubicBezTo>
                  <a:pt x="623" y="376"/>
                  <a:pt x="622" y="376"/>
                  <a:pt x="622" y="377"/>
                </a:cubicBezTo>
                <a:cubicBezTo>
                  <a:pt x="622" y="377"/>
                  <a:pt x="622" y="377"/>
                  <a:pt x="622" y="377"/>
                </a:cubicBezTo>
                <a:cubicBezTo>
                  <a:pt x="622" y="377"/>
                  <a:pt x="622" y="377"/>
                  <a:pt x="622" y="377"/>
                </a:cubicBezTo>
                <a:cubicBezTo>
                  <a:pt x="624" y="378"/>
                  <a:pt x="626" y="379"/>
                  <a:pt x="627" y="381"/>
                </a:cubicBezTo>
                <a:cubicBezTo>
                  <a:pt x="627" y="381"/>
                  <a:pt x="628" y="382"/>
                  <a:pt x="628" y="382"/>
                </a:cubicBezTo>
                <a:cubicBezTo>
                  <a:pt x="628" y="382"/>
                  <a:pt x="629" y="382"/>
                  <a:pt x="629" y="381"/>
                </a:cubicBezTo>
                <a:cubicBezTo>
                  <a:pt x="630" y="381"/>
                  <a:pt x="630" y="381"/>
                  <a:pt x="631" y="381"/>
                </a:cubicBezTo>
                <a:cubicBezTo>
                  <a:pt x="631" y="381"/>
                  <a:pt x="632" y="381"/>
                  <a:pt x="632" y="381"/>
                </a:cubicBezTo>
                <a:cubicBezTo>
                  <a:pt x="631" y="381"/>
                  <a:pt x="631" y="382"/>
                  <a:pt x="630" y="382"/>
                </a:cubicBezTo>
                <a:cubicBezTo>
                  <a:pt x="630" y="382"/>
                  <a:pt x="630" y="382"/>
                  <a:pt x="630" y="382"/>
                </a:cubicBezTo>
                <a:cubicBezTo>
                  <a:pt x="630" y="382"/>
                  <a:pt x="630" y="383"/>
                  <a:pt x="630" y="383"/>
                </a:cubicBezTo>
                <a:cubicBezTo>
                  <a:pt x="631" y="384"/>
                  <a:pt x="634" y="384"/>
                  <a:pt x="635" y="385"/>
                </a:cubicBezTo>
                <a:cubicBezTo>
                  <a:pt x="636" y="386"/>
                  <a:pt x="636" y="387"/>
                  <a:pt x="637" y="388"/>
                </a:cubicBezTo>
                <a:cubicBezTo>
                  <a:pt x="637" y="388"/>
                  <a:pt x="638" y="388"/>
                  <a:pt x="638" y="388"/>
                </a:cubicBezTo>
                <a:cubicBezTo>
                  <a:pt x="639" y="389"/>
                  <a:pt x="638" y="390"/>
                  <a:pt x="639" y="391"/>
                </a:cubicBezTo>
                <a:cubicBezTo>
                  <a:pt x="639" y="392"/>
                  <a:pt x="639" y="392"/>
                  <a:pt x="640" y="392"/>
                </a:cubicBezTo>
                <a:cubicBezTo>
                  <a:pt x="640" y="393"/>
                  <a:pt x="640" y="393"/>
                  <a:pt x="641" y="394"/>
                </a:cubicBezTo>
                <a:cubicBezTo>
                  <a:pt x="641" y="394"/>
                  <a:pt x="642" y="394"/>
                  <a:pt x="642" y="394"/>
                </a:cubicBezTo>
                <a:cubicBezTo>
                  <a:pt x="643" y="394"/>
                  <a:pt x="643" y="394"/>
                  <a:pt x="643" y="395"/>
                </a:cubicBezTo>
                <a:cubicBezTo>
                  <a:pt x="643" y="395"/>
                  <a:pt x="643" y="396"/>
                  <a:pt x="644" y="397"/>
                </a:cubicBezTo>
                <a:cubicBezTo>
                  <a:pt x="646" y="398"/>
                  <a:pt x="648" y="400"/>
                  <a:pt x="650" y="401"/>
                </a:cubicBezTo>
                <a:cubicBezTo>
                  <a:pt x="651" y="401"/>
                  <a:pt x="651" y="401"/>
                  <a:pt x="651" y="401"/>
                </a:cubicBezTo>
                <a:cubicBezTo>
                  <a:pt x="652" y="401"/>
                  <a:pt x="652" y="402"/>
                  <a:pt x="652" y="402"/>
                </a:cubicBezTo>
                <a:cubicBezTo>
                  <a:pt x="652" y="402"/>
                  <a:pt x="652" y="402"/>
                  <a:pt x="653" y="402"/>
                </a:cubicBezTo>
                <a:cubicBezTo>
                  <a:pt x="653" y="402"/>
                  <a:pt x="653" y="403"/>
                  <a:pt x="653" y="403"/>
                </a:cubicBezTo>
                <a:cubicBezTo>
                  <a:pt x="653" y="403"/>
                  <a:pt x="653" y="404"/>
                  <a:pt x="654" y="404"/>
                </a:cubicBezTo>
                <a:cubicBezTo>
                  <a:pt x="654" y="404"/>
                  <a:pt x="655" y="405"/>
                  <a:pt x="655" y="405"/>
                </a:cubicBezTo>
                <a:cubicBezTo>
                  <a:pt x="656" y="405"/>
                  <a:pt x="656" y="405"/>
                  <a:pt x="656" y="405"/>
                </a:cubicBezTo>
                <a:cubicBezTo>
                  <a:pt x="656" y="404"/>
                  <a:pt x="656" y="404"/>
                  <a:pt x="656" y="403"/>
                </a:cubicBezTo>
                <a:cubicBezTo>
                  <a:pt x="656" y="403"/>
                  <a:pt x="656" y="402"/>
                  <a:pt x="656" y="402"/>
                </a:cubicBezTo>
                <a:cubicBezTo>
                  <a:pt x="657" y="402"/>
                  <a:pt x="657" y="403"/>
                  <a:pt x="658" y="403"/>
                </a:cubicBezTo>
                <a:cubicBezTo>
                  <a:pt x="658" y="402"/>
                  <a:pt x="657" y="402"/>
                  <a:pt x="657" y="402"/>
                </a:cubicBezTo>
                <a:cubicBezTo>
                  <a:pt x="657" y="402"/>
                  <a:pt x="657" y="402"/>
                  <a:pt x="657" y="401"/>
                </a:cubicBezTo>
                <a:cubicBezTo>
                  <a:pt x="657" y="401"/>
                  <a:pt x="657" y="401"/>
                  <a:pt x="657" y="401"/>
                </a:cubicBezTo>
                <a:cubicBezTo>
                  <a:pt x="657" y="402"/>
                  <a:pt x="659" y="402"/>
                  <a:pt x="659" y="401"/>
                </a:cubicBezTo>
                <a:cubicBezTo>
                  <a:pt x="659" y="401"/>
                  <a:pt x="660" y="402"/>
                  <a:pt x="660" y="402"/>
                </a:cubicBezTo>
                <a:cubicBezTo>
                  <a:pt x="660" y="402"/>
                  <a:pt x="661" y="402"/>
                  <a:pt x="661" y="402"/>
                </a:cubicBezTo>
                <a:cubicBezTo>
                  <a:pt x="662" y="402"/>
                  <a:pt x="662" y="402"/>
                  <a:pt x="662" y="402"/>
                </a:cubicBezTo>
                <a:cubicBezTo>
                  <a:pt x="662" y="401"/>
                  <a:pt x="662" y="401"/>
                  <a:pt x="662" y="401"/>
                </a:cubicBezTo>
                <a:cubicBezTo>
                  <a:pt x="662" y="400"/>
                  <a:pt x="662" y="400"/>
                  <a:pt x="662" y="399"/>
                </a:cubicBezTo>
                <a:cubicBezTo>
                  <a:pt x="662" y="399"/>
                  <a:pt x="662" y="398"/>
                  <a:pt x="662" y="398"/>
                </a:cubicBezTo>
                <a:cubicBezTo>
                  <a:pt x="662" y="398"/>
                  <a:pt x="661" y="398"/>
                  <a:pt x="661" y="397"/>
                </a:cubicBezTo>
                <a:cubicBezTo>
                  <a:pt x="661" y="397"/>
                  <a:pt x="661" y="397"/>
                  <a:pt x="661" y="397"/>
                </a:cubicBezTo>
                <a:cubicBezTo>
                  <a:pt x="661" y="396"/>
                  <a:pt x="660" y="395"/>
                  <a:pt x="660" y="394"/>
                </a:cubicBezTo>
                <a:cubicBezTo>
                  <a:pt x="659" y="395"/>
                  <a:pt x="658" y="395"/>
                  <a:pt x="657" y="395"/>
                </a:cubicBezTo>
                <a:cubicBezTo>
                  <a:pt x="657" y="395"/>
                  <a:pt x="657" y="395"/>
                  <a:pt x="657" y="394"/>
                </a:cubicBezTo>
                <a:cubicBezTo>
                  <a:pt x="658" y="394"/>
                  <a:pt x="658" y="394"/>
                  <a:pt x="658" y="393"/>
                </a:cubicBezTo>
                <a:cubicBezTo>
                  <a:pt x="658" y="393"/>
                  <a:pt x="658" y="392"/>
                  <a:pt x="657" y="392"/>
                </a:cubicBezTo>
                <a:cubicBezTo>
                  <a:pt x="657" y="392"/>
                  <a:pt x="657" y="391"/>
                  <a:pt x="656" y="391"/>
                </a:cubicBezTo>
                <a:cubicBezTo>
                  <a:pt x="656" y="391"/>
                  <a:pt x="656" y="391"/>
                  <a:pt x="656" y="390"/>
                </a:cubicBezTo>
                <a:cubicBezTo>
                  <a:pt x="656" y="390"/>
                  <a:pt x="656" y="390"/>
                  <a:pt x="655" y="390"/>
                </a:cubicBezTo>
                <a:cubicBezTo>
                  <a:pt x="654" y="389"/>
                  <a:pt x="652" y="388"/>
                  <a:pt x="650" y="389"/>
                </a:cubicBezTo>
                <a:cubicBezTo>
                  <a:pt x="649" y="389"/>
                  <a:pt x="649" y="389"/>
                  <a:pt x="648" y="389"/>
                </a:cubicBezTo>
                <a:cubicBezTo>
                  <a:pt x="649" y="389"/>
                  <a:pt x="649" y="388"/>
                  <a:pt x="650" y="387"/>
                </a:cubicBezTo>
                <a:cubicBezTo>
                  <a:pt x="650" y="387"/>
                  <a:pt x="651" y="387"/>
                  <a:pt x="651" y="387"/>
                </a:cubicBezTo>
                <a:cubicBezTo>
                  <a:pt x="651" y="386"/>
                  <a:pt x="650" y="385"/>
                  <a:pt x="650" y="384"/>
                </a:cubicBezTo>
                <a:cubicBezTo>
                  <a:pt x="651" y="384"/>
                  <a:pt x="652" y="385"/>
                  <a:pt x="652" y="386"/>
                </a:cubicBezTo>
                <a:cubicBezTo>
                  <a:pt x="653" y="387"/>
                  <a:pt x="654" y="388"/>
                  <a:pt x="655" y="387"/>
                </a:cubicBezTo>
                <a:cubicBezTo>
                  <a:pt x="656" y="387"/>
                  <a:pt x="656" y="386"/>
                  <a:pt x="657" y="386"/>
                </a:cubicBezTo>
                <a:cubicBezTo>
                  <a:pt x="657" y="387"/>
                  <a:pt x="657" y="387"/>
                  <a:pt x="657" y="388"/>
                </a:cubicBezTo>
                <a:cubicBezTo>
                  <a:pt x="657" y="389"/>
                  <a:pt x="658" y="391"/>
                  <a:pt x="660" y="391"/>
                </a:cubicBezTo>
                <a:cubicBezTo>
                  <a:pt x="660" y="391"/>
                  <a:pt x="660" y="392"/>
                  <a:pt x="661" y="391"/>
                </a:cubicBezTo>
                <a:cubicBezTo>
                  <a:pt x="661" y="391"/>
                  <a:pt x="661" y="391"/>
                  <a:pt x="661" y="391"/>
                </a:cubicBezTo>
                <a:cubicBezTo>
                  <a:pt x="662" y="389"/>
                  <a:pt x="660" y="387"/>
                  <a:pt x="661" y="385"/>
                </a:cubicBezTo>
                <a:cubicBezTo>
                  <a:pt x="662" y="386"/>
                  <a:pt x="662" y="387"/>
                  <a:pt x="662" y="388"/>
                </a:cubicBezTo>
                <a:cubicBezTo>
                  <a:pt x="662" y="390"/>
                  <a:pt x="663" y="392"/>
                  <a:pt x="663" y="393"/>
                </a:cubicBezTo>
                <a:cubicBezTo>
                  <a:pt x="664" y="394"/>
                  <a:pt x="665" y="395"/>
                  <a:pt x="665" y="396"/>
                </a:cubicBezTo>
                <a:cubicBezTo>
                  <a:pt x="665" y="397"/>
                  <a:pt x="665" y="398"/>
                  <a:pt x="663" y="398"/>
                </a:cubicBezTo>
                <a:cubicBezTo>
                  <a:pt x="664" y="399"/>
                  <a:pt x="664" y="399"/>
                  <a:pt x="664" y="399"/>
                </a:cubicBezTo>
                <a:cubicBezTo>
                  <a:pt x="664" y="400"/>
                  <a:pt x="664" y="400"/>
                  <a:pt x="665" y="400"/>
                </a:cubicBezTo>
                <a:cubicBezTo>
                  <a:pt x="665" y="401"/>
                  <a:pt x="666" y="401"/>
                  <a:pt x="666" y="400"/>
                </a:cubicBezTo>
                <a:cubicBezTo>
                  <a:pt x="667" y="400"/>
                  <a:pt x="667" y="401"/>
                  <a:pt x="668" y="401"/>
                </a:cubicBezTo>
                <a:cubicBezTo>
                  <a:pt x="668" y="401"/>
                  <a:pt x="668" y="401"/>
                  <a:pt x="668" y="400"/>
                </a:cubicBezTo>
                <a:cubicBezTo>
                  <a:pt x="668" y="400"/>
                  <a:pt x="669" y="400"/>
                  <a:pt x="669" y="400"/>
                </a:cubicBezTo>
                <a:cubicBezTo>
                  <a:pt x="669" y="400"/>
                  <a:pt x="669" y="400"/>
                  <a:pt x="669" y="399"/>
                </a:cubicBezTo>
                <a:cubicBezTo>
                  <a:pt x="669" y="399"/>
                  <a:pt x="670" y="399"/>
                  <a:pt x="670" y="399"/>
                </a:cubicBezTo>
                <a:cubicBezTo>
                  <a:pt x="670" y="399"/>
                  <a:pt x="670" y="399"/>
                  <a:pt x="670" y="400"/>
                </a:cubicBezTo>
                <a:cubicBezTo>
                  <a:pt x="670" y="400"/>
                  <a:pt x="671" y="401"/>
                  <a:pt x="671" y="402"/>
                </a:cubicBezTo>
                <a:cubicBezTo>
                  <a:pt x="672" y="403"/>
                  <a:pt x="673" y="404"/>
                  <a:pt x="674" y="405"/>
                </a:cubicBezTo>
                <a:cubicBezTo>
                  <a:pt x="674" y="405"/>
                  <a:pt x="674" y="405"/>
                  <a:pt x="674" y="405"/>
                </a:cubicBezTo>
                <a:cubicBezTo>
                  <a:pt x="674" y="405"/>
                  <a:pt x="675" y="405"/>
                  <a:pt x="675" y="405"/>
                </a:cubicBezTo>
                <a:cubicBezTo>
                  <a:pt x="675" y="403"/>
                  <a:pt x="676" y="402"/>
                  <a:pt x="675" y="401"/>
                </a:cubicBezTo>
                <a:cubicBezTo>
                  <a:pt x="675" y="400"/>
                  <a:pt x="674" y="398"/>
                  <a:pt x="674" y="397"/>
                </a:cubicBezTo>
                <a:cubicBezTo>
                  <a:pt x="673" y="397"/>
                  <a:pt x="673" y="396"/>
                  <a:pt x="673" y="395"/>
                </a:cubicBezTo>
                <a:cubicBezTo>
                  <a:pt x="674" y="395"/>
                  <a:pt x="674" y="395"/>
                  <a:pt x="675" y="395"/>
                </a:cubicBezTo>
                <a:cubicBezTo>
                  <a:pt x="673" y="393"/>
                  <a:pt x="672" y="391"/>
                  <a:pt x="672" y="388"/>
                </a:cubicBezTo>
                <a:cubicBezTo>
                  <a:pt x="672" y="387"/>
                  <a:pt x="672" y="387"/>
                  <a:pt x="672" y="386"/>
                </a:cubicBezTo>
                <a:cubicBezTo>
                  <a:pt x="672" y="386"/>
                  <a:pt x="671" y="386"/>
                  <a:pt x="671" y="386"/>
                </a:cubicBezTo>
                <a:cubicBezTo>
                  <a:pt x="670" y="386"/>
                  <a:pt x="670" y="385"/>
                  <a:pt x="671" y="385"/>
                </a:cubicBezTo>
                <a:cubicBezTo>
                  <a:pt x="671" y="384"/>
                  <a:pt x="671" y="384"/>
                  <a:pt x="671" y="383"/>
                </a:cubicBezTo>
                <a:cubicBezTo>
                  <a:pt x="671" y="383"/>
                  <a:pt x="671" y="383"/>
                  <a:pt x="670" y="383"/>
                </a:cubicBezTo>
                <a:cubicBezTo>
                  <a:pt x="670" y="383"/>
                  <a:pt x="670" y="382"/>
                  <a:pt x="670" y="382"/>
                </a:cubicBezTo>
                <a:cubicBezTo>
                  <a:pt x="670" y="381"/>
                  <a:pt x="669" y="380"/>
                  <a:pt x="668" y="379"/>
                </a:cubicBezTo>
                <a:cubicBezTo>
                  <a:pt x="667" y="379"/>
                  <a:pt x="667" y="378"/>
                  <a:pt x="667" y="377"/>
                </a:cubicBezTo>
                <a:cubicBezTo>
                  <a:pt x="669" y="379"/>
                  <a:pt x="670" y="380"/>
                  <a:pt x="672" y="382"/>
                </a:cubicBezTo>
                <a:cubicBezTo>
                  <a:pt x="672" y="381"/>
                  <a:pt x="670" y="380"/>
                  <a:pt x="670" y="378"/>
                </a:cubicBezTo>
                <a:cubicBezTo>
                  <a:pt x="670" y="377"/>
                  <a:pt x="671" y="376"/>
                  <a:pt x="672" y="376"/>
                </a:cubicBezTo>
                <a:cubicBezTo>
                  <a:pt x="671" y="377"/>
                  <a:pt x="671" y="378"/>
                  <a:pt x="671" y="378"/>
                </a:cubicBezTo>
                <a:cubicBezTo>
                  <a:pt x="672" y="379"/>
                  <a:pt x="672" y="380"/>
                  <a:pt x="672" y="380"/>
                </a:cubicBezTo>
                <a:cubicBezTo>
                  <a:pt x="673" y="381"/>
                  <a:pt x="673" y="381"/>
                  <a:pt x="673" y="382"/>
                </a:cubicBezTo>
                <a:cubicBezTo>
                  <a:pt x="673" y="382"/>
                  <a:pt x="673" y="382"/>
                  <a:pt x="673" y="383"/>
                </a:cubicBezTo>
                <a:cubicBezTo>
                  <a:pt x="673" y="384"/>
                  <a:pt x="674" y="384"/>
                  <a:pt x="673" y="385"/>
                </a:cubicBezTo>
                <a:cubicBezTo>
                  <a:pt x="673" y="386"/>
                  <a:pt x="673" y="386"/>
                  <a:pt x="673" y="387"/>
                </a:cubicBezTo>
                <a:cubicBezTo>
                  <a:pt x="673" y="387"/>
                  <a:pt x="674" y="387"/>
                  <a:pt x="674" y="387"/>
                </a:cubicBezTo>
                <a:cubicBezTo>
                  <a:pt x="674" y="388"/>
                  <a:pt x="673" y="389"/>
                  <a:pt x="674" y="389"/>
                </a:cubicBezTo>
                <a:cubicBezTo>
                  <a:pt x="674" y="390"/>
                  <a:pt x="674" y="390"/>
                  <a:pt x="674" y="390"/>
                </a:cubicBezTo>
                <a:cubicBezTo>
                  <a:pt x="675" y="390"/>
                  <a:pt x="675" y="390"/>
                  <a:pt x="675" y="391"/>
                </a:cubicBezTo>
                <a:cubicBezTo>
                  <a:pt x="675" y="391"/>
                  <a:pt x="675" y="391"/>
                  <a:pt x="676" y="391"/>
                </a:cubicBezTo>
                <a:cubicBezTo>
                  <a:pt x="676" y="391"/>
                  <a:pt x="677" y="390"/>
                  <a:pt x="677" y="390"/>
                </a:cubicBezTo>
                <a:cubicBezTo>
                  <a:pt x="678" y="391"/>
                  <a:pt x="676" y="393"/>
                  <a:pt x="677" y="394"/>
                </a:cubicBezTo>
                <a:cubicBezTo>
                  <a:pt x="677" y="395"/>
                  <a:pt x="678" y="396"/>
                  <a:pt x="678" y="397"/>
                </a:cubicBezTo>
                <a:cubicBezTo>
                  <a:pt x="679" y="397"/>
                  <a:pt x="679" y="398"/>
                  <a:pt x="679" y="399"/>
                </a:cubicBezTo>
                <a:cubicBezTo>
                  <a:pt x="679" y="399"/>
                  <a:pt x="679" y="400"/>
                  <a:pt x="679" y="400"/>
                </a:cubicBezTo>
                <a:cubicBezTo>
                  <a:pt x="680" y="401"/>
                  <a:pt x="680" y="401"/>
                  <a:pt x="681" y="401"/>
                </a:cubicBezTo>
                <a:cubicBezTo>
                  <a:pt x="681" y="401"/>
                  <a:pt x="681" y="402"/>
                  <a:pt x="681" y="402"/>
                </a:cubicBezTo>
                <a:cubicBezTo>
                  <a:pt x="681" y="402"/>
                  <a:pt x="680" y="403"/>
                  <a:pt x="680" y="403"/>
                </a:cubicBezTo>
                <a:cubicBezTo>
                  <a:pt x="680" y="403"/>
                  <a:pt x="681" y="403"/>
                  <a:pt x="681" y="403"/>
                </a:cubicBezTo>
                <a:cubicBezTo>
                  <a:pt x="681" y="404"/>
                  <a:pt x="682" y="404"/>
                  <a:pt x="683" y="405"/>
                </a:cubicBezTo>
                <a:cubicBezTo>
                  <a:pt x="683" y="405"/>
                  <a:pt x="684" y="405"/>
                  <a:pt x="684" y="405"/>
                </a:cubicBezTo>
                <a:cubicBezTo>
                  <a:pt x="685" y="405"/>
                  <a:pt x="685" y="405"/>
                  <a:pt x="685" y="405"/>
                </a:cubicBezTo>
                <a:cubicBezTo>
                  <a:pt x="685" y="405"/>
                  <a:pt x="686" y="405"/>
                  <a:pt x="686" y="405"/>
                </a:cubicBezTo>
                <a:cubicBezTo>
                  <a:pt x="686" y="405"/>
                  <a:pt x="686" y="405"/>
                  <a:pt x="685" y="404"/>
                </a:cubicBezTo>
                <a:cubicBezTo>
                  <a:pt x="685" y="404"/>
                  <a:pt x="685" y="404"/>
                  <a:pt x="684" y="403"/>
                </a:cubicBezTo>
                <a:cubicBezTo>
                  <a:pt x="685" y="403"/>
                  <a:pt x="685" y="403"/>
                  <a:pt x="685" y="404"/>
                </a:cubicBezTo>
                <a:cubicBezTo>
                  <a:pt x="686" y="404"/>
                  <a:pt x="686" y="405"/>
                  <a:pt x="687" y="405"/>
                </a:cubicBezTo>
                <a:cubicBezTo>
                  <a:pt x="687" y="405"/>
                  <a:pt x="687" y="405"/>
                  <a:pt x="687" y="405"/>
                </a:cubicBezTo>
                <a:cubicBezTo>
                  <a:pt x="687" y="405"/>
                  <a:pt x="687" y="405"/>
                  <a:pt x="687" y="405"/>
                </a:cubicBezTo>
                <a:cubicBezTo>
                  <a:pt x="688" y="404"/>
                  <a:pt x="688" y="403"/>
                  <a:pt x="688" y="403"/>
                </a:cubicBezTo>
                <a:cubicBezTo>
                  <a:pt x="688" y="402"/>
                  <a:pt x="688" y="402"/>
                  <a:pt x="688" y="401"/>
                </a:cubicBezTo>
                <a:cubicBezTo>
                  <a:pt x="688" y="401"/>
                  <a:pt x="688" y="400"/>
                  <a:pt x="689" y="400"/>
                </a:cubicBezTo>
                <a:cubicBezTo>
                  <a:pt x="689" y="400"/>
                  <a:pt x="689" y="399"/>
                  <a:pt x="690" y="399"/>
                </a:cubicBezTo>
                <a:cubicBezTo>
                  <a:pt x="690" y="399"/>
                  <a:pt x="690" y="399"/>
                  <a:pt x="690" y="399"/>
                </a:cubicBezTo>
                <a:cubicBezTo>
                  <a:pt x="690" y="398"/>
                  <a:pt x="690" y="399"/>
                  <a:pt x="690" y="399"/>
                </a:cubicBezTo>
                <a:cubicBezTo>
                  <a:pt x="690" y="399"/>
                  <a:pt x="690" y="400"/>
                  <a:pt x="690" y="400"/>
                </a:cubicBezTo>
                <a:cubicBezTo>
                  <a:pt x="689" y="401"/>
                  <a:pt x="689" y="402"/>
                  <a:pt x="689" y="402"/>
                </a:cubicBezTo>
                <a:cubicBezTo>
                  <a:pt x="689" y="403"/>
                  <a:pt x="689" y="403"/>
                  <a:pt x="689" y="403"/>
                </a:cubicBezTo>
                <a:cubicBezTo>
                  <a:pt x="688" y="404"/>
                  <a:pt x="689" y="404"/>
                  <a:pt x="688" y="405"/>
                </a:cubicBezTo>
                <a:cubicBezTo>
                  <a:pt x="688" y="405"/>
                  <a:pt x="688" y="405"/>
                  <a:pt x="688" y="405"/>
                </a:cubicBezTo>
                <a:cubicBezTo>
                  <a:pt x="688" y="406"/>
                  <a:pt x="688" y="406"/>
                  <a:pt x="688" y="406"/>
                </a:cubicBezTo>
                <a:cubicBezTo>
                  <a:pt x="688" y="406"/>
                  <a:pt x="688" y="406"/>
                  <a:pt x="688" y="406"/>
                </a:cubicBezTo>
                <a:cubicBezTo>
                  <a:pt x="688" y="407"/>
                  <a:pt x="688" y="407"/>
                  <a:pt x="688" y="408"/>
                </a:cubicBezTo>
                <a:cubicBezTo>
                  <a:pt x="688" y="408"/>
                  <a:pt x="688" y="408"/>
                  <a:pt x="688" y="409"/>
                </a:cubicBezTo>
                <a:cubicBezTo>
                  <a:pt x="688" y="409"/>
                  <a:pt x="689" y="410"/>
                  <a:pt x="690" y="410"/>
                </a:cubicBezTo>
                <a:cubicBezTo>
                  <a:pt x="690" y="410"/>
                  <a:pt x="690" y="410"/>
                  <a:pt x="690" y="411"/>
                </a:cubicBezTo>
                <a:cubicBezTo>
                  <a:pt x="690" y="411"/>
                  <a:pt x="691" y="411"/>
                  <a:pt x="691" y="410"/>
                </a:cubicBezTo>
                <a:cubicBezTo>
                  <a:pt x="691" y="410"/>
                  <a:pt x="692" y="410"/>
                  <a:pt x="692" y="410"/>
                </a:cubicBezTo>
                <a:cubicBezTo>
                  <a:pt x="692" y="410"/>
                  <a:pt x="692" y="410"/>
                  <a:pt x="692" y="409"/>
                </a:cubicBezTo>
                <a:cubicBezTo>
                  <a:pt x="692" y="409"/>
                  <a:pt x="692" y="408"/>
                  <a:pt x="693" y="408"/>
                </a:cubicBezTo>
                <a:cubicBezTo>
                  <a:pt x="693" y="407"/>
                  <a:pt x="693" y="408"/>
                  <a:pt x="693" y="408"/>
                </a:cubicBezTo>
                <a:cubicBezTo>
                  <a:pt x="693" y="408"/>
                  <a:pt x="693" y="408"/>
                  <a:pt x="693" y="409"/>
                </a:cubicBezTo>
                <a:cubicBezTo>
                  <a:pt x="692" y="409"/>
                  <a:pt x="693" y="410"/>
                  <a:pt x="694" y="410"/>
                </a:cubicBezTo>
                <a:cubicBezTo>
                  <a:pt x="693" y="410"/>
                  <a:pt x="693" y="411"/>
                  <a:pt x="693" y="411"/>
                </a:cubicBezTo>
                <a:cubicBezTo>
                  <a:pt x="692" y="411"/>
                  <a:pt x="692" y="411"/>
                  <a:pt x="691" y="411"/>
                </a:cubicBezTo>
                <a:cubicBezTo>
                  <a:pt x="691" y="412"/>
                  <a:pt x="691" y="412"/>
                  <a:pt x="691" y="413"/>
                </a:cubicBezTo>
                <a:cubicBezTo>
                  <a:pt x="691" y="413"/>
                  <a:pt x="692" y="413"/>
                  <a:pt x="692" y="414"/>
                </a:cubicBezTo>
                <a:cubicBezTo>
                  <a:pt x="692" y="414"/>
                  <a:pt x="692" y="414"/>
                  <a:pt x="692" y="414"/>
                </a:cubicBezTo>
                <a:cubicBezTo>
                  <a:pt x="693" y="414"/>
                  <a:pt x="692" y="415"/>
                  <a:pt x="693" y="415"/>
                </a:cubicBezTo>
                <a:cubicBezTo>
                  <a:pt x="693" y="415"/>
                  <a:pt x="693" y="415"/>
                  <a:pt x="694" y="415"/>
                </a:cubicBezTo>
                <a:cubicBezTo>
                  <a:pt x="694" y="415"/>
                  <a:pt x="694" y="414"/>
                  <a:pt x="694" y="414"/>
                </a:cubicBezTo>
                <a:cubicBezTo>
                  <a:pt x="694" y="413"/>
                  <a:pt x="694" y="413"/>
                  <a:pt x="694" y="412"/>
                </a:cubicBezTo>
                <a:cubicBezTo>
                  <a:pt x="694" y="412"/>
                  <a:pt x="695" y="412"/>
                  <a:pt x="695" y="412"/>
                </a:cubicBezTo>
                <a:cubicBezTo>
                  <a:pt x="695" y="411"/>
                  <a:pt x="695" y="412"/>
                  <a:pt x="695" y="412"/>
                </a:cubicBezTo>
                <a:cubicBezTo>
                  <a:pt x="697" y="412"/>
                  <a:pt x="699" y="412"/>
                  <a:pt x="700" y="413"/>
                </a:cubicBezTo>
                <a:cubicBezTo>
                  <a:pt x="700" y="413"/>
                  <a:pt x="700" y="413"/>
                  <a:pt x="700" y="413"/>
                </a:cubicBezTo>
                <a:cubicBezTo>
                  <a:pt x="700" y="413"/>
                  <a:pt x="700" y="414"/>
                  <a:pt x="700" y="413"/>
                </a:cubicBezTo>
                <a:cubicBezTo>
                  <a:pt x="699" y="413"/>
                  <a:pt x="698" y="413"/>
                  <a:pt x="697" y="413"/>
                </a:cubicBezTo>
                <a:cubicBezTo>
                  <a:pt x="697" y="413"/>
                  <a:pt x="697" y="412"/>
                  <a:pt x="696" y="412"/>
                </a:cubicBezTo>
                <a:cubicBezTo>
                  <a:pt x="695" y="412"/>
                  <a:pt x="695" y="413"/>
                  <a:pt x="695" y="414"/>
                </a:cubicBezTo>
                <a:cubicBezTo>
                  <a:pt x="695" y="415"/>
                  <a:pt x="695" y="415"/>
                  <a:pt x="695" y="416"/>
                </a:cubicBezTo>
                <a:cubicBezTo>
                  <a:pt x="697" y="417"/>
                  <a:pt x="698" y="418"/>
                  <a:pt x="700" y="420"/>
                </a:cubicBezTo>
                <a:cubicBezTo>
                  <a:pt x="700" y="420"/>
                  <a:pt x="700" y="420"/>
                  <a:pt x="700" y="420"/>
                </a:cubicBezTo>
                <a:cubicBezTo>
                  <a:pt x="701" y="421"/>
                  <a:pt x="701" y="421"/>
                  <a:pt x="701" y="421"/>
                </a:cubicBezTo>
                <a:cubicBezTo>
                  <a:pt x="701" y="421"/>
                  <a:pt x="702" y="422"/>
                  <a:pt x="702" y="422"/>
                </a:cubicBezTo>
                <a:cubicBezTo>
                  <a:pt x="703" y="422"/>
                  <a:pt x="702" y="422"/>
                  <a:pt x="702" y="422"/>
                </a:cubicBezTo>
                <a:cubicBezTo>
                  <a:pt x="702" y="422"/>
                  <a:pt x="702" y="422"/>
                  <a:pt x="701" y="422"/>
                </a:cubicBezTo>
                <a:cubicBezTo>
                  <a:pt x="701" y="422"/>
                  <a:pt x="701" y="422"/>
                  <a:pt x="700" y="422"/>
                </a:cubicBezTo>
                <a:cubicBezTo>
                  <a:pt x="700" y="421"/>
                  <a:pt x="700" y="421"/>
                  <a:pt x="699" y="421"/>
                </a:cubicBezTo>
                <a:cubicBezTo>
                  <a:pt x="699" y="420"/>
                  <a:pt x="698" y="419"/>
                  <a:pt x="697" y="418"/>
                </a:cubicBezTo>
                <a:cubicBezTo>
                  <a:pt x="696" y="418"/>
                  <a:pt x="695" y="417"/>
                  <a:pt x="694" y="417"/>
                </a:cubicBezTo>
                <a:cubicBezTo>
                  <a:pt x="694" y="417"/>
                  <a:pt x="694" y="417"/>
                  <a:pt x="694" y="417"/>
                </a:cubicBezTo>
                <a:cubicBezTo>
                  <a:pt x="694" y="417"/>
                  <a:pt x="694" y="418"/>
                  <a:pt x="694" y="418"/>
                </a:cubicBezTo>
                <a:cubicBezTo>
                  <a:pt x="694" y="418"/>
                  <a:pt x="694" y="418"/>
                  <a:pt x="694" y="419"/>
                </a:cubicBezTo>
                <a:cubicBezTo>
                  <a:pt x="694" y="419"/>
                  <a:pt x="694" y="419"/>
                  <a:pt x="694" y="419"/>
                </a:cubicBezTo>
                <a:cubicBezTo>
                  <a:pt x="694" y="420"/>
                  <a:pt x="694" y="420"/>
                  <a:pt x="694" y="420"/>
                </a:cubicBezTo>
                <a:cubicBezTo>
                  <a:pt x="694" y="420"/>
                  <a:pt x="695" y="420"/>
                  <a:pt x="695" y="420"/>
                </a:cubicBezTo>
                <a:cubicBezTo>
                  <a:pt x="695" y="420"/>
                  <a:pt x="695" y="421"/>
                  <a:pt x="695" y="421"/>
                </a:cubicBezTo>
                <a:cubicBezTo>
                  <a:pt x="695" y="421"/>
                  <a:pt x="695" y="421"/>
                  <a:pt x="695" y="421"/>
                </a:cubicBezTo>
                <a:cubicBezTo>
                  <a:pt x="695" y="421"/>
                  <a:pt x="695" y="422"/>
                  <a:pt x="695" y="423"/>
                </a:cubicBezTo>
                <a:cubicBezTo>
                  <a:pt x="695" y="423"/>
                  <a:pt x="695" y="423"/>
                  <a:pt x="695" y="423"/>
                </a:cubicBezTo>
                <a:cubicBezTo>
                  <a:pt x="695" y="423"/>
                  <a:pt x="696" y="423"/>
                  <a:pt x="696" y="424"/>
                </a:cubicBezTo>
                <a:cubicBezTo>
                  <a:pt x="696" y="424"/>
                  <a:pt x="697" y="424"/>
                  <a:pt x="697" y="424"/>
                </a:cubicBezTo>
                <a:cubicBezTo>
                  <a:pt x="697" y="424"/>
                  <a:pt x="697" y="424"/>
                  <a:pt x="696" y="425"/>
                </a:cubicBezTo>
                <a:cubicBezTo>
                  <a:pt x="696" y="425"/>
                  <a:pt x="697" y="426"/>
                  <a:pt x="697" y="426"/>
                </a:cubicBezTo>
                <a:cubicBezTo>
                  <a:pt x="697" y="426"/>
                  <a:pt x="698" y="426"/>
                  <a:pt x="699" y="426"/>
                </a:cubicBezTo>
                <a:cubicBezTo>
                  <a:pt x="699" y="426"/>
                  <a:pt x="699" y="426"/>
                  <a:pt x="700" y="426"/>
                </a:cubicBezTo>
                <a:cubicBezTo>
                  <a:pt x="700" y="427"/>
                  <a:pt x="700" y="427"/>
                  <a:pt x="700" y="427"/>
                </a:cubicBezTo>
                <a:cubicBezTo>
                  <a:pt x="700" y="427"/>
                  <a:pt x="700" y="427"/>
                  <a:pt x="700" y="427"/>
                </a:cubicBezTo>
                <a:cubicBezTo>
                  <a:pt x="699" y="427"/>
                  <a:pt x="699" y="427"/>
                  <a:pt x="698" y="427"/>
                </a:cubicBezTo>
                <a:cubicBezTo>
                  <a:pt x="698" y="427"/>
                  <a:pt x="697" y="427"/>
                  <a:pt x="697" y="427"/>
                </a:cubicBezTo>
                <a:cubicBezTo>
                  <a:pt x="696" y="427"/>
                  <a:pt x="696" y="427"/>
                  <a:pt x="696" y="427"/>
                </a:cubicBezTo>
                <a:cubicBezTo>
                  <a:pt x="696" y="428"/>
                  <a:pt x="696" y="428"/>
                  <a:pt x="696" y="428"/>
                </a:cubicBezTo>
                <a:cubicBezTo>
                  <a:pt x="696" y="429"/>
                  <a:pt x="695" y="429"/>
                  <a:pt x="695" y="430"/>
                </a:cubicBezTo>
                <a:cubicBezTo>
                  <a:pt x="695" y="430"/>
                  <a:pt x="695" y="430"/>
                  <a:pt x="695" y="430"/>
                </a:cubicBezTo>
                <a:cubicBezTo>
                  <a:pt x="695" y="430"/>
                  <a:pt x="695" y="430"/>
                  <a:pt x="695" y="430"/>
                </a:cubicBezTo>
                <a:cubicBezTo>
                  <a:pt x="696" y="430"/>
                  <a:pt x="697" y="431"/>
                  <a:pt x="698" y="432"/>
                </a:cubicBezTo>
                <a:cubicBezTo>
                  <a:pt x="698" y="432"/>
                  <a:pt x="698" y="432"/>
                  <a:pt x="698" y="432"/>
                </a:cubicBezTo>
                <a:cubicBezTo>
                  <a:pt x="699" y="432"/>
                  <a:pt x="699" y="431"/>
                  <a:pt x="699" y="431"/>
                </a:cubicBezTo>
                <a:cubicBezTo>
                  <a:pt x="699" y="430"/>
                  <a:pt x="700" y="430"/>
                  <a:pt x="700" y="430"/>
                </a:cubicBezTo>
                <a:cubicBezTo>
                  <a:pt x="700" y="430"/>
                  <a:pt x="700" y="430"/>
                  <a:pt x="700" y="430"/>
                </a:cubicBezTo>
                <a:cubicBezTo>
                  <a:pt x="700" y="431"/>
                  <a:pt x="700" y="431"/>
                  <a:pt x="700" y="431"/>
                </a:cubicBezTo>
                <a:cubicBezTo>
                  <a:pt x="700" y="431"/>
                  <a:pt x="700" y="431"/>
                  <a:pt x="700" y="431"/>
                </a:cubicBezTo>
                <a:cubicBezTo>
                  <a:pt x="700" y="431"/>
                  <a:pt x="700" y="432"/>
                  <a:pt x="700" y="432"/>
                </a:cubicBezTo>
                <a:cubicBezTo>
                  <a:pt x="700" y="432"/>
                  <a:pt x="701" y="432"/>
                  <a:pt x="701" y="432"/>
                </a:cubicBezTo>
                <a:cubicBezTo>
                  <a:pt x="702" y="433"/>
                  <a:pt x="702" y="433"/>
                  <a:pt x="702" y="433"/>
                </a:cubicBezTo>
                <a:cubicBezTo>
                  <a:pt x="703" y="433"/>
                  <a:pt x="703" y="433"/>
                  <a:pt x="703" y="433"/>
                </a:cubicBezTo>
                <a:cubicBezTo>
                  <a:pt x="704" y="433"/>
                  <a:pt x="704" y="432"/>
                  <a:pt x="704" y="432"/>
                </a:cubicBezTo>
                <a:cubicBezTo>
                  <a:pt x="704" y="432"/>
                  <a:pt x="704" y="432"/>
                  <a:pt x="704" y="432"/>
                </a:cubicBezTo>
                <a:cubicBezTo>
                  <a:pt x="704" y="431"/>
                  <a:pt x="704" y="431"/>
                  <a:pt x="704" y="432"/>
                </a:cubicBezTo>
                <a:cubicBezTo>
                  <a:pt x="704" y="432"/>
                  <a:pt x="704" y="432"/>
                  <a:pt x="704" y="432"/>
                </a:cubicBezTo>
                <a:cubicBezTo>
                  <a:pt x="704" y="433"/>
                  <a:pt x="704" y="433"/>
                  <a:pt x="705" y="433"/>
                </a:cubicBezTo>
                <a:cubicBezTo>
                  <a:pt x="704" y="434"/>
                  <a:pt x="704" y="434"/>
                  <a:pt x="704" y="434"/>
                </a:cubicBezTo>
                <a:cubicBezTo>
                  <a:pt x="703" y="434"/>
                  <a:pt x="703" y="434"/>
                  <a:pt x="703" y="434"/>
                </a:cubicBezTo>
                <a:cubicBezTo>
                  <a:pt x="703" y="434"/>
                  <a:pt x="703" y="435"/>
                  <a:pt x="703" y="435"/>
                </a:cubicBezTo>
                <a:cubicBezTo>
                  <a:pt x="703" y="436"/>
                  <a:pt x="704" y="437"/>
                  <a:pt x="704" y="437"/>
                </a:cubicBezTo>
                <a:cubicBezTo>
                  <a:pt x="704" y="437"/>
                  <a:pt x="705" y="438"/>
                  <a:pt x="705" y="438"/>
                </a:cubicBezTo>
                <a:cubicBezTo>
                  <a:pt x="705" y="438"/>
                  <a:pt x="705" y="439"/>
                  <a:pt x="706" y="439"/>
                </a:cubicBezTo>
                <a:cubicBezTo>
                  <a:pt x="706" y="439"/>
                  <a:pt x="706" y="440"/>
                  <a:pt x="707" y="440"/>
                </a:cubicBezTo>
                <a:cubicBezTo>
                  <a:pt x="707" y="440"/>
                  <a:pt x="707" y="440"/>
                  <a:pt x="708" y="440"/>
                </a:cubicBezTo>
                <a:cubicBezTo>
                  <a:pt x="708" y="440"/>
                  <a:pt x="708" y="440"/>
                  <a:pt x="708" y="440"/>
                </a:cubicBezTo>
                <a:cubicBezTo>
                  <a:pt x="708" y="440"/>
                  <a:pt x="708" y="440"/>
                  <a:pt x="708" y="440"/>
                </a:cubicBezTo>
                <a:cubicBezTo>
                  <a:pt x="708" y="440"/>
                  <a:pt x="708" y="441"/>
                  <a:pt x="707" y="441"/>
                </a:cubicBezTo>
                <a:cubicBezTo>
                  <a:pt x="707" y="441"/>
                  <a:pt x="708" y="441"/>
                  <a:pt x="707" y="442"/>
                </a:cubicBezTo>
                <a:cubicBezTo>
                  <a:pt x="707" y="442"/>
                  <a:pt x="707" y="442"/>
                  <a:pt x="707" y="443"/>
                </a:cubicBezTo>
                <a:cubicBezTo>
                  <a:pt x="707" y="443"/>
                  <a:pt x="708" y="443"/>
                  <a:pt x="708" y="443"/>
                </a:cubicBezTo>
                <a:cubicBezTo>
                  <a:pt x="709" y="443"/>
                  <a:pt x="709" y="443"/>
                  <a:pt x="710" y="443"/>
                </a:cubicBezTo>
                <a:cubicBezTo>
                  <a:pt x="710" y="443"/>
                  <a:pt x="710" y="443"/>
                  <a:pt x="710" y="443"/>
                </a:cubicBezTo>
                <a:cubicBezTo>
                  <a:pt x="710" y="443"/>
                  <a:pt x="710" y="443"/>
                  <a:pt x="710" y="443"/>
                </a:cubicBezTo>
                <a:cubicBezTo>
                  <a:pt x="710" y="444"/>
                  <a:pt x="711" y="445"/>
                  <a:pt x="710" y="445"/>
                </a:cubicBezTo>
                <a:cubicBezTo>
                  <a:pt x="710" y="446"/>
                  <a:pt x="711" y="446"/>
                  <a:pt x="711" y="446"/>
                </a:cubicBezTo>
                <a:cubicBezTo>
                  <a:pt x="711" y="446"/>
                  <a:pt x="712" y="447"/>
                  <a:pt x="712" y="447"/>
                </a:cubicBezTo>
                <a:cubicBezTo>
                  <a:pt x="712" y="447"/>
                  <a:pt x="712" y="448"/>
                  <a:pt x="712" y="448"/>
                </a:cubicBezTo>
                <a:cubicBezTo>
                  <a:pt x="712" y="449"/>
                  <a:pt x="713" y="449"/>
                  <a:pt x="713" y="449"/>
                </a:cubicBezTo>
                <a:cubicBezTo>
                  <a:pt x="713" y="449"/>
                  <a:pt x="713" y="449"/>
                  <a:pt x="714" y="450"/>
                </a:cubicBezTo>
                <a:cubicBezTo>
                  <a:pt x="714" y="450"/>
                  <a:pt x="713" y="450"/>
                  <a:pt x="713" y="450"/>
                </a:cubicBezTo>
                <a:cubicBezTo>
                  <a:pt x="713" y="450"/>
                  <a:pt x="713" y="450"/>
                  <a:pt x="712" y="449"/>
                </a:cubicBezTo>
                <a:cubicBezTo>
                  <a:pt x="712" y="449"/>
                  <a:pt x="711" y="448"/>
                  <a:pt x="711" y="447"/>
                </a:cubicBezTo>
                <a:cubicBezTo>
                  <a:pt x="711" y="447"/>
                  <a:pt x="710" y="447"/>
                  <a:pt x="710" y="447"/>
                </a:cubicBezTo>
                <a:cubicBezTo>
                  <a:pt x="710" y="447"/>
                  <a:pt x="710" y="447"/>
                  <a:pt x="709" y="447"/>
                </a:cubicBezTo>
                <a:cubicBezTo>
                  <a:pt x="709" y="448"/>
                  <a:pt x="710" y="448"/>
                  <a:pt x="710" y="448"/>
                </a:cubicBezTo>
                <a:cubicBezTo>
                  <a:pt x="710" y="448"/>
                  <a:pt x="710" y="449"/>
                  <a:pt x="710" y="449"/>
                </a:cubicBezTo>
                <a:cubicBezTo>
                  <a:pt x="710" y="450"/>
                  <a:pt x="711" y="450"/>
                  <a:pt x="711" y="450"/>
                </a:cubicBezTo>
                <a:cubicBezTo>
                  <a:pt x="711" y="451"/>
                  <a:pt x="710" y="451"/>
                  <a:pt x="710" y="451"/>
                </a:cubicBezTo>
                <a:cubicBezTo>
                  <a:pt x="710" y="451"/>
                  <a:pt x="710" y="452"/>
                  <a:pt x="711" y="452"/>
                </a:cubicBezTo>
                <a:cubicBezTo>
                  <a:pt x="711" y="452"/>
                  <a:pt x="711" y="452"/>
                  <a:pt x="711" y="452"/>
                </a:cubicBezTo>
                <a:cubicBezTo>
                  <a:pt x="711" y="452"/>
                  <a:pt x="710" y="452"/>
                  <a:pt x="710" y="453"/>
                </a:cubicBezTo>
                <a:cubicBezTo>
                  <a:pt x="710" y="453"/>
                  <a:pt x="709" y="453"/>
                  <a:pt x="709" y="453"/>
                </a:cubicBezTo>
                <a:cubicBezTo>
                  <a:pt x="709" y="454"/>
                  <a:pt x="708" y="454"/>
                  <a:pt x="708" y="453"/>
                </a:cubicBezTo>
                <a:cubicBezTo>
                  <a:pt x="708" y="453"/>
                  <a:pt x="708" y="453"/>
                  <a:pt x="708" y="453"/>
                </a:cubicBezTo>
                <a:cubicBezTo>
                  <a:pt x="709" y="452"/>
                  <a:pt x="709" y="452"/>
                  <a:pt x="709" y="452"/>
                </a:cubicBezTo>
                <a:cubicBezTo>
                  <a:pt x="710" y="452"/>
                  <a:pt x="710" y="451"/>
                  <a:pt x="710" y="451"/>
                </a:cubicBezTo>
                <a:cubicBezTo>
                  <a:pt x="710" y="451"/>
                  <a:pt x="710" y="451"/>
                  <a:pt x="710" y="451"/>
                </a:cubicBezTo>
                <a:cubicBezTo>
                  <a:pt x="710" y="450"/>
                  <a:pt x="710" y="450"/>
                  <a:pt x="710" y="450"/>
                </a:cubicBezTo>
                <a:cubicBezTo>
                  <a:pt x="709" y="450"/>
                  <a:pt x="709" y="450"/>
                  <a:pt x="709" y="450"/>
                </a:cubicBezTo>
                <a:cubicBezTo>
                  <a:pt x="709" y="449"/>
                  <a:pt x="709" y="449"/>
                  <a:pt x="709" y="449"/>
                </a:cubicBezTo>
                <a:cubicBezTo>
                  <a:pt x="709" y="449"/>
                  <a:pt x="709" y="448"/>
                  <a:pt x="709" y="448"/>
                </a:cubicBezTo>
                <a:cubicBezTo>
                  <a:pt x="709" y="448"/>
                  <a:pt x="709" y="448"/>
                  <a:pt x="709" y="447"/>
                </a:cubicBezTo>
                <a:cubicBezTo>
                  <a:pt x="708" y="447"/>
                  <a:pt x="707" y="448"/>
                  <a:pt x="707" y="448"/>
                </a:cubicBezTo>
                <a:cubicBezTo>
                  <a:pt x="707" y="449"/>
                  <a:pt x="708" y="450"/>
                  <a:pt x="707" y="450"/>
                </a:cubicBezTo>
                <a:cubicBezTo>
                  <a:pt x="707" y="451"/>
                  <a:pt x="707" y="451"/>
                  <a:pt x="707" y="451"/>
                </a:cubicBezTo>
                <a:cubicBezTo>
                  <a:pt x="707" y="451"/>
                  <a:pt x="707" y="452"/>
                  <a:pt x="707" y="452"/>
                </a:cubicBezTo>
                <a:cubicBezTo>
                  <a:pt x="706" y="452"/>
                  <a:pt x="706" y="452"/>
                  <a:pt x="706" y="452"/>
                </a:cubicBezTo>
                <a:cubicBezTo>
                  <a:pt x="706" y="453"/>
                  <a:pt x="706" y="453"/>
                  <a:pt x="706" y="454"/>
                </a:cubicBezTo>
                <a:cubicBezTo>
                  <a:pt x="706" y="454"/>
                  <a:pt x="706" y="455"/>
                  <a:pt x="706" y="456"/>
                </a:cubicBezTo>
                <a:cubicBezTo>
                  <a:pt x="706" y="456"/>
                  <a:pt x="706" y="456"/>
                  <a:pt x="706" y="456"/>
                </a:cubicBezTo>
                <a:cubicBezTo>
                  <a:pt x="706" y="456"/>
                  <a:pt x="707" y="456"/>
                  <a:pt x="707" y="456"/>
                </a:cubicBezTo>
                <a:cubicBezTo>
                  <a:pt x="707" y="456"/>
                  <a:pt x="707" y="456"/>
                  <a:pt x="707" y="456"/>
                </a:cubicBezTo>
                <a:cubicBezTo>
                  <a:pt x="708" y="455"/>
                  <a:pt x="708" y="456"/>
                  <a:pt x="708" y="456"/>
                </a:cubicBezTo>
                <a:cubicBezTo>
                  <a:pt x="708" y="457"/>
                  <a:pt x="709" y="457"/>
                  <a:pt x="709" y="458"/>
                </a:cubicBezTo>
                <a:cubicBezTo>
                  <a:pt x="709" y="458"/>
                  <a:pt x="709" y="458"/>
                  <a:pt x="709" y="459"/>
                </a:cubicBezTo>
                <a:cubicBezTo>
                  <a:pt x="709" y="459"/>
                  <a:pt x="709" y="460"/>
                  <a:pt x="709" y="460"/>
                </a:cubicBezTo>
                <a:cubicBezTo>
                  <a:pt x="709" y="460"/>
                  <a:pt x="710" y="460"/>
                  <a:pt x="710" y="460"/>
                </a:cubicBezTo>
                <a:cubicBezTo>
                  <a:pt x="710" y="460"/>
                  <a:pt x="710" y="460"/>
                  <a:pt x="710" y="460"/>
                </a:cubicBezTo>
                <a:cubicBezTo>
                  <a:pt x="711" y="459"/>
                  <a:pt x="711" y="459"/>
                  <a:pt x="712" y="459"/>
                </a:cubicBezTo>
                <a:cubicBezTo>
                  <a:pt x="712" y="459"/>
                  <a:pt x="712" y="459"/>
                  <a:pt x="712" y="458"/>
                </a:cubicBezTo>
                <a:cubicBezTo>
                  <a:pt x="713" y="458"/>
                  <a:pt x="713" y="458"/>
                  <a:pt x="713" y="458"/>
                </a:cubicBezTo>
                <a:cubicBezTo>
                  <a:pt x="713" y="457"/>
                  <a:pt x="713" y="457"/>
                  <a:pt x="712" y="456"/>
                </a:cubicBezTo>
                <a:cubicBezTo>
                  <a:pt x="712" y="456"/>
                  <a:pt x="712" y="456"/>
                  <a:pt x="712" y="456"/>
                </a:cubicBezTo>
                <a:cubicBezTo>
                  <a:pt x="712" y="456"/>
                  <a:pt x="712" y="456"/>
                  <a:pt x="712" y="456"/>
                </a:cubicBezTo>
                <a:cubicBezTo>
                  <a:pt x="713" y="455"/>
                  <a:pt x="713" y="455"/>
                  <a:pt x="713" y="455"/>
                </a:cubicBezTo>
                <a:cubicBezTo>
                  <a:pt x="713" y="454"/>
                  <a:pt x="712" y="454"/>
                  <a:pt x="712" y="454"/>
                </a:cubicBezTo>
                <a:cubicBezTo>
                  <a:pt x="712" y="454"/>
                  <a:pt x="712" y="453"/>
                  <a:pt x="712" y="453"/>
                </a:cubicBezTo>
                <a:cubicBezTo>
                  <a:pt x="712" y="453"/>
                  <a:pt x="713" y="454"/>
                  <a:pt x="713" y="454"/>
                </a:cubicBezTo>
                <a:cubicBezTo>
                  <a:pt x="713" y="454"/>
                  <a:pt x="714" y="454"/>
                  <a:pt x="714" y="454"/>
                </a:cubicBezTo>
                <a:cubicBezTo>
                  <a:pt x="714" y="453"/>
                  <a:pt x="714" y="453"/>
                  <a:pt x="715" y="453"/>
                </a:cubicBezTo>
                <a:cubicBezTo>
                  <a:pt x="715" y="452"/>
                  <a:pt x="717" y="452"/>
                  <a:pt x="717" y="452"/>
                </a:cubicBezTo>
                <a:cubicBezTo>
                  <a:pt x="718" y="452"/>
                  <a:pt x="718" y="453"/>
                  <a:pt x="719" y="453"/>
                </a:cubicBezTo>
                <a:cubicBezTo>
                  <a:pt x="719" y="453"/>
                  <a:pt x="720" y="452"/>
                  <a:pt x="720" y="452"/>
                </a:cubicBezTo>
                <a:cubicBezTo>
                  <a:pt x="720" y="453"/>
                  <a:pt x="720" y="453"/>
                  <a:pt x="720" y="453"/>
                </a:cubicBezTo>
                <a:cubicBezTo>
                  <a:pt x="720" y="453"/>
                  <a:pt x="720" y="453"/>
                  <a:pt x="720" y="453"/>
                </a:cubicBezTo>
                <a:cubicBezTo>
                  <a:pt x="720" y="454"/>
                  <a:pt x="720" y="454"/>
                  <a:pt x="720" y="454"/>
                </a:cubicBezTo>
                <a:cubicBezTo>
                  <a:pt x="718" y="454"/>
                  <a:pt x="717" y="454"/>
                  <a:pt x="716" y="454"/>
                </a:cubicBezTo>
                <a:cubicBezTo>
                  <a:pt x="716" y="454"/>
                  <a:pt x="716" y="454"/>
                  <a:pt x="716" y="454"/>
                </a:cubicBezTo>
                <a:cubicBezTo>
                  <a:pt x="715" y="454"/>
                  <a:pt x="715" y="454"/>
                  <a:pt x="715" y="454"/>
                </a:cubicBezTo>
                <a:cubicBezTo>
                  <a:pt x="715" y="454"/>
                  <a:pt x="715" y="454"/>
                  <a:pt x="715" y="455"/>
                </a:cubicBezTo>
                <a:cubicBezTo>
                  <a:pt x="715" y="455"/>
                  <a:pt x="714" y="455"/>
                  <a:pt x="714" y="456"/>
                </a:cubicBezTo>
                <a:cubicBezTo>
                  <a:pt x="714" y="456"/>
                  <a:pt x="714" y="457"/>
                  <a:pt x="714" y="457"/>
                </a:cubicBezTo>
                <a:cubicBezTo>
                  <a:pt x="715" y="457"/>
                  <a:pt x="715" y="457"/>
                  <a:pt x="715" y="458"/>
                </a:cubicBezTo>
                <a:cubicBezTo>
                  <a:pt x="715" y="458"/>
                  <a:pt x="715" y="458"/>
                  <a:pt x="715" y="458"/>
                </a:cubicBezTo>
                <a:cubicBezTo>
                  <a:pt x="715" y="458"/>
                  <a:pt x="715" y="458"/>
                  <a:pt x="715" y="458"/>
                </a:cubicBezTo>
                <a:cubicBezTo>
                  <a:pt x="714" y="459"/>
                  <a:pt x="714" y="460"/>
                  <a:pt x="713" y="461"/>
                </a:cubicBezTo>
                <a:cubicBezTo>
                  <a:pt x="713" y="461"/>
                  <a:pt x="713" y="463"/>
                  <a:pt x="712" y="463"/>
                </a:cubicBezTo>
                <a:cubicBezTo>
                  <a:pt x="712" y="463"/>
                  <a:pt x="712" y="463"/>
                  <a:pt x="712" y="463"/>
                </a:cubicBezTo>
                <a:cubicBezTo>
                  <a:pt x="711" y="464"/>
                  <a:pt x="712" y="464"/>
                  <a:pt x="712" y="465"/>
                </a:cubicBezTo>
                <a:cubicBezTo>
                  <a:pt x="712" y="465"/>
                  <a:pt x="712" y="466"/>
                  <a:pt x="712" y="466"/>
                </a:cubicBezTo>
                <a:cubicBezTo>
                  <a:pt x="712" y="467"/>
                  <a:pt x="713" y="468"/>
                  <a:pt x="714" y="468"/>
                </a:cubicBezTo>
                <a:cubicBezTo>
                  <a:pt x="714" y="469"/>
                  <a:pt x="715" y="469"/>
                  <a:pt x="715" y="469"/>
                </a:cubicBezTo>
                <a:cubicBezTo>
                  <a:pt x="715" y="468"/>
                  <a:pt x="715" y="468"/>
                  <a:pt x="715" y="467"/>
                </a:cubicBezTo>
                <a:cubicBezTo>
                  <a:pt x="716" y="466"/>
                  <a:pt x="716" y="465"/>
                  <a:pt x="717" y="465"/>
                </a:cubicBezTo>
                <a:cubicBezTo>
                  <a:pt x="717" y="464"/>
                  <a:pt x="717" y="462"/>
                  <a:pt x="717" y="462"/>
                </a:cubicBezTo>
                <a:cubicBezTo>
                  <a:pt x="716" y="462"/>
                  <a:pt x="716" y="461"/>
                  <a:pt x="716" y="461"/>
                </a:cubicBezTo>
                <a:cubicBezTo>
                  <a:pt x="716" y="461"/>
                  <a:pt x="716" y="461"/>
                  <a:pt x="717" y="461"/>
                </a:cubicBezTo>
                <a:cubicBezTo>
                  <a:pt x="718" y="460"/>
                  <a:pt x="719" y="459"/>
                  <a:pt x="720" y="458"/>
                </a:cubicBezTo>
                <a:cubicBezTo>
                  <a:pt x="720" y="458"/>
                  <a:pt x="720" y="459"/>
                  <a:pt x="720" y="459"/>
                </a:cubicBezTo>
                <a:cubicBezTo>
                  <a:pt x="720" y="459"/>
                  <a:pt x="719" y="459"/>
                  <a:pt x="719" y="459"/>
                </a:cubicBezTo>
                <a:cubicBezTo>
                  <a:pt x="719" y="459"/>
                  <a:pt x="719" y="459"/>
                  <a:pt x="719" y="460"/>
                </a:cubicBezTo>
                <a:cubicBezTo>
                  <a:pt x="719" y="460"/>
                  <a:pt x="720" y="460"/>
                  <a:pt x="720" y="461"/>
                </a:cubicBezTo>
                <a:cubicBezTo>
                  <a:pt x="719" y="461"/>
                  <a:pt x="718" y="461"/>
                  <a:pt x="718" y="462"/>
                </a:cubicBezTo>
                <a:cubicBezTo>
                  <a:pt x="719" y="462"/>
                  <a:pt x="719" y="462"/>
                  <a:pt x="719" y="462"/>
                </a:cubicBezTo>
                <a:cubicBezTo>
                  <a:pt x="720" y="462"/>
                  <a:pt x="719" y="463"/>
                  <a:pt x="719" y="463"/>
                </a:cubicBezTo>
                <a:cubicBezTo>
                  <a:pt x="719" y="463"/>
                  <a:pt x="718" y="463"/>
                  <a:pt x="718" y="463"/>
                </a:cubicBezTo>
                <a:cubicBezTo>
                  <a:pt x="718" y="464"/>
                  <a:pt x="718" y="464"/>
                  <a:pt x="718" y="464"/>
                </a:cubicBezTo>
                <a:cubicBezTo>
                  <a:pt x="718" y="465"/>
                  <a:pt x="718" y="465"/>
                  <a:pt x="718" y="465"/>
                </a:cubicBezTo>
                <a:cubicBezTo>
                  <a:pt x="718" y="465"/>
                  <a:pt x="718" y="466"/>
                  <a:pt x="718" y="466"/>
                </a:cubicBezTo>
                <a:cubicBezTo>
                  <a:pt x="718" y="466"/>
                  <a:pt x="719" y="467"/>
                  <a:pt x="719" y="467"/>
                </a:cubicBezTo>
                <a:cubicBezTo>
                  <a:pt x="719" y="467"/>
                  <a:pt x="719" y="467"/>
                  <a:pt x="719" y="468"/>
                </a:cubicBezTo>
                <a:cubicBezTo>
                  <a:pt x="719" y="468"/>
                  <a:pt x="718" y="468"/>
                  <a:pt x="718" y="468"/>
                </a:cubicBezTo>
                <a:cubicBezTo>
                  <a:pt x="718" y="469"/>
                  <a:pt x="718" y="469"/>
                  <a:pt x="718" y="469"/>
                </a:cubicBezTo>
                <a:cubicBezTo>
                  <a:pt x="717" y="469"/>
                  <a:pt x="717" y="470"/>
                  <a:pt x="717" y="470"/>
                </a:cubicBezTo>
                <a:cubicBezTo>
                  <a:pt x="718" y="471"/>
                  <a:pt x="718" y="471"/>
                  <a:pt x="717" y="472"/>
                </a:cubicBezTo>
                <a:cubicBezTo>
                  <a:pt x="717" y="471"/>
                  <a:pt x="717" y="471"/>
                  <a:pt x="716" y="471"/>
                </a:cubicBezTo>
                <a:cubicBezTo>
                  <a:pt x="716" y="472"/>
                  <a:pt x="716" y="474"/>
                  <a:pt x="717" y="474"/>
                </a:cubicBezTo>
                <a:cubicBezTo>
                  <a:pt x="717" y="475"/>
                  <a:pt x="717" y="475"/>
                  <a:pt x="717" y="475"/>
                </a:cubicBezTo>
                <a:cubicBezTo>
                  <a:pt x="717" y="475"/>
                  <a:pt x="717" y="476"/>
                  <a:pt x="717" y="476"/>
                </a:cubicBezTo>
                <a:cubicBezTo>
                  <a:pt x="717" y="477"/>
                  <a:pt x="718" y="477"/>
                  <a:pt x="718" y="476"/>
                </a:cubicBezTo>
                <a:cubicBezTo>
                  <a:pt x="718" y="476"/>
                  <a:pt x="718" y="475"/>
                  <a:pt x="718" y="475"/>
                </a:cubicBezTo>
                <a:cubicBezTo>
                  <a:pt x="718" y="475"/>
                  <a:pt x="718" y="475"/>
                  <a:pt x="718" y="474"/>
                </a:cubicBezTo>
                <a:cubicBezTo>
                  <a:pt x="719" y="474"/>
                  <a:pt x="719" y="474"/>
                  <a:pt x="720" y="473"/>
                </a:cubicBezTo>
                <a:cubicBezTo>
                  <a:pt x="720" y="473"/>
                  <a:pt x="720" y="473"/>
                  <a:pt x="720" y="473"/>
                </a:cubicBezTo>
                <a:cubicBezTo>
                  <a:pt x="720" y="473"/>
                  <a:pt x="720" y="472"/>
                  <a:pt x="720" y="472"/>
                </a:cubicBezTo>
                <a:cubicBezTo>
                  <a:pt x="720" y="471"/>
                  <a:pt x="720" y="471"/>
                  <a:pt x="721" y="470"/>
                </a:cubicBezTo>
                <a:cubicBezTo>
                  <a:pt x="721" y="470"/>
                  <a:pt x="721" y="470"/>
                  <a:pt x="721" y="470"/>
                </a:cubicBezTo>
                <a:cubicBezTo>
                  <a:pt x="721" y="470"/>
                  <a:pt x="722" y="470"/>
                  <a:pt x="722" y="470"/>
                </a:cubicBezTo>
                <a:cubicBezTo>
                  <a:pt x="722" y="471"/>
                  <a:pt x="722" y="471"/>
                  <a:pt x="722" y="472"/>
                </a:cubicBezTo>
                <a:cubicBezTo>
                  <a:pt x="722" y="472"/>
                  <a:pt x="722" y="473"/>
                  <a:pt x="723" y="474"/>
                </a:cubicBezTo>
                <a:cubicBezTo>
                  <a:pt x="723" y="474"/>
                  <a:pt x="723" y="474"/>
                  <a:pt x="723" y="474"/>
                </a:cubicBezTo>
                <a:cubicBezTo>
                  <a:pt x="723" y="474"/>
                  <a:pt x="724" y="473"/>
                  <a:pt x="724" y="473"/>
                </a:cubicBezTo>
                <a:cubicBezTo>
                  <a:pt x="724" y="473"/>
                  <a:pt x="724" y="473"/>
                  <a:pt x="724" y="472"/>
                </a:cubicBezTo>
                <a:cubicBezTo>
                  <a:pt x="724" y="472"/>
                  <a:pt x="724" y="472"/>
                  <a:pt x="725" y="472"/>
                </a:cubicBezTo>
                <a:cubicBezTo>
                  <a:pt x="725" y="472"/>
                  <a:pt x="725" y="473"/>
                  <a:pt x="725" y="473"/>
                </a:cubicBezTo>
                <a:cubicBezTo>
                  <a:pt x="724" y="474"/>
                  <a:pt x="724" y="474"/>
                  <a:pt x="724" y="475"/>
                </a:cubicBezTo>
                <a:cubicBezTo>
                  <a:pt x="724" y="475"/>
                  <a:pt x="725" y="475"/>
                  <a:pt x="725" y="475"/>
                </a:cubicBezTo>
                <a:cubicBezTo>
                  <a:pt x="726" y="475"/>
                  <a:pt x="726" y="475"/>
                  <a:pt x="726" y="474"/>
                </a:cubicBezTo>
                <a:cubicBezTo>
                  <a:pt x="727" y="472"/>
                  <a:pt x="728" y="471"/>
                  <a:pt x="728" y="469"/>
                </a:cubicBezTo>
                <a:cubicBezTo>
                  <a:pt x="728" y="466"/>
                  <a:pt x="726" y="463"/>
                  <a:pt x="725" y="460"/>
                </a:cubicBezTo>
                <a:cubicBezTo>
                  <a:pt x="724" y="459"/>
                  <a:pt x="724" y="459"/>
                  <a:pt x="723" y="459"/>
                </a:cubicBezTo>
                <a:cubicBezTo>
                  <a:pt x="723" y="459"/>
                  <a:pt x="722" y="459"/>
                  <a:pt x="722" y="459"/>
                </a:cubicBezTo>
                <a:cubicBezTo>
                  <a:pt x="721" y="458"/>
                  <a:pt x="722" y="458"/>
                  <a:pt x="722" y="458"/>
                </a:cubicBezTo>
                <a:cubicBezTo>
                  <a:pt x="723" y="457"/>
                  <a:pt x="725" y="456"/>
                  <a:pt x="726" y="456"/>
                </a:cubicBezTo>
                <a:cubicBezTo>
                  <a:pt x="726" y="456"/>
                  <a:pt x="726" y="456"/>
                  <a:pt x="726" y="456"/>
                </a:cubicBezTo>
                <a:cubicBezTo>
                  <a:pt x="727" y="456"/>
                  <a:pt x="727" y="456"/>
                  <a:pt x="726" y="457"/>
                </a:cubicBezTo>
                <a:cubicBezTo>
                  <a:pt x="726" y="457"/>
                  <a:pt x="725" y="457"/>
                  <a:pt x="725" y="457"/>
                </a:cubicBezTo>
                <a:cubicBezTo>
                  <a:pt x="725" y="458"/>
                  <a:pt x="725" y="459"/>
                  <a:pt x="726" y="459"/>
                </a:cubicBezTo>
                <a:cubicBezTo>
                  <a:pt x="727" y="461"/>
                  <a:pt x="729" y="464"/>
                  <a:pt x="729" y="467"/>
                </a:cubicBezTo>
                <a:cubicBezTo>
                  <a:pt x="729" y="467"/>
                  <a:pt x="729" y="468"/>
                  <a:pt x="729" y="468"/>
                </a:cubicBezTo>
                <a:cubicBezTo>
                  <a:pt x="729" y="469"/>
                  <a:pt x="729" y="469"/>
                  <a:pt x="729" y="470"/>
                </a:cubicBezTo>
                <a:cubicBezTo>
                  <a:pt x="728" y="471"/>
                  <a:pt x="729" y="472"/>
                  <a:pt x="729" y="472"/>
                </a:cubicBezTo>
                <a:cubicBezTo>
                  <a:pt x="730" y="473"/>
                  <a:pt x="731" y="473"/>
                  <a:pt x="732" y="472"/>
                </a:cubicBezTo>
                <a:cubicBezTo>
                  <a:pt x="732" y="473"/>
                  <a:pt x="731" y="474"/>
                  <a:pt x="731" y="474"/>
                </a:cubicBezTo>
                <a:cubicBezTo>
                  <a:pt x="730" y="474"/>
                  <a:pt x="730" y="474"/>
                  <a:pt x="729" y="474"/>
                </a:cubicBezTo>
                <a:cubicBezTo>
                  <a:pt x="728" y="474"/>
                  <a:pt x="728" y="475"/>
                  <a:pt x="728" y="475"/>
                </a:cubicBezTo>
                <a:cubicBezTo>
                  <a:pt x="727" y="475"/>
                  <a:pt x="727" y="476"/>
                  <a:pt x="727" y="476"/>
                </a:cubicBezTo>
                <a:cubicBezTo>
                  <a:pt x="727" y="477"/>
                  <a:pt x="727" y="477"/>
                  <a:pt x="727" y="478"/>
                </a:cubicBezTo>
                <a:cubicBezTo>
                  <a:pt x="728" y="480"/>
                  <a:pt x="729" y="482"/>
                  <a:pt x="729" y="484"/>
                </a:cubicBezTo>
                <a:cubicBezTo>
                  <a:pt x="729" y="484"/>
                  <a:pt x="729" y="485"/>
                  <a:pt x="729" y="485"/>
                </a:cubicBezTo>
                <a:cubicBezTo>
                  <a:pt x="729" y="485"/>
                  <a:pt x="729" y="485"/>
                  <a:pt x="729" y="485"/>
                </a:cubicBezTo>
                <a:cubicBezTo>
                  <a:pt x="732" y="485"/>
                  <a:pt x="734" y="483"/>
                  <a:pt x="735" y="482"/>
                </a:cubicBezTo>
                <a:cubicBezTo>
                  <a:pt x="737" y="480"/>
                  <a:pt x="738" y="478"/>
                  <a:pt x="739" y="476"/>
                </a:cubicBezTo>
                <a:cubicBezTo>
                  <a:pt x="739" y="474"/>
                  <a:pt x="740" y="472"/>
                  <a:pt x="739" y="471"/>
                </a:cubicBezTo>
                <a:cubicBezTo>
                  <a:pt x="739" y="469"/>
                  <a:pt x="738" y="467"/>
                  <a:pt x="738" y="465"/>
                </a:cubicBezTo>
                <a:cubicBezTo>
                  <a:pt x="738" y="464"/>
                  <a:pt x="738" y="463"/>
                  <a:pt x="738" y="462"/>
                </a:cubicBezTo>
                <a:cubicBezTo>
                  <a:pt x="738" y="462"/>
                  <a:pt x="738" y="461"/>
                  <a:pt x="739" y="461"/>
                </a:cubicBezTo>
                <a:cubicBezTo>
                  <a:pt x="739" y="461"/>
                  <a:pt x="739" y="461"/>
                  <a:pt x="739" y="462"/>
                </a:cubicBezTo>
                <a:cubicBezTo>
                  <a:pt x="740" y="460"/>
                  <a:pt x="740" y="460"/>
                  <a:pt x="740" y="460"/>
                </a:cubicBezTo>
                <a:cubicBezTo>
                  <a:pt x="740" y="460"/>
                  <a:pt x="740" y="458"/>
                  <a:pt x="740" y="458"/>
                </a:cubicBezTo>
                <a:close/>
                <a:moveTo>
                  <a:pt x="553" y="364"/>
                </a:moveTo>
                <a:cubicBezTo>
                  <a:pt x="554" y="364"/>
                  <a:pt x="554" y="364"/>
                  <a:pt x="554" y="364"/>
                </a:cubicBezTo>
                <a:cubicBezTo>
                  <a:pt x="554" y="364"/>
                  <a:pt x="555" y="363"/>
                  <a:pt x="555" y="363"/>
                </a:cubicBezTo>
                <a:cubicBezTo>
                  <a:pt x="555" y="362"/>
                  <a:pt x="556" y="362"/>
                  <a:pt x="556" y="362"/>
                </a:cubicBezTo>
                <a:cubicBezTo>
                  <a:pt x="556" y="362"/>
                  <a:pt x="557" y="362"/>
                  <a:pt x="557" y="361"/>
                </a:cubicBezTo>
                <a:cubicBezTo>
                  <a:pt x="557" y="361"/>
                  <a:pt x="557" y="361"/>
                  <a:pt x="557" y="361"/>
                </a:cubicBezTo>
                <a:cubicBezTo>
                  <a:pt x="556" y="360"/>
                  <a:pt x="556" y="361"/>
                  <a:pt x="556" y="361"/>
                </a:cubicBezTo>
                <a:cubicBezTo>
                  <a:pt x="556" y="361"/>
                  <a:pt x="555" y="361"/>
                  <a:pt x="555" y="361"/>
                </a:cubicBezTo>
                <a:cubicBezTo>
                  <a:pt x="555" y="361"/>
                  <a:pt x="555" y="362"/>
                  <a:pt x="554" y="362"/>
                </a:cubicBezTo>
                <a:cubicBezTo>
                  <a:pt x="554" y="362"/>
                  <a:pt x="554" y="363"/>
                  <a:pt x="554" y="363"/>
                </a:cubicBezTo>
                <a:cubicBezTo>
                  <a:pt x="553" y="363"/>
                  <a:pt x="553" y="364"/>
                  <a:pt x="553" y="364"/>
                </a:cubicBezTo>
                <a:cubicBezTo>
                  <a:pt x="553" y="364"/>
                  <a:pt x="553" y="364"/>
                  <a:pt x="553" y="364"/>
                </a:cubicBezTo>
                <a:close/>
                <a:moveTo>
                  <a:pt x="458" y="349"/>
                </a:moveTo>
                <a:cubicBezTo>
                  <a:pt x="459" y="349"/>
                  <a:pt x="459" y="348"/>
                  <a:pt x="459" y="348"/>
                </a:cubicBezTo>
                <a:cubicBezTo>
                  <a:pt x="458" y="347"/>
                  <a:pt x="458" y="347"/>
                  <a:pt x="458" y="347"/>
                </a:cubicBezTo>
                <a:cubicBezTo>
                  <a:pt x="458" y="347"/>
                  <a:pt x="457" y="348"/>
                  <a:pt x="457" y="348"/>
                </a:cubicBezTo>
                <a:cubicBezTo>
                  <a:pt x="457" y="348"/>
                  <a:pt x="457" y="348"/>
                  <a:pt x="457" y="349"/>
                </a:cubicBezTo>
                <a:cubicBezTo>
                  <a:pt x="457" y="349"/>
                  <a:pt x="457" y="349"/>
                  <a:pt x="457" y="349"/>
                </a:cubicBezTo>
                <a:cubicBezTo>
                  <a:pt x="458" y="350"/>
                  <a:pt x="458" y="349"/>
                  <a:pt x="458" y="349"/>
                </a:cubicBezTo>
                <a:close/>
                <a:moveTo>
                  <a:pt x="457" y="351"/>
                </a:moveTo>
                <a:cubicBezTo>
                  <a:pt x="456" y="351"/>
                  <a:pt x="456" y="351"/>
                  <a:pt x="456" y="351"/>
                </a:cubicBezTo>
                <a:cubicBezTo>
                  <a:pt x="456" y="351"/>
                  <a:pt x="456" y="351"/>
                  <a:pt x="456" y="351"/>
                </a:cubicBezTo>
                <a:cubicBezTo>
                  <a:pt x="457" y="352"/>
                  <a:pt x="457" y="351"/>
                  <a:pt x="457" y="351"/>
                </a:cubicBezTo>
                <a:close/>
                <a:moveTo>
                  <a:pt x="449" y="356"/>
                </a:moveTo>
                <a:cubicBezTo>
                  <a:pt x="449" y="357"/>
                  <a:pt x="449" y="357"/>
                  <a:pt x="449" y="357"/>
                </a:cubicBezTo>
                <a:cubicBezTo>
                  <a:pt x="449" y="357"/>
                  <a:pt x="449" y="357"/>
                  <a:pt x="450" y="357"/>
                </a:cubicBezTo>
                <a:cubicBezTo>
                  <a:pt x="450" y="357"/>
                  <a:pt x="450" y="357"/>
                  <a:pt x="450" y="357"/>
                </a:cubicBezTo>
                <a:cubicBezTo>
                  <a:pt x="450" y="356"/>
                  <a:pt x="449" y="356"/>
                  <a:pt x="449" y="356"/>
                </a:cubicBezTo>
                <a:close/>
                <a:moveTo>
                  <a:pt x="438" y="376"/>
                </a:moveTo>
                <a:cubicBezTo>
                  <a:pt x="438" y="376"/>
                  <a:pt x="437" y="377"/>
                  <a:pt x="437" y="377"/>
                </a:cubicBezTo>
                <a:cubicBezTo>
                  <a:pt x="438" y="378"/>
                  <a:pt x="438" y="378"/>
                  <a:pt x="439" y="378"/>
                </a:cubicBezTo>
                <a:cubicBezTo>
                  <a:pt x="439" y="377"/>
                  <a:pt x="440" y="377"/>
                  <a:pt x="440" y="377"/>
                </a:cubicBezTo>
                <a:cubicBezTo>
                  <a:pt x="440" y="376"/>
                  <a:pt x="440" y="376"/>
                  <a:pt x="439" y="375"/>
                </a:cubicBezTo>
                <a:cubicBezTo>
                  <a:pt x="439" y="375"/>
                  <a:pt x="438" y="376"/>
                  <a:pt x="438" y="376"/>
                </a:cubicBezTo>
                <a:close/>
                <a:moveTo>
                  <a:pt x="380" y="446"/>
                </a:moveTo>
                <a:cubicBezTo>
                  <a:pt x="380" y="446"/>
                  <a:pt x="381" y="446"/>
                  <a:pt x="382" y="446"/>
                </a:cubicBezTo>
                <a:cubicBezTo>
                  <a:pt x="382" y="446"/>
                  <a:pt x="382" y="445"/>
                  <a:pt x="382" y="445"/>
                </a:cubicBezTo>
                <a:cubicBezTo>
                  <a:pt x="382" y="444"/>
                  <a:pt x="381" y="444"/>
                  <a:pt x="381" y="444"/>
                </a:cubicBezTo>
                <a:cubicBezTo>
                  <a:pt x="380" y="445"/>
                  <a:pt x="380" y="445"/>
                  <a:pt x="380" y="445"/>
                </a:cubicBezTo>
                <a:cubicBezTo>
                  <a:pt x="379" y="445"/>
                  <a:pt x="380" y="446"/>
                  <a:pt x="380" y="446"/>
                </a:cubicBezTo>
                <a:close/>
                <a:moveTo>
                  <a:pt x="389" y="444"/>
                </a:moveTo>
                <a:cubicBezTo>
                  <a:pt x="389" y="445"/>
                  <a:pt x="389" y="445"/>
                  <a:pt x="389" y="445"/>
                </a:cubicBezTo>
                <a:cubicBezTo>
                  <a:pt x="390" y="446"/>
                  <a:pt x="390" y="445"/>
                  <a:pt x="391" y="445"/>
                </a:cubicBezTo>
                <a:cubicBezTo>
                  <a:pt x="391" y="445"/>
                  <a:pt x="391" y="445"/>
                  <a:pt x="392" y="445"/>
                </a:cubicBezTo>
                <a:cubicBezTo>
                  <a:pt x="392" y="445"/>
                  <a:pt x="392" y="445"/>
                  <a:pt x="391" y="444"/>
                </a:cubicBezTo>
                <a:cubicBezTo>
                  <a:pt x="391" y="444"/>
                  <a:pt x="391" y="444"/>
                  <a:pt x="391" y="444"/>
                </a:cubicBezTo>
                <a:cubicBezTo>
                  <a:pt x="390" y="444"/>
                  <a:pt x="390" y="444"/>
                  <a:pt x="390" y="444"/>
                </a:cubicBezTo>
                <a:cubicBezTo>
                  <a:pt x="390" y="444"/>
                  <a:pt x="389" y="444"/>
                  <a:pt x="389" y="444"/>
                </a:cubicBezTo>
                <a:close/>
                <a:moveTo>
                  <a:pt x="341" y="397"/>
                </a:moveTo>
                <a:cubicBezTo>
                  <a:pt x="342" y="397"/>
                  <a:pt x="343" y="396"/>
                  <a:pt x="343" y="395"/>
                </a:cubicBezTo>
                <a:cubicBezTo>
                  <a:pt x="343" y="395"/>
                  <a:pt x="344" y="394"/>
                  <a:pt x="344" y="393"/>
                </a:cubicBezTo>
                <a:cubicBezTo>
                  <a:pt x="344" y="392"/>
                  <a:pt x="345" y="391"/>
                  <a:pt x="344" y="391"/>
                </a:cubicBezTo>
                <a:cubicBezTo>
                  <a:pt x="343" y="391"/>
                  <a:pt x="343" y="392"/>
                  <a:pt x="343" y="392"/>
                </a:cubicBezTo>
                <a:cubicBezTo>
                  <a:pt x="342" y="393"/>
                  <a:pt x="342" y="393"/>
                  <a:pt x="341" y="393"/>
                </a:cubicBezTo>
                <a:cubicBezTo>
                  <a:pt x="340" y="393"/>
                  <a:pt x="340" y="394"/>
                  <a:pt x="340" y="395"/>
                </a:cubicBezTo>
                <a:cubicBezTo>
                  <a:pt x="341" y="396"/>
                  <a:pt x="341" y="397"/>
                  <a:pt x="341" y="397"/>
                </a:cubicBezTo>
                <a:close/>
                <a:moveTo>
                  <a:pt x="321" y="264"/>
                </a:moveTo>
                <a:cubicBezTo>
                  <a:pt x="322" y="264"/>
                  <a:pt x="322" y="264"/>
                  <a:pt x="323" y="264"/>
                </a:cubicBezTo>
                <a:cubicBezTo>
                  <a:pt x="323" y="264"/>
                  <a:pt x="323" y="264"/>
                  <a:pt x="324" y="264"/>
                </a:cubicBezTo>
                <a:cubicBezTo>
                  <a:pt x="324" y="263"/>
                  <a:pt x="324" y="262"/>
                  <a:pt x="324" y="262"/>
                </a:cubicBezTo>
                <a:cubicBezTo>
                  <a:pt x="323" y="262"/>
                  <a:pt x="323" y="262"/>
                  <a:pt x="323" y="262"/>
                </a:cubicBezTo>
                <a:cubicBezTo>
                  <a:pt x="322" y="261"/>
                  <a:pt x="322" y="261"/>
                  <a:pt x="321" y="261"/>
                </a:cubicBezTo>
                <a:cubicBezTo>
                  <a:pt x="321" y="261"/>
                  <a:pt x="320" y="262"/>
                  <a:pt x="320" y="263"/>
                </a:cubicBezTo>
                <a:cubicBezTo>
                  <a:pt x="320" y="264"/>
                  <a:pt x="321" y="264"/>
                  <a:pt x="321" y="264"/>
                </a:cubicBezTo>
                <a:close/>
                <a:moveTo>
                  <a:pt x="426" y="23"/>
                </a:moveTo>
                <a:cubicBezTo>
                  <a:pt x="426" y="23"/>
                  <a:pt x="426" y="23"/>
                  <a:pt x="426" y="22"/>
                </a:cubicBezTo>
                <a:cubicBezTo>
                  <a:pt x="426" y="22"/>
                  <a:pt x="426" y="22"/>
                  <a:pt x="426" y="22"/>
                </a:cubicBezTo>
                <a:cubicBezTo>
                  <a:pt x="427" y="21"/>
                  <a:pt x="427" y="21"/>
                  <a:pt x="427" y="21"/>
                </a:cubicBezTo>
                <a:cubicBezTo>
                  <a:pt x="427" y="20"/>
                  <a:pt x="428" y="20"/>
                  <a:pt x="428" y="20"/>
                </a:cubicBezTo>
                <a:cubicBezTo>
                  <a:pt x="427" y="20"/>
                  <a:pt x="427" y="20"/>
                  <a:pt x="427" y="20"/>
                </a:cubicBezTo>
                <a:cubicBezTo>
                  <a:pt x="427" y="20"/>
                  <a:pt x="427" y="20"/>
                  <a:pt x="426" y="20"/>
                </a:cubicBezTo>
                <a:cubicBezTo>
                  <a:pt x="426" y="20"/>
                  <a:pt x="426" y="20"/>
                  <a:pt x="426" y="21"/>
                </a:cubicBezTo>
                <a:cubicBezTo>
                  <a:pt x="426" y="21"/>
                  <a:pt x="426" y="20"/>
                  <a:pt x="426" y="20"/>
                </a:cubicBezTo>
                <a:cubicBezTo>
                  <a:pt x="425" y="20"/>
                  <a:pt x="425" y="21"/>
                  <a:pt x="425" y="21"/>
                </a:cubicBezTo>
                <a:cubicBezTo>
                  <a:pt x="425" y="21"/>
                  <a:pt x="425" y="22"/>
                  <a:pt x="425" y="22"/>
                </a:cubicBezTo>
                <a:cubicBezTo>
                  <a:pt x="425" y="22"/>
                  <a:pt x="426" y="22"/>
                  <a:pt x="426" y="22"/>
                </a:cubicBezTo>
                <a:cubicBezTo>
                  <a:pt x="425" y="22"/>
                  <a:pt x="425" y="23"/>
                  <a:pt x="425" y="23"/>
                </a:cubicBezTo>
                <a:cubicBezTo>
                  <a:pt x="425" y="23"/>
                  <a:pt x="426" y="23"/>
                  <a:pt x="426" y="23"/>
                </a:cubicBezTo>
                <a:close/>
                <a:moveTo>
                  <a:pt x="503" y="50"/>
                </a:moveTo>
                <a:cubicBezTo>
                  <a:pt x="503" y="50"/>
                  <a:pt x="503" y="49"/>
                  <a:pt x="504" y="49"/>
                </a:cubicBezTo>
                <a:cubicBezTo>
                  <a:pt x="504" y="49"/>
                  <a:pt x="504" y="48"/>
                  <a:pt x="505" y="48"/>
                </a:cubicBezTo>
                <a:cubicBezTo>
                  <a:pt x="505" y="47"/>
                  <a:pt x="506" y="46"/>
                  <a:pt x="506" y="46"/>
                </a:cubicBezTo>
                <a:cubicBezTo>
                  <a:pt x="507" y="45"/>
                  <a:pt x="507" y="45"/>
                  <a:pt x="507" y="45"/>
                </a:cubicBezTo>
                <a:cubicBezTo>
                  <a:pt x="507" y="44"/>
                  <a:pt x="508" y="44"/>
                  <a:pt x="508" y="44"/>
                </a:cubicBezTo>
                <a:cubicBezTo>
                  <a:pt x="509" y="43"/>
                  <a:pt x="509" y="43"/>
                  <a:pt x="509" y="42"/>
                </a:cubicBezTo>
                <a:cubicBezTo>
                  <a:pt x="509" y="42"/>
                  <a:pt x="509" y="41"/>
                  <a:pt x="509" y="41"/>
                </a:cubicBezTo>
                <a:cubicBezTo>
                  <a:pt x="509" y="41"/>
                  <a:pt x="508" y="41"/>
                  <a:pt x="508" y="41"/>
                </a:cubicBezTo>
                <a:cubicBezTo>
                  <a:pt x="508" y="41"/>
                  <a:pt x="507" y="41"/>
                  <a:pt x="507" y="41"/>
                </a:cubicBezTo>
                <a:cubicBezTo>
                  <a:pt x="507" y="41"/>
                  <a:pt x="507" y="41"/>
                  <a:pt x="508" y="41"/>
                </a:cubicBezTo>
                <a:cubicBezTo>
                  <a:pt x="508" y="41"/>
                  <a:pt x="509" y="41"/>
                  <a:pt x="509" y="40"/>
                </a:cubicBezTo>
                <a:cubicBezTo>
                  <a:pt x="509" y="40"/>
                  <a:pt x="509" y="40"/>
                  <a:pt x="508" y="40"/>
                </a:cubicBezTo>
                <a:cubicBezTo>
                  <a:pt x="508" y="40"/>
                  <a:pt x="507" y="40"/>
                  <a:pt x="507" y="40"/>
                </a:cubicBezTo>
                <a:cubicBezTo>
                  <a:pt x="506" y="41"/>
                  <a:pt x="506" y="42"/>
                  <a:pt x="505" y="43"/>
                </a:cubicBezTo>
                <a:cubicBezTo>
                  <a:pt x="505" y="44"/>
                  <a:pt x="504" y="44"/>
                  <a:pt x="504" y="46"/>
                </a:cubicBezTo>
                <a:cubicBezTo>
                  <a:pt x="504" y="46"/>
                  <a:pt x="503" y="47"/>
                  <a:pt x="503" y="48"/>
                </a:cubicBezTo>
                <a:cubicBezTo>
                  <a:pt x="503" y="48"/>
                  <a:pt x="503" y="48"/>
                  <a:pt x="503" y="49"/>
                </a:cubicBezTo>
                <a:cubicBezTo>
                  <a:pt x="503" y="49"/>
                  <a:pt x="503" y="49"/>
                  <a:pt x="503" y="49"/>
                </a:cubicBezTo>
                <a:cubicBezTo>
                  <a:pt x="503" y="49"/>
                  <a:pt x="502" y="49"/>
                  <a:pt x="502" y="49"/>
                </a:cubicBezTo>
                <a:cubicBezTo>
                  <a:pt x="503" y="50"/>
                  <a:pt x="503" y="50"/>
                  <a:pt x="503" y="50"/>
                </a:cubicBezTo>
                <a:close/>
              </a:path>
            </a:pathLst>
          </a:custGeom>
          <a:solidFill>
            <a:schemeClr val="bg1">
              <a:lumMod val="85000"/>
            </a:schemeClr>
          </a:solidFill>
          <a:ln w="254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ru-RU"/>
          </a:p>
        </p:txBody>
      </p:sp>
      <p:sp>
        <p:nvSpPr>
          <p:cNvPr id="74" name="Text Placeholder 73"/>
          <p:cNvSpPr>
            <a:spLocks noGrp="1"/>
          </p:cNvSpPr>
          <p:nvPr>
            <p:ph type="body" sz="quarter" idx="10"/>
          </p:nvPr>
        </p:nvSpPr>
        <p:spPr/>
        <p:txBody>
          <a:bodyPr>
            <a:normAutofit lnSpcReduction="10000"/>
          </a:bodyPr>
          <a:lstStyle/>
          <a:p>
            <a:r>
              <a:rPr lang="en-US" dirty="0">
                <a:solidFill>
                  <a:srgbClr val="FF0000"/>
                </a:solidFill>
              </a:rPr>
              <a:t>IL pre-judgment interest (eff 7/1/21) ... CA MICRA &amp; PA venue rule (eff 1/1/23) ... NY wrongful death (TBD)</a:t>
            </a:r>
          </a:p>
          <a:p>
            <a:r>
              <a:rPr lang="en-US" dirty="0">
                <a:solidFill>
                  <a:srgbClr val="00B050"/>
                </a:solidFill>
              </a:rPr>
              <a:t>IA cap on non-economic damages … FL HB837</a:t>
            </a:r>
          </a:p>
        </p:txBody>
      </p:sp>
    </p:spTree>
    <p:extLst>
      <p:ext uri="{BB962C8B-B14F-4D97-AF65-F5344CB8AC3E}">
        <p14:creationId xmlns:p14="http://schemas.microsoft.com/office/powerpoint/2010/main" val="424055322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Combined ratio &gt; 100% since 2014 … driven primarily by deteriorating claims/litigation environment</a:t>
            </a:r>
            <a:endParaRPr lang="en-US" dirty="0"/>
          </a:p>
        </p:txBody>
      </p:sp>
      <p:sp>
        <p:nvSpPr>
          <p:cNvPr id="2" name="Title 1"/>
          <p:cNvSpPr>
            <a:spLocks noGrp="1"/>
          </p:cNvSpPr>
          <p:nvPr>
            <p:ph type="title"/>
          </p:nvPr>
        </p:nvSpPr>
        <p:spPr/>
        <p:txBody>
          <a:bodyPr/>
          <a:lstStyle/>
          <a:p>
            <a:r>
              <a:rPr lang="en-US" dirty="0" smtClean="0"/>
              <a:t>US HCL industry now consistently underwriting to a loss</a:t>
            </a:r>
            <a:endParaRPr lang="en-US" dirty="0"/>
          </a:p>
        </p:txBody>
      </p:sp>
      <p:graphicFrame>
        <p:nvGraphicFramePr>
          <p:cNvPr id="9" name="Content Placeholder 8"/>
          <p:cNvGraphicFramePr>
            <a:graphicFrameLocks noGrp="1"/>
          </p:cNvGraphicFramePr>
          <p:nvPr>
            <p:ph sz="quarter" idx="11"/>
            <p:extLst>
              <p:ext uri="{D42A27DB-BD31-4B8C-83A1-F6EECF244321}">
                <p14:modId xmlns:p14="http://schemas.microsoft.com/office/powerpoint/2010/main" val="3180123984"/>
              </p:ext>
            </p:extLst>
          </p:nvPr>
        </p:nvGraphicFramePr>
        <p:xfrm>
          <a:off x="723900" y="1593850"/>
          <a:ext cx="10736263" cy="4162425"/>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p:cNvSpPr>
            <a:spLocks noGrp="1"/>
          </p:cNvSpPr>
          <p:nvPr>
            <p:ph type="sldNum" sz="quarter" idx="15"/>
          </p:nvPr>
        </p:nvSpPr>
        <p:spPr/>
        <p:txBody>
          <a:bodyPr/>
          <a:lstStyle/>
          <a:p>
            <a:fld id="{DA135043-C596-1A48-8BDA-03EB29A64DF4}" type="slidenum">
              <a:rPr lang="en-US" smtClean="0"/>
              <a:pPr/>
              <a:t>17</a:t>
            </a:fld>
            <a:endParaRPr lang="en-US" dirty="0"/>
          </a:p>
        </p:txBody>
      </p:sp>
      <p:sp>
        <p:nvSpPr>
          <p:cNvPr id="13" name="Text Placeholder 12"/>
          <p:cNvSpPr>
            <a:spLocks noGrp="1"/>
          </p:cNvSpPr>
          <p:nvPr>
            <p:ph type="body" sz="quarter" idx="16"/>
          </p:nvPr>
        </p:nvSpPr>
        <p:spPr/>
        <p:txBody>
          <a:bodyPr/>
          <a:lstStyle/>
          <a:p>
            <a:r>
              <a:rPr lang="en-US" dirty="0"/>
              <a:t>Sources: AM Best Aggregate &amp; Averages, S&amp;P Global Market </a:t>
            </a:r>
            <a:r>
              <a:rPr lang="en-US" dirty="0" smtClean="0"/>
              <a:t>Intelligence. Dividends included.</a:t>
            </a:r>
            <a:endParaRPr lang="en-US" dirty="0">
              <a:solidFill>
                <a:srgbClr val="FF0000"/>
              </a:solidFill>
            </a:endParaRPr>
          </a:p>
        </p:txBody>
      </p:sp>
    </p:spTree>
    <p:extLst>
      <p:ext uri="{BB962C8B-B14F-4D97-AF65-F5344CB8AC3E}">
        <p14:creationId xmlns:p14="http://schemas.microsoft.com/office/powerpoint/2010/main" val="20771111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smtClean="0"/>
              <a:t>Combined ratio &gt; 100% since 2014 … driven primarily by deteriorating claims/litigation environment</a:t>
            </a:r>
            <a:endParaRPr lang="en-US" dirty="0"/>
          </a:p>
        </p:txBody>
      </p:sp>
      <p:sp>
        <p:nvSpPr>
          <p:cNvPr id="2" name="Title 1"/>
          <p:cNvSpPr>
            <a:spLocks noGrp="1"/>
          </p:cNvSpPr>
          <p:nvPr>
            <p:ph type="title"/>
          </p:nvPr>
        </p:nvSpPr>
        <p:spPr/>
        <p:txBody>
          <a:bodyPr/>
          <a:lstStyle/>
          <a:p>
            <a:r>
              <a:rPr lang="en-US" dirty="0" smtClean="0"/>
              <a:t>US HCL industry now consistently underwriting to a loss</a:t>
            </a:r>
            <a:endParaRPr lang="en-US" dirty="0"/>
          </a:p>
        </p:txBody>
      </p:sp>
      <p:graphicFrame>
        <p:nvGraphicFramePr>
          <p:cNvPr id="9" name="Content Placeholder 8"/>
          <p:cNvGraphicFramePr>
            <a:graphicFrameLocks noGrp="1"/>
          </p:cNvGraphicFramePr>
          <p:nvPr>
            <p:ph sz="quarter" idx="11"/>
            <p:extLst>
              <p:ext uri="{D42A27DB-BD31-4B8C-83A1-F6EECF244321}">
                <p14:modId xmlns:p14="http://schemas.microsoft.com/office/powerpoint/2010/main" val="3491525531"/>
              </p:ext>
            </p:extLst>
          </p:nvPr>
        </p:nvGraphicFramePr>
        <p:xfrm>
          <a:off x="723900" y="1593850"/>
          <a:ext cx="10736263" cy="4162425"/>
        </p:xfrm>
        <a:graphic>
          <a:graphicData uri="http://schemas.openxmlformats.org/drawingml/2006/chart">
            <c:chart xmlns:c="http://schemas.openxmlformats.org/drawingml/2006/chart" xmlns:r="http://schemas.openxmlformats.org/officeDocument/2006/relationships" r:id="rId2"/>
          </a:graphicData>
        </a:graphic>
      </p:graphicFrame>
      <p:sp>
        <p:nvSpPr>
          <p:cNvPr id="44" name="Text Placeholder 43"/>
          <p:cNvSpPr>
            <a:spLocks noGrp="1"/>
          </p:cNvSpPr>
          <p:nvPr>
            <p:ph type="body" sz="quarter" idx="12"/>
          </p:nvPr>
        </p:nvSpPr>
        <p:spPr>
          <a:xfrm>
            <a:off x="723900" y="5872381"/>
            <a:ext cx="10748963" cy="535531"/>
          </a:xfrm>
        </p:spPr>
        <p:txBody>
          <a:bodyPr anchor="t" anchorCtr="0"/>
          <a:lstStyle/>
          <a:p>
            <a:r>
              <a:rPr lang="en-US" dirty="0" smtClean="0"/>
              <a:t>Historically, industry response (premium increases &gt; loss trends) lags underwriting losses by several years … and ends at first sign of profitability</a:t>
            </a:r>
            <a:endParaRPr lang="en-US" dirty="0"/>
          </a:p>
        </p:txBody>
      </p:sp>
      <p:sp>
        <p:nvSpPr>
          <p:cNvPr id="3" name="Slide Number Placeholder 2"/>
          <p:cNvSpPr>
            <a:spLocks noGrp="1"/>
          </p:cNvSpPr>
          <p:nvPr>
            <p:ph type="sldNum" sz="quarter" idx="15"/>
          </p:nvPr>
        </p:nvSpPr>
        <p:spPr/>
        <p:txBody>
          <a:bodyPr/>
          <a:lstStyle/>
          <a:p>
            <a:fld id="{DA135043-C596-1A48-8BDA-03EB29A64DF4}" type="slidenum">
              <a:rPr lang="en-US" smtClean="0"/>
              <a:pPr/>
              <a:t>18</a:t>
            </a:fld>
            <a:endParaRPr lang="en-US" dirty="0"/>
          </a:p>
        </p:txBody>
      </p:sp>
      <p:sp>
        <p:nvSpPr>
          <p:cNvPr id="13" name="Text Placeholder 12"/>
          <p:cNvSpPr>
            <a:spLocks noGrp="1"/>
          </p:cNvSpPr>
          <p:nvPr>
            <p:ph type="body" sz="quarter" idx="16"/>
          </p:nvPr>
        </p:nvSpPr>
        <p:spPr/>
        <p:txBody>
          <a:bodyPr/>
          <a:lstStyle/>
          <a:p>
            <a:r>
              <a:rPr lang="en-US" dirty="0" smtClean="0"/>
              <a:t>Sources: AM Best Aggregate &amp; Averages, S&amp;P Global Market </a:t>
            </a:r>
            <a:r>
              <a:rPr lang="en-US" dirty="0"/>
              <a:t>Intelligence. </a:t>
            </a:r>
            <a:r>
              <a:rPr lang="en-US" dirty="0" smtClean="0"/>
              <a:t>Dividends </a:t>
            </a:r>
            <a:r>
              <a:rPr lang="en-US" dirty="0"/>
              <a:t>included.</a:t>
            </a:r>
            <a:endParaRPr lang="en-US" dirty="0"/>
          </a:p>
        </p:txBody>
      </p:sp>
    </p:spTree>
    <p:extLst>
      <p:ext uri="{BB962C8B-B14F-4D97-AF65-F5344CB8AC3E}">
        <p14:creationId xmlns:p14="http://schemas.microsoft.com/office/powerpoint/2010/main" val="586364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8"/>
          <p:cNvPicPr preferRelativeResize="0">
            <a:picLocks noChangeAspect="1"/>
          </p:cNvPicPr>
          <p:nvPr/>
        </p:nvPicPr>
        <p:blipFill>
          <a:blip r:embed="rId2"/>
          <a:stretch/>
        </p:blipFill>
        <p:spPr bwMode="auto">
          <a:xfrm>
            <a:off x="6190488" y="2104701"/>
            <a:ext cx="5285232" cy="335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07" name="Title 4"/>
          <p:cNvSpPr>
            <a:spLocks noGrp="1"/>
          </p:cNvSpPr>
          <p:nvPr>
            <p:ph type="title"/>
          </p:nvPr>
        </p:nvSpPr>
        <p:spPr/>
        <p:txBody>
          <a:bodyPr>
            <a:normAutofit/>
          </a:bodyPr>
          <a:lstStyle/>
          <a:p>
            <a:r>
              <a:rPr lang="en-US" altLang="en-US" dirty="0" smtClean="0"/>
              <a:t>Combined Ratios deteriorating countrywide and in most states</a:t>
            </a:r>
            <a:endParaRPr lang="en-US" altLang="en-US" dirty="0"/>
          </a:p>
        </p:txBody>
      </p:sp>
      <p:sp>
        <p:nvSpPr>
          <p:cNvPr id="2" name="Slide Number Placeholder 1"/>
          <p:cNvSpPr>
            <a:spLocks noGrp="1"/>
          </p:cNvSpPr>
          <p:nvPr>
            <p:ph type="sldNum" sz="quarter" idx="12"/>
          </p:nvPr>
        </p:nvSpPr>
        <p:spPr/>
        <p:txBody>
          <a:bodyPr/>
          <a:lstStyle/>
          <a:p>
            <a:fld id="{DA135043-C596-1A48-8BDA-03EB29A64DF4}" type="slidenum">
              <a:rPr lang="en-US" smtClean="0"/>
              <a:pPr/>
              <a:t>19</a:t>
            </a:fld>
            <a:endParaRPr lang="en-US" dirty="0"/>
          </a:p>
        </p:txBody>
      </p:sp>
      <p:sp>
        <p:nvSpPr>
          <p:cNvPr id="43" name="Text Placeholder 42"/>
          <p:cNvSpPr>
            <a:spLocks noGrp="1"/>
          </p:cNvSpPr>
          <p:nvPr>
            <p:ph type="body" sz="quarter" idx="14"/>
          </p:nvPr>
        </p:nvSpPr>
        <p:spPr/>
        <p:txBody>
          <a:bodyPr/>
          <a:lstStyle/>
          <a:p>
            <a:r>
              <a:rPr lang="en-US" dirty="0"/>
              <a:t>Sources: AM Best Aggregate &amp; Averages, S&amp;P Global Market Intelligence. </a:t>
            </a:r>
            <a:r>
              <a:rPr lang="en-US" dirty="0">
                <a:solidFill>
                  <a:srgbClr val="FF0000"/>
                </a:solidFill>
              </a:rPr>
              <a:t>Competitor dividends included</a:t>
            </a:r>
            <a:r>
              <a:rPr lang="en-US" dirty="0" smtClean="0">
                <a:solidFill>
                  <a:srgbClr val="FF0000"/>
                </a:solidFill>
              </a:rPr>
              <a:t>.</a:t>
            </a:r>
            <a:endParaRPr lang="en-US" dirty="0">
              <a:solidFill>
                <a:srgbClr val="FF0000"/>
              </a:solidFill>
            </a:endParaRPr>
          </a:p>
        </p:txBody>
      </p:sp>
      <p:pic>
        <p:nvPicPr>
          <p:cNvPr id="21517" name="Picture 22"/>
          <p:cNvPicPr preferRelativeResize="0">
            <a:picLocks noChangeAspect="1"/>
          </p:cNvPicPr>
          <p:nvPr/>
        </p:nvPicPr>
        <p:blipFill>
          <a:blip r:embed="rId3"/>
          <a:stretch/>
        </p:blipFill>
        <p:spPr bwMode="auto">
          <a:xfrm>
            <a:off x="2926080" y="2231136"/>
            <a:ext cx="1800849" cy="1143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21518" name="Picture 23"/>
          <p:cNvPicPr preferRelativeResize="0">
            <a:picLocks noChangeAspect="1"/>
          </p:cNvPicPr>
          <p:nvPr/>
        </p:nvPicPr>
        <p:blipFill>
          <a:blip r:embed="rId4"/>
          <a:stretch/>
        </p:blipFill>
        <p:spPr bwMode="auto">
          <a:xfrm>
            <a:off x="2926080" y="3602736"/>
            <a:ext cx="1800849" cy="1143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21519" name="Picture 27"/>
          <p:cNvPicPr preferRelativeResize="0">
            <a:picLocks noChangeAspect="1"/>
          </p:cNvPicPr>
          <p:nvPr/>
        </p:nvPicPr>
        <p:blipFill>
          <a:blip r:embed="rId5"/>
          <a:stretch/>
        </p:blipFill>
        <p:spPr bwMode="auto">
          <a:xfrm>
            <a:off x="2926599" y="4974336"/>
            <a:ext cx="1800849" cy="1143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nvGrpSpPr>
          <p:cNvPr id="9" name="Group 8"/>
          <p:cNvGrpSpPr>
            <a:grpSpLocks noChangeAspect="1"/>
          </p:cNvGrpSpPr>
          <p:nvPr/>
        </p:nvGrpSpPr>
        <p:grpSpPr>
          <a:xfrm>
            <a:off x="2926080" y="855663"/>
            <a:ext cx="1801368" cy="1143000"/>
            <a:chOff x="1232339" y="804862"/>
            <a:chExt cx="2119436" cy="1344168"/>
          </a:xfrm>
        </p:grpSpPr>
        <p:pic>
          <p:nvPicPr>
            <p:cNvPr id="21516" name="Picture 21"/>
            <p:cNvPicPr>
              <a:picLocks noChangeAspect="1"/>
            </p:cNvPicPr>
            <p:nvPr/>
          </p:nvPicPr>
          <p:blipFill>
            <a:blip r:embed="rId6"/>
            <a:srcRect/>
            <a:stretch/>
          </p:blipFill>
          <p:spPr bwMode="auto">
            <a:xfrm>
              <a:off x="1232339" y="804862"/>
              <a:ext cx="2119436" cy="134416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7" name="Freeform 6"/>
            <p:cNvSpPr/>
            <p:nvPr/>
          </p:nvSpPr>
          <p:spPr>
            <a:xfrm>
              <a:off x="3110416" y="973455"/>
              <a:ext cx="48074" cy="102178"/>
            </a:xfrm>
            <a:custGeom>
              <a:avLst/>
              <a:gdLst>
                <a:gd name="connsiteX0" fmla="*/ 6164 w 48074"/>
                <a:gd name="connsiteY0" fmla="*/ 0 h 102178"/>
                <a:gd name="connsiteX1" fmla="*/ 6164 w 48074"/>
                <a:gd name="connsiteY1" fmla="*/ 0 h 102178"/>
                <a:gd name="connsiteX2" fmla="*/ 11879 w 48074"/>
                <a:gd name="connsiteY2" fmla="*/ 17145 h 102178"/>
                <a:gd name="connsiteX3" fmla="*/ 9974 w 48074"/>
                <a:gd name="connsiteY3" fmla="*/ 49530 h 102178"/>
                <a:gd name="connsiteX4" fmla="*/ 6164 w 48074"/>
                <a:gd name="connsiteY4" fmla="*/ 60960 h 102178"/>
                <a:gd name="connsiteX5" fmla="*/ 4259 w 48074"/>
                <a:gd name="connsiteY5" fmla="*/ 66675 h 102178"/>
                <a:gd name="connsiteX6" fmla="*/ 2354 w 48074"/>
                <a:gd name="connsiteY6" fmla="*/ 72390 h 102178"/>
                <a:gd name="connsiteX7" fmla="*/ 449 w 48074"/>
                <a:gd name="connsiteY7" fmla="*/ 83820 h 102178"/>
                <a:gd name="connsiteX8" fmla="*/ 2354 w 48074"/>
                <a:gd name="connsiteY8" fmla="*/ 100965 h 102178"/>
                <a:gd name="connsiteX9" fmla="*/ 17594 w 48074"/>
                <a:gd name="connsiteY9" fmla="*/ 99060 h 102178"/>
                <a:gd name="connsiteX10" fmla="*/ 38549 w 48074"/>
                <a:gd name="connsiteY10" fmla="*/ 97155 h 102178"/>
                <a:gd name="connsiteX11" fmla="*/ 48074 w 48074"/>
                <a:gd name="connsiteY11" fmla="*/ 93345 h 102178"/>
                <a:gd name="connsiteX12" fmla="*/ 38549 w 48074"/>
                <a:gd name="connsiteY12" fmla="*/ 91440 h 102178"/>
                <a:gd name="connsiteX13" fmla="*/ 32834 w 48074"/>
                <a:gd name="connsiteY13" fmla="*/ 76200 h 102178"/>
                <a:gd name="connsiteX14" fmla="*/ 27119 w 48074"/>
                <a:gd name="connsiteY14" fmla="*/ 62865 h 102178"/>
                <a:gd name="connsiteX15" fmla="*/ 25214 w 48074"/>
                <a:gd name="connsiteY15" fmla="*/ 55245 h 102178"/>
                <a:gd name="connsiteX16" fmla="*/ 23309 w 48074"/>
                <a:gd name="connsiteY16" fmla="*/ 49530 h 102178"/>
                <a:gd name="connsiteX17" fmla="*/ 21404 w 48074"/>
                <a:gd name="connsiteY17" fmla="*/ 40005 h 102178"/>
                <a:gd name="connsiteX18" fmla="*/ 19499 w 48074"/>
                <a:gd name="connsiteY18" fmla="*/ 26670 h 102178"/>
                <a:gd name="connsiteX19" fmla="*/ 15689 w 48074"/>
                <a:gd name="connsiteY19" fmla="*/ 20955 h 102178"/>
                <a:gd name="connsiteX20" fmla="*/ 6164 w 48074"/>
                <a:gd name="connsiteY20" fmla="*/ 0 h 102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074" h="102178">
                  <a:moveTo>
                    <a:pt x="6164" y="0"/>
                  </a:moveTo>
                  <a:lnTo>
                    <a:pt x="6164" y="0"/>
                  </a:lnTo>
                  <a:cubicBezTo>
                    <a:pt x="8069" y="5715"/>
                    <a:pt x="11417" y="11139"/>
                    <a:pt x="11879" y="17145"/>
                  </a:cubicBezTo>
                  <a:cubicBezTo>
                    <a:pt x="12708" y="27927"/>
                    <a:pt x="11373" y="38807"/>
                    <a:pt x="9974" y="49530"/>
                  </a:cubicBezTo>
                  <a:cubicBezTo>
                    <a:pt x="9455" y="53512"/>
                    <a:pt x="7434" y="57150"/>
                    <a:pt x="6164" y="60960"/>
                  </a:cubicBezTo>
                  <a:lnTo>
                    <a:pt x="4259" y="66675"/>
                  </a:lnTo>
                  <a:cubicBezTo>
                    <a:pt x="3624" y="68580"/>
                    <a:pt x="2684" y="70409"/>
                    <a:pt x="2354" y="72390"/>
                  </a:cubicBezTo>
                  <a:lnTo>
                    <a:pt x="449" y="83820"/>
                  </a:lnTo>
                  <a:cubicBezTo>
                    <a:pt x="1084" y="89535"/>
                    <a:pt x="-1944" y="97145"/>
                    <a:pt x="2354" y="100965"/>
                  </a:cubicBezTo>
                  <a:cubicBezTo>
                    <a:pt x="6180" y="104366"/>
                    <a:pt x="12503" y="99596"/>
                    <a:pt x="17594" y="99060"/>
                  </a:cubicBezTo>
                  <a:cubicBezTo>
                    <a:pt x="24569" y="98326"/>
                    <a:pt x="31564" y="97790"/>
                    <a:pt x="38549" y="97155"/>
                  </a:cubicBezTo>
                  <a:cubicBezTo>
                    <a:pt x="47040" y="95032"/>
                    <a:pt x="44318" y="97101"/>
                    <a:pt x="48074" y="93345"/>
                  </a:cubicBezTo>
                  <a:lnTo>
                    <a:pt x="38549" y="91440"/>
                  </a:lnTo>
                  <a:cubicBezTo>
                    <a:pt x="36644" y="86360"/>
                    <a:pt x="34550" y="81347"/>
                    <a:pt x="32834" y="76200"/>
                  </a:cubicBezTo>
                  <a:cubicBezTo>
                    <a:pt x="28734" y="63899"/>
                    <a:pt x="33816" y="72910"/>
                    <a:pt x="27119" y="62865"/>
                  </a:cubicBezTo>
                  <a:cubicBezTo>
                    <a:pt x="26484" y="60325"/>
                    <a:pt x="25933" y="57762"/>
                    <a:pt x="25214" y="55245"/>
                  </a:cubicBezTo>
                  <a:cubicBezTo>
                    <a:pt x="24662" y="53314"/>
                    <a:pt x="23796" y="51478"/>
                    <a:pt x="23309" y="49530"/>
                  </a:cubicBezTo>
                  <a:cubicBezTo>
                    <a:pt x="22524" y="46389"/>
                    <a:pt x="21936" y="43199"/>
                    <a:pt x="21404" y="40005"/>
                  </a:cubicBezTo>
                  <a:cubicBezTo>
                    <a:pt x="20666" y="35576"/>
                    <a:pt x="20789" y="30971"/>
                    <a:pt x="19499" y="26670"/>
                  </a:cubicBezTo>
                  <a:cubicBezTo>
                    <a:pt x="18841" y="24477"/>
                    <a:pt x="16713" y="23003"/>
                    <a:pt x="15689" y="20955"/>
                  </a:cubicBezTo>
                  <a:cubicBezTo>
                    <a:pt x="14791" y="19159"/>
                    <a:pt x="7752" y="3493"/>
                    <a:pt x="6164" y="0"/>
                  </a:cubicBezTo>
                  <a:close/>
                </a:path>
              </a:pathLst>
            </a:custGeom>
            <a:solidFill>
              <a:srgbClr val="F794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grpSp>
      <p:grpSp>
        <p:nvGrpSpPr>
          <p:cNvPr id="11" name="Group 10"/>
          <p:cNvGrpSpPr/>
          <p:nvPr/>
        </p:nvGrpSpPr>
        <p:grpSpPr>
          <a:xfrm>
            <a:off x="6547104" y="5777185"/>
            <a:ext cx="4572000" cy="340151"/>
            <a:chOff x="4114800" y="5484803"/>
            <a:chExt cx="4572000" cy="340151"/>
          </a:xfrm>
        </p:grpSpPr>
        <p:sp>
          <p:nvSpPr>
            <p:cNvPr id="25" name="Rectangle 24"/>
            <p:cNvSpPr/>
            <p:nvPr/>
          </p:nvSpPr>
          <p:spPr bwMode="auto">
            <a:xfrm>
              <a:off x="4114800" y="5486400"/>
              <a:ext cx="1143000" cy="338554"/>
            </a:xfrm>
            <a:prstGeom prst="rect">
              <a:avLst/>
            </a:prstGeom>
            <a:solidFill>
              <a:srgbClr val="7DC35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defTabSz="892432" eaLnBrk="1" fontAlgn="auto" hangingPunct="1">
                <a:spcBef>
                  <a:spcPts val="0"/>
                </a:spcBef>
                <a:spcAft>
                  <a:spcPts val="0"/>
                </a:spcAft>
                <a:defRPr/>
              </a:pPr>
              <a:r>
                <a:rPr lang="en-US" sz="1200" dirty="0">
                  <a:solidFill>
                    <a:schemeClr val="tx2"/>
                  </a:solidFill>
                </a:rPr>
                <a:t>&lt; 95%</a:t>
              </a:r>
            </a:p>
          </p:txBody>
        </p:sp>
        <p:sp>
          <p:nvSpPr>
            <p:cNvPr id="27" name="Rectangle 26"/>
            <p:cNvSpPr/>
            <p:nvPr/>
          </p:nvSpPr>
          <p:spPr bwMode="auto">
            <a:xfrm>
              <a:off x="7543800" y="5484803"/>
              <a:ext cx="1143000" cy="338554"/>
            </a:xfrm>
            <a:prstGeom prst="rect">
              <a:avLst/>
            </a:prstGeom>
            <a:solidFill>
              <a:srgbClr val="D2223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defTabSz="892432" eaLnBrk="1" fontAlgn="auto" hangingPunct="1">
                <a:spcBef>
                  <a:spcPts val="0"/>
                </a:spcBef>
                <a:spcAft>
                  <a:spcPts val="0"/>
                </a:spcAft>
                <a:defRPr/>
              </a:pPr>
              <a:r>
                <a:rPr lang="en-US" sz="1200" dirty="0">
                  <a:solidFill>
                    <a:schemeClr val="bg1"/>
                  </a:solidFill>
                </a:rPr>
                <a:t>&gt; 115%</a:t>
              </a:r>
            </a:p>
          </p:txBody>
        </p:sp>
        <p:sp>
          <p:nvSpPr>
            <p:cNvPr id="29" name="Rectangle 28"/>
            <p:cNvSpPr/>
            <p:nvPr/>
          </p:nvSpPr>
          <p:spPr bwMode="auto">
            <a:xfrm>
              <a:off x="5257800" y="5486400"/>
              <a:ext cx="1143000" cy="338554"/>
            </a:xfrm>
            <a:prstGeom prst="rect">
              <a:avLst/>
            </a:prstGeom>
            <a:solidFill>
              <a:srgbClr val="F6ED08"/>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defTabSz="892432" eaLnBrk="1" fontAlgn="auto" hangingPunct="1">
                <a:spcBef>
                  <a:spcPts val="0"/>
                </a:spcBef>
                <a:spcAft>
                  <a:spcPts val="0"/>
                </a:spcAft>
                <a:defRPr/>
              </a:pPr>
              <a:r>
                <a:rPr lang="en-US" sz="1200" dirty="0">
                  <a:solidFill>
                    <a:schemeClr val="tx2"/>
                  </a:solidFill>
                </a:rPr>
                <a:t>95-105%</a:t>
              </a:r>
            </a:p>
          </p:txBody>
        </p:sp>
        <p:sp>
          <p:nvSpPr>
            <p:cNvPr id="30" name="Rectangle 29"/>
            <p:cNvSpPr/>
            <p:nvPr/>
          </p:nvSpPr>
          <p:spPr bwMode="auto">
            <a:xfrm>
              <a:off x="6400800" y="5486400"/>
              <a:ext cx="1143000" cy="338554"/>
            </a:xfrm>
            <a:prstGeom prst="rect">
              <a:avLst/>
            </a:prstGeom>
            <a:solidFill>
              <a:srgbClr val="F7941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defTabSz="892432" eaLnBrk="1" fontAlgn="auto" hangingPunct="1">
                <a:spcBef>
                  <a:spcPts val="0"/>
                </a:spcBef>
                <a:spcAft>
                  <a:spcPts val="0"/>
                </a:spcAft>
                <a:defRPr/>
              </a:pPr>
              <a:r>
                <a:rPr lang="en-US" sz="1200" dirty="0">
                  <a:solidFill>
                    <a:schemeClr val="tx2"/>
                  </a:solidFill>
                </a:rPr>
                <a:t>105-115%</a:t>
              </a:r>
            </a:p>
          </p:txBody>
        </p:sp>
      </p:grpSp>
      <p:cxnSp>
        <p:nvCxnSpPr>
          <p:cNvPr id="56" name="Straight Connector 55"/>
          <p:cNvCxnSpPr/>
          <p:nvPr/>
        </p:nvCxnSpPr>
        <p:spPr>
          <a:xfrm flipH="1">
            <a:off x="6096000" y="859535"/>
            <a:ext cx="0" cy="5349240"/>
          </a:xfrm>
          <a:prstGeom prst="line">
            <a:avLst/>
          </a:prstGeom>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727075" y="855663"/>
            <a:ext cx="1828800" cy="1143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lnSpc>
                <a:spcPct val="90000"/>
              </a:lnSpc>
            </a:pPr>
            <a:r>
              <a:rPr lang="en-US" dirty="0" smtClean="0">
                <a:solidFill>
                  <a:schemeClr val="tx2"/>
                </a:solidFill>
              </a:rPr>
              <a:t>2012-13: 91%</a:t>
            </a:r>
          </a:p>
        </p:txBody>
      </p:sp>
      <p:sp>
        <p:nvSpPr>
          <p:cNvPr id="61" name="Rectangle 60"/>
          <p:cNvSpPr/>
          <p:nvPr/>
        </p:nvSpPr>
        <p:spPr>
          <a:xfrm>
            <a:off x="727075" y="2231136"/>
            <a:ext cx="1828800" cy="1143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lnSpc>
                <a:spcPct val="90000"/>
              </a:lnSpc>
            </a:pPr>
            <a:r>
              <a:rPr lang="en-US" dirty="0" smtClean="0">
                <a:solidFill>
                  <a:schemeClr val="tx2"/>
                </a:solidFill>
              </a:rPr>
              <a:t>2014-15: 103%</a:t>
            </a:r>
          </a:p>
        </p:txBody>
      </p:sp>
      <p:sp>
        <p:nvSpPr>
          <p:cNvPr id="62" name="Rectangle 61"/>
          <p:cNvSpPr/>
          <p:nvPr/>
        </p:nvSpPr>
        <p:spPr>
          <a:xfrm>
            <a:off x="727075" y="3602736"/>
            <a:ext cx="1828800" cy="1143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lnSpc>
                <a:spcPct val="90000"/>
              </a:lnSpc>
            </a:pPr>
            <a:r>
              <a:rPr lang="en-US" dirty="0" smtClean="0">
                <a:solidFill>
                  <a:schemeClr val="tx2"/>
                </a:solidFill>
              </a:rPr>
              <a:t>2016-17: 104%</a:t>
            </a:r>
          </a:p>
        </p:txBody>
      </p:sp>
      <p:sp>
        <p:nvSpPr>
          <p:cNvPr id="63" name="Rectangle 62"/>
          <p:cNvSpPr/>
          <p:nvPr/>
        </p:nvSpPr>
        <p:spPr>
          <a:xfrm>
            <a:off x="727075" y="4974336"/>
            <a:ext cx="1828800" cy="1143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lnSpc>
                <a:spcPct val="90000"/>
              </a:lnSpc>
            </a:pPr>
            <a:r>
              <a:rPr lang="en-US" dirty="0" smtClean="0">
                <a:solidFill>
                  <a:schemeClr val="tx2"/>
                </a:solidFill>
              </a:rPr>
              <a:t>2018-19: 108%</a:t>
            </a:r>
          </a:p>
        </p:txBody>
      </p:sp>
      <p:sp>
        <p:nvSpPr>
          <p:cNvPr id="64" name="Rectangle 63"/>
          <p:cNvSpPr/>
          <p:nvPr/>
        </p:nvSpPr>
        <p:spPr>
          <a:xfrm>
            <a:off x="7918704" y="859536"/>
            <a:ext cx="1828800" cy="1143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lnSpc>
                <a:spcPct val="90000"/>
              </a:lnSpc>
            </a:pPr>
            <a:r>
              <a:rPr lang="en-US" dirty="0" smtClean="0">
                <a:solidFill>
                  <a:schemeClr val="tx2"/>
                </a:solidFill>
              </a:rPr>
              <a:t>2020-21: 111%</a:t>
            </a:r>
          </a:p>
        </p:txBody>
      </p:sp>
    </p:spTree>
    <p:extLst>
      <p:ext uri="{BB962C8B-B14F-4D97-AF65-F5344CB8AC3E}">
        <p14:creationId xmlns:p14="http://schemas.microsoft.com/office/powerpoint/2010/main" val="3613177494"/>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ss Severity – topics for consideration</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a:t>
            </a:fld>
            <a:endParaRPr lang="en-US" dirty="0"/>
          </a:p>
        </p:txBody>
      </p:sp>
      <p:sp>
        <p:nvSpPr>
          <p:cNvPr id="4" name="Content Placeholder 3"/>
          <p:cNvSpPr>
            <a:spLocks noGrp="1"/>
          </p:cNvSpPr>
          <p:nvPr>
            <p:ph idx="1"/>
          </p:nvPr>
        </p:nvSpPr>
        <p:spPr/>
        <p:txBody>
          <a:bodyPr/>
          <a:lstStyle/>
          <a:p>
            <a:r>
              <a:rPr lang="en-US" dirty="0" smtClean="0"/>
              <a:t>Introduction</a:t>
            </a:r>
          </a:p>
          <a:p>
            <a:endParaRPr lang="en-US" dirty="0"/>
          </a:p>
          <a:p>
            <a:r>
              <a:rPr lang="en-US" dirty="0" smtClean="0"/>
              <a:t>Loss data</a:t>
            </a:r>
            <a:endParaRPr lang="en-US" dirty="0"/>
          </a:p>
          <a:p>
            <a:r>
              <a:rPr lang="en-US" dirty="0" smtClean="0"/>
              <a:t>Verdicts</a:t>
            </a:r>
          </a:p>
          <a:p>
            <a:r>
              <a:rPr lang="en-US" dirty="0" smtClean="0"/>
              <a:t>Social inflation</a:t>
            </a:r>
          </a:p>
          <a:p>
            <a:r>
              <a:rPr lang="en-US" dirty="0" smtClean="0"/>
              <a:t>Economic inflation</a:t>
            </a:r>
          </a:p>
          <a:p>
            <a:r>
              <a:rPr lang="en-US" dirty="0"/>
              <a:t>COVID-19 impact</a:t>
            </a:r>
          </a:p>
          <a:p>
            <a:r>
              <a:rPr lang="en-US" dirty="0" smtClean="0"/>
              <a:t>Tort reform</a:t>
            </a:r>
          </a:p>
          <a:p>
            <a:r>
              <a:rPr lang="en-US" dirty="0" smtClean="0"/>
              <a:t>Industry results</a:t>
            </a:r>
          </a:p>
          <a:p>
            <a:endParaRPr lang="en-US" dirty="0"/>
          </a:p>
          <a:p>
            <a:r>
              <a:rPr lang="en-US" dirty="0" smtClean="0"/>
              <a:t>HCLMarketUpdate.com</a:t>
            </a:r>
          </a:p>
          <a:p>
            <a:endParaRPr lang="en-US" dirty="0" smtClean="0"/>
          </a:p>
          <a:p>
            <a:r>
              <a:rPr lang="en-US" dirty="0" smtClean="0"/>
              <a:t>Call to action</a:t>
            </a:r>
          </a:p>
        </p:txBody>
      </p:sp>
    </p:spTree>
    <p:extLst>
      <p:ext uri="{BB962C8B-B14F-4D97-AF65-F5344CB8AC3E}">
        <p14:creationId xmlns:p14="http://schemas.microsoft.com/office/powerpoint/2010/main" val="382123177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aring effect" of severity</a:t>
            </a:r>
            <a:endParaRPr lang="en-US" dirty="0"/>
          </a:p>
        </p:txBody>
      </p:sp>
      <p:graphicFrame>
        <p:nvGraphicFramePr>
          <p:cNvPr id="11" name="Content Placeholder 10"/>
          <p:cNvGraphicFramePr>
            <a:graphicFrameLocks noGrp="1"/>
          </p:cNvGraphicFramePr>
          <p:nvPr>
            <p:ph sz="half" idx="1"/>
            <p:extLst>
              <p:ext uri="{D42A27DB-BD31-4B8C-83A1-F6EECF244321}">
                <p14:modId xmlns:p14="http://schemas.microsoft.com/office/powerpoint/2010/main" val="2967061039"/>
              </p:ext>
            </p:extLst>
          </p:nvPr>
        </p:nvGraphicFramePr>
        <p:xfrm>
          <a:off x="727075" y="1601788"/>
          <a:ext cx="5281613" cy="41608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Content Placeholder 13"/>
          <p:cNvGraphicFramePr>
            <a:graphicFrameLocks noGrp="1"/>
          </p:cNvGraphicFramePr>
          <p:nvPr>
            <p:ph sz="half" idx="2"/>
            <p:extLst>
              <p:ext uri="{D42A27DB-BD31-4B8C-83A1-F6EECF244321}">
                <p14:modId xmlns:p14="http://schemas.microsoft.com/office/powerpoint/2010/main" val="1736769338"/>
              </p:ext>
            </p:extLst>
          </p:nvPr>
        </p:nvGraphicFramePr>
        <p:xfrm>
          <a:off x="6191250" y="1601788"/>
          <a:ext cx="5281613" cy="4160837"/>
        </p:xfrm>
        <a:graphic>
          <a:graphicData uri="http://schemas.openxmlformats.org/drawingml/2006/chart">
            <c:chart xmlns:c="http://schemas.openxmlformats.org/drawingml/2006/chart" xmlns:r="http://schemas.openxmlformats.org/officeDocument/2006/relationships" r:id="rId3"/>
          </a:graphicData>
        </a:graphic>
      </p:graphicFrame>
      <p:sp>
        <p:nvSpPr>
          <p:cNvPr id="5" name="Slide Number Placeholder 4"/>
          <p:cNvSpPr>
            <a:spLocks noGrp="1"/>
          </p:cNvSpPr>
          <p:nvPr>
            <p:ph type="sldNum" sz="quarter" idx="12"/>
          </p:nvPr>
        </p:nvSpPr>
        <p:spPr/>
        <p:txBody>
          <a:bodyPr/>
          <a:lstStyle/>
          <a:p>
            <a:fld id="{DA135043-C596-1A48-8BDA-03EB29A64DF4}" type="slidenum">
              <a:rPr lang="en-US" smtClean="0"/>
              <a:t>20</a:t>
            </a:fld>
            <a:endParaRPr lang="en-US" dirty="0"/>
          </a:p>
        </p:txBody>
      </p:sp>
      <p:sp>
        <p:nvSpPr>
          <p:cNvPr id="6" name="Text Placeholder 5"/>
          <p:cNvSpPr>
            <a:spLocks noGrp="1"/>
          </p:cNvSpPr>
          <p:nvPr>
            <p:ph type="body" sz="quarter" idx="13"/>
          </p:nvPr>
        </p:nvSpPr>
        <p:spPr/>
        <p:txBody>
          <a:bodyPr>
            <a:normAutofit fontScale="92500" lnSpcReduction="20000"/>
          </a:bodyPr>
          <a:lstStyle/>
          <a:p>
            <a:r>
              <a:rPr lang="en-US" dirty="0"/>
              <a:t>"Because hospital claims are capped by either the per claim retention or aggregate retention, this gearing effect suppresses the inflationary impact of claims. That means that although inflation appears to be moderate as experienced by the end client, inflation is actually occurring at a higher level for the excess underwriter."</a:t>
            </a:r>
          </a:p>
        </p:txBody>
      </p:sp>
      <p:sp>
        <p:nvSpPr>
          <p:cNvPr id="7" name="Text Placeholder 6"/>
          <p:cNvSpPr>
            <a:spLocks noGrp="1"/>
          </p:cNvSpPr>
          <p:nvPr>
            <p:ph type="body" sz="quarter" idx="14"/>
          </p:nvPr>
        </p:nvSpPr>
        <p:spPr>
          <a:xfrm>
            <a:off x="723900" y="5897003"/>
            <a:ext cx="10748963" cy="313932"/>
          </a:xfrm>
        </p:spPr>
        <p:txBody>
          <a:bodyPr/>
          <a:lstStyle/>
          <a:p>
            <a:r>
              <a:rPr lang="en-US" dirty="0"/>
              <a:t>"Underwriters continue to try to quantify the resulting impact."</a:t>
            </a:r>
          </a:p>
        </p:txBody>
      </p:sp>
      <p:sp>
        <p:nvSpPr>
          <p:cNvPr id="8" name="Text Placeholder 7"/>
          <p:cNvSpPr>
            <a:spLocks noGrp="1"/>
          </p:cNvSpPr>
          <p:nvPr>
            <p:ph type="body" sz="quarter" idx="16"/>
          </p:nvPr>
        </p:nvSpPr>
        <p:spPr/>
        <p:txBody>
          <a:bodyPr/>
          <a:lstStyle/>
          <a:p>
            <a:r>
              <a:rPr lang="en-US" dirty="0" smtClean="0"/>
              <a:t>Source: </a:t>
            </a:r>
            <a:r>
              <a:rPr lang="en-US" dirty="0"/>
              <a:t>Beazley article: "Hospital Professional Liability: Today’s Challenges and Tomorrow’s </a:t>
            </a:r>
            <a:r>
              <a:rPr lang="en-US" dirty="0" smtClean="0"/>
              <a:t>Implications"</a:t>
            </a:r>
            <a:endParaRPr lang="en-US" dirty="0"/>
          </a:p>
        </p:txBody>
      </p:sp>
    </p:spTree>
    <p:extLst>
      <p:ext uri="{BB962C8B-B14F-4D97-AF65-F5344CB8AC3E}">
        <p14:creationId xmlns:p14="http://schemas.microsoft.com/office/powerpoint/2010/main" val="23224687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CLMarketUpdate.com</a:t>
            </a:r>
            <a:endParaRPr lang="en-US" dirty="0"/>
          </a:p>
        </p:txBody>
      </p:sp>
      <p:sp>
        <p:nvSpPr>
          <p:cNvPr id="4" name="Content Placeholder 3"/>
          <p:cNvSpPr>
            <a:spLocks noGrp="1"/>
          </p:cNvSpPr>
          <p:nvPr>
            <p:ph sz="half" idx="1"/>
          </p:nvPr>
        </p:nvSpPr>
        <p:spPr/>
        <p:txBody>
          <a:bodyPr>
            <a:normAutofit fontScale="85000" lnSpcReduction="20000"/>
          </a:bodyPr>
          <a:lstStyle/>
          <a:p>
            <a:pPr marL="0" indent="0">
              <a:buNone/>
            </a:pPr>
            <a:endParaRPr lang="en-US" b="1" dirty="0" smtClean="0"/>
          </a:p>
          <a:p>
            <a:pPr marL="0" indent="0">
              <a:buNone/>
            </a:pPr>
            <a:endParaRPr lang="en-US" b="1" dirty="0" smtClean="0"/>
          </a:p>
          <a:p>
            <a:pPr marL="0" indent="0">
              <a:buNone/>
            </a:pPr>
            <a:endParaRPr lang="en-US" b="1" dirty="0" smtClean="0"/>
          </a:p>
          <a:p>
            <a:pPr marL="0" indent="0">
              <a:buNone/>
            </a:pPr>
            <a:endParaRPr lang="en-US" b="1" dirty="0" smtClean="0"/>
          </a:p>
          <a:p>
            <a:pPr marL="0" indent="0">
              <a:buNone/>
            </a:pPr>
            <a:endParaRPr lang="en-US" b="1" dirty="0"/>
          </a:p>
          <a:p>
            <a:pPr marL="0" indent="0">
              <a:buNone/>
            </a:pPr>
            <a:endParaRPr lang="en-US" b="1" dirty="0" smtClean="0"/>
          </a:p>
          <a:p>
            <a:pPr marL="0" indent="0">
              <a:buNone/>
            </a:pPr>
            <a:endParaRPr lang="en-US" b="1" dirty="0"/>
          </a:p>
          <a:p>
            <a:pPr marL="0" indent="0">
              <a:buNone/>
            </a:pPr>
            <a:endParaRPr lang="en-US" b="1" dirty="0" smtClean="0"/>
          </a:p>
          <a:p>
            <a:pPr marL="0" indent="0">
              <a:buNone/>
            </a:pPr>
            <a:endParaRPr lang="en-US" b="1" dirty="0"/>
          </a:p>
          <a:p>
            <a:pPr marL="0" indent="0">
              <a:buNone/>
            </a:pPr>
            <a:endParaRPr lang="en-US" b="1" dirty="0" smtClean="0"/>
          </a:p>
          <a:p>
            <a:pPr marL="0" indent="0">
              <a:buNone/>
            </a:pPr>
            <a:endParaRPr lang="en-US" b="1" dirty="0" smtClean="0"/>
          </a:p>
          <a:p>
            <a:pPr marL="0" indent="0">
              <a:buNone/>
            </a:pPr>
            <a:r>
              <a:rPr lang="en-US" b="1" dirty="0" smtClean="0"/>
              <a:t>Claims Data:</a:t>
            </a:r>
          </a:p>
          <a:p>
            <a:pPr marL="0" indent="0">
              <a:buNone/>
            </a:pPr>
            <a:r>
              <a:rPr lang="en-US" dirty="0" smtClean="0"/>
              <a:t>Physicians &amp; Surgeons and Additional Professionals</a:t>
            </a:r>
          </a:p>
          <a:p>
            <a:r>
              <a:rPr lang="en-US" dirty="0" smtClean="0"/>
              <a:t>Specialty-specific reports</a:t>
            </a:r>
          </a:p>
          <a:p>
            <a:r>
              <a:rPr lang="en-US" dirty="0" smtClean="0"/>
              <a:t>Severity trend | Indemnity </a:t>
            </a:r>
            <a:r>
              <a:rPr lang="en-US" dirty="0"/>
              <a:t>payment </a:t>
            </a:r>
            <a:r>
              <a:rPr lang="en-US" dirty="0" smtClean="0"/>
              <a:t>ranges | Paid claims &amp; severity trends</a:t>
            </a:r>
            <a:endParaRPr lang="en-US" dirty="0"/>
          </a:p>
          <a:p>
            <a:r>
              <a:rPr lang="en-US" dirty="0" smtClean="0"/>
              <a:t>Filters: states | years | allegations | outcomes</a:t>
            </a:r>
          </a:p>
          <a:p>
            <a:pPr marL="0" indent="0">
              <a:buNone/>
            </a:pPr>
            <a:r>
              <a:rPr lang="en-US" dirty="0" smtClean="0"/>
              <a:t>Large Verdicts</a:t>
            </a:r>
          </a:p>
          <a:p>
            <a:r>
              <a:rPr lang="en-US" dirty="0" smtClean="0"/>
              <a:t>Count by year | Map | List (downloadable)</a:t>
            </a:r>
          </a:p>
        </p:txBody>
      </p:sp>
      <p:sp>
        <p:nvSpPr>
          <p:cNvPr id="8" name="Content Placeholder 7"/>
          <p:cNvSpPr>
            <a:spLocks noGrp="1"/>
          </p:cNvSpPr>
          <p:nvPr>
            <p:ph sz="half" idx="2"/>
          </p:nvPr>
        </p:nvSpPr>
        <p:spPr>
          <a:ln>
            <a:solidFill>
              <a:schemeClr val="tx2"/>
            </a:solidFill>
          </a:ln>
        </p:spPr>
        <p:txBody>
          <a:bodyPr>
            <a:normAutofit fontScale="85000" lnSpcReduction="20000"/>
          </a:bodyPr>
          <a:lstStyle/>
          <a:p>
            <a:pPr marL="0" indent="0">
              <a:buNone/>
            </a:pPr>
            <a:endParaRPr lang="en-US" b="1" dirty="0" smtClean="0"/>
          </a:p>
          <a:p>
            <a:pPr marL="0" indent="0">
              <a:buNone/>
            </a:pPr>
            <a:endParaRPr lang="en-US" b="1" dirty="0" smtClean="0"/>
          </a:p>
          <a:p>
            <a:pPr marL="0" indent="0">
              <a:buNone/>
            </a:pPr>
            <a:endParaRPr lang="en-US" b="1" dirty="0" smtClean="0"/>
          </a:p>
          <a:p>
            <a:pPr marL="0" indent="0">
              <a:buNone/>
            </a:pPr>
            <a:endParaRPr lang="en-US" b="1" dirty="0" smtClean="0"/>
          </a:p>
          <a:p>
            <a:pPr marL="0" indent="0">
              <a:buNone/>
            </a:pPr>
            <a:endParaRPr lang="en-US" b="1" dirty="0"/>
          </a:p>
          <a:p>
            <a:pPr marL="0" indent="0">
              <a:buNone/>
            </a:pPr>
            <a:endParaRPr lang="en-US" b="1" dirty="0" smtClean="0"/>
          </a:p>
          <a:p>
            <a:pPr marL="0" indent="0">
              <a:buNone/>
            </a:pPr>
            <a:endParaRPr lang="en-US" b="1" dirty="0"/>
          </a:p>
          <a:p>
            <a:pPr marL="0" indent="0">
              <a:buNone/>
            </a:pPr>
            <a:endParaRPr lang="en-US" b="1" dirty="0" smtClean="0"/>
          </a:p>
          <a:p>
            <a:pPr marL="0" indent="0">
              <a:buNone/>
            </a:pPr>
            <a:endParaRPr lang="en-US" b="1" dirty="0"/>
          </a:p>
          <a:p>
            <a:pPr marL="0" indent="0">
              <a:buNone/>
            </a:pPr>
            <a:endParaRPr lang="en-US" b="1" dirty="0" smtClean="0"/>
          </a:p>
          <a:p>
            <a:pPr marL="0" indent="0">
              <a:buNone/>
            </a:pPr>
            <a:endParaRPr lang="en-US" b="1" dirty="0"/>
          </a:p>
          <a:p>
            <a:pPr marL="0" indent="0">
              <a:buNone/>
            </a:pPr>
            <a:r>
              <a:rPr lang="en-US" b="1" dirty="0" smtClean="0"/>
              <a:t>Market Data:</a:t>
            </a:r>
          </a:p>
          <a:p>
            <a:pPr marL="0" indent="0">
              <a:buNone/>
            </a:pPr>
            <a:r>
              <a:rPr lang="en-US" dirty="0" smtClean="0"/>
              <a:t>Direct Written Premium by industry &amp; segment</a:t>
            </a:r>
          </a:p>
          <a:p>
            <a:pPr marL="0" indent="0">
              <a:buNone/>
            </a:pPr>
            <a:r>
              <a:rPr lang="en-US" dirty="0" smtClean="0"/>
              <a:t>Combined Ratios by states &amp; insurers</a:t>
            </a:r>
          </a:p>
          <a:p>
            <a:pPr marL="0" indent="0">
              <a:buNone/>
            </a:pPr>
            <a:r>
              <a:rPr lang="en-US" dirty="0" smtClean="0"/>
              <a:t>AM Best Ratings by insurer</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1</a:t>
            </a:fld>
            <a:endParaRPr lang="en-US" dirty="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17920" y="877824"/>
            <a:ext cx="5248656" cy="2667979"/>
          </a:xfrm>
          <a:prstGeom prst="rect">
            <a:avLst/>
          </a:prstGeom>
        </p:spPr>
      </p:pic>
      <p:pic>
        <p:nvPicPr>
          <p:cNvPr id="10" name="Picture 9">
            <a:extLst>
              <a:ext uri="{FF2B5EF4-FFF2-40B4-BE49-F238E27FC236}">
                <a16:creationId xmlns:a16="http://schemas.microsoft.com/office/drawing/2014/main" id="{1DE82C32-F79F-064D-551C-237A9EEEF658}"/>
              </a:ext>
            </a:extLst>
          </p:cNvPr>
          <p:cNvPicPr>
            <a:picLocks noChangeAspect="1"/>
          </p:cNvPicPr>
          <p:nvPr/>
        </p:nvPicPr>
        <p:blipFill>
          <a:blip r:embed="rId3"/>
          <a:stretch>
            <a:fillRect/>
          </a:stretch>
        </p:blipFill>
        <p:spPr>
          <a:xfrm>
            <a:off x="726569" y="851049"/>
            <a:ext cx="4973609" cy="2856170"/>
          </a:xfrm>
          <a:prstGeom prst="rect">
            <a:avLst/>
          </a:prstGeom>
        </p:spPr>
      </p:pic>
    </p:spTree>
    <p:extLst>
      <p:ext uri="{BB962C8B-B14F-4D97-AF65-F5344CB8AC3E}">
        <p14:creationId xmlns:p14="http://schemas.microsoft.com/office/powerpoint/2010/main" val="330889347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l to action</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2</a:t>
            </a:fld>
            <a:endParaRPr lang="en-US" dirty="0"/>
          </a:p>
        </p:txBody>
      </p:sp>
      <p:sp>
        <p:nvSpPr>
          <p:cNvPr id="4" name="Content Placeholder 3"/>
          <p:cNvSpPr>
            <a:spLocks noGrp="1"/>
          </p:cNvSpPr>
          <p:nvPr>
            <p:ph idx="1"/>
          </p:nvPr>
        </p:nvSpPr>
        <p:spPr/>
        <p:txBody>
          <a:bodyPr/>
          <a:lstStyle/>
          <a:p>
            <a:pPr marL="0" indent="0">
              <a:buNone/>
            </a:pPr>
            <a:r>
              <a:rPr lang="en-US" dirty="0" smtClean="0"/>
              <a:t>Let's get creative … new ways to drive down the value of claims</a:t>
            </a:r>
          </a:p>
          <a:p>
            <a:endParaRPr lang="en-US" dirty="0"/>
          </a:p>
          <a:p>
            <a:r>
              <a:rPr lang="en-US" dirty="0" smtClean="0"/>
              <a:t>Trying more cases</a:t>
            </a:r>
          </a:p>
          <a:p>
            <a:endParaRPr lang="en-US" dirty="0" smtClean="0"/>
          </a:p>
          <a:p>
            <a:r>
              <a:rPr lang="en-US" dirty="0" smtClean="0"/>
              <a:t>Resolving internal stakeholder disputes (insureds, self-insurers, primary/lead insurers, reinsurers/excess insurers … incl. co-defendants)</a:t>
            </a:r>
          </a:p>
          <a:p>
            <a:pPr lvl="1"/>
            <a:r>
              <a:rPr lang="en-US" dirty="0" smtClean="0"/>
              <a:t>Take to trial or settle?</a:t>
            </a:r>
          </a:p>
          <a:p>
            <a:pPr lvl="1"/>
            <a:r>
              <a:rPr lang="en-US" dirty="0" smtClean="0"/>
              <a:t>If settle, for how much?</a:t>
            </a:r>
          </a:p>
          <a:p>
            <a:pPr lvl="1"/>
            <a:r>
              <a:rPr lang="en-US" dirty="0" smtClean="0"/>
              <a:t>Reasonable people can disagree reasonably – ensure those disagreements don't work to plaintiff's advantage</a:t>
            </a:r>
          </a:p>
          <a:p>
            <a:endParaRPr lang="en-US" dirty="0"/>
          </a:p>
          <a:p>
            <a:r>
              <a:rPr lang="en-US" dirty="0" smtClean="0"/>
              <a:t>Other ideas?</a:t>
            </a:r>
            <a:endParaRPr lang="en-US" dirty="0"/>
          </a:p>
        </p:txBody>
      </p:sp>
    </p:spTree>
    <p:extLst>
      <p:ext uri="{BB962C8B-B14F-4D97-AF65-F5344CB8AC3E}">
        <p14:creationId xmlns:p14="http://schemas.microsoft.com/office/powerpoint/2010/main" val="28568570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7625F53-4EB1-D54A-8BA9-11AF9849D612}"/>
              </a:ext>
            </a:extLst>
          </p:cNvPr>
          <p:cNvSpPr>
            <a:spLocks noGrp="1"/>
          </p:cNvSpPr>
          <p:nvPr>
            <p:ph type="body" sz="quarter" idx="10"/>
          </p:nvPr>
        </p:nvSpPr>
        <p:spPr>
          <a:xfrm>
            <a:off x="414732" y="864051"/>
            <a:ext cx="11575986" cy="618760"/>
          </a:xfrm>
        </p:spPr>
        <p:txBody>
          <a:bodyPr>
            <a:normAutofit/>
          </a:bodyPr>
          <a:lstStyle/>
          <a:p>
            <a:r>
              <a:rPr lang="en-US" dirty="0"/>
              <a:t>Since 1899 – more than 2x the length of our nearest US competitors – </a:t>
            </a:r>
            <a:r>
              <a:rPr lang="en-US" dirty="0" err="1"/>
              <a:t>MedPro</a:t>
            </a:r>
            <a:r>
              <a:rPr lang="en-US" dirty="0"/>
              <a:t> has been providing industry-leading </a:t>
            </a:r>
            <a:r>
              <a:rPr lang="en-US" dirty="0">
                <a:solidFill>
                  <a:srgbClr val="002F6B"/>
                </a:solidFill>
              </a:rPr>
              <a:t>healthcare liability insurance solutions to healthcare providers … today we do all that and much more</a:t>
            </a:r>
          </a:p>
        </p:txBody>
      </p:sp>
      <p:sp>
        <p:nvSpPr>
          <p:cNvPr id="3" name="Title 2">
            <a:extLst>
              <a:ext uri="{FF2B5EF4-FFF2-40B4-BE49-F238E27FC236}">
                <a16:creationId xmlns:a16="http://schemas.microsoft.com/office/drawing/2014/main" id="{3F304F4C-3EEB-9741-BC53-8E448EB19C22}"/>
              </a:ext>
            </a:extLst>
          </p:cNvPr>
          <p:cNvSpPr>
            <a:spLocks noGrp="1"/>
          </p:cNvSpPr>
          <p:nvPr>
            <p:ph type="title"/>
          </p:nvPr>
        </p:nvSpPr>
        <p:spPr/>
        <p:txBody>
          <a:bodyPr/>
          <a:lstStyle/>
          <a:p>
            <a:r>
              <a:rPr lang="en-US" dirty="0"/>
              <a:t>MedPro evolution: 2005 (only US &amp; “first dollar docs”) to today</a:t>
            </a:r>
          </a:p>
        </p:txBody>
      </p:sp>
      <p:sp>
        <p:nvSpPr>
          <p:cNvPr id="9" name="Text Placeholder 8">
            <a:extLst>
              <a:ext uri="{FF2B5EF4-FFF2-40B4-BE49-F238E27FC236}">
                <a16:creationId xmlns:a16="http://schemas.microsoft.com/office/drawing/2014/main" id="{B6F5629E-2E3E-F84A-ABB1-C860B1C19C11}"/>
              </a:ext>
            </a:extLst>
          </p:cNvPr>
          <p:cNvSpPr>
            <a:spLocks noGrp="1"/>
          </p:cNvSpPr>
          <p:nvPr>
            <p:ph type="body" sz="quarter" idx="15"/>
          </p:nvPr>
        </p:nvSpPr>
        <p:spPr/>
        <p:txBody>
          <a:bodyPr/>
          <a:lstStyle/>
          <a:p>
            <a:endParaRPr lang="en-US"/>
          </a:p>
        </p:txBody>
      </p:sp>
      <p:pic>
        <p:nvPicPr>
          <p:cNvPr id="6" name="Picture 5">
            <a:extLst>
              <a:ext uri="{FF2B5EF4-FFF2-40B4-BE49-F238E27FC236}">
                <a16:creationId xmlns:a16="http://schemas.microsoft.com/office/drawing/2014/main" id="{2983CE34-4D0B-A941-89A7-0C84CA1878EE}"/>
              </a:ext>
            </a:extLst>
          </p:cNvPr>
          <p:cNvPicPr>
            <a:picLocks noChangeAspect="1"/>
          </p:cNvPicPr>
          <p:nvPr/>
        </p:nvPicPr>
        <p:blipFill>
          <a:blip r:embed="rId2"/>
          <a:stretch>
            <a:fillRect/>
          </a:stretch>
        </p:blipFill>
        <p:spPr>
          <a:xfrm>
            <a:off x="5445374" y="2032001"/>
            <a:ext cx="6666652" cy="4301066"/>
          </a:xfrm>
          <a:prstGeom prst="rect">
            <a:avLst/>
          </a:prstGeom>
        </p:spPr>
      </p:pic>
      <p:pic>
        <p:nvPicPr>
          <p:cNvPr id="8" name="Picture 7">
            <a:extLst>
              <a:ext uri="{FF2B5EF4-FFF2-40B4-BE49-F238E27FC236}">
                <a16:creationId xmlns:a16="http://schemas.microsoft.com/office/drawing/2014/main" id="{23CAE071-2A07-E14D-ABE1-4C946400B6AD}"/>
              </a:ext>
            </a:extLst>
          </p:cNvPr>
          <p:cNvPicPr>
            <a:picLocks noChangeAspect="1"/>
          </p:cNvPicPr>
          <p:nvPr/>
        </p:nvPicPr>
        <p:blipFill>
          <a:blip r:embed="rId3"/>
          <a:stretch>
            <a:fillRect/>
          </a:stretch>
        </p:blipFill>
        <p:spPr>
          <a:xfrm>
            <a:off x="414730" y="2626725"/>
            <a:ext cx="4309998" cy="2693749"/>
          </a:xfrm>
          <a:prstGeom prst="rect">
            <a:avLst/>
          </a:prstGeom>
        </p:spPr>
      </p:pic>
      <p:cxnSp>
        <p:nvCxnSpPr>
          <p:cNvPr id="10" name="Straight Arrow Connector 9">
            <a:extLst>
              <a:ext uri="{FF2B5EF4-FFF2-40B4-BE49-F238E27FC236}">
                <a16:creationId xmlns:a16="http://schemas.microsoft.com/office/drawing/2014/main" id="{B193E133-1F26-7640-9C8C-CE4C8A2841F6}"/>
              </a:ext>
            </a:extLst>
          </p:cNvPr>
          <p:cNvCxnSpPr/>
          <p:nvPr/>
        </p:nvCxnSpPr>
        <p:spPr>
          <a:xfrm>
            <a:off x="4842415" y="3973600"/>
            <a:ext cx="771119"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15BC877-70D3-544A-A45C-66676C31EB93}"/>
              </a:ext>
            </a:extLst>
          </p:cNvPr>
          <p:cNvSpPr txBox="1"/>
          <p:nvPr/>
        </p:nvSpPr>
        <p:spPr>
          <a:xfrm>
            <a:off x="2121748" y="1847164"/>
            <a:ext cx="1432560" cy="341632"/>
          </a:xfrm>
          <a:prstGeom prst="rect">
            <a:avLst/>
          </a:prstGeom>
          <a:noFill/>
        </p:spPr>
        <p:txBody>
          <a:bodyPr wrap="square" rtlCol="0">
            <a:spAutoFit/>
          </a:bodyPr>
          <a:lstStyle/>
          <a:p>
            <a:pPr algn="ctr">
              <a:lnSpc>
                <a:spcPct val="90000"/>
              </a:lnSpc>
            </a:pPr>
            <a:r>
              <a:rPr lang="en-US" sz="1800" dirty="0">
                <a:solidFill>
                  <a:schemeClr val="tx2"/>
                </a:solidFill>
              </a:rPr>
              <a:t>2005</a:t>
            </a:r>
          </a:p>
        </p:txBody>
      </p:sp>
      <p:sp>
        <p:nvSpPr>
          <p:cNvPr id="13" name="TextBox 12">
            <a:extLst>
              <a:ext uri="{FF2B5EF4-FFF2-40B4-BE49-F238E27FC236}">
                <a16:creationId xmlns:a16="http://schemas.microsoft.com/office/drawing/2014/main" id="{ECEB1412-441F-6F42-81FA-7F7CA15AB219}"/>
              </a:ext>
            </a:extLst>
          </p:cNvPr>
          <p:cNvSpPr txBox="1"/>
          <p:nvPr/>
        </p:nvSpPr>
        <p:spPr>
          <a:xfrm>
            <a:off x="8442960" y="1884434"/>
            <a:ext cx="1432560" cy="341632"/>
          </a:xfrm>
          <a:prstGeom prst="rect">
            <a:avLst/>
          </a:prstGeom>
          <a:noFill/>
        </p:spPr>
        <p:txBody>
          <a:bodyPr wrap="square" rtlCol="0">
            <a:spAutoFit/>
          </a:bodyPr>
          <a:lstStyle/>
          <a:p>
            <a:pPr algn="ctr">
              <a:lnSpc>
                <a:spcPct val="90000"/>
              </a:lnSpc>
            </a:pPr>
            <a:r>
              <a:rPr lang="en-US" sz="1800" dirty="0">
                <a:solidFill>
                  <a:schemeClr val="tx2"/>
                </a:solidFill>
              </a:rPr>
              <a:t>Today</a:t>
            </a:r>
          </a:p>
        </p:txBody>
      </p:sp>
      <p:sp>
        <p:nvSpPr>
          <p:cNvPr id="2" name="Slide Number Placeholder 1">
            <a:extLst>
              <a:ext uri="{FF2B5EF4-FFF2-40B4-BE49-F238E27FC236}">
                <a16:creationId xmlns:a16="http://schemas.microsoft.com/office/drawing/2014/main" id="{37D5BAA2-3962-5E44-8FFB-51D31E3BE1B5}"/>
              </a:ext>
            </a:extLst>
          </p:cNvPr>
          <p:cNvSpPr>
            <a:spLocks noGrp="1"/>
          </p:cNvSpPr>
          <p:nvPr>
            <p:ph type="sldNum" sz="quarter" idx="14"/>
          </p:nvPr>
        </p:nvSpPr>
        <p:spPr/>
        <p:txBody>
          <a:bodyPr/>
          <a:lstStyle/>
          <a:p>
            <a:fld id="{DA135043-C596-1A48-8BDA-03EB29A64DF4}" type="slidenum">
              <a:rPr lang="en-US" smtClean="0"/>
              <a:pPr/>
              <a:t>3</a:t>
            </a:fld>
            <a:endParaRPr lang="en-US" dirty="0"/>
          </a:p>
        </p:txBody>
      </p:sp>
      <p:sp>
        <p:nvSpPr>
          <p:cNvPr id="5" name="Rectangle 4">
            <a:extLst>
              <a:ext uri="{FF2B5EF4-FFF2-40B4-BE49-F238E27FC236}">
                <a16:creationId xmlns:a16="http://schemas.microsoft.com/office/drawing/2014/main" id="{F672AF5A-1EBF-5147-9228-CEDC3FBFEA3D}"/>
              </a:ext>
            </a:extLst>
          </p:cNvPr>
          <p:cNvSpPr/>
          <p:nvPr/>
        </p:nvSpPr>
        <p:spPr>
          <a:xfrm>
            <a:off x="10878207" y="5034455"/>
            <a:ext cx="1233819" cy="4729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7" name="TextBox 6">
            <a:extLst>
              <a:ext uri="{FF2B5EF4-FFF2-40B4-BE49-F238E27FC236}">
                <a16:creationId xmlns:a16="http://schemas.microsoft.com/office/drawing/2014/main" id="{5CA5967D-332B-DA49-8F29-220AC87E8F95}"/>
              </a:ext>
            </a:extLst>
          </p:cNvPr>
          <p:cNvSpPr txBox="1"/>
          <p:nvPr/>
        </p:nvSpPr>
        <p:spPr>
          <a:xfrm>
            <a:off x="10687105" y="5362840"/>
            <a:ext cx="1454535" cy="168508"/>
          </a:xfrm>
          <a:prstGeom prst="rect">
            <a:avLst/>
          </a:prstGeom>
          <a:noFill/>
        </p:spPr>
        <p:txBody>
          <a:bodyPr wrap="square" rtlCol="0">
            <a:spAutoFit/>
          </a:bodyPr>
          <a:lstStyle/>
          <a:p>
            <a:pPr algn="ctr">
              <a:lnSpc>
                <a:spcPct val="90000"/>
              </a:lnSpc>
            </a:pPr>
            <a:r>
              <a:rPr lang="en-US" sz="550" b="1" dirty="0">
                <a:solidFill>
                  <a:srgbClr val="004560"/>
                </a:solidFill>
              </a:rPr>
              <a:t>MEDPRO INTERNATIONAL</a:t>
            </a:r>
          </a:p>
        </p:txBody>
      </p:sp>
    </p:spTree>
    <p:extLst>
      <p:ext uri="{BB962C8B-B14F-4D97-AF65-F5344CB8AC3E}">
        <p14:creationId xmlns:p14="http://schemas.microsoft.com/office/powerpoint/2010/main" val="17468538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5FC91F-DB87-6A4C-81A4-67BFC453F42B}"/>
              </a:ext>
            </a:extLst>
          </p:cNvPr>
          <p:cNvSpPr>
            <a:spLocks noGrp="1"/>
          </p:cNvSpPr>
          <p:nvPr>
            <p:ph type="body" sz="quarter" idx="10"/>
          </p:nvPr>
        </p:nvSpPr>
        <p:spPr/>
        <p:txBody>
          <a:bodyPr>
            <a:noAutofit/>
          </a:bodyPr>
          <a:lstStyle/>
          <a:p>
            <a:r>
              <a:rPr lang="en-US" sz="1800" dirty="0" err="1"/>
              <a:t>MedPro</a:t>
            </a:r>
            <a:r>
              <a:rPr lang="en-US" sz="1800" dirty="0"/>
              <a:t> is one of 60+ business units within Berkshire ...</a:t>
            </a:r>
          </a:p>
          <a:p>
            <a:r>
              <a:rPr lang="en-US" sz="1800" dirty="0"/>
              <a:t>... and Warren asks us all to “run the business as if it’s your family’s only asset for 100 years”</a:t>
            </a:r>
          </a:p>
        </p:txBody>
      </p:sp>
      <p:sp>
        <p:nvSpPr>
          <p:cNvPr id="4" name="Title 3"/>
          <p:cNvSpPr>
            <a:spLocks noGrp="1"/>
          </p:cNvSpPr>
          <p:nvPr>
            <p:ph type="title"/>
          </p:nvPr>
        </p:nvSpPr>
        <p:spPr>
          <a:xfrm>
            <a:off x="414731" y="141306"/>
            <a:ext cx="11531084" cy="709743"/>
          </a:xfrm>
        </p:spPr>
        <p:txBody>
          <a:bodyPr>
            <a:normAutofit/>
          </a:bodyPr>
          <a:lstStyle/>
          <a:p>
            <a:r>
              <a:rPr lang="en-US" dirty="0"/>
              <a:t>Berkshire Hathaway provides unrivaled stability</a:t>
            </a:r>
          </a:p>
        </p:txBody>
      </p:sp>
      <p:sp>
        <p:nvSpPr>
          <p:cNvPr id="7" name="Text Placeholder 6">
            <a:extLst>
              <a:ext uri="{FF2B5EF4-FFF2-40B4-BE49-F238E27FC236}">
                <a16:creationId xmlns:a16="http://schemas.microsoft.com/office/drawing/2014/main" id="{0C7DB22F-3F4B-FA41-A64B-32C47CFFE20E}"/>
              </a:ext>
            </a:extLst>
          </p:cNvPr>
          <p:cNvSpPr>
            <a:spLocks noGrp="1"/>
          </p:cNvSpPr>
          <p:nvPr>
            <p:ph type="body" sz="quarter" idx="15"/>
          </p:nvPr>
        </p:nvSpPr>
        <p:spPr/>
        <p:txBody>
          <a:bodyPr/>
          <a:lstStyle/>
          <a:p>
            <a:r>
              <a:rPr lang="en-US" dirty="0"/>
              <a:t>Investments as of 09/01/2022</a:t>
            </a:r>
          </a:p>
        </p:txBody>
      </p:sp>
      <p:sp>
        <p:nvSpPr>
          <p:cNvPr id="3" name="Slide Number Placeholder 2">
            <a:extLst>
              <a:ext uri="{FF2B5EF4-FFF2-40B4-BE49-F238E27FC236}">
                <a16:creationId xmlns:a16="http://schemas.microsoft.com/office/drawing/2014/main" id="{438CD647-9F95-424D-8213-3A82F7AFBC9A}"/>
              </a:ext>
            </a:extLst>
          </p:cNvPr>
          <p:cNvSpPr>
            <a:spLocks noGrp="1"/>
          </p:cNvSpPr>
          <p:nvPr>
            <p:ph type="sldNum" sz="quarter" idx="14"/>
          </p:nvPr>
        </p:nvSpPr>
        <p:spPr/>
        <p:txBody>
          <a:bodyPr/>
          <a:lstStyle/>
          <a:p>
            <a:pPr marL="0" marR="0" lvl="0" indent="0" algn="ctr" defTabSz="892432" rtl="0" eaLnBrk="1" fontAlgn="auto" latinLnBrk="0" hangingPunct="1">
              <a:lnSpc>
                <a:spcPct val="100000"/>
              </a:lnSpc>
              <a:spcBef>
                <a:spcPts val="0"/>
              </a:spcBef>
              <a:spcAft>
                <a:spcPts val="0"/>
              </a:spcAft>
              <a:buClrTx/>
              <a:buSzTx/>
              <a:buFontTx/>
              <a:buNone/>
              <a:tabLst/>
              <a:defRPr/>
            </a:pPr>
            <a:fld id="{DA135043-C596-1A48-8BDA-03EB29A64DF4}" type="slidenum">
              <a:rPr kumimoji="0" lang="en-US" sz="1200" b="0" i="0" u="none" strike="noStrike" kern="1200" cap="none" spc="0" normalizeH="0" baseline="0" noProof="0" smtClean="0">
                <a:ln>
                  <a:noFill/>
                </a:ln>
                <a:solidFill>
                  <a:srgbClr val="002F6B"/>
                </a:solidFill>
                <a:effectLst/>
                <a:uLnTx/>
                <a:uFillTx/>
                <a:latin typeface="Arial"/>
                <a:ea typeface="+mn-ea"/>
                <a:cs typeface="+mn-cs"/>
              </a:rPr>
              <a:pPr marL="0" marR="0" lvl="0" indent="0" algn="ctr" defTabSz="89243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002F6B"/>
              </a:solidFill>
              <a:effectLst/>
              <a:uLnTx/>
              <a:uFillTx/>
              <a:latin typeface="Arial"/>
              <a:ea typeface="+mn-ea"/>
              <a:cs typeface="+mn-cs"/>
            </a:endParaRPr>
          </a:p>
        </p:txBody>
      </p:sp>
      <p:sp>
        <p:nvSpPr>
          <p:cNvPr id="19" name="TextBox 18">
            <a:extLst>
              <a:ext uri="{FF2B5EF4-FFF2-40B4-BE49-F238E27FC236}">
                <a16:creationId xmlns:a16="http://schemas.microsoft.com/office/drawing/2014/main" id="{EB6747EA-7345-3F98-F9F2-06011A8FE869}"/>
              </a:ext>
            </a:extLst>
          </p:cNvPr>
          <p:cNvSpPr txBox="1"/>
          <p:nvPr/>
        </p:nvSpPr>
        <p:spPr>
          <a:xfrm>
            <a:off x="305172" y="1796491"/>
            <a:ext cx="2791149" cy="323165"/>
          </a:xfrm>
          <a:prstGeom prst="rect">
            <a:avLst/>
          </a:prstGeom>
          <a:noFill/>
        </p:spPr>
        <p:txBody>
          <a:bodyPr wrap="none" rtlCol="0">
            <a:spAutoFit/>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2F6B"/>
                </a:solidFill>
                <a:effectLst/>
                <a:uLnTx/>
                <a:uFillTx/>
                <a:latin typeface="Arial"/>
                <a:ea typeface="Tahoma" charset="0"/>
                <a:cs typeface="Tahoma" charset="0"/>
              </a:rPr>
              <a:t>~50 NON-INSURANCE SUBS</a:t>
            </a:r>
          </a:p>
        </p:txBody>
      </p:sp>
      <p:sp>
        <p:nvSpPr>
          <p:cNvPr id="20" name="TextBox 19">
            <a:extLst>
              <a:ext uri="{FF2B5EF4-FFF2-40B4-BE49-F238E27FC236}">
                <a16:creationId xmlns:a16="http://schemas.microsoft.com/office/drawing/2014/main" id="{11888880-930E-765E-B692-5AC08FEE0B60}"/>
              </a:ext>
            </a:extLst>
          </p:cNvPr>
          <p:cNvSpPr txBox="1"/>
          <p:nvPr/>
        </p:nvSpPr>
        <p:spPr>
          <a:xfrm>
            <a:off x="9044937" y="1829502"/>
            <a:ext cx="2124299" cy="323165"/>
          </a:xfrm>
          <a:prstGeom prst="rect">
            <a:avLst/>
          </a:prstGeom>
          <a:noFill/>
        </p:spPr>
        <p:txBody>
          <a:bodyPr wrap="none" rtlCol="0">
            <a:spAutoFit/>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2F6B"/>
                </a:solidFill>
                <a:effectLst/>
                <a:uLnTx/>
                <a:uFillTx/>
                <a:latin typeface="Arial"/>
                <a:ea typeface="Tahoma" charset="0"/>
                <a:cs typeface="Tahoma" charset="0"/>
              </a:rPr>
              <a:t>INVESTMENTS &gt; $1B</a:t>
            </a:r>
          </a:p>
        </p:txBody>
      </p:sp>
      <p:sp>
        <p:nvSpPr>
          <p:cNvPr id="21" name="Rectangle 20">
            <a:extLst>
              <a:ext uri="{FF2B5EF4-FFF2-40B4-BE49-F238E27FC236}">
                <a16:creationId xmlns:a16="http://schemas.microsoft.com/office/drawing/2014/main" id="{9EC0EC5E-AA70-1430-E1B8-5EF0B8EF0529}"/>
              </a:ext>
            </a:extLst>
          </p:cNvPr>
          <p:cNvSpPr/>
          <p:nvPr/>
        </p:nvSpPr>
        <p:spPr>
          <a:xfrm>
            <a:off x="5105795" y="2783384"/>
            <a:ext cx="1812177" cy="2400657"/>
          </a:xfrm>
          <a:prstGeom prst="rect">
            <a:avLst/>
          </a:prstGeom>
        </p:spPr>
        <p:txBody>
          <a:bodyPr wrap="square">
            <a:spAutoFit/>
          </a:bodyPr>
          <a:lstStyle/>
          <a:p>
            <a:pPr marL="0" marR="0" lvl="0" indent="0" algn="ctr" defTabSz="914172" rtl="0" eaLnBrk="1" fontAlgn="auto" latinLnBrk="0" hangingPunct="1">
              <a:lnSpc>
                <a:spcPts val="15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Trebuchet MS" charset="0"/>
                <a:cs typeface="Trebuchet MS" charset="0"/>
              </a:rPr>
              <a:t>Alleghany</a:t>
            </a:r>
          </a:p>
          <a:p>
            <a:pPr marL="0" marR="0" lvl="0" indent="0" algn="ctr" defTabSz="914172" rtl="0" eaLnBrk="1" fontAlgn="auto" latinLnBrk="0" hangingPunct="1">
              <a:lnSpc>
                <a:spcPts val="15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Trebuchet MS" charset="0"/>
                <a:cs typeface="Trebuchet MS" charset="0"/>
              </a:rPr>
              <a:t>BH Guard</a:t>
            </a:r>
          </a:p>
          <a:p>
            <a:pPr marL="0" marR="0" lvl="0" indent="0" algn="ctr" defTabSz="914172" rtl="0" eaLnBrk="1" fontAlgn="auto" latinLnBrk="0" hangingPunct="1">
              <a:lnSpc>
                <a:spcPts val="15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Trebuchet MS" charset="0"/>
                <a:cs typeface="Trebuchet MS" charset="0"/>
              </a:rPr>
              <a:t>BH </a:t>
            </a:r>
            <a:r>
              <a:rPr kumimoji="0" lang="en-US" sz="1000" b="0" i="0" u="none" strike="noStrike" kern="1200" cap="none" spc="0" normalizeH="0" baseline="0" noProof="0" dirty="0" err="1">
                <a:ln>
                  <a:noFill/>
                </a:ln>
                <a:solidFill>
                  <a:srgbClr val="002F6B"/>
                </a:solidFill>
                <a:effectLst/>
                <a:uLnTx/>
                <a:uFillTx/>
                <a:latin typeface="Arial"/>
                <a:ea typeface="Trebuchet MS" charset="0"/>
                <a:cs typeface="Trebuchet MS" charset="0"/>
              </a:rPr>
              <a:t>Homestate</a:t>
            </a:r>
            <a:r>
              <a:rPr kumimoji="0" lang="en-US" sz="1000" b="0" i="0" u="none" strike="noStrike" kern="1200" cap="none" spc="0" normalizeH="0" baseline="0" noProof="0" dirty="0">
                <a:ln>
                  <a:noFill/>
                </a:ln>
                <a:solidFill>
                  <a:srgbClr val="002F6B"/>
                </a:solidFill>
                <a:effectLst/>
                <a:uLnTx/>
                <a:uFillTx/>
                <a:latin typeface="Arial"/>
                <a:ea typeface="Trebuchet MS" charset="0"/>
                <a:cs typeface="Trebuchet MS" charset="0"/>
              </a:rPr>
              <a:t> Companies</a:t>
            </a:r>
          </a:p>
          <a:p>
            <a:pPr marL="0" marR="0" lvl="0" indent="0" algn="ctr" defTabSz="914172" rtl="0" eaLnBrk="1" fontAlgn="auto" latinLnBrk="0" hangingPunct="1">
              <a:lnSpc>
                <a:spcPts val="15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Trebuchet MS" charset="0"/>
                <a:cs typeface="Trebuchet MS" charset="0"/>
              </a:rPr>
              <a:t>BH Reinsurance Group</a:t>
            </a:r>
          </a:p>
          <a:p>
            <a:pPr marL="0" marR="0" lvl="0" indent="0" algn="ctr" defTabSz="914172" rtl="0" eaLnBrk="1" fontAlgn="auto" latinLnBrk="0" hangingPunct="1">
              <a:lnSpc>
                <a:spcPts val="15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Trebuchet MS" charset="0"/>
                <a:cs typeface="Trebuchet MS" charset="0"/>
              </a:rPr>
              <a:t>BH Specialty Insurance</a:t>
            </a:r>
          </a:p>
          <a:p>
            <a:pPr marL="0" marR="0" lvl="0" indent="0" algn="ctr" defTabSz="914172" rtl="0" eaLnBrk="1" fontAlgn="auto" latinLnBrk="0" hangingPunct="1">
              <a:lnSpc>
                <a:spcPts val="15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Trebuchet MS" charset="0"/>
                <a:cs typeface="Trebuchet MS" charset="0"/>
              </a:rPr>
              <a:t>Central States Indemnity </a:t>
            </a:r>
          </a:p>
          <a:p>
            <a:pPr marL="0" marR="0" lvl="0" indent="0" algn="ctr" defTabSz="914172" rtl="0" eaLnBrk="1" fontAlgn="auto" latinLnBrk="0" hangingPunct="1">
              <a:lnSpc>
                <a:spcPts val="15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Trebuchet MS" charset="0"/>
                <a:cs typeface="Trebuchet MS" charset="0"/>
              </a:rPr>
              <a:t>GEICO</a:t>
            </a:r>
          </a:p>
          <a:p>
            <a:pPr marL="0" marR="0" lvl="0" indent="0" algn="ctr" defTabSz="914172" rtl="0" eaLnBrk="1" fontAlgn="auto" latinLnBrk="0" hangingPunct="1">
              <a:lnSpc>
                <a:spcPts val="15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2F6B"/>
                </a:solidFill>
                <a:effectLst/>
                <a:uLnTx/>
                <a:uFillTx/>
                <a:latin typeface="Arial"/>
                <a:ea typeface="Trebuchet MS" charset="0"/>
                <a:cs typeface="Trebuchet MS" charset="0"/>
              </a:rPr>
              <a:t>GenRe</a:t>
            </a:r>
            <a:endParaRPr kumimoji="0" lang="en-US" sz="1000" b="0" i="0" u="none" strike="noStrike" kern="1200" cap="none" spc="0" normalizeH="0" baseline="0" noProof="0" dirty="0">
              <a:ln>
                <a:noFill/>
              </a:ln>
              <a:solidFill>
                <a:srgbClr val="002F6B"/>
              </a:solidFill>
              <a:effectLst/>
              <a:uLnTx/>
              <a:uFillTx/>
              <a:latin typeface="Arial"/>
              <a:ea typeface="Trebuchet MS" charset="0"/>
              <a:cs typeface="Trebuchet MS" charset="0"/>
            </a:endParaRPr>
          </a:p>
          <a:p>
            <a:pPr marL="0" marR="0" lvl="0" indent="0" algn="ctr" defTabSz="914172"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02F6B"/>
                </a:solidFill>
                <a:effectLst/>
                <a:uLnTx/>
                <a:uFillTx/>
                <a:latin typeface="Arial"/>
                <a:ea typeface="Trebuchet MS" charset="0"/>
                <a:cs typeface="Trebuchet MS" charset="0"/>
              </a:rPr>
              <a:t>MedPro</a:t>
            </a:r>
            <a:endParaRPr kumimoji="0" lang="en-US" sz="1400" b="1" i="0" u="none" strike="noStrike" kern="1200" cap="none" spc="0" normalizeH="0" baseline="0" noProof="0" dirty="0">
              <a:ln>
                <a:noFill/>
              </a:ln>
              <a:solidFill>
                <a:srgbClr val="002F6B"/>
              </a:solidFill>
              <a:effectLst/>
              <a:uLnTx/>
              <a:uFillTx/>
              <a:latin typeface="Arial"/>
              <a:ea typeface="Trebuchet MS" charset="0"/>
              <a:cs typeface="Trebuchet MS" charset="0"/>
            </a:endParaRPr>
          </a:p>
          <a:p>
            <a:pPr marL="0" marR="0" lvl="0" indent="0" algn="ctr" defTabSz="914172" rtl="0" eaLnBrk="1" fontAlgn="auto" latinLnBrk="0" hangingPunct="1">
              <a:lnSpc>
                <a:spcPts val="15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F6B"/>
                </a:solidFill>
                <a:effectLst/>
                <a:uLnTx/>
                <a:uFillTx/>
                <a:latin typeface="Arial"/>
                <a:ea typeface="Trebuchet MS" charset="0"/>
                <a:cs typeface="Trebuchet MS" charset="0"/>
              </a:rPr>
              <a:t>MLMIC</a:t>
            </a:r>
          </a:p>
          <a:p>
            <a:pPr marL="0" marR="0" lvl="0" indent="0" algn="ctr" defTabSz="914172" rtl="0" eaLnBrk="1" fontAlgn="auto" latinLnBrk="0" hangingPunct="1">
              <a:lnSpc>
                <a:spcPts val="15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Trebuchet MS" charset="0"/>
                <a:cs typeface="Trebuchet MS" charset="0"/>
              </a:rPr>
              <a:t>National Indemnity Primary </a:t>
            </a:r>
          </a:p>
          <a:p>
            <a:pPr marL="0" marR="0" lvl="0" indent="0" algn="ctr" defTabSz="914172" rtl="0" eaLnBrk="1" fontAlgn="auto" latinLnBrk="0" hangingPunct="1">
              <a:lnSpc>
                <a:spcPts val="15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Trebuchet MS" charset="0"/>
                <a:cs typeface="Trebuchet MS" charset="0"/>
              </a:rPr>
              <a:t>United States Liability</a:t>
            </a:r>
          </a:p>
        </p:txBody>
      </p:sp>
      <p:cxnSp>
        <p:nvCxnSpPr>
          <p:cNvPr id="22" name="Straight Connector 21">
            <a:extLst>
              <a:ext uri="{FF2B5EF4-FFF2-40B4-BE49-F238E27FC236}">
                <a16:creationId xmlns:a16="http://schemas.microsoft.com/office/drawing/2014/main" id="{9207899A-D849-39DC-E6E2-C5DBD33A14D5}"/>
              </a:ext>
            </a:extLst>
          </p:cNvPr>
          <p:cNvCxnSpPr>
            <a:cxnSpLocks/>
          </p:cNvCxnSpPr>
          <p:nvPr/>
        </p:nvCxnSpPr>
        <p:spPr>
          <a:xfrm>
            <a:off x="7636796" y="1915541"/>
            <a:ext cx="0" cy="3342447"/>
          </a:xfrm>
          <a:prstGeom prst="line">
            <a:avLst/>
          </a:prstGeom>
          <a:ln w="6350">
            <a:solidFill>
              <a:srgbClr val="57889B"/>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3610BAF-030D-8CDE-28F7-50459B096513}"/>
              </a:ext>
            </a:extLst>
          </p:cNvPr>
          <p:cNvCxnSpPr>
            <a:cxnSpLocks/>
          </p:cNvCxnSpPr>
          <p:nvPr/>
        </p:nvCxnSpPr>
        <p:spPr>
          <a:xfrm>
            <a:off x="4557883" y="1875669"/>
            <a:ext cx="0" cy="3382319"/>
          </a:xfrm>
          <a:prstGeom prst="line">
            <a:avLst/>
          </a:prstGeom>
          <a:ln w="6350">
            <a:solidFill>
              <a:srgbClr val="57889B"/>
            </a:solidFill>
            <a:prstDash val="dash"/>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FF9F74E5-6491-D1B9-EC0F-D9114AA817A3}"/>
              </a:ext>
            </a:extLst>
          </p:cNvPr>
          <p:cNvSpPr/>
          <p:nvPr/>
        </p:nvSpPr>
        <p:spPr>
          <a:xfrm>
            <a:off x="256092" y="2272811"/>
            <a:ext cx="1234702" cy="2554545"/>
          </a:xfrm>
          <a:prstGeom prst="rect">
            <a:avLst/>
          </a:prstGeom>
        </p:spPr>
        <p:txBody>
          <a:bodyPr wrap="square">
            <a:spAutoFit/>
          </a:bodyPr>
          <a:lstStyle/>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Acme Brick</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AHP</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Ben Bridge</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Benjamin Moore</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BH Automotive</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BH Energy</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BNSF</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2F6B"/>
                </a:solidFill>
                <a:effectLst/>
                <a:uLnTx/>
                <a:uFillTx/>
                <a:latin typeface="Arial"/>
                <a:ea typeface="+mn-ea"/>
                <a:cs typeface="+mn-cs"/>
              </a:rPr>
              <a:t>Borsheims</a:t>
            </a:r>
            <a:endParaRPr kumimoji="0" lang="en-US" sz="1000" b="0" i="0" u="none" strike="noStrike" kern="1200" cap="none" spc="0" normalizeH="0" baseline="0" noProof="0" dirty="0">
              <a:ln>
                <a:noFill/>
              </a:ln>
              <a:solidFill>
                <a:srgbClr val="002F6B"/>
              </a:solidFill>
              <a:effectLst/>
              <a:uLnTx/>
              <a:uFillTx/>
              <a:latin typeface="Arial"/>
              <a:ea typeface="+mn-ea"/>
              <a:cs typeface="+mn-cs"/>
            </a:endParaRP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Brooks</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Business Wire</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Charter Brokerage</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Clayton Homes</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CORT</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CTB</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Dairy Queen</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2F6B"/>
                </a:solidFill>
                <a:effectLst/>
                <a:uLnTx/>
                <a:uFillTx/>
                <a:latin typeface="Arial"/>
                <a:ea typeface="+mn-ea"/>
                <a:cs typeface="+mn-cs"/>
              </a:rPr>
              <a:t>Detlev</a:t>
            </a:r>
            <a:r>
              <a:rPr kumimoji="0" lang="en-US" sz="1000" b="0" i="0" u="none" strike="noStrike" kern="1200" cap="none" spc="0" normalizeH="0" baseline="0" noProof="0" dirty="0">
                <a:ln>
                  <a:noFill/>
                </a:ln>
                <a:solidFill>
                  <a:srgbClr val="002F6B"/>
                </a:solidFill>
                <a:effectLst/>
                <a:uLnTx/>
                <a:uFillTx/>
                <a:latin typeface="Arial"/>
                <a:ea typeface="+mn-ea"/>
                <a:cs typeface="+mn-cs"/>
              </a:rPr>
              <a:t> Louis</a:t>
            </a:r>
          </a:p>
        </p:txBody>
      </p:sp>
      <p:sp>
        <p:nvSpPr>
          <p:cNvPr id="27" name="Rectangle 26">
            <a:extLst>
              <a:ext uri="{FF2B5EF4-FFF2-40B4-BE49-F238E27FC236}">
                <a16:creationId xmlns:a16="http://schemas.microsoft.com/office/drawing/2014/main" id="{E2F67493-12A4-85C6-0885-ED67552E9528}"/>
              </a:ext>
            </a:extLst>
          </p:cNvPr>
          <p:cNvSpPr/>
          <p:nvPr/>
        </p:nvSpPr>
        <p:spPr>
          <a:xfrm>
            <a:off x="1401306" y="2272242"/>
            <a:ext cx="1519213" cy="2554545"/>
          </a:xfrm>
          <a:prstGeom prst="rect">
            <a:avLst/>
          </a:prstGeom>
        </p:spPr>
        <p:txBody>
          <a:bodyPr wrap="square">
            <a:spAutoFit/>
          </a:bodyPr>
          <a:lstStyle/>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Duracell</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2F6B"/>
                </a:solidFill>
                <a:effectLst/>
                <a:uLnTx/>
                <a:uFillTx/>
                <a:latin typeface="Arial"/>
                <a:ea typeface="+mn-ea"/>
                <a:cs typeface="+mn-cs"/>
              </a:rPr>
              <a:t>Fechheimer</a:t>
            </a:r>
            <a:endParaRPr kumimoji="0" lang="en-US" sz="1000" b="0" i="0" u="none" strike="noStrike" kern="1200" cap="none" spc="0" normalizeH="0" baseline="0" noProof="0" dirty="0">
              <a:ln>
                <a:noFill/>
              </a:ln>
              <a:solidFill>
                <a:srgbClr val="002F6B"/>
              </a:solidFill>
              <a:effectLst/>
              <a:uLnTx/>
              <a:uFillTx/>
              <a:latin typeface="Arial"/>
              <a:ea typeface="+mn-ea"/>
              <a:cs typeface="+mn-cs"/>
            </a:endParaRP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2F6B"/>
                </a:solidFill>
                <a:effectLst/>
                <a:uLnTx/>
                <a:uFillTx/>
                <a:latin typeface="Arial"/>
                <a:ea typeface="+mn-ea"/>
                <a:cs typeface="+mn-cs"/>
              </a:rPr>
              <a:t>FlightSafety</a:t>
            </a:r>
            <a:endParaRPr kumimoji="0" lang="en-US" sz="1000" b="0" i="0" u="none" strike="noStrike" kern="1200" cap="none" spc="0" normalizeH="0" baseline="0" noProof="0" dirty="0">
              <a:ln>
                <a:noFill/>
              </a:ln>
              <a:solidFill>
                <a:srgbClr val="002F6B"/>
              </a:solidFill>
              <a:effectLst/>
              <a:uLnTx/>
              <a:uFillTx/>
              <a:latin typeface="Arial"/>
              <a:ea typeface="+mn-ea"/>
              <a:cs typeface="+mn-cs"/>
            </a:endParaRP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Forest River</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Fruit of the Loom</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2F6B"/>
                </a:solidFill>
                <a:effectLst/>
                <a:uLnTx/>
                <a:uFillTx/>
                <a:latin typeface="Arial"/>
                <a:ea typeface="+mn-ea"/>
                <a:cs typeface="+mn-cs"/>
              </a:rPr>
              <a:t>Garan</a:t>
            </a:r>
            <a:endParaRPr kumimoji="0" lang="en-US" sz="1000" b="0" i="0" u="none" strike="noStrike" kern="1200" cap="none" spc="0" normalizeH="0" baseline="0" noProof="0" dirty="0">
              <a:ln>
                <a:noFill/>
              </a:ln>
              <a:solidFill>
                <a:srgbClr val="002F6B"/>
              </a:solidFill>
              <a:effectLst/>
              <a:uLnTx/>
              <a:uFillTx/>
              <a:latin typeface="Arial"/>
              <a:ea typeface="+mn-ea"/>
              <a:cs typeface="+mn-cs"/>
            </a:endParaRP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H.H. Brown Shoe</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Helzberg Diamonds</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2F6B"/>
                </a:solidFill>
                <a:effectLst/>
                <a:uLnTx/>
                <a:uFillTx/>
                <a:latin typeface="Arial"/>
                <a:ea typeface="+mn-ea"/>
                <a:cs typeface="+mn-cs"/>
              </a:rPr>
              <a:t>HomeServices</a:t>
            </a:r>
            <a:endParaRPr kumimoji="0" lang="en-US" sz="1000" b="0" i="0" u="none" strike="noStrike" kern="1200" cap="none" spc="0" normalizeH="0" baseline="0" noProof="0" dirty="0">
              <a:ln>
                <a:noFill/>
              </a:ln>
              <a:solidFill>
                <a:srgbClr val="002F6B"/>
              </a:solidFill>
              <a:effectLst/>
              <a:uLnTx/>
              <a:uFillTx/>
              <a:latin typeface="Arial"/>
              <a:ea typeface="+mn-ea"/>
              <a:cs typeface="+mn-cs"/>
            </a:endParaRP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IMC Int'l Metalworking</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Johns Manville</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Jordan's Furniture</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Larson-</a:t>
            </a:r>
            <a:r>
              <a:rPr kumimoji="0" lang="en-US" sz="1000" b="0" i="0" u="none" strike="noStrike" kern="1200" cap="none" spc="0" normalizeH="0" baseline="0" noProof="0" dirty="0" err="1">
                <a:ln>
                  <a:noFill/>
                </a:ln>
                <a:solidFill>
                  <a:srgbClr val="002F6B"/>
                </a:solidFill>
                <a:effectLst/>
                <a:uLnTx/>
                <a:uFillTx/>
                <a:latin typeface="Arial"/>
                <a:ea typeface="+mn-ea"/>
                <a:cs typeface="+mn-cs"/>
              </a:rPr>
              <a:t>Juhl</a:t>
            </a:r>
            <a:endParaRPr kumimoji="0" lang="en-US" sz="1000" b="0" i="0" u="none" strike="noStrike" kern="1200" cap="none" spc="0" normalizeH="0" baseline="0" noProof="0" dirty="0">
              <a:ln>
                <a:noFill/>
              </a:ln>
              <a:solidFill>
                <a:srgbClr val="002F6B"/>
              </a:solidFill>
              <a:effectLst/>
              <a:uLnTx/>
              <a:uFillTx/>
              <a:latin typeface="Arial"/>
              <a:ea typeface="+mn-ea"/>
              <a:cs typeface="+mn-cs"/>
            </a:endParaRP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2F6B"/>
                </a:solidFill>
                <a:effectLst/>
                <a:uLnTx/>
                <a:uFillTx/>
                <a:latin typeface="Arial"/>
                <a:ea typeface="+mn-ea"/>
                <a:cs typeface="+mn-cs"/>
              </a:rPr>
              <a:t>LiquidPower</a:t>
            </a:r>
            <a:r>
              <a:rPr kumimoji="0" lang="en-US" sz="1000" b="0" i="0" u="none" strike="noStrike" kern="1200" cap="none" spc="0" normalizeH="0" baseline="0" noProof="0" dirty="0">
                <a:ln>
                  <a:noFill/>
                </a:ln>
                <a:solidFill>
                  <a:srgbClr val="002F6B"/>
                </a:solidFill>
                <a:effectLst/>
                <a:uLnTx/>
                <a:uFillTx/>
                <a:latin typeface="Arial"/>
                <a:ea typeface="+mn-ea"/>
                <a:cs typeface="+mn-cs"/>
              </a:rPr>
              <a:t> Specialty</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Lubrizol</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Marmon</a:t>
            </a:r>
          </a:p>
        </p:txBody>
      </p:sp>
      <p:sp>
        <p:nvSpPr>
          <p:cNvPr id="29" name="Rectangle 28">
            <a:extLst>
              <a:ext uri="{FF2B5EF4-FFF2-40B4-BE49-F238E27FC236}">
                <a16:creationId xmlns:a16="http://schemas.microsoft.com/office/drawing/2014/main" id="{FB4372E1-C321-67FE-A2ED-B2079EAAC5F3}"/>
              </a:ext>
            </a:extLst>
          </p:cNvPr>
          <p:cNvSpPr/>
          <p:nvPr/>
        </p:nvSpPr>
        <p:spPr>
          <a:xfrm>
            <a:off x="2799022" y="2245666"/>
            <a:ext cx="1567080" cy="2554545"/>
          </a:xfrm>
          <a:prstGeom prst="rect">
            <a:avLst/>
          </a:prstGeom>
        </p:spPr>
        <p:txBody>
          <a:bodyPr wrap="square">
            <a:spAutoFit/>
          </a:bodyPr>
          <a:lstStyle/>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McLane</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2F6B"/>
                </a:solidFill>
                <a:effectLst/>
                <a:uLnTx/>
                <a:uFillTx/>
                <a:latin typeface="Arial"/>
                <a:ea typeface="+mn-ea"/>
                <a:cs typeface="+mn-cs"/>
              </a:rPr>
              <a:t>MiTek</a:t>
            </a:r>
            <a:endParaRPr kumimoji="0" lang="en-US" sz="1000" b="0" i="0" u="none" strike="noStrike" kern="1200" cap="none" spc="0" normalizeH="0" baseline="0" noProof="0" dirty="0">
              <a:ln>
                <a:noFill/>
              </a:ln>
              <a:solidFill>
                <a:srgbClr val="002F6B"/>
              </a:solidFill>
              <a:effectLst/>
              <a:uLnTx/>
              <a:uFillTx/>
              <a:latin typeface="Arial"/>
              <a:ea typeface="+mn-ea"/>
              <a:cs typeface="+mn-cs"/>
            </a:endParaRP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Nebraska Furniture Mart</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2F6B"/>
                </a:solidFill>
                <a:effectLst/>
                <a:uLnTx/>
                <a:uFillTx/>
                <a:latin typeface="Arial"/>
                <a:ea typeface="+mn-ea"/>
                <a:cs typeface="+mn-cs"/>
              </a:rPr>
              <a:t>NetJets</a:t>
            </a:r>
            <a:endParaRPr kumimoji="0" lang="en-US" sz="1000" b="0" i="0" u="none" strike="noStrike" kern="1200" cap="none" spc="0" normalizeH="0" baseline="0" noProof="0" dirty="0">
              <a:ln>
                <a:noFill/>
              </a:ln>
              <a:solidFill>
                <a:srgbClr val="002F6B"/>
              </a:solidFill>
              <a:effectLst/>
              <a:uLnTx/>
              <a:uFillTx/>
              <a:latin typeface="Arial"/>
              <a:ea typeface="+mn-ea"/>
              <a:cs typeface="+mn-cs"/>
            </a:endParaRP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Oriental Trading</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Pampered Chef</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Precision Castparts</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R.C. Wiley</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2F6B"/>
                </a:solidFill>
                <a:effectLst/>
                <a:uLnTx/>
                <a:uFillTx/>
                <a:latin typeface="Arial"/>
                <a:ea typeface="+mn-ea"/>
                <a:cs typeface="+mn-cs"/>
              </a:rPr>
              <a:t>Richline</a:t>
            </a:r>
            <a:r>
              <a:rPr kumimoji="0" lang="en-US" sz="1000" b="0" i="0" u="none" strike="noStrike" kern="1200" cap="none" spc="0" normalizeH="0" baseline="0" noProof="0" dirty="0">
                <a:ln>
                  <a:noFill/>
                </a:ln>
                <a:solidFill>
                  <a:srgbClr val="002F6B"/>
                </a:solidFill>
                <a:effectLst/>
                <a:uLnTx/>
                <a:uFillTx/>
                <a:latin typeface="Arial"/>
                <a:ea typeface="+mn-ea"/>
                <a:cs typeface="+mn-cs"/>
              </a:rPr>
              <a:t> Group</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Scott </a:t>
            </a:r>
            <a:r>
              <a:rPr kumimoji="0" lang="en-US" sz="1000" b="0" i="0" u="none" strike="noStrike" kern="1200" cap="none" spc="0" normalizeH="0" baseline="0" noProof="0" dirty="0" err="1">
                <a:ln>
                  <a:noFill/>
                </a:ln>
                <a:solidFill>
                  <a:srgbClr val="002F6B"/>
                </a:solidFill>
                <a:effectLst/>
                <a:uLnTx/>
                <a:uFillTx/>
                <a:latin typeface="Arial"/>
                <a:ea typeface="+mn-ea"/>
                <a:cs typeface="+mn-cs"/>
              </a:rPr>
              <a:t>Fetzer</a:t>
            </a:r>
            <a:r>
              <a:rPr kumimoji="0" lang="en-US" sz="1000" b="0" i="0" u="none" strike="noStrike" kern="1200" cap="none" spc="0" normalizeH="0" baseline="0" noProof="0" dirty="0">
                <a:ln>
                  <a:noFill/>
                </a:ln>
                <a:solidFill>
                  <a:srgbClr val="002F6B"/>
                </a:solidFill>
                <a:effectLst/>
                <a:uLnTx/>
                <a:uFillTx/>
                <a:latin typeface="Arial"/>
                <a:ea typeface="+mn-ea"/>
                <a:cs typeface="+mn-cs"/>
              </a:rPr>
              <a:t> Companies</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See's Candies</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Shaw Industries</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Star Furniture</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TTI</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WPLG</a:t>
            </a:r>
          </a:p>
          <a:p>
            <a:pPr marL="0" marR="0" lvl="0" indent="0" algn="l" defTabSz="89243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F6B"/>
                </a:solidFill>
                <a:effectLst/>
                <a:uLnTx/>
                <a:uFillTx/>
                <a:latin typeface="Arial"/>
                <a:ea typeface="+mn-ea"/>
                <a:cs typeface="+mn-cs"/>
              </a:rPr>
              <a:t>XTRA</a:t>
            </a:r>
          </a:p>
        </p:txBody>
      </p:sp>
      <p:pic>
        <p:nvPicPr>
          <p:cNvPr id="30" name="Picture 29">
            <a:extLst>
              <a:ext uri="{FF2B5EF4-FFF2-40B4-BE49-F238E27FC236}">
                <a16:creationId xmlns:a16="http://schemas.microsoft.com/office/drawing/2014/main" id="{4EC78728-9B2F-41CE-E2A8-E61E14D99D39}"/>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8807850" y="2301217"/>
            <a:ext cx="2561820" cy="3838171"/>
          </a:xfrm>
          <a:prstGeom prst="rect">
            <a:avLst/>
          </a:prstGeom>
        </p:spPr>
      </p:pic>
      <p:sp>
        <p:nvSpPr>
          <p:cNvPr id="40" name="TextBox 39">
            <a:extLst>
              <a:ext uri="{FF2B5EF4-FFF2-40B4-BE49-F238E27FC236}">
                <a16:creationId xmlns:a16="http://schemas.microsoft.com/office/drawing/2014/main" id="{2B0CBC07-510D-23D1-44B4-FAE2AF60DF31}"/>
              </a:ext>
            </a:extLst>
          </p:cNvPr>
          <p:cNvSpPr txBox="1"/>
          <p:nvPr/>
        </p:nvSpPr>
        <p:spPr>
          <a:xfrm>
            <a:off x="4568517" y="1875669"/>
            <a:ext cx="3078913" cy="798680"/>
          </a:xfrm>
          <a:prstGeom prst="rect">
            <a:avLst/>
          </a:prstGeom>
          <a:solidFill>
            <a:schemeClr val="accent3"/>
          </a:solidFill>
        </p:spPr>
        <p:txBody>
          <a:bodyPr wrap="square" rtlCol="0">
            <a:spAutoFit/>
          </a:bodyPr>
          <a:lstStyle/>
          <a:p>
            <a:pPr marL="0" marR="0" lvl="0" indent="0" algn="ctr" defTabSz="892432" rtl="0" eaLnBrk="1" fontAlgn="auto" latinLnBrk="0" hangingPunct="1">
              <a:lnSpc>
                <a:spcPct val="9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a:ea typeface="Tahoma" charset="0"/>
                <a:cs typeface="Tahoma" charset="0"/>
              </a:rPr>
              <a:t>12 INSURANCE SUBS</a:t>
            </a:r>
          </a:p>
          <a:p>
            <a:pPr marL="0" marR="0" lvl="0" indent="0" algn="ctr" defTabSz="892432" rtl="0" eaLnBrk="1" fontAlgn="auto" latinLnBrk="0" hangingPunct="1">
              <a:lnSpc>
                <a:spcPct val="9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892432"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UW Income and Float from insurance operations drives BRK growth</a:t>
            </a:r>
          </a:p>
        </p:txBody>
      </p:sp>
      <p:cxnSp>
        <p:nvCxnSpPr>
          <p:cNvPr id="41" name="Straight Arrow Connector 40">
            <a:extLst>
              <a:ext uri="{FF2B5EF4-FFF2-40B4-BE49-F238E27FC236}">
                <a16:creationId xmlns:a16="http://schemas.microsoft.com/office/drawing/2014/main" id="{C60EDDFA-54AC-20A8-F988-D30D4C7CB7F7}"/>
              </a:ext>
            </a:extLst>
          </p:cNvPr>
          <p:cNvCxnSpPr>
            <a:cxnSpLocks/>
          </p:cNvCxnSpPr>
          <p:nvPr/>
        </p:nvCxnSpPr>
        <p:spPr>
          <a:xfrm>
            <a:off x="7647430" y="1980451"/>
            <a:ext cx="1386874" cy="1"/>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E7ED44D1-8C73-1269-E35D-FA15E5848BFB}"/>
              </a:ext>
            </a:extLst>
          </p:cNvPr>
          <p:cNvCxnSpPr>
            <a:cxnSpLocks/>
            <a:endCxn id="19" idx="3"/>
          </p:cNvCxnSpPr>
          <p:nvPr/>
        </p:nvCxnSpPr>
        <p:spPr>
          <a:xfrm flipH="1">
            <a:off x="3096321" y="1958074"/>
            <a:ext cx="1461562" cy="0"/>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8844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0"/>
          </p:nvPr>
        </p:nvSpPr>
        <p:spPr/>
        <p:txBody>
          <a:bodyPr>
            <a:normAutofit/>
          </a:bodyPr>
          <a:lstStyle/>
          <a:p>
            <a:r>
              <a:rPr lang="en-US" dirty="0" smtClean="0"/>
              <a:t>Frequency trending flat from 2016 &amp; Severity trending up from 2017 … until COVID-19 disruption</a:t>
            </a:r>
            <a:endParaRPr lang="en-US" dirty="0"/>
          </a:p>
        </p:txBody>
      </p:sp>
      <p:sp>
        <p:nvSpPr>
          <p:cNvPr id="3" name="Title 2"/>
          <p:cNvSpPr>
            <a:spLocks noGrp="1"/>
          </p:cNvSpPr>
          <p:nvPr>
            <p:ph type="title"/>
          </p:nvPr>
        </p:nvSpPr>
        <p:spPr/>
        <p:txBody>
          <a:bodyPr/>
          <a:lstStyle/>
          <a:p>
            <a:r>
              <a:rPr lang="en-US" dirty="0" smtClean="0"/>
              <a:t>Frequency &amp; Severity trends</a:t>
            </a:r>
            <a:endParaRPr lang="en-US" dirty="0"/>
          </a:p>
        </p:txBody>
      </p:sp>
      <p:graphicFrame>
        <p:nvGraphicFramePr>
          <p:cNvPr id="17" name="Content Placeholder 16"/>
          <p:cNvGraphicFramePr>
            <a:graphicFrameLocks noGrp="1"/>
          </p:cNvGraphicFramePr>
          <p:nvPr>
            <p:ph sz="quarter" idx="11"/>
            <p:extLst>
              <p:ext uri="{D42A27DB-BD31-4B8C-83A1-F6EECF244321}">
                <p14:modId xmlns:p14="http://schemas.microsoft.com/office/powerpoint/2010/main" val="3255202862"/>
              </p:ext>
            </p:extLst>
          </p:nvPr>
        </p:nvGraphicFramePr>
        <p:xfrm>
          <a:off x="723900" y="1593850"/>
          <a:ext cx="10736263" cy="4162425"/>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719A3D07-2185-9A41-AA22-8EB27D4AF6DF}"/>
              </a:ext>
            </a:extLst>
          </p:cNvPr>
          <p:cNvSpPr>
            <a:spLocks noGrp="1"/>
          </p:cNvSpPr>
          <p:nvPr>
            <p:ph type="sldNum" sz="quarter" idx="15"/>
          </p:nvPr>
        </p:nvSpPr>
        <p:spPr/>
        <p:txBody>
          <a:bodyPr/>
          <a:lstStyle/>
          <a:p>
            <a:fld id="{DA135043-C596-1A48-8BDA-03EB29A64DF4}" type="slidenum">
              <a:rPr lang="en-US" smtClean="0"/>
              <a:pPr/>
              <a:t>5</a:t>
            </a:fld>
            <a:endParaRPr lang="en-US" dirty="0"/>
          </a:p>
        </p:txBody>
      </p:sp>
      <p:sp>
        <p:nvSpPr>
          <p:cNvPr id="22" name="Text Placeholder 21"/>
          <p:cNvSpPr>
            <a:spLocks noGrp="1"/>
          </p:cNvSpPr>
          <p:nvPr>
            <p:ph type="body" sz="quarter" idx="16"/>
          </p:nvPr>
        </p:nvSpPr>
        <p:spPr/>
        <p:txBody>
          <a:bodyPr/>
          <a:lstStyle/>
          <a:p>
            <a:r>
              <a:rPr lang="en-US" dirty="0"/>
              <a:t>Source: National Practitioner Data Bank Public Use Data File, </a:t>
            </a:r>
            <a:r>
              <a:rPr lang="en-US" dirty="0" smtClean="0"/>
              <a:t>December </a:t>
            </a:r>
            <a:r>
              <a:rPr lang="en-US" dirty="0"/>
              <a:t>2022, Physicians &amp; Surgeons Countrywide</a:t>
            </a:r>
          </a:p>
        </p:txBody>
      </p:sp>
      <p:sp>
        <p:nvSpPr>
          <p:cNvPr id="23" name="Text Placeholder 22"/>
          <p:cNvSpPr>
            <a:spLocks noGrp="1"/>
          </p:cNvSpPr>
          <p:nvPr>
            <p:ph type="body" sz="quarter" idx="12"/>
          </p:nvPr>
        </p:nvSpPr>
        <p:spPr>
          <a:xfrm>
            <a:off x="723900" y="5897003"/>
            <a:ext cx="10748963" cy="313932"/>
          </a:xfrm>
        </p:spPr>
        <p:txBody>
          <a:bodyPr/>
          <a:lstStyle/>
          <a:p>
            <a:r>
              <a:rPr lang="en-US" dirty="0"/>
              <a:t>What will happen when </a:t>
            </a:r>
            <a:r>
              <a:rPr lang="en-US" dirty="0" smtClean="0"/>
              <a:t>claims are </a:t>
            </a:r>
            <a:r>
              <a:rPr lang="en-US" dirty="0"/>
              <a:t>made for "post-COVID-19 catchup care" &amp; court </a:t>
            </a:r>
            <a:r>
              <a:rPr lang="en-US" dirty="0" smtClean="0"/>
              <a:t>backlogs are resolved?</a:t>
            </a:r>
            <a:endParaRPr lang="en-US" dirty="0"/>
          </a:p>
        </p:txBody>
      </p:sp>
    </p:spTree>
    <p:extLst>
      <p:ext uri="{BB962C8B-B14F-4D97-AF65-F5344CB8AC3E}">
        <p14:creationId xmlns:p14="http://schemas.microsoft.com/office/powerpoint/2010/main" val="35775953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0"/>
          </p:nvPr>
        </p:nvSpPr>
        <p:spPr/>
        <p:txBody>
          <a:bodyPr>
            <a:normAutofit/>
          </a:bodyPr>
          <a:lstStyle/>
          <a:p>
            <a:r>
              <a:rPr lang="en-US" dirty="0" smtClean="0"/>
              <a:t>Trend </a:t>
            </a:r>
            <a:r>
              <a:rPr lang="en-US" dirty="0"/>
              <a:t>increasing </a:t>
            </a:r>
            <a:r>
              <a:rPr lang="en-US" dirty="0" smtClean="0"/>
              <a:t>steadily 2010-17 and spiking 2017-19 (</a:t>
            </a:r>
            <a:r>
              <a:rPr lang="en-US" i="1" dirty="0" smtClean="0"/>
              <a:t>data noisy </a:t>
            </a:r>
            <a:r>
              <a:rPr lang="en-US" i="1" dirty="0"/>
              <a:t>since </a:t>
            </a:r>
            <a:r>
              <a:rPr lang="en-US" i="1" dirty="0" smtClean="0"/>
              <a:t>2020</a:t>
            </a:r>
            <a:r>
              <a:rPr lang="en-US" dirty="0" smtClean="0"/>
              <a:t>)</a:t>
            </a:r>
            <a:endParaRPr lang="en-US" dirty="0"/>
          </a:p>
        </p:txBody>
      </p:sp>
      <p:sp>
        <p:nvSpPr>
          <p:cNvPr id="2" name="Title 1"/>
          <p:cNvSpPr>
            <a:spLocks noGrp="1"/>
          </p:cNvSpPr>
          <p:nvPr>
            <p:ph type="title"/>
          </p:nvPr>
        </p:nvSpPr>
        <p:spPr/>
        <p:txBody>
          <a:bodyPr/>
          <a:lstStyle/>
          <a:p>
            <a:r>
              <a:rPr lang="en-US" dirty="0" smtClean="0"/>
              <a:t>Paid loss growth accelerating</a:t>
            </a:r>
            <a:endParaRPr lang="en-US" dirty="0"/>
          </a:p>
        </p:txBody>
      </p:sp>
      <p:graphicFrame>
        <p:nvGraphicFramePr>
          <p:cNvPr id="10" name="Content Placeholder 9"/>
          <p:cNvGraphicFramePr>
            <a:graphicFrameLocks noGrp="1"/>
          </p:cNvGraphicFramePr>
          <p:nvPr>
            <p:ph idx="11"/>
            <p:extLst>
              <p:ext uri="{D42A27DB-BD31-4B8C-83A1-F6EECF244321}">
                <p14:modId xmlns:p14="http://schemas.microsoft.com/office/powerpoint/2010/main" val="313919591"/>
              </p:ext>
            </p:extLst>
          </p:nvPr>
        </p:nvGraphicFramePr>
        <p:xfrm>
          <a:off x="723900" y="1593850"/>
          <a:ext cx="10736263" cy="4162425"/>
        </p:xfrm>
        <a:graphic>
          <a:graphicData uri="http://schemas.openxmlformats.org/drawingml/2006/chart">
            <c:chart xmlns:c="http://schemas.openxmlformats.org/drawingml/2006/chart" xmlns:r="http://schemas.openxmlformats.org/officeDocument/2006/relationships" r:id="rId2"/>
          </a:graphicData>
        </a:graphic>
      </p:graphicFrame>
      <p:sp>
        <p:nvSpPr>
          <p:cNvPr id="20" name="Text Placeholder 19"/>
          <p:cNvSpPr>
            <a:spLocks noGrp="1"/>
          </p:cNvSpPr>
          <p:nvPr>
            <p:ph type="body" sz="quarter" idx="12"/>
          </p:nvPr>
        </p:nvSpPr>
        <p:spPr>
          <a:xfrm>
            <a:off x="723900" y="5897003"/>
            <a:ext cx="10748963" cy="535531"/>
          </a:xfrm>
        </p:spPr>
        <p:txBody>
          <a:bodyPr anchor="t" anchorCtr="0"/>
          <a:lstStyle/>
          <a:p>
            <a:r>
              <a:rPr lang="en-US" dirty="0" smtClean="0"/>
              <a:t>Losses trended lower than inflation from 1996 to 2019 (0.6% loss vs. 2.2% CPI) … how will losses be impacted by 5.1% inflation trend from 2019 to 2022?</a:t>
            </a:r>
            <a:endParaRPr lang="en-US" dirty="0"/>
          </a:p>
        </p:txBody>
      </p:sp>
      <p:sp>
        <p:nvSpPr>
          <p:cNvPr id="3" name="Slide Number Placeholder 2"/>
          <p:cNvSpPr>
            <a:spLocks noGrp="1"/>
          </p:cNvSpPr>
          <p:nvPr>
            <p:ph type="sldNum" sz="quarter" idx="15"/>
          </p:nvPr>
        </p:nvSpPr>
        <p:spPr/>
        <p:txBody>
          <a:bodyPr/>
          <a:lstStyle/>
          <a:p>
            <a:fld id="{DA135043-C596-1A48-8BDA-03EB29A64DF4}" type="slidenum">
              <a:rPr lang="en-US" smtClean="0"/>
              <a:pPr/>
              <a:t>6</a:t>
            </a:fld>
            <a:endParaRPr lang="en-US" dirty="0"/>
          </a:p>
        </p:txBody>
      </p:sp>
      <p:sp>
        <p:nvSpPr>
          <p:cNvPr id="16" name="Text Placeholder 15"/>
          <p:cNvSpPr>
            <a:spLocks noGrp="1"/>
          </p:cNvSpPr>
          <p:nvPr>
            <p:ph type="body" sz="quarter" idx="16"/>
          </p:nvPr>
        </p:nvSpPr>
        <p:spPr/>
        <p:txBody>
          <a:bodyPr/>
          <a:lstStyle/>
          <a:p>
            <a:r>
              <a:rPr lang="en-US" dirty="0" smtClean="0"/>
              <a:t>Source</a:t>
            </a:r>
            <a:r>
              <a:rPr lang="en-US" dirty="0"/>
              <a:t>: S&amp;P Global Market Intelligence</a:t>
            </a:r>
            <a:endParaRPr lang="en-US" dirty="0">
              <a:solidFill>
                <a:srgbClr val="FF0000"/>
              </a:solidFill>
            </a:endParaRPr>
          </a:p>
        </p:txBody>
      </p:sp>
    </p:spTree>
    <p:extLst>
      <p:ext uri="{BB962C8B-B14F-4D97-AF65-F5344CB8AC3E}">
        <p14:creationId xmlns:p14="http://schemas.microsoft.com/office/powerpoint/2010/main" val="4721787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ustry losses shifting from HC Providers to HC Entitie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pPr/>
              <a:t>7</a:t>
            </a:fld>
            <a:endParaRPr lang="en-US" dirty="0"/>
          </a:p>
        </p:txBody>
      </p:sp>
      <p:sp>
        <p:nvSpPr>
          <p:cNvPr id="19" name="Text Placeholder 18"/>
          <p:cNvSpPr>
            <a:spLocks noGrp="1"/>
          </p:cNvSpPr>
          <p:nvPr>
            <p:ph type="body" sz="quarter" idx="14"/>
          </p:nvPr>
        </p:nvSpPr>
        <p:spPr/>
        <p:txBody>
          <a:bodyPr/>
          <a:lstStyle/>
          <a:p>
            <a:r>
              <a:rPr lang="en-US" dirty="0" smtClean="0"/>
              <a:t>Source: S&amp;P Global Market Intelligence</a:t>
            </a:r>
            <a:endParaRPr lang="en-US" dirty="0"/>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2271519418"/>
              </p:ext>
            </p:extLst>
          </p:nvPr>
        </p:nvGraphicFramePr>
        <p:xfrm>
          <a:off x="727075" y="863600"/>
          <a:ext cx="10745788" cy="53498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870774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10"/>
          </p:nvPr>
        </p:nvSpPr>
        <p:spPr/>
        <p:txBody>
          <a:bodyPr/>
          <a:lstStyle/>
          <a:p>
            <a:r>
              <a:rPr lang="en-US" dirty="0" smtClean="0"/>
              <a:t>… returning to pre-pandemic trajectory as courts reopen countrywide</a:t>
            </a:r>
            <a:endParaRPr lang="en-US" dirty="0"/>
          </a:p>
        </p:txBody>
      </p:sp>
      <p:sp>
        <p:nvSpPr>
          <p:cNvPr id="2" name="Title 1"/>
          <p:cNvSpPr>
            <a:spLocks noGrp="1"/>
          </p:cNvSpPr>
          <p:nvPr>
            <p:ph type="title"/>
          </p:nvPr>
        </p:nvSpPr>
        <p:spPr/>
        <p:txBody>
          <a:bodyPr/>
          <a:lstStyle/>
          <a:p>
            <a:r>
              <a:rPr lang="en-US" smtClean="0"/>
              <a:t>$10M+ verdicts increasing in frequency</a:t>
            </a:r>
            <a:endParaRPr lang="en-US" dirty="0"/>
          </a:p>
        </p:txBody>
      </p:sp>
      <p:graphicFrame>
        <p:nvGraphicFramePr>
          <p:cNvPr id="9" name="Content Placeholder 8"/>
          <p:cNvGraphicFramePr>
            <a:graphicFrameLocks noGrp="1"/>
          </p:cNvGraphicFramePr>
          <p:nvPr>
            <p:ph sz="half" idx="11"/>
            <p:extLst>
              <p:ext uri="{D42A27DB-BD31-4B8C-83A1-F6EECF244321}">
                <p14:modId xmlns:p14="http://schemas.microsoft.com/office/powerpoint/2010/main" val="529731314"/>
              </p:ext>
            </p:extLst>
          </p:nvPr>
        </p:nvGraphicFramePr>
        <p:xfrm>
          <a:off x="723900" y="1593850"/>
          <a:ext cx="10736263" cy="4619625"/>
        </p:xfrm>
        <a:graphic>
          <a:graphicData uri="http://schemas.openxmlformats.org/drawingml/2006/chart">
            <c:chart xmlns:c="http://schemas.openxmlformats.org/drawingml/2006/chart" xmlns:r="http://schemas.openxmlformats.org/officeDocument/2006/relationships" r:id="rId2"/>
          </a:graphicData>
        </a:graphic>
      </p:graphicFrame>
      <p:sp>
        <p:nvSpPr>
          <p:cNvPr id="5" name="Slide Number Placeholder 4"/>
          <p:cNvSpPr>
            <a:spLocks noGrp="1"/>
          </p:cNvSpPr>
          <p:nvPr>
            <p:ph type="sldNum" sz="quarter" idx="14"/>
          </p:nvPr>
        </p:nvSpPr>
        <p:spPr/>
        <p:txBody>
          <a:bodyPr/>
          <a:lstStyle/>
          <a:p>
            <a:fld id="{DA135043-C596-1A48-8BDA-03EB29A64DF4}" type="slidenum">
              <a:rPr lang="en-US" smtClean="0"/>
              <a:pPr/>
              <a:t>8</a:t>
            </a:fld>
            <a:endParaRPr lang="en-US" dirty="0"/>
          </a:p>
        </p:txBody>
      </p:sp>
      <p:sp>
        <p:nvSpPr>
          <p:cNvPr id="26" name="Text Placeholder 25"/>
          <p:cNvSpPr>
            <a:spLocks noGrp="1"/>
          </p:cNvSpPr>
          <p:nvPr>
            <p:ph type="body" sz="quarter" idx="15"/>
          </p:nvPr>
        </p:nvSpPr>
        <p:spPr/>
        <p:txBody>
          <a:bodyPr/>
          <a:lstStyle/>
          <a:p>
            <a:endParaRPr lang="en-US"/>
          </a:p>
        </p:txBody>
      </p:sp>
      <p:sp>
        <p:nvSpPr>
          <p:cNvPr id="11" name="Text Placeholder 5"/>
          <p:cNvSpPr txBox="1">
            <a:spLocks/>
          </p:cNvSpPr>
          <p:nvPr/>
        </p:nvSpPr>
        <p:spPr>
          <a:xfrm>
            <a:off x="414731" y="6487405"/>
            <a:ext cx="11062326" cy="229289"/>
          </a:xfrm>
          <a:prstGeom prst="rect">
            <a:avLst/>
          </a:prstGeom>
        </p:spPr>
        <p:txBody>
          <a:bodyPr/>
          <a:lstStyle>
            <a:lvl1pPr marL="230188" indent="-230188" algn="l" defTabSz="1306218" rtl="0" eaLnBrk="1" latinLnBrk="0" hangingPunct="1">
              <a:lnSpc>
                <a:spcPct val="90000"/>
              </a:lnSpc>
              <a:spcBef>
                <a:spcPts val="0"/>
              </a:spcBef>
              <a:spcAft>
                <a:spcPts val="800"/>
              </a:spcAft>
              <a:buFont typeface="Arial" panose="020B0604020202020204" pitchFamily="34" charset="0"/>
              <a:buChar char="•"/>
              <a:defRPr sz="2000" b="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en-US" sz="900" dirty="0" smtClean="0"/>
              <a:t>Source: Trans Re and </a:t>
            </a:r>
            <a:r>
              <a:rPr lang="en-US" altLang="en-US" sz="900" dirty="0" smtClean="0"/>
              <a:t>various </a:t>
            </a:r>
            <a:r>
              <a:rPr lang="en-US" altLang="en-US" sz="900" dirty="0"/>
              <a:t>internet articles with publication dates between </a:t>
            </a:r>
            <a:r>
              <a:rPr lang="en-US" altLang="en-US" sz="900" dirty="0" smtClean="0"/>
              <a:t>1/1/2016 </a:t>
            </a:r>
            <a:r>
              <a:rPr lang="en-US" altLang="en-US" sz="900" dirty="0"/>
              <a:t>and </a:t>
            </a:r>
            <a:r>
              <a:rPr lang="en-US" altLang="en-US" sz="900" dirty="0" smtClean="0"/>
              <a:t>4/12/2023</a:t>
            </a:r>
            <a:endParaRPr lang="en-US" sz="900" dirty="0"/>
          </a:p>
        </p:txBody>
      </p:sp>
    </p:spTree>
    <p:extLst>
      <p:ext uri="{BB962C8B-B14F-4D97-AF65-F5344CB8AC3E}">
        <p14:creationId xmlns:p14="http://schemas.microsoft.com/office/powerpoint/2010/main" val="2806188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25M+ aberration verdicts increasing</a:t>
            </a:r>
            <a:endParaRPr lang="en-US" dirty="0"/>
          </a:p>
        </p:txBody>
      </p:sp>
      <p:sp>
        <p:nvSpPr>
          <p:cNvPr id="5" name="Slide Number Placeholder 4"/>
          <p:cNvSpPr>
            <a:spLocks noGrp="1"/>
          </p:cNvSpPr>
          <p:nvPr>
            <p:ph type="sldNum" sz="quarter" idx="12"/>
          </p:nvPr>
        </p:nvSpPr>
        <p:spPr/>
        <p:txBody>
          <a:bodyPr/>
          <a:lstStyle/>
          <a:p>
            <a:fld id="{DA135043-C596-1A48-8BDA-03EB29A64DF4}" type="slidenum">
              <a:rPr lang="en-US" smtClean="0"/>
              <a:pPr/>
              <a:t>9</a:t>
            </a:fld>
            <a:endParaRPr lang="en-US" dirty="0"/>
          </a:p>
        </p:txBody>
      </p:sp>
      <p:sp>
        <p:nvSpPr>
          <p:cNvPr id="6" name="Text Placeholder 5"/>
          <p:cNvSpPr>
            <a:spLocks noGrp="1"/>
          </p:cNvSpPr>
          <p:nvPr>
            <p:ph type="body" sz="quarter" idx="14"/>
          </p:nvPr>
        </p:nvSpPr>
        <p:spPr/>
        <p:txBody>
          <a:bodyPr/>
          <a:lstStyle/>
          <a:p>
            <a:r>
              <a:rPr lang="en-US" dirty="0" smtClean="0"/>
              <a:t>Source: Trans Re and </a:t>
            </a:r>
            <a:r>
              <a:rPr lang="en-US" altLang="en-US" dirty="0"/>
              <a:t>various internet articles with publication dates between 1/1/2016 and </a:t>
            </a:r>
            <a:r>
              <a:rPr lang="en-US" altLang="en-US" dirty="0" smtClean="0"/>
              <a:t>4/12/2023</a:t>
            </a:r>
            <a:endParaRPr lang="en-US" dirty="0"/>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2392185438"/>
              </p:ext>
            </p:extLst>
          </p:nvPr>
        </p:nvGraphicFramePr>
        <p:xfrm>
          <a:off x="727075" y="863600"/>
          <a:ext cx="10745788" cy="53498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669756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6"/>
  <p:tag name="MIO_SHOW_DATE" val="False"/>
  <p:tag name="MIO_SHOW_FOOTER" val="False"/>
  <p:tag name="MIO_SHOW_PAGENUMBER" val="True"/>
  <p:tag name="MIO_AVOID_BLANK_LAYOUT" val="True"/>
  <p:tag name="MIO_CD_LAYOUT_VALID_AREA" val="False"/>
  <p:tag name="MIO_NUMBER_OF_VALID_LAYOUTS" val="16"/>
  <p:tag name="MIO_HDS" val="True"/>
  <p:tag name="MIO_SKIPVERSION" val="01.01.0001 00:00:00"/>
  <p:tag name="MIO_EKGUID" val="2b23c99a-e82d-44a5-8fc4-fcfd64ccfb14"/>
  <p:tag name="MIO_UPDATE" val="True"/>
  <p:tag name="MIO_VERSION" val="02.06.2020 14:04:14"/>
  <p:tag name="MIO_DBID" val="0381E0D7-FC53-471D-B0C4-7A7ABA4970BB"/>
  <p:tag name="MIO_LASTDOWNLOADED" val="02.06.2020 11:04:14"/>
  <p:tag name="MIO_OBJECTNAME" val="MPG Master"/>
  <p:tag name="MIO_LASTEDITORNAME" val="johan "/>
  <p:tag name="MIO_CDID" val="d30371fb-bd2b-4816-a0ce-bd6a1479ab6b"/>
  <p:tag name="MIO_PRESI_FIRST_SLIDENUMBER" val="1"/>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MPG Theme">
  <a:themeElements>
    <a:clrScheme name="Custom 1">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B2F5"/>
      </a:hlink>
      <a:folHlink>
        <a:srgbClr val="002F6B"/>
      </a:folHlink>
    </a:clrScheme>
    <a:fontScheme name="MedPro Font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lnSpc>
            <a:spcPct val="90000"/>
          </a:lnSpc>
          <a:defRPr sz="1800" dirty="0" err="1" smtClean="0">
            <a:solidFill>
              <a:schemeClr val="tx2"/>
            </a:solidFill>
          </a:defRPr>
        </a:defPPr>
      </a:lstStyle>
    </a:txDef>
  </a:objectDefaults>
  <a:extraClrSchemeLst/>
  <a:custClrLst>
    <a:custClr name="Turquoise 1">
      <a:srgbClr val="21D3FF"/>
    </a:custClr>
    <a:custClr name="Green 1">
      <a:srgbClr val="A1EB00"/>
    </a:custClr>
    <a:custClr name="Dark Blue 1">
      <a:srgbClr val="002A88"/>
    </a:custClr>
    <a:custClr name="Light Blue 1">
      <a:srgbClr val="005EC0"/>
    </a:custClr>
    <a:custClr name="Red 1">
      <a:srgbClr val="FF6A3E"/>
    </a:custClr>
    <a:custClr name="Purple 1">
      <a:srgbClr val="A367E0"/>
    </a:custClr>
    <a:custClr name="Blue Gray 1">
      <a:srgbClr val="C9DCE6"/>
    </a:custClr>
    <a:custClr name="BLANK">
      <a:srgbClr val="FFFFFF"/>
    </a:custClr>
    <a:custClr name="BLANK">
      <a:srgbClr val="FFFFFF"/>
    </a:custClr>
    <a:custClr name="BLANK">
      <a:srgbClr val="FFFFFF"/>
    </a:custClr>
    <a:custClr name="Custom Color 11">
      <a:srgbClr val="0373FF"/>
    </a:custClr>
    <a:custClr name="Green 2">
      <a:srgbClr val="15A144"/>
    </a:custClr>
    <a:custClr name="Dark Blue 2">
      <a:srgbClr val="04003C"/>
    </a:custClr>
    <a:custClr name="LIght Blue 2">
      <a:srgbClr val="02205F"/>
    </a:custClr>
    <a:custClr name="Red 2">
      <a:srgbClr val="EE2361"/>
    </a:custClr>
    <a:custClr name="Purple 2">
      <a:srgbClr val="430088"/>
    </a:custClr>
    <a:custClr name="Blue Gray 2">
      <a:srgbClr val="427B8F"/>
    </a:custClr>
  </a:custClrLst>
  <a:extLst>
    <a:ext uri="{05A4C25C-085E-4340-85A3-A5531E510DB2}">
      <thm15:themeFamily xmlns:thm15="http://schemas.microsoft.com/office/thememl/2012/main" name="MedPro Template.potx" id="{753226F4-09A1-4E42-A822-7615478C8618}" vid="{4528511A-6120-4CC6-A977-4DA00AC96E02}"/>
    </a:ext>
  </a:extLst>
</a:theme>
</file>

<file path=ppt/theme/theme2.xml><?xml version="1.0" encoding="utf-8"?>
<a:theme xmlns:a="http://schemas.openxmlformats.org/drawingml/2006/main" name="Office Theme">
  <a:themeElements>
    <a:clrScheme name="MedPro Color Theme">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2F6B"/>
      </a:hlink>
      <a:folHlink>
        <a:srgbClr val="00B2F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edPro Color Theme">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2F6B"/>
      </a:hlink>
      <a:folHlink>
        <a:srgbClr val="00B2F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dPro Template</Template>
  <TotalTime>3085</TotalTime>
  <Words>1228</Words>
  <Application>Microsoft Office PowerPoint</Application>
  <PresentationFormat>Widescreen</PresentationFormat>
  <Paragraphs>262</Paragraphs>
  <Slides>22</Slides>
  <Notes>3</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2</vt:i4>
      </vt:variant>
    </vt:vector>
  </HeadingPairs>
  <TitlesOfParts>
    <vt:vector size="27" baseType="lpstr">
      <vt:lpstr>Arial</vt:lpstr>
      <vt:lpstr>Calibri</vt:lpstr>
      <vt:lpstr>Tahoma</vt:lpstr>
      <vt:lpstr>Trebuchet MS</vt:lpstr>
      <vt:lpstr>MPG Theme</vt:lpstr>
      <vt:lpstr>AEIX Claims Caucus Workshop Numbers Don't Lie: Dramatic Increases in Medical Liability Settlements and Verdicts</vt:lpstr>
      <vt:lpstr>Loss Severity – topics for consideration</vt:lpstr>
      <vt:lpstr>MedPro evolution: 2005 (only US &amp; “first dollar docs”) to today</vt:lpstr>
      <vt:lpstr>Berkshire Hathaway provides unrivaled stability</vt:lpstr>
      <vt:lpstr>Frequency &amp; Severity trends</vt:lpstr>
      <vt:lpstr>Paid loss growth accelerating</vt:lpstr>
      <vt:lpstr>Industry losses shifting from HC Providers to HC Entities</vt:lpstr>
      <vt:lpstr>$10M+ verdicts increasing in frequency</vt:lpstr>
      <vt:lpstr>$25M+ aberration verdicts increasing</vt:lpstr>
      <vt:lpstr>$10M+ verdicts increasing in frequency</vt:lpstr>
      <vt:lpstr>$10M+ verdicts increasing in frequency</vt:lpstr>
      <vt:lpstr>Social inflation</vt:lpstr>
      <vt:lpstr>Economic inflation above historical norms</vt:lpstr>
      <vt:lpstr>COVID-19 still impacting healthcare utilization</vt:lpstr>
      <vt:lpstr>COVID-19 still impacting case filing and resolution</vt:lpstr>
      <vt:lpstr>Recent change in tort law</vt:lpstr>
      <vt:lpstr>US HCL industry now consistently underwriting to a loss</vt:lpstr>
      <vt:lpstr>US HCL industry now consistently underwriting to a loss</vt:lpstr>
      <vt:lpstr>Combined Ratios deteriorating countrywide and in most states</vt:lpstr>
      <vt:lpstr>"Gearing effect" of severity</vt:lpstr>
      <vt:lpstr>HCLMarketUpdate.com</vt:lpstr>
      <vt:lpstr>Call to action</vt:lpstr>
    </vt:vector>
  </TitlesOfParts>
  <Company>MedPro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EIX Claims Caucus Workshop: Severity</dc:title>
  <dc:creator>Jean-Paul A Rebillard</dc:creator>
  <cp:lastModifiedBy>Jean-Paul A Rebillard</cp:lastModifiedBy>
  <cp:revision>250</cp:revision>
  <dcterms:created xsi:type="dcterms:W3CDTF">2023-02-20T18:42:49Z</dcterms:created>
  <dcterms:modified xsi:type="dcterms:W3CDTF">2023-04-23T19:12:50Z</dcterms:modified>
</cp:coreProperties>
</file>